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customXml/itemProps1.xml" ContentType="application/vnd.openxmlformats-officedocument.customXmlProperties+xml"/>
  <Override PartName="/ppt/theme/theme1.xml" ContentType="application/vnd.openxmlformats-officedocument.theme+xml"/>
  <Override PartName="/ppt/slideLayouts/slideLayout2.xml" ContentType="application/vnd.openxmlformats-officedocument.presentationml.slideLayout+xml"/>
  <Default Extension="xml" ContentType="application/xml"/>
  <Default Extension="fntdata" ContentType="application/x-fontdata"/>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Default Extension="bin" ContentType="application/vnd.openxmlformats-officedocument.oleObject"/>
  <Default Extension="png" ContentType="image/png"/>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customXml/itemProps2.xml" ContentType="application/vnd.openxmlformats-officedocument.customXmlPropertie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Default Extension="emf" ContentType="image/x-emf"/>
  <Default Extension="jpeg" ContentType="image/jpeg"/>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Default Extension="vml" ContentType="application/vnd.openxmlformats-officedocument.vmlDrawing"/>
  <Default Extension="gif" ContentType="image/gif"/>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Default Extension="tmp" ContentType="image/png"/>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customXml/itemProps3.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saveSubsetFonts="1">
  <p:sldMasterIdLst>
    <p:sldMasterId id="2147483648" r:id="rId1"/>
  </p:sldMasterIdLst>
  <p:notesMasterIdLst>
    <p:notesMasterId r:id="rId21"/>
  </p:notesMasterIdLst>
  <p:handoutMasterIdLst>
    <p:handoutMasterId r:id="rId22"/>
  </p:handoutMasterIdLst>
  <p:sldIdLst>
    <p:sldId id="392" r:id="rId2"/>
    <p:sldId id="396" r:id="rId3"/>
    <p:sldId id="395" r:id="rId4"/>
    <p:sldId id="412" r:id="rId5"/>
    <p:sldId id="409" r:id="rId6"/>
    <p:sldId id="411" r:id="rId7"/>
    <p:sldId id="428" r:id="rId8"/>
    <p:sldId id="429" r:id="rId9"/>
    <p:sldId id="430" r:id="rId10"/>
    <p:sldId id="362" r:id="rId11"/>
    <p:sldId id="456" r:id="rId12"/>
    <p:sldId id="457" r:id="rId13"/>
    <p:sldId id="458" r:id="rId14"/>
    <p:sldId id="460" r:id="rId15"/>
    <p:sldId id="367" r:id="rId16"/>
    <p:sldId id="369" r:id="rId17"/>
    <p:sldId id="368" r:id="rId18"/>
    <p:sldId id="370" r:id="rId19"/>
    <p:sldId id="419" r:id="rId20"/>
  </p:sldIdLst>
  <p:sldSz cx="12187238" cy="6858000"/>
  <p:notesSz cx="6858000" cy="9144000"/>
  <p:embeddedFontLst>
    <p:embeddedFont>
      <p:font typeface="MS PGothic" panose="020B0600070205080204" pitchFamily="34" charset="-128"/>
      <p:regular r:id="rId23"/>
    </p:embeddedFont>
  </p:embeddedFontLst>
  <p:custDataLst>
    <p:tags r:id="rId24"/>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59">
          <p15:clr>
            <a:srgbClr val="A4A3A4"/>
          </p15:clr>
        </p15:guide>
        <p15:guide id="2" orient="horz" pos="245">
          <p15:clr>
            <a:srgbClr val="A4A3A4"/>
          </p15:clr>
        </p15:guide>
        <p15:guide id="3" orient="horz" pos="665">
          <p15:clr>
            <a:srgbClr val="A4A3A4"/>
          </p15:clr>
        </p15:guide>
        <p15:guide id="4" orient="horz" pos="732">
          <p15:clr>
            <a:srgbClr val="A4A3A4"/>
          </p15:clr>
        </p15:guide>
        <p15:guide id="5" orient="horz" pos="4223">
          <p15:clr>
            <a:srgbClr val="A4A3A4"/>
          </p15:clr>
        </p15:guide>
        <p15:guide id="6" orient="horz" pos="4142">
          <p15:clr>
            <a:srgbClr val="A4A3A4"/>
          </p15:clr>
        </p15:guide>
        <p15:guide id="7" orient="horz" pos="4090">
          <p15:clr>
            <a:srgbClr val="A4A3A4"/>
          </p15:clr>
        </p15:guide>
        <p15:guide id="8" orient="horz" pos="799" userDrawn="1">
          <p15:clr>
            <a:srgbClr val="A4A3A4"/>
          </p15:clr>
        </p15:guide>
        <p15:guide id="9" orient="horz" pos="2432" userDrawn="1">
          <p15:clr>
            <a:srgbClr val="A4A3A4"/>
          </p15:clr>
        </p15:guide>
        <p15:guide id="10" pos="287">
          <p15:clr>
            <a:srgbClr val="A4A3A4"/>
          </p15:clr>
        </p15:guide>
        <p15:guide id="11" pos="5473">
          <p15:clr>
            <a:srgbClr val="A4A3A4"/>
          </p15:clr>
        </p15:guide>
        <p15:guide id="12" pos="2841" userDrawn="1">
          <p15:clr>
            <a:srgbClr val="A4A3A4"/>
          </p15:clr>
        </p15:guide>
        <p15:guide id="13" pos="2909" userDrawn="1">
          <p15:clr>
            <a:srgbClr val="A4A3A4"/>
          </p15:clr>
        </p15:guide>
        <p15:guide id="14" pos="2881">
          <p15:clr>
            <a:srgbClr val="A4A3A4"/>
          </p15:clr>
        </p15:guide>
        <p15:guide id="15" pos="5504">
          <p15:clr>
            <a:srgbClr val="A4A3A4"/>
          </p15:clr>
        </p15:guide>
        <p15:guide id="16" pos="1970">
          <p15:clr>
            <a:srgbClr val="A4A3A4"/>
          </p15:clr>
        </p15:guide>
        <p15:guide id="17" pos="3770" userDrawn="1">
          <p15:clr>
            <a:srgbClr val="A4A3A4"/>
          </p15:clr>
        </p15:guide>
        <p15:guide id="18" pos="3748" userDrawn="1">
          <p15:clr>
            <a:srgbClr val="A4A3A4"/>
          </p15:clr>
        </p15:guide>
        <p15:guide id="19" pos="2037">
          <p15:clr>
            <a:srgbClr val="A4A3A4"/>
          </p15:clr>
        </p15:guide>
        <p15:guide id="20" orient="horz" pos="1774" userDrawn="1">
          <p15:clr>
            <a:srgbClr val="A4A3A4"/>
          </p15:clr>
        </p15:guide>
        <p15:guide id="21" orient="horz" pos="1094" userDrawn="1">
          <p15:clr>
            <a:srgbClr val="A4A3A4"/>
          </p15:clr>
        </p15:guide>
        <p15:guide id="22" orient="horz" pos="4074">
          <p15:clr>
            <a:srgbClr val="A4A3A4"/>
          </p15:clr>
        </p15:guide>
        <p15:guide id="23" pos="293">
          <p15:clr>
            <a:srgbClr val="A4A3A4"/>
          </p15:clr>
        </p15:guide>
        <p15:guide id="24" pos="2523" userDrawn="1">
          <p15:clr>
            <a:srgbClr val="A4A3A4"/>
          </p15:clr>
        </p15:guide>
        <p15:guide id="25" pos="7399" userDrawn="1">
          <p15:clr>
            <a:srgbClr val="A4A3A4"/>
          </p15:clr>
        </p15:guide>
        <p15:guide id="26" pos="3544" userDrawn="1">
          <p15:clr>
            <a:srgbClr val="A4A3A4"/>
          </p15:clr>
        </p15:guide>
        <p15:guide id="27" pos="4315" userDrawn="1">
          <p15:clr>
            <a:srgbClr val="A4A3A4"/>
          </p15:clr>
        </p15:guide>
        <p15:guide id="28" pos="2206" userDrawn="1">
          <p15:clr>
            <a:srgbClr val="A4A3A4"/>
          </p15:clr>
        </p15:guide>
        <p15:guide id="30" pos="5018" userDrawn="1">
          <p15:clr>
            <a:srgbClr val="A4A3A4"/>
          </p15:clr>
        </p15:guide>
        <p15:guide id="31" pos="5158">
          <p15:clr>
            <a:srgbClr val="A4A3A4"/>
          </p15:clr>
        </p15:guide>
        <p15:guide id="32" pos="268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E26"/>
    <a:srgbClr val="993399"/>
    <a:srgbClr val="FF0000"/>
    <a:srgbClr val="551155"/>
    <a:srgbClr val="003344"/>
    <a:srgbClr val="224433"/>
    <a:srgbClr val="CBCCCC"/>
    <a:srgbClr val="5375AD"/>
    <a:srgbClr val="778888"/>
    <a:srgbClr val="359B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44" autoAdjust="0"/>
    <p:restoredTop sz="94533" autoAdjust="0"/>
  </p:normalViewPr>
  <p:slideViewPr>
    <p:cSldViewPr snapToGrid="0" showGuides="1">
      <p:cViewPr varScale="1">
        <p:scale>
          <a:sx n="72" d="100"/>
          <a:sy n="72" d="100"/>
        </p:scale>
        <p:origin x="516" y="66"/>
      </p:cViewPr>
      <p:guideLst>
        <p:guide orient="horz" pos="2159"/>
        <p:guide orient="horz" pos="245"/>
        <p:guide orient="horz" pos="665"/>
        <p:guide orient="horz" pos="732"/>
        <p:guide orient="horz" pos="4223"/>
        <p:guide orient="horz" pos="4142"/>
        <p:guide orient="horz" pos="4090"/>
        <p:guide orient="horz" pos="799"/>
        <p:guide orient="horz" pos="2432"/>
        <p:guide pos="287"/>
        <p:guide pos="5473"/>
        <p:guide pos="2841"/>
        <p:guide pos="2909"/>
        <p:guide pos="2881"/>
        <p:guide pos="5504"/>
        <p:guide pos="1970"/>
        <p:guide pos="3770"/>
        <p:guide pos="3748"/>
        <p:guide pos="2037"/>
        <p:guide orient="horz" pos="1774"/>
        <p:guide orient="horz" pos="1094"/>
        <p:guide orient="horz" pos="4074"/>
        <p:guide pos="293"/>
        <p:guide pos="2523"/>
        <p:guide pos="7399"/>
        <p:guide pos="3544"/>
        <p:guide pos="4315"/>
        <p:guide pos="2206"/>
        <p:guide pos="5018"/>
        <p:guide pos="5158"/>
        <p:guide pos="2682"/>
      </p:guideLst>
    </p:cSldViewPr>
  </p:slideViewPr>
  <p:outlineViewPr>
    <p:cViewPr>
      <p:scale>
        <a:sx n="33" d="100"/>
        <a:sy n="33" d="100"/>
      </p:scale>
      <p:origin x="0" y="336"/>
    </p:cViewPr>
  </p:outlineViewPr>
  <p:notesTextViewPr>
    <p:cViewPr>
      <p:scale>
        <a:sx n="100" d="100"/>
        <a:sy n="100" d="100"/>
      </p:scale>
      <p:origin x="0" y="0"/>
    </p:cViewPr>
  </p:notesTextViewPr>
  <p:sorterViewPr>
    <p:cViewPr>
      <p:scale>
        <a:sx n="50" d="100"/>
        <a:sy n="50" d="100"/>
      </p:scale>
      <p:origin x="0" y="-6984"/>
    </p:cViewPr>
  </p:sorterViewPr>
  <p:notesViewPr>
    <p:cSldViewPr snapToGrid="0" snapToObjects="1" showGuides="1">
      <p:cViewPr varScale="1">
        <p:scale>
          <a:sx n="95" d="100"/>
          <a:sy n="95" d="100"/>
        </p:scale>
        <p:origin x="-363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32"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viewProps" Target="viewProps.xml"/><Relationship Id="rId30"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latin typeface="Arial" pitchFamily="34" charset="0"/>
              </a:rPr>
              <a:pPr>
                <a:defRPr/>
              </a:pPr>
              <a:t>6/23/2015</a:t>
            </a:fld>
            <a:endParaRPr lang="en-US" dirty="0">
              <a:latin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latin typeface="Arial" pitchFamily="34" charset="0"/>
              </a:rPr>
              <a:pPr>
                <a:defRPr/>
              </a:pPr>
              <a:t>‹#›</a:t>
            </a:fld>
            <a:endParaRPr lang="en-US" dirty="0">
              <a:latin typeface="Arial" pitchFamily="34" charset="0"/>
            </a:endParaRPr>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Arial" pitchFamily="34" charset="0"/>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612C19A-B064-4A02-B1DD-2674A5B33712}" type="datetime1">
              <a:rPr lang="en-US" smtClean="0"/>
              <a:pPr>
                <a:defRPr/>
              </a:pPr>
              <a:t>6/23/2015</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Arial" pitchFamily="34" charset="0"/>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21496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55894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7056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34680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32292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0345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3102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5346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2396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83530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9194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927338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4_Title Slide with White Signatu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13" name="Picture 12" descr="Acc_Operations_GP_Lockup_Wht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8313" y="459153"/>
            <a:ext cx="4497297" cy="745315"/>
          </a:xfrm>
          <a:prstGeom prst="rect">
            <a:avLst/>
          </a:prstGeom>
        </p:spPr>
      </p:pic>
      <p:grpSp>
        <p:nvGrpSpPr>
          <p:cNvPr id="10" name="Group 9"/>
          <p:cNvGrpSpPr/>
          <p:nvPr userDrawn="1"/>
        </p:nvGrpSpPr>
        <p:grpSpPr>
          <a:xfrm>
            <a:off x="8714232" y="3922776"/>
            <a:ext cx="3074395" cy="2060440"/>
            <a:chOff x="5701703" y="682760"/>
            <a:chExt cx="3074395" cy="2060440"/>
          </a:xfrm>
        </p:grpSpPr>
        <p:sp>
          <p:nvSpPr>
            <p:cNvPr id="11" name="Freeform 1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1703" y="1523009"/>
              <a:ext cx="3074395" cy="252000"/>
            </a:xfrm>
            <a:prstGeom prst="rect">
              <a:avLst/>
            </a:prstGeom>
          </p:spPr>
        </p:pic>
      </p:grpSp>
      <p:pic>
        <p:nvPicPr>
          <p:cNvPr id="18" name="Picture 17" descr="Acc_Operations_StratLine_Wht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82712" y="6300216"/>
            <a:ext cx="3739896" cy="227905"/>
          </a:xfrm>
          <a:prstGeom prst="rect">
            <a:avLst/>
          </a:prstGeom>
        </p:spPr>
      </p:pic>
      <p:sp>
        <p:nvSpPr>
          <p:cNvPr id="15" name="Text Placeholder 6"/>
          <p:cNvSpPr>
            <a:spLocks noGrp="1"/>
          </p:cNvSpPr>
          <p:nvPr>
            <p:ph type="body" sz="quarter" idx="11" hasCustomPrompt="1"/>
          </p:nvPr>
        </p:nvSpPr>
        <p:spPr>
          <a:xfrm>
            <a:off x="455613" y="2670048"/>
            <a:ext cx="3800475" cy="463550"/>
          </a:xfrm>
        </p:spPr>
        <p:txBody>
          <a:bodyPr/>
          <a:lstStyle>
            <a:lvl1pPr marL="0" indent="0">
              <a:buFontTx/>
              <a:buNone/>
              <a:defRPr sz="1600" baseline="0">
                <a:solidFill>
                  <a:schemeClr val="bg1"/>
                </a:solidFill>
              </a:defRPr>
            </a:lvl1pPr>
            <a:lvl2pPr marL="226800" indent="0">
              <a:buFontTx/>
              <a:buNone/>
              <a:defRPr/>
            </a:lvl2pPr>
            <a:lvl3pPr marL="457200" indent="0">
              <a:buFontTx/>
              <a:buNone/>
              <a:defRPr/>
            </a:lvl3pPr>
            <a:lvl4pPr marL="684000" indent="0">
              <a:buFontTx/>
              <a:buNone/>
              <a:defRPr/>
            </a:lvl4pPr>
            <a:lvl5pPr marL="914400" indent="0">
              <a:buFontTx/>
              <a:buNone/>
              <a:defRPr/>
            </a:lvl5pPr>
          </a:lstStyle>
          <a:p>
            <a:pPr lvl="0"/>
            <a:r>
              <a:rPr lang="en-US" dirty="0" smtClean="0"/>
              <a:t>Click to add date</a:t>
            </a:r>
            <a:endParaRPr lang="en-US" dirty="0"/>
          </a:p>
        </p:txBody>
      </p:sp>
      <p:sp>
        <p:nvSpPr>
          <p:cNvPr id="17" name="Text Placeholder 8"/>
          <p:cNvSpPr>
            <a:spLocks noGrp="1"/>
          </p:cNvSpPr>
          <p:nvPr>
            <p:ph type="body" sz="quarter" idx="10"/>
          </p:nvPr>
        </p:nvSpPr>
        <p:spPr>
          <a:xfrm>
            <a:off x="458788" y="1910922"/>
            <a:ext cx="4024312" cy="759254"/>
          </a:xfrm>
        </p:spPr>
        <p:txBody>
          <a:bodyPr>
            <a:noAutofit/>
          </a:bodyPr>
          <a:lstStyle>
            <a:lvl1pPr marL="0" marR="0" indent="0" algn="l" defTabSz="914400" rtl="0" eaLnBrk="1" fontAlgn="auto" latinLnBrk="0" hangingPunct="1">
              <a:lnSpc>
                <a:spcPct val="100000"/>
              </a:lnSpc>
              <a:spcBef>
                <a:spcPts val="0"/>
              </a:spcBef>
              <a:spcAft>
                <a:spcPts val="0"/>
              </a:spcAft>
              <a:buClr>
                <a:schemeClr val="tx1"/>
              </a:buClr>
              <a:buSzPct val="80000"/>
              <a:buFont typeface="Arial" pitchFamily="34" charset="0"/>
              <a:buNone/>
              <a:tabLst/>
              <a:defRPr sz="24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endParaRPr lang="en-US" sz="2400" dirty="0" smtClean="0"/>
          </a:p>
        </p:txBody>
      </p:sp>
    </p:spTree>
    <p:extLst>
      <p:ext uri="{BB962C8B-B14F-4D97-AF65-F5344CB8AC3E}">
        <p14:creationId xmlns:p14="http://schemas.microsoft.com/office/powerpoint/2010/main" val="361014906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7_Divider Slide 1">
    <p:spTree>
      <p:nvGrpSpPr>
        <p:cNvPr id="1" name=""/>
        <p:cNvGrpSpPr/>
        <p:nvPr/>
      </p:nvGrpSpPr>
      <p:grpSpPr>
        <a:xfrm>
          <a:off x="0" y="0"/>
          <a:ext cx="0" cy="0"/>
          <a:chOff x="0" y="0"/>
          <a:chExt cx="0" cy="0"/>
        </a:xfrm>
      </p:grpSpPr>
      <p:pic>
        <p:nvPicPr>
          <p:cNvPr id="4" name="Picture 3" descr="background2_16x9_aqua.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679"/>
            <a:ext cx="12187238" cy="6855321"/>
          </a:xfrm>
          <a:prstGeom prst="rect">
            <a:avLst/>
          </a:prstGeom>
        </p:spPr>
      </p:pic>
      <p:sp>
        <p:nvSpPr>
          <p:cNvPr id="2" name="Title 1"/>
          <p:cNvSpPr>
            <a:spLocks noGrp="1"/>
          </p:cNvSpPr>
          <p:nvPr>
            <p:ph type="ctrTitle" hasCustomPrompt="1"/>
          </p:nvPr>
        </p:nvSpPr>
        <p:spPr>
          <a:xfrm>
            <a:off x="465138" y="2718421"/>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5"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7"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387894020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0_Divider Slide 1">
    <p:bg>
      <p:bgPr>
        <a:blipFill rotWithShape="1">
          <a:blip r:embed="rId2" cstate="email"/>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2718421"/>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6"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5"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45506761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ivider Slide 1">
    <p:bg>
      <p:bgPr>
        <a:blipFill rotWithShape="1">
          <a:blip r:embed="rId2" cstate="email"/>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2718421"/>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5"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7"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18329149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2_Divider Slide 1">
    <p:bg>
      <p:bgPr>
        <a:blipFill rotWithShape="1">
          <a:blip r:embed="rId2" cstate="email"/>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2718421"/>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6"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5"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310460546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3_Divider Slide 1">
    <p:bg>
      <p:bgPr>
        <a:blipFill rotWithShape="1">
          <a:blip r:embed="rId2" cstate="email"/>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2718421"/>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6"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5"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255430530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Divider Slide 1">
    <p:bg>
      <p:bgPr>
        <a:blipFill rotWithShape="1">
          <a:blip r:embed="rId2" cstate="email"/>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2718421"/>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8"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9"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103884707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Divider Slide 1">
    <p:bg>
      <p:bgPr>
        <a:blipFill rotWithShape="1">
          <a:blip r:embed="rId2" cstate="email"/>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2718421"/>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5"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7"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114756155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2715768"/>
            <a:ext cx="11256961"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Master Divider Slide Headline</a:t>
            </a:r>
            <a:endParaRPr lang="en-US" dirty="0"/>
          </a:p>
        </p:txBody>
      </p:sp>
      <p:sp>
        <p:nvSpPr>
          <p:cNvPr id="6"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4"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67503279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rgbClr val="FFFFFF"/>
                </a:solidFill>
              </a:defRPr>
            </a:lvl1p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lvl1pPr>
              <a:defRPr>
                <a:solidFill>
                  <a:schemeClr val="accent1"/>
                </a:solidFill>
              </a:defRPr>
            </a:lvl1pPr>
          </a:lstStyle>
          <a:p>
            <a:r>
              <a:rPr lang="en-US" dirty="0" smtClean="0"/>
              <a:t>Click to edit Master title style</a:t>
            </a:r>
            <a:endParaRPr lang="en-US" dirty="0"/>
          </a:p>
        </p:txBody>
      </p:sp>
      <p:sp>
        <p:nvSpPr>
          <p:cNvPr id="2" name="Footer Placeholder 1"/>
          <p:cNvSpPr>
            <a:spLocks noGrp="1"/>
          </p:cNvSpPr>
          <p:nvPr>
            <p:ph type="ftr" sz="quarter" idx="12"/>
          </p:nvPr>
        </p:nvSpPr>
        <p:spPr/>
        <p:txBody>
          <a:bodyPr/>
          <a:lstStyle>
            <a:lvl1pPr>
              <a:defRPr>
                <a:solidFill>
                  <a:srgbClr val="FFFFFF"/>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300873544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2718421"/>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6"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5"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16431131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5_Title Slide with White Signatu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13" name="Picture 12" descr="Acc_Operations_GP_Lockup_Wht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8313" y="459153"/>
            <a:ext cx="4497297" cy="745315"/>
          </a:xfrm>
          <a:prstGeom prst="rect">
            <a:avLst/>
          </a:prstGeom>
        </p:spPr>
      </p:pic>
      <p:grpSp>
        <p:nvGrpSpPr>
          <p:cNvPr id="10" name="Group 9"/>
          <p:cNvGrpSpPr/>
          <p:nvPr userDrawn="1"/>
        </p:nvGrpSpPr>
        <p:grpSpPr>
          <a:xfrm>
            <a:off x="8714232" y="4041648"/>
            <a:ext cx="3074395" cy="2060440"/>
            <a:chOff x="5701703" y="682760"/>
            <a:chExt cx="3074395" cy="2060440"/>
          </a:xfrm>
        </p:grpSpPr>
        <p:sp>
          <p:nvSpPr>
            <p:cNvPr id="11" name="Freeform 1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1703" y="1523009"/>
              <a:ext cx="3074395" cy="252000"/>
            </a:xfrm>
            <a:prstGeom prst="rect">
              <a:avLst/>
            </a:prstGeom>
          </p:spPr>
        </p:pic>
      </p:grpSp>
      <p:pic>
        <p:nvPicPr>
          <p:cNvPr id="18" name="Picture 17" descr="Acc_Operations_StratLine_Wht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82712" y="6300216"/>
            <a:ext cx="3739896" cy="227905"/>
          </a:xfrm>
          <a:prstGeom prst="rect">
            <a:avLst/>
          </a:prstGeom>
        </p:spPr>
      </p:pic>
      <p:sp>
        <p:nvSpPr>
          <p:cNvPr id="15" name="Text Placeholder 6"/>
          <p:cNvSpPr>
            <a:spLocks noGrp="1"/>
          </p:cNvSpPr>
          <p:nvPr>
            <p:ph type="body" sz="quarter" idx="11" hasCustomPrompt="1"/>
          </p:nvPr>
        </p:nvSpPr>
        <p:spPr>
          <a:xfrm>
            <a:off x="455613" y="2670048"/>
            <a:ext cx="3800475" cy="463550"/>
          </a:xfrm>
        </p:spPr>
        <p:txBody>
          <a:bodyPr/>
          <a:lstStyle>
            <a:lvl1pPr marL="0" indent="0">
              <a:buFontTx/>
              <a:buNone/>
              <a:defRPr sz="1600" baseline="0">
                <a:solidFill>
                  <a:schemeClr val="bg1"/>
                </a:solidFill>
              </a:defRPr>
            </a:lvl1pPr>
            <a:lvl2pPr marL="226800" indent="0">
              <a:buFontTx/>
              <a:buNone/>
              <a:defRPr/>
            </a:lvl2pPr>
            <a:lvl3pPr marL="457200" indent="0">
              <a:buFontTx/>
              <a:buNone/>
              <a:defRPr/>
            </a:lvl3pPr>
            <a:lvl4pPr marL="684000" indent="0">
              <a:buFontTx/>
              <a:buNone/>
              <a:defRPr/>
            </a:lvl4pPr>
            <a:lvl5pPr marL="914400" indent="0">
              <a:buFontTx/>
              <a:buNone/>
              <a:defRPr/>
            </a:lvl5pPr>
          </a:lstStyle>
          <a:p>
            <a:pPr lvl="0"/>
            <a:r>
              <a:rPr lang="en-US" dirty="0" smtClean="0"/>
              <a:t>Click to add date</a:t>
            </a:r>
            <a:endParaRPr lang="en-US" dirty="0"/>
          </a:p>
        </p:txBody>
      </p:sp>
      <p:sp>
        <p:nvSpPr>
          <p:cNvPr id="17" name="Text Placeholder 8"/>
          <p:cNvSpPr>
            <a:spLocks noGrp="1"/>
          </p:cNvSpPr>
          <p:nvPr>
            <p:ph type="body" sz="quarter" idx="10"/>
          </p:nvPr>
        </p:nvSpPr>
        <p:spPr>
          <a:xfrm>
            <a:off x="458788" y="1910922"/>
            <a:ext cx="4024312" cy="759254"/>
          </a:xfrm>
        </p:spPr>
        <p:txBody>
          <a:bodyPr>
            <a:noAutofit/>
          </a:bodyPr>
          <a:lstStyle>
            <a:lvl1pPr marL="0" marR="0" indent="0" algn="l" defTabSz="914400" rtl="0" eaLnBrk="1" fontAlgn="auto" latinLnBrk="0" hangingPunct="1">
              <a:lnSpc>
                <a:spcPct val="100000"/>
              </a:lnSpc>
              <a:spcBef>
                <a:spcPts val="0"/>
              </a:spcBef>
              <a:spcAft>
                <a:spcPts val="0"/>
              </a:spcAft>
              <a:buClr>
                <a:schemeClr val="tx1"/>
              </a:buClr>
              <a:buSzPct val="80000"/>
              <a:buFont typeface="Arial" pitchFamily="34" charset="0"/>
              <a:buNone/>
              <a:tabLst/>
              <a:defRPr sz="24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endParaRPr lang="en-US" sz="2400" dirty="0" smtClean="0"/>
          </a:p>
        </p:txBody>
      </p:sp>
    </p:spTree>
    <p:extLst>
      <p:ext uri="{BB962C8B-B14F-4D97-AF65-F5344CB8AC3E}">
        <p14:creationId xmlns:p14="http://schemas.microsoft.com/office/powerpoint/2010/main" val="134670637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Divider Slide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2728163"/>
            <a:ext cx="11256961"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Master Divider Slide Headline</a:t>
            </a:r>
            <a:endParaRPr lang="en-US" dirty="0"/>
          </a:p>
        </p:txBody>
      </p:sp>
      <p:sp>
        <p:nvSpPr>
          <p:cNvPr id="6"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4"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346994932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pPr>
                <a:defRPr/>
              </a:pPr>
              <a:t>‹#›</a:t>
            </a:fld>
            <a:endParaRPr lang="en-US" dirty="0"/>
          </a:p>
        </p:txBody>
      </p:sp>
      <p:sp>
        <p:nvSpPr>
          <p:cNvPr id="5" name="Footer Placeholder 3"/>
          <p:cNvSpPr>
            <a:spLocks noGrp="1"/>
          </p:cNvSpPr>
          <p:nvPr>
            <p:ph type="ftr" sz="quarter" idx="3"/>
          </p:nvPr>
        </p:nvSpPr>
        <p:spPr>
          <a:xfrm>
            <a:off x="465138" y="6575425"/>
            <a:ext cx="5412319" cy="128588"/>
          </a:xfrm>
          <a:prstGeom prst="rect">
            <a:avLst/>
          </a:prstGeom>
          <a:noFill/>
        </p:spPr>
        <p:txBody>
          <a:bodyPr wrap="square" lIns="0" anchor="ctr" anchorCtr="0">
            <a:noAutofit/>
          </a:bodyPr>
          <a:lstStyle>
            <a:lvl1pPr>
              <a:defRPr lang="en-AU" sz="900">
                <a:solidFill>
                  <a:schemeClr val="tx2"/>
                </a:solidFill>
                <a:latin typeface="+mn-lt"/>
              </a:defRPr>
            </a:lvl1pPr>
          </a:lstStyle>
          <a:p>
            <a:r>
              <a:rPr lang="en-US" dirty="0" smtClean="0"/>
              <a:t>Copyright © 2015 Accenture  All rights reserved.</a:t>
            </a:r>
            <a:endParaRPr lang="en-US" dirty="0"/>
          </a:p>
        </p:txBody>
      </p:sp>
      <p:grpSp>
        <p:nvGrpSpPr>
          <p:cNvPr id="6" name="Group 5" hidden="1"/>
          <p:cNvGrpSpPr/>
          <p:nvPr userDrawn="1"/>
        </p:nvGrpSpPr>
        <p:grpSpPr>
          <a:xfrm>
            <a:off x="0" y="0"/>
            <a:ext cx="12187238"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808522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
        <p:nvSpPr>
          <p:cNvPr id="10" name="Content Placeholder 9"/>
          <p:cNvSpPr>
            <a:spLocks noGrp="1"/>
          </p:cNvSpPr>
          <p:nvPr>
            <p:ph sz="quarter" idx="14"/>
          </p:nvPr>
        </p:nvSpPr>
        <p:spPr>
          <a:xfrm>
            <a:off x="465138" y="1157725"/>
            <a:ext cx="11256962" cy="53351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5"/>
          </p:nvPr>
        </p:nvSpPr>
        <p:spPr/>
        <p:txBody>
          <a:bodyPr/>
          <a:lstStyle/>
          <a:p>
            <a:r>
              <a:rPr lang="en-US" dirty="0" smtClean="0"/>
              <a:t>Copyright © 2015 Accenture  All rights reserved.</a:t>
            </a:r>
            <a:endParaRPr lang="en-US" dirty="0"/>
          </a:p>
        </p:txBody>
      </p:sp>
    </p:spTree>
    <p:extLst>
      <p:ext uri="{BB962C8B-B14F-4D97-AF65-F5344CB8AC3E}">
        <p14:creationId xmlns:p14="http://schemas.microsoft.com/office/powerpoint/2010/main" val="18880377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465138" y="1162050"/>
            <a:ext cx="11256962" cy="5329056"/>
          </a:xfrm>
        </p:spPr>
        <p:txBody>
          <a:bodyPr/>
          <a:lstStyle>
            <a:lvl1pPr marL="0" indent="0">
              <a:buNone/>
              <a:defRPr sz="2400" b="1">
                <a:solidFill>
                  <a:srgbClr val="993399"/>
                </a:solidFill>
              </a:defRPr>
            </a:lvl1pPr>
            <a:lvl2pPr marL="0" indent="-230400">
              <a:buFont typeface="Arial" pitchFamily="34" charset="0"/>
              <a:buChar char="•"/>
              <a:defRPr/>
            </a:lvl2pPr>
            <a:lvl3pPr marL="457200" indent="-230400">
              <a:buFont typeface="Arial" pitchFamily="34" charset="0"/>
              <a:buChar char="–"/>
              <a:defRPr/>
            </a:lvl3pPr>
            <a:lvl4pPr marL="687600" indent="-226800">
              <a:buFont typeface="Arial" pitchFamily="34" charset="0"/>
              <a:buChar char="•"/>
              <a:defRPr/>
            </a:lvl4pPr>
            <a:lvl5pPr marL="914400" indent="-230400">
              <a:buFont typeface="Arial" pitchFamily="34" charset="0"/>
              <a:buChar char="–"/>
              <a:defRPr/>
            </a:lvl5p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Footer Placeholder 4"/>
          <p:cNvSpPr>
            <a:spLocks noGrp="1"/>
          </p:cNvSpPr>
          <p:nvPr>
            <p:ph type="ftr" sz="quarter" idx="12"/>
          </p:nvPr>
        </p:nvSpPr>
        <p:spPr/>
        <p:txBody>
          <a:bodyPr/>
          <a:lstStyle/>
          <a:p>
            <a:r>
              <a:rPr lang="en-US" dirty="0" smtClean="0"/>
              <a:t>Copyright © 2015 Accenture  All rights reserved.</a:t>
            </a:r>
            <a:endParaRPr lang="en-US" dirty="0"/>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8826889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6"/>
          </p:nvPr>
        </p:nvSpPr>
        <p:spPr>
          <a:xfrm>
            <a:off x="465138" y="1180210"/>
            <a:ext cx="5521325" cy="5292000"/>
          </a:xfrm>
        </p:spPr>
        <p:txBody>
          <a:bodyPr/>
          <a:lstStyle>
            <a:lvl1pPr>
              <a:defRPr sz="2000"/>
            </a:lvl1pPr>
            <a:lvl2pPr>
              <a:defRPr sz="18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quarter" idx="17"/>
          </p:nvPr>
        </p:nvSpPr>
        <p:spPr>
          <a:xfrm>
            <a:off x="6200775" y="1180210"/>
            <a:ext cx="5521325" cy="5292000"/>
          </a:xfrm>
        </p:spPr>
        <p:txBody>
          <a:bodyPr/>
          <a:lstStyle>
            <a:lvl1pPr>
              <a:defRPr sz="2000"/>
            </a:lvl1pPr>
            <a:lvl2pPr>
              <a:defRPr sz="18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8"/>
          </p:nvPr>
        </p:nvSpPr>
        <p:spPr/>
        <p:txBody>
          <a:bodyPr/>
          <a:lstStyle/>
          <a:p>
            <a:r>
              <a:rPr lang="en-US" dirty="0" smtClean="0"/>
              <a:t>Copyright © 2015 Accenture  All rights reserved.</a:t>
            </a:r>
            <a:endParaRPr lang="en-US" dirty="0"/>
          </a:p>
        </p:txBody>
      </p:sp>
    </p:spTree>
    <p:extLst>
      <p:ext uri="{BB962C8B-B14F-4D97-AF65-F5344CB8AC3E}">
        <p14:creationId xmlns:p14="http://schemas.microsoft.com/office/powerpoint/2010/main" val="4095975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dirty="0" smtClean="0"/>
              <a:t>Click to edit Master title style</a:t>
            </a:r>
            <a:endParaRPr lang="en-US" dirty="0"/>
          </a:p>
        </p:txBody>
      </p:sp>
      <p:sp>
        <p:nvSpPr>
          <p:cNvPr id="2" name="Footer Placeholder 1"/>
          <p:cNvSpPr>
            <a:spLocks noGrp="1"/>
          </p:cNvSpPr>
          <p:nvPr>
            <p:ph type="ftr" sz="quarter" idx="18"/>
          </p:nvPr>
        </p:nvSpPr>
        <p:spPr/>
        <p:txBody>
          <a:bodyPr/>
          <a:lstStyle/>
          <a:p>
            <a:r>
              <a:rPr lang="en-US" dirty="0" smtClean="0"/>
              <a:t>Copyright © 2015 Accenture  All rights reserved.</a:t>
            </a:r>
            <a:endParaRPr lang="en-US" dirty="0"/>
          </a:p>
        </p:txBody>
      </p:sp>
      <p:sp>
        <p:nvSpPr>
          <p:cNvPr id="9" name="Content Placeholder 3"/>
          <p:cNvSpPr>
            <a:spLocks noGrp="1"/>
          </p:cNvSpPr>
          <p:nvPr>
            <p:ph sz="quarter" idx="16"/>
          </p:nvPr>
        </p:nvSpPr>
        <p:spPr>
          <a:xfrm>
            <a:off x="465138" y="1180210"/>
            <a:ext cx="5521325" cy="5292000"/>
          </a:xfrm>
        </p:spPr>
        <p:txBody>
          <a:bodyPr/>
          <a:lstStyle>
            <a:lvl1pPr marL="0" indent="0">
              <a:buNone/>
              <a:defRPr sz="2000" b="1">
                <a:solidFill>
                  <a:srgbClr val="993399"/>
                </a:solidFill>
              </a:defRPr>
            </a:lvl1pPr>
            <a:lvl2pPr marL="0" indent="-230400">
              <a:buFont typeface="Arial" pitchFamily="34" charset="0"/>
              <a:buChar char="•"/>
              <a:defRPr sz="2000"/>
            </a:lvl2pPr>
            <a:lvl3pPr marL="457200" indent="-230400">
              <a:buFont typeface="Arial" pitchFamily="34" charset="0"/>
              <a:buChar char="–"/>
              <a:defRPr sz="1800"/>
            </a:lvl3pPr>
            <a:lvl4pPr marL="687600" indent="-226800">
              <a:buFont typeface="Arial" pitchFamily="34" charset="0"/>
              <a:buChar char="•"/>
              <a:defRPr sz="1600"/>
            </a:lvl4pPr>
            <a:lvl5pPr marL="914400" indent="-230400">
              <a:buFont typeface="Arial" pitchFamily="34" charset="0"/>
              <a:buChar cha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Content Placeholder 3"/>
          <p:cNvSpPr>
            <a:spLocks noGrp="1"/>
          </p:cNvSpPr>
          <p:nvPr>
            <p:ph sz="quarter" idx="19"/>
          </p:nvPr>
        </p:nvSpPr>
        <p:spPr>
          <a:xfrm>
            <a:off x="6200774" y="1180210"/>
            <a:ext cx="5521325" cy="5292000"/>
          </a:xfrm>
        </p:spPr>
        <p:txBody>
          <a:bodyPr/>
          <a:lstStyle>
            <a:lvl1pPr marL="0" indent="0">
              <a:buNone/>
              <a:defRPr sz="2000" b="1">
                <a:solidFill>
                  <a:srgbClr val="993399"/>
                </a:solidFill>
              </a:defRPr>
            </a:lvl1pPr>
            <a:lvl2pPr marL="0" indent="-230400">
              <a:buFont typeface="Arial" pitchFamily="34" charset="0"/>
              <a:buChar char="•"/>
              <a:defRPr sz="2000"/>
            </a:lvl2pPr>
            <a:lvl3pPr marL="457200" indent="-230400">
              <a:buFont typeface="Arial" pitchFamily="34" charset="0"/>
              <a:buChar char="–"/>
              <a:defRPr sz="1800"/>
            </a:lvl3pPr>
            <a:lvl4pPr marL="687600" indent="-226800">
              <a:buFont typeface="Arial" pitchFamily="34" charset="0"/>
              <a:buChar char="•"/>
              <a:defRPr sz="1600"/>
            </a:lvl4pPr>
            <a:lvl5pPr marL="914400" indent="-230400">
              <a:buFont typeface="Arial" pitchFamily="34" charset="0"/>
              <a:buChar cha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821687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tx2"/>
                </a:solidFill>
              </a:defRPr>
            </a:lvl1p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lvl1pPr>
              <a:defRPr>
                <a:solidFill>
                  <a:srgbClr val="000000"/>
                </a:solidFill>
              </a:defRPr>
            </a:lvl1pPr>
          </a:lstStyle>
          <a:p>
            <a:r>
              <a:rPr lang="en-US" dirty="0" smtClean="0"/>
              <a:t>Click to edit Master title style</a:t>
            </a:r>
            <a:endParaRPr lang="en-US" dirty="0"/>
          </a:p>
        </p:txBody>
      </p:sp>
      <p:sp>
        <p:nvSpPr>
          <p:cNvPr id="2" name="Footer Placeholder 1"/>
          <p:cNvSpPr>
            <a:spLocks noGrp="1"/>
          </p:cNvSpPr>
          <p:nvPr>
            <p:ph type="ftr" sz="quarter" idx="12"/>
          </p:nvPr>
        </p:nvSpPr>
        <p:spPr/>
        <p:txBody>
          <a:bodyPr/>
          <a:lstStyle>
            <a:lvl1pPr>
              <a:defRPr>
                <a:solidFill>
                  <a:schemeClr val="tx2"/>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39570406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6_Title Slide with White Signatu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13" name="Picture 12" descr="Acc_Operations_GP_Lockup_Wht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8313" y="459153"/>
            <a:ext cx="4497297" cy="745315"/>
          </a:xfrm>
          <a:prstGeom prst="rect">
            <a:avLst/>
          </a:prstGeom>
        </p:spPr>
      </p:pic>
      <p:grpSp>
        <p:nvGrpSpPr>
          <p:cNvPr id="10" name="Group 9"/>
          <p:cNvGrpSpPr/>
          <p:nvPr userDrawn="1"/>
        </p:nvGrpSpPr>
        <p:grpSpPr>
          <a:xfrm>
            <a:off x="8714232" y="3813048"/>
            <a:ext cx="3074395" cy="2060440"/>
            <a:chOff x="5701703" y="682760"/>
            <a:chExt cx="3074395" cy="2060440"/>
          </a:xfrm>
        </p:grpSpPr>
        <p:sp>
          <p:nvSpPr>
            <p:cNvPr id="11" name="Freeform 1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1703" y="1523009"/>
              <a:ext cx="3074395" cy="252000"/>
            </a:xfrm>
            <a:prstGeom prst="rect">
              <a:avLst/>
            </a:prstGeom>
          </p:spPr>
        </p:pic>
      </p:grpSp>
      <p:pic>
        <p:nvPicPr>
          <p:cNvPr id="18" name="Picture 17" descr="Acc_Operations_StratLine_Wht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82712" y="6300216"/>
            <a:ext cx="3739896" cy="227905"/>
          </a:xfrm>
          <a:prstGeom prst="rect">
            <a:avLst/>
          </a:prstGeom>
        </p:spPr>
      </p:pic>
      <p:sp>
        <p:nvSpPr>
          <p:cNvPr id="15" name="Text Placeholder 6"/>
          <p:cNvSpPr>
            <a:spLocks noGrp="1"/>
          </p:cNvSpPr>
          <p:nvPr>
            <p:ph type="body" sz="quarter" idx="11" hasCustomPrompt="1"/>
          </p:nvPr>
        </p:nvSpPr>
        <p:spPr>
          <a:xfrm>
            <a:off x="455613" y="2670048"/>
            <a:ext cx="3800475" cy="463550"/>
          </a:xfrm>
        </p:spPr>
        <p:txBody>
          <a:bodyPr/>
          <a:lstStyle>
            <a:lvl1pPr marL="0" indent="0">
              <a:buFontTx/>
              <a:buNone/>
              <a:defRPr sz="1600" baseline="0">
                <a:solidFill>
                  <a:schemeClr val="bg1"/>
                </a:solidFill>
              </a:defRPr>
            </a:lvl1pPr>
            <a:lvl2pPr marL="226800" indent="0">
              <a:buFontTx/>
              <a:buNone/>
              <a:defRPr/>
            </a:lvl2pPr>
            <a:lvl3pPr marL="457200" indent="0">
              <a:buFontTx/>
              <a:buNone/>
              <a:defRPr/>
            </a:lvl3pPr>
            <a:lvl4pPr marL="684000" indent="0">
              <a:buFontTx/>
              <a:buNone/>
              <a:defRPr/>
            </a:lvl4pPr>
            <a:lvl5pPr marL="914400" indent="0">
              <a:buFontTx/>
              <a:buNone/>
              <a:defRPr/>
            </a:lvl5pPr>
          </a:lstStyle>
          <a:p>
            <a:pPr lvl="0"/>
            <a:r>
              <a:rPr lang="en-US" dirty="0" smtClean="0"/>
              <a:t>Click to add date</a:t>
            </a:r>
            <a:endParaRPr lang="en-US" dirty="0"/>
          </a:p>
        </p:txBody>
      </p:sp>
      <p:sp>
        <p:nvSpPr>
          <p:cNvPr id="17" name="Text Placeholder 8"/>
          <p:cNvSpPr>
            <a:spLocks noGrp="1"/>
          </p:cNvSpPr>
          <p:nvPr>
            <p:ph type="body" sz="quarter" idx="10"/>
          </p:nvPr>
        </p:nvSpPr>
        <p:spPr>
          <a:xfrm>
            <a:off x="458788" y="1910922"/>
            <a:ext cx="4024312" cy="759254"/>
          </a:xfrm>
        </p:spPr>
        <p:txBody>
          <a:bodyPr>
            <a:noAutofit/>
          </a:bodyPr>
          <a:lstStyle>
            <a:lvl1pPr marL="0" marR="0" indent="0" algn="l" defTabSz="914400" rtl="0" eaLnBrk="1" fontAlgn="auto" latinLnBrk="0" hangingPunct="1">
              <a:lnSpc>
                <a:spcPct val="100000"/>
              </a:lnSpc>
              <a:spcBef>
                <a:spcPts val="0"/>
              </a:spcBef>
              <a:spcAft>
                <a:spcPts val="0"/>
              </a:spcAft>
              <a:buClr>
                <a:schemeClr val="tx1"/>
              </a:buClr>
              <a:buSzPct val="80000"/>
              <a:buFont typeface="Arial" pitchFamily="34" charset="0"/>
              <a:buNone/>
              <a:tabLst/>
              <a:defRPr sz="24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endParaRPr lang="en-US" sz="2400" dirty="0" smtClean="0"/>
          </a:p>
        </p:txBody>
      </p:sp>
    </p:spTree>
    <p:extLst>
      <p:ext uri="{BB962C8B-B14F-4D97-AF65-F5344CB8AC3E}">
        <p14:creationId xmlns:p14="http://schemas.microsoft.com/office/powerpoint/2010/main" val="40081900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7_Title Slide with White Signatu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13" name="Picture 12" descr="Acc_Operations_GP_Lockup_Wht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8313" y="459153"/>
            <a:ext cx="4497297" cy="745315"/>
          </a:xfrm>
          <a:prstGeom prst="rect">
            <a:avLst/>
          </a:prstGeom>
        </p:spPr>
      </p:pic>
      <p:grpSp>
        <p:nvGrpSpPr>
          <p:cNvPr id="10" name="Group 9"/>
          <p:cNvGrpSpPr/>
          <p:nvPr userDrawn="1"/>
        </p:nvGrpSpPr>
        <p:grpSpPr>
          <a:xfrm>
            <a:off x="8714232" y="3328416"/>
            <a:ext cx="3074395" cy="2060440"/>
            <a:chOff x="5701703" y="682760"/>
            <a:chExt cx="3074395" cy="2060440"/>
          </a:xfrm>
        </p:grpSpPr>
        <p:sp>
          <p:nvSpPr>
            <p:cNvPr id="11" name="Freeform 1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1703" y="1523009"/>
              <a:ext cx="3074395" cy="252000"/>
            </a:xfrm>
            <a:prstGeom prst="rect">
              <a:avLst/>
            </a:prstGeom>
          </p:spPr>
        </p:pic>
      </p:grpSp>
      <p:pic>
        <p:nvPicPr>
          <p:cNvPr id="18" name="Picture 17" descr="Acc_Operations_StratLine_Wht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82712" y="6300216"/>
            <a:ext cx="3739896" cy="227905"/>
          </a:xfrm>
          <a:prstGeom prst="rect">
            <a:avLst/>
          </a:prstGeom>
        </p:spPr>
      </p:pic>
      <p:sp>
        <p:nvSpPr>
          <p:cNvPr id="15" name="Text Placeholder 6"/>
          <p:cNvSpPr>
            <a:spLocks noGrp="1"/>
          </p:cNvSpPr>
          <p:nvPr>
            <p:ph type="body" sz="quarter" idx="11" hasCustomPrompt="1"/>
          </p:nvPr>
        </p:nvSpPr>
        <p:spPr>
          <a:xfrm>
            <a:off x="455613" y="2670048"/>
            <a:ext cx="3800475" cy="463550"/>
          </a:xfrm>
        </p:spPr>
        <p:txBody>
          <a:bodyPr/>
          <a:lstStyle>
            <a:lvl1pPr marL="0" indent="0">
              <a:buFontTx/>
              <a:buNone/>
              <a:defRPr sz="1600" baseline="0">
                <a:solidFill>
                  <a:schemeClr val="bg1"/>
                </a:solidFill>
              </a:defRPr>
            </a:lvl1pPr>
            <a:lvl2pPr marL="226800" indent="0">
              <a:buFontTx/>
              <a:buNone/>
              <a:defRPr/>
            </a:lvl2pPr>
            <a:lvl3pPr marL="457200" indent="0">
              <a:buFontTx/>
              <a:buNone/>
              <a:defRPr/>
            </a:lvl3pPr>
            <a:lvl4pPr marL="684000" indent="0">
              <a:buFontTx/>
              <a:buNone/>
              <a:defRPr/>
            </a:lvl4pPr>
            <a:lvl5pPr marL="914400" indent="0">
              <a:buFontTx/>
              <a:buNone/>
              <a:defRPr/>
            </a:lvl5pPr>
          </a:lstStyle>
          <a:p>
            <a:pPr lvl="0"/>
            <a:r>
              <a:rPr lang="en-US" dirty="0" smtClean="0"/>
              <a:t>Click to add date</a:t>
            </a:r>
            <a:endParaRPr lang="en-US" dirty="0"/>
          </a:p>
        </p:txBody>
      </p:sp>
      <p:sp>
        <p:nvSpPr>
          <p:cNvPr id="17" name="Text Placeholder 8"/>
          <p:cNvSpPr>
            <a:spLocks noGrp="1"/>
          </p:cNvSpPr>
          <p:nvPr>
            <p:ph type="body" sz="quarter" idx="10"/>
          </p:nvPr>
        </p:nvSpPr>
        <p:spPr>
          <a:xfrm>
            <a:off x="458788" y="1910922"/>
            <a:ext cx="4024312" cy="759254"/>
          </a:xfrm>
        </p:spPr>
        <p:txBody>
          <a:bodyPr>
            <a:noAutofit/>
          </a:bodyPr>
          <a:lstStyle>
            <a:lvl1pPr marL="0" marR="0" indent="0" algn="l" defTabSz="914400" rtl="0" eaLnBrk="1" fontAlgn="auto" latinLnBrk="0" hangingPunct="1">
              <a:lnSpc>
                <a:spcPct val="100000"/>
              </a:lnSpc>
              <a:spcBef>
                <a:spcPts val="0"/>
              </a:spcBef>
              <a:spcAft>
                <a:spcPts val="0"/>
              </a:spcAft>
              <a:buClr>
                <a:schemeClr val="tx1"/>
              </a:buClr>
              <a:buSzPct val="80000"/>
              <a:buFont typeface="Arial" pitchFamily="34" charset="0"/>
              <a:buNone/>
              <a:tabLst/>
              <a:defRPr sz="24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endParaRPr lang="en-US" sz="2400" dirty="0" smtClean="0"/>
          </a:p>
        </p:txBody>
      </p:sp>
    </p:spTree>
    <p:extLst>
      <p:ext uri="{BB962C8B-B14F-4D97-AF65-F5344CB8AC3E}">
        <p14:creationId xmlns:p14="http://schemas.microsoft.com/office/powerpoint/2010/main" val="289662599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8_Title Slide with White Signature">
    <p:bg>
      <p:bgPr>
        <a:blipFill rotWithShape="1">
          <a:blip r:embed="rId2" cstate="email"/>
          <a:stretch>
            <a:fillRect/>
          </a:stretch>
        </a:blipFill>
        <a:effectLst/>
      </p:bgPr>
    </p:bg>
    <p:spTree>
      <p:nvGrpSpPr>
        <p:cNvPr id="1" name=""/>
        <p:cNvGrpSpPr/>
        <p:nvPr/>
      </p:nvGrpSpPr>
      <p:grpSpPr>
        <a:xfrm>
          <a:off x="0" y="0"/>
          <a:ext cx="0" cy="0"/>
          <a:chOff x="0" y="0"/>
          <a:chExt cx="0" cy="0"/>
        </a:xfrm>
      </p:grpSpPr>
      <p:pic>
        <p:nvPicPr>
          <p:cNvPr id="2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980496" y="6305392"/>
            <a:ext cx="3739891" cy="227905"/>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4" name="Group 13"/>
          <p:cNvGrpSpPr/>
          <p:nvPr userDrawn="1"/>
        </p:nvGrpSpPr>
        <p:grpSpPr>
          <a:xfrm>
            <a:off x="8707464" y="3630168"/>
            <a:ext cx="3074395" cy="2060440"/>
            <a:chOff x="5659332" y="620688"/>
            <a:chExt cx="3074395" cy="2060440"/>
          </a:xfrm>
        </p:grpSpPr>
        <p:sp>
          <p:nvSpPr>
            <p:cNvPr id="16" name="Freeform 8"/>
            <p:cNvSpPr/>
            <p:nvPr userDrawn="1"/>
          </p:nvSpPr>
          <p:spPr>
            <a:xfrm>
              <a:off x="6121920" y="620688"/>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9"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659332" y="1453505"/>
              <a:ext cx="3074395" cy="251999"/>
            </a:xfrm>
            <a:prstGeom prst="rect">
              <a:avLst/>
            </a:prstGeom>
          </p:spPr>
        </p:pic>
      </p:grpSp>
      <p:pic>
        <p:nvPicPr>
          <p:cNvPr id="9" name="Picture 3"/>
          <p:cNvPicPr>
            <a:picLocks noChangeAspect="1" noChangeArrowheads="1"/>
          </p:cNvPicPr>
          <p:nvPr userDrawn="1"/>
        </p:nvPicPr>
        <p:blipFill>
          <a:blip r:embed="rId5" cstate="email">
            <a:extLst>
              <a:ext uri="{28A0092B-C50C-407E-A947-70E740481C1C}">
                <a14:useLocalDpi xmlns:a14="http://schemas.microsoft.com/office/drawing/2010/main"/>
              </a:ext>
            </a:extLst>
          </a:blip>
          <a:stretch>
            <a:fillRect/>
          </a:stretch>
        </p:blipFill>
        <p:spPr bwMode="auto">
          <a:xfrm>
            <a:off x="466343" y="458764"/>
            <a:ext cx="4498848" cy="745571"/>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Text Placeholder 6"/>
          <p:cNvSpPr>
            <a:spLocks noGrp="1"/>
          </p:cNvSpPr>
          <p:nvPr>
            <p:ph type="body" sz="quarter" idx="11" hasCustomPrompt="1"/>
          </p:nvPr>
        </p:nvSpPr>
        <p:spPr>
          <a:xfrm>
            <a:off x="455613" y="2670048"/>
            <a:ext cx="3800475" cy="463550"/>
          </a:xfrm>
        </p:spPr>
        <p:txBody>
          <a:bodyPr/>
          <a:lstStyle>
            <a:lvl1pPr marL="0" indent="0">
              <a:buFontTx/>
              <a:buNone/>
              <a:defRPr sz="1600" baseline="0">
                <a:solidFill>
                  <a:schemeClr val="tx1"/>
                </a:solidFill>
              </a:defRPr>
            </a:lvl1pPr>
            <a:lvl2pPr marL="226800" indent="0">
              <a:buFontTx/>
              <a:buNone/>
              <a:defRPr/>
            </a:lvl2pPr>
            <a:lvl3pPr marL="457200" indent="0">
              <a:buFontTx/>
              <a:buNone/>
              <a:defRPr/>
            </a:lvl3pPr>
            <a:lvl4pPr marL="684000" indent="0">
              <a:buFontTx/>
              <a:buNone/>
              <a:defRPr/>
            </a:lvl4pPr>
            <a:lvl5pPr marL="914400" indent="0">
              <a:buFontTx/>
              <a:buNone/>
              <a:defRPr/>
            </a:lvl5pPr>
          </a:lstStyle>
          <a:p>
            <a:pPr lvl="0"/>
            <a:r>
              <a:rPr lang="en-US" dirty="0" smtClean="0"/>
              <a:t>Click to add date</a:t>
            </a:r>
            <a:endParaRPr lang="en-US" dirty="0"/>
          </a:p>
        </p:txBody>
      </p:sp>
      <p:sp>
        <p:nvSpPr>
          <p:cNvPr id="17" name="Text Placeholder 8"/>
          <p:cNvSpPr>
            <a:spLocks noGrp="1"/>
          </p:cNvSpPr>
          <p:nvPr>
            <p:ph type="body" sz="quarter" idx="10"/>
          </p:nvPr>
        </p:nvSpPr>
        <p:spPr>
          <a:xfrm>
            <a:off x="458788" y="1910922"/>
            <a:ext cx="4024312" cy="759254"/>
          </a:xfrm>
        </p:spPr>
        <p:txBody>
          <a:bodyPr>
            <a:noAutofit/>
          </a:bodyPr>
          <a:lstStyle>
            <a:lvl1pPr marL="0" marR="0" indent="0" algn="l" defTabSz="914400" rtl="0" eaLnBrk="1" fontAlgn="auto" latinLnBrk="0" hangingPunct="1">
              <a:lnSpc>
                <a:spcPct val="100000"/>
              </a:lnSpc>
              <a:spcBef>
                <a:spcPts val="0"/>
              </a:spcBef>
              <a:spcAft>
                <a:spcPts val="0"/>
              </a:spcAft>
              <a:buClr>
                <a:schemeClr val="tx1"/>
              </a:buClr>
              <a:buSzPct val="80000"/>
              <a:buFont typeface="Arial" pitchFamily="34" charset="0"/>
              <a:buNone/>
              <a:tabLst/>
              <a:defRPr sz="2400" baseline="0">
                <a:solidFill>
                  <a:srgbClr val="000000"/>
                </a:solidFill>
              </a:defRPr>
            </a:lvl1pPr>
            <a:lvl2pPr marL="0" indent="0">
              <a:lnSpc>
                <a:spcPct val="100000"/>
              </a:lnSpc>
              <a:spcAft>
                <a:spcPts val="0"/>
              </a:spcAft>
              <a:buNone/>
              <a:defRPr sz="1900">
                <a:solidFill>
                  <a:schemeClr val="bg1"/>
                </a:solidFill>
              </a:defRPr>
            </a:lvl2pPr>
            <a:lvl3pPr marL="468000" indent="0">
              <a:buNone/>
              <a:defRPr/>
            </a:lvl3pPr>
          </a:lstStyle>
          <a:p>
            <a:endParaRPr lang="en-US" sz="2400" dirty="0" smtClean="0"/>
          </a:p>
        </p:txBody>
      </p:sp>
    </p:spTree>
    <p:extLst>
      <p:ext uri="{BB962C8B-B14F-4D97-AF65-F5344CB8AC3E}">
        <p14:creationId xmlns:p14="http://schemas.microsoft.com/office/powerpoint/2010/main" val="362365818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1_Title Slide with White Signatu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13" name="Picture 12" descr="Acc_Operations_GP_Lockup_Wht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8313" y="459153"/>
            <a:ext cx="4497297" cy="745315"/>
          </a:xfrm>
          <a:prstGeom prst="rect">
            <a:avLst/>
          </a:prstGeom>
        </p:spPr>
      </p:pic>
      <p:grpSp>
        <p:nvGrpSpPr>
          <p:cNvPr id="10" name="Group 9"/>
          <p:cNvGrpSpPr/>
          <p:nvPr userDrawn="1"/>
        </p:nvGrpSpPr>
        <p:grpSpPr>
          <a:xfrm>
            <a:off x="8714232" y="3145536"/>
            <a:ext cx="3074395" cy="2060440"/>
            <a:chOff x="5701703" y="682760"/>
            <a:chExt cx="3074395" cy="2060440"/>
          </a:xfrm>
        </p:grpSpPr>
        <p:sp>
          <p:nvSpPr>
            <p:cNvPr id="11" name="Freeform 1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1703" y="1523009"/>
              <a:ext cx="3074395" cy="252000"/>
            </a:xfrm>
            <a:prstGeom prst="rect">
              <a:avLst/>
            </a:prstGeom>
          </p:spPr>
        </p:pic>
      </p:grpSp>
      <p:pic>
        <p:nvPicPr>
          <p:cNvPr id="18" name="Picture 17" descr="Acc_Operations_StratLine_Wht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82712" y="6300216"/>
            <a:ext cx="3739896" cy="227905"/>
          </a:xfrm>
          <a:prstGeom prst="rect">
            <a:avLst/>
          </a:prstGeom>
        </p:spPr>
      </p:pic>
      <p:sp>
        <p:nvSpPr>
          <p:cNvPr id="15" name="Text Placeholder 6"/>
          <p:cNvSpPr>
            <a:spLocks noGrp="1"/>
          </p:cNvSpPr>
          <p:nvPr>
            <p:ph type="body" sz="quarter" idx="11" hasCustomPrompt="1"/>
          </p:nvPr>
        </p:nvSpPr>
        <p:spPr>
          <a:xfrm>
            <a:off x="455613" y="2670048"/>
            <a:ext cx="3800475" cy="463550"/>
          </a:xfrm>
        </p:spPr>
        <p:txBody>
          <a:bodyPr/>
          <a:lstStyle>
            <a:lvl1pPr marL="0" indent="0">
              <a:buFontTx/>
              <a:buNone/>
              <a:defRPr sz="1600" baseline="0">
                <a:solidFill>
                  <a:schemeClr val="bg1"/>
                </a:solidFill>
              </a:defRPr>
            </a:lvl1pPr>
            <a:lvl2pPr marL="226800" indent="0">
              <a:buFontTx/>
              <a:buNone/>
              <a:defRPr/>
            </a:lvl2pPr>
            <a:lvl3pPr marL="457200" indent="0">
              <a:buFontTx/>
              <a:buNone/>
              <a:defRPr/>
            </a:lvl3pPr>
            <a:lvl4pPr marL="684000" indent="0">
              <a:buFontTx/>
              <a:buNone/>
              <a:defRPr/>
            </a:lvl4pPr>
            <a:lvl5pPr marL="914400" indent="0">
              <a:buFontTx/>
              <a:buNone/>
              <a:defRPr/>
            </a:lvl5pPr>
          </a:lstStyle>
          <a:p>
            <a:pPr lvl="0"/>
            <a:r>
              <a:rPr lang="en-US" dirty="0" smtClean="0"/>
              <a:t>Click to add date</a:t>
            </a:r>
            <a:endParaRPr lang="en-US" dirty="0"/>
          </a:p>
        </p:txBody>
      </p:sp>
      <p:sp>
        <p:nvSpPr>
          <p:cNvPr id="17" name="Text Placeholder 8"/>
          <p:cNvSpPr>
            <a:spLocks noGrp="1"/>
          </p:cNvSpPr>
          <p:nvPr>
            <p:ph type="body" sz="quarter" idx="10"/>
          </p:nvPr>
        </p:nvSpPr>
        <p:spPr>
          <a:xfrm>
            <a:off x="458788" y="1910922"/>
            <a:ext cx="4024312" cy="759254"/>
          </a:xfrm>
        </p:spPr>
        <p:txBody>
          <a:bodyPr>
            <a:noAutofit/>
          </a:bodyPr>
          <a:lstStyle>
            <a:lvl1pPr marL="0" marR="0" indent="0" algn="l" defTabSz="914400" rtl="0" eaLnBrk="1" fontAlgn="auto" latinLnBrk="0" hangingPunct="1">
              <a:lnSpc>
                <a:spcPct val="100000"/>
              </a:lnSpc>
              <a:spcBef>
                <a:spcPts val="0"/>
              </a:spcBef>
              <a:spcAft>
                <a:spcPts val="0"/>
              </a:spcAft>
              <a:buClr>
                <a:schemeClr val="tx1"/>
              </a:buClr>
              <a:buSzPct val="80000"/>
              <a:buFont typeface="Arial" pitchFamily="34" charset="0"/>
              <a:buNone/>
              <a:tabLst/>
              <a:defRPr sz="24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endParaRPr lang="en-US" sz="2400" dirty="0" smtClean="0"/>
          </a:p>
        </p:txBody>
      </p:sp>
    </p:spTree>
    <p:extLst>
      <p:ext uri="{BB962C8B-B14F-4D97-AF65-F5344CB8AC3E}">
        <p14:creationId xmlns:p14="http://schemas.microsoft.com/office/powerpoint/2010/main" val="208591673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9_Title Slide with White Signatu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13" name="Picture 12" descr="Acc_Operations_GP_Lockup_Wht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8313" y="459153"/>
            <a:ext cx="4497297" cy="745315"/>
          </a:xfrm>
          <a:prstGeom prst="rect">
            <a:avLst/>
          </a:prstGeom>
        </p:spPr>
      </p:pic>
      <p:grpSp>
        <p:nvGrpSpPr>
          <p:cNvPr id="10" name="Group 9"/>
          <p:cNvGrpSpPr/>
          <p:nvPr userDrawn="1"/>
        </p:nvGrpSpPr>
        <p:grpSpPr>
          <a:xfrm>
            <a:off x="8714232" y="1133856"/>
            <a:ext cx="3074395" cy="2060440"/>
            <a:chOff x="5701703" y="682760"/>
            <a:chExt cx="3074395" cy="2060440"/>
          </a:xfrm>
        </p:grpSpPr>
        <p:sp>
          <p:nvSpPr>
            <p:cNvPr id="11" name="Freeform 1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1703" y="1523009"/>
              <a:ext cx="3074395" cy="252000"/>
            </a:xfrm>
            <a:prstGeom prst="rect">
              <a:avLst/>
            </a:prstGeom>
          </p:spPr>
        </p:pic>
      </p:grpSp>
      <p:pic>
        <p:nvPicPr>
          <p:cNvPr id="18" name="Picture 17" descr="Acc_Operations_StratLine_Wht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82712" y="6300216"/>
            <a:ext cx="3739896" cy="227905"/>
          </a:xfrm>
          <a:prstGeom prst="rect">
            <a:avLst/>
          </a:prstGeom>
        </p:spPr>
      </p:pic>
      <p:sp>
        <p:nvSpPr>
          <p:cNvPr id="15" name="Text Placeholder 6"/>
          <p:cNvSpPr>
            <a:spLocks noGrp="1"/>
          </p:cNvSpPr>
          <p:nvPr>
            <p:ph type="body" sz="quarter" idx="11" hasCustomPrompt="1"/>
          </p:nvPr>
        </p:nvSpPr>
        <p:spPr>
          <a:xfrm>
            <a:off x="455613" y="2670048"/>
            <a:ext cx="3800475" cy="463550"/>
          </a:xfrm>
        </p:spPr>
        <p:txBody>
          <a:bodyPr/>
          <a:lstStyle>
            <a:lvl1pPr marL="0" indent="0">
              <a:buFontTx/>
              <a:buNone/>
              <a:defRPr sz="1600" baseline="0">
                <a:solidFill>
                  <a:schemeClr val="bg1"/>
                </a:solidFill>
              </a:defRPr>
            </a:lvl1pPr>
            <a:lvl2pPr marL="226800" indent="0">
              <a:buFontTx/>
              <a:buNone/>
              <a:defRPr/>
            </a:lvl2pPr>
            <a:lvl3pPr marL="457200" indent="0">
              <a:buFontTx/>
              <a:buNone/>
              <a:defRPr/>
            </a:lvl3pPr>
            <a:lvl4pPr marL="684000" indent="0">
              <a:buFontTx/>
              <a:buNone/>
              <a:defRPr/>
            </a:lvl4pPr>
            <a:lvl5pPr marL="914400" indent="0">
              <a:buFontTx/>
              <a:buNone/>
              <a:defRPr/>
            </a:lvl5pPr>
          </a:lstStyle>
          <a:p>
            <a:pPr lvl="0"/>
            <a:r>
              <a:rPr lang="en-US" dirty="0" smtClean="0"/>
              <a:t>Click to add date</a:t>
            </a:r>
            <a:endParaRPr lang="en-US" dirty="0"/>
          </a:p>
        </p:txBody>
      </p:sp>
      <p:sp>
        <p:nvSpPr>
          <p:cNvPr id="17" name="Text Placeholder 8"/>
          <p:cNvSpPr>
            <a:spLocks noGrp="1"/>
          </p:cNvSpPr>
          <p:nvPr>
            <p:ph type="body" sz="quarter" idx="10"/>
          </p:nvPr>
        </p:nvSpPr>
        <p:spPr>
          <a:xfrm>
            <a:off x="458788" y="1910922"/>
            <a:ext cx="4024312" cy="759254"/>
          </a:xfrm>
        </p:spPr>
        <p:txBody>
          <a:bodyPr>
            <a:noAutofit/>
          </a:bodyPr>
          <a:lstStyle>
            <a:lvl1pPr marL="0" marR="0" indent="0" algn="l" defTabSz="914400" rtl="0" eaLnBrk="1" fontAlgn="auto" latinLnBrk="0" hangingPunct="1">
              <a:lnSpc>
                <a:spcPct val="100000"/>
              </a:lnSpc>
              <a:spcBef>
                <a:spcPts val="0"/>
              </a:spcBef>
              <a:spcAft>
                <a:spcPts val="0"/>
              </a:spcAft>
              <a:buClr>
                <a:schemeClr val="tx1"/>
              </a:buClr>
              <a:buSzPct val="80000"/>
              <a:buFont typeface="Arial" pitchFamily="34" charset="0"/>
              <a:buNone/>
              <a:tabLst/>
              <a:defRPr sz="24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endParaRPr lang="en-US" sz="2400" dirty="0" smtClean="0"/>
          </a:p>
        </p:txBody>
      </p:sp>
    </p:spTree>
    <p:extLst>
      <p:ext uri="{BB962C8B-B14F-4D97-AF65-F5344CB8AC3E}">
        <p14:creationId xmlns:p14="http://schemas.microsoft.com/office/powerpoint/2010/main" val="344388072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0_Title Slide with White Signatu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13" name="Picture 12" descr="Acc_Operations_GP_Lockup_Wht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8313" y="459153"/>
            <a:ext cx="4497297" cy="745315"/>
          </a:xfrm>
          <a:prstGeom prst="rect">
            <a:avLst/>
          </a:prstGeom>
        </p:spPr>
      </p:pic>
      <p:grpSp>
        <p:nvGrpSpPr>
          <p:cNvPr id="10" name="Group 9"/>
          <p:cNvGrpSpPr/>
          <p:nvPr userDrawn="1"/>
        </p:nvGrpSpPr>
        <p:grpSpPr>
          <a:xfrm>
            <a:off x="8714232" y="3328416"/>
            <a:ext cx="3074395" cy="2060440"/>
            <a:chOff x="5701703" y="682760"/>
            <a:chExt cx="3074395" cy="2060440"/>
          </a:xfrm>
        </p:grpSpPr>
        <p:sp>
          <p:nvSpPr>
            <p:cNvPr id="11" name="Freeform 1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01703" y="1523009"/>
              <a:ext cx="3074395" cy="252000"/>
            </a:xfrm>
            <a:prstGeom prst="rect">
              <a:avLst/>
            </a:prstGeom>
          </p:spPr>
        </p:pic>
      </p:grpSp>
      <p:pic>
        <p:nvPicPr>
          <p:cNvPr id="18" name="Picture 17" descr="Acc_Operations_StratLine_Wht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982712" y="6300216"/>
            <a:ext cx="3739896" cy="227905"/>
          </a:xfrm>
          <a:prstGeom prst="rect">
            <a:avLst/>
          </a:prstGeom>
        </p:spPr>
      </p:pic>
      <p:sp>
        <p:nvSpPr>
          <p:cNvPr id="15" name="Text Placeholder 6"/>
          <p:cNvSpPr>
            <a:spLocks noGrp="1"/>
          </p:cNvSpPr>
          <p:nvPr>
            <p:ph type="body" sz="quarter" idx="11" hasCustomPrompt="1"/>
          </p:nvPr>
        </p:nvSpPr>
        <p:spPr>
          <a:xfrm>
            <a:off x="455613" y="2670048"/>
            <a:ext cx="3800475" cy="463550"/>
          </a:xfrm>
        </p:spPr>
        <p:txBody>
          <a:bodyPr/>
          <a:lstStyle>
            <a:lvl1pPr marL="0" indent="0">
              <a:buFontTx/>
              <a:buNone/>
              <a:defRPr sz="1600" baseline="0">
                <a:solidFill>
                  <a:schemeClr val="bg1"/>
                </a:solidFill>
              </a:defRPr>
            </a:lvl1pPr>
            <a:lvl2pPr marL="226800" indent="0">
              <a:buFontTx/>
              <a:buNone/>
              <a:defRPr/>
            </a:lvl2pPr>
            <a:lvl3pPr marL="457200" indent="0">
              <a:buFontTx/>
              <a:buNone/>
              <a:defRPr/>
            </a:lvl3pPr>
            <a:lvl4pPr marL="684000" indent="0">
              <a:buFontTx/>
              <a:buNone/>
              <a:defRPr/>
            </a:lvl4pPr>
            <a:lvl5pPr marL="914400" indent="0">
              <a:buFontTx/>
              <a:buNone/>
              <a:defRPr/>
            </a:lvl5pPr>
          </a:lstStyle>
          <a:p>
            <a:pPr lvl="0"/>
            <a:r>
              <a:rPr lang="en-US" dirty="0" smtClean="0"/>
              <a:t>Click to add date</a:t>
            </a:r>
            <a:endParaRPr lang="en-US" dirty="0"/>
          </a:p>
        </p:txBody>
      </p:sp>
      <p:sp>
        <p:nvSpPr>
          <p:cNvPr id="17" name="Text Placeholder 8"/>
          <p:cNvSpPr>
            <a:spLocks noGrp="1"/>
          </p:cNvSpPr>
          <p:nvPr>
            <p:ph type="body" sz="quarter" idx="10"/>
          </p:nvPr>
        </p:nvSpPr>
        <p:spPr>
          <a:xfrm>
            <a:off x="458788" y="1910922"/>
            <a:ext cx="4024312" cy="759254"/>
          </a:xfrm>
        </p:spPr>
        <p:txBody>
          <a:bodyPr>
            <a:noAutofit/>
          </a:bodyPr>
          <a:lstStyle>
            <a:lvl1pPr marL="0" marR="0" indent="0" algn="l" defTabSz="914400" rtl="0" eaLnBrk="1" fontAlgn="auto" latinLnBrk="0" hangingPunct="1">
              <a:lnSpc>
                <a:spcPct val="100000"/>
              </a:lnSpc>
              <a:spcBef>
                <a:spcPts val="0"/>
              </a:spcBef>
              <a:spcAft>
                <a:spcPts val="0"/>
              </a:spcAft>
              <a:buClr>
                <a:schemeClr val="tx1"/>
              </a:buClr>
              <a:buSzPct val="80000"/>
              <a:buFont typeface="Arial" pitchFamily="34" charset="0"/>
              <a:buNone/>
              <a:tabLst/>
              <a:defRPr sz="24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endParaRPr lang="en-US" sz="2400" dirty="0" smtClean="0"/>
          </a:p>
        </p:txBody>
      </p:sp>
    </p:spTree>
    <p:extLst>
      <p:ext uri="{BB962C8B-B14F-4D97-AF65-F5344CB8AC3E}">
        <p14:creationId xmlns:p14="http://schemas.microsoft.com/office/powerpoint/2010/main" val="243656478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8_Divider Slide 1">
    <p:spTree>
      <p:nvGrpSpPr>
        <p:cNvPr id="1" name=""/>
        <p:cNvGrpSpPr/>
        <p:nvPr/>
      </p:nvGrpSpPr>
      <p:grpSpPr>
        <a:xfrm>
          <a:off x="0" y="0"/>
          <a:ext cx="0" cy="0"/>
          <a:chOff x="0" y="0"/>
          <a:chExt cx="0" cy="0"/>
        </a:xfrm>
      </p:grpSpPr>
      <p:pic>
        <p:nvPicPr>
          <p:cNvPr id="3" name="Picture 2" descr="background2_16x9_pool.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679"/>
            <a:ext cx="12187238" cy="6855321"/>
          </a:xfrm>
          <a:prstGeom prst="rect">
            <a:avLst/>
          </a:prstGeom>
        </p:spPr>
      </p:pic>
      <p:sp>
        <p:nvSpPr>
          <p:cNvPr id="2" name="Title 1"/>
          <p:cNvSpPr>
            <a:spLocks noGrp="1"/>
          </p:cNvSpPr>
          <p:nvPr>
            <p:ph type="ctrTitle" hasCustomPrompt="1"/>
          </p:nvPr>
        </p:nvSpPr>
        <p:spPr>
          <a:xfrm>
            <a:off x="465138" y="2718421"/>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6"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
        <p:nvSpPr>
          <p:cNvPr id="5" name="Footer Placeholder 1"/>
          <p:cNvSpPr>
            <a:spLocks noGrp="1"/>
          </p:cNvSpPr>
          <p:nvPr>
            <p:ph type="ftr" sz="quarter" idx="12"/>
          </p:nvPr>
        </p:nvSpPr>
        <p:spPr>
          <a:xfrm>
            <a:off x="455613" y="6575425"/>
            <a:ext cx="4060825" cy="128588"/>
          </a:xfrm>
        </p:spPr>
        <p:txBody>
          <a:bodyPr/>
          <a:lstStyle>
            <a:lvl1pPr>
              <a:defRPr>
                <a:solidFill>
                  <a:schemeClr val="bg1"/>
                </a:solidFill>
              </a:defRPr>
            </a:lvl1pPr>
          </a:lstStyle>
          <a:p>
            <a:r>
              <a:rPr lang="en-US" dirty="0" smtClean="0"/>
              <a:t>Copyright © 2015 Accenture  All rights reserved.</a:t>
            </a:r>
            <a:endParaRPr lang="en-US" dirty="0"/>
          </a:p>
        </p:txBody>
      </p:sp>
    </p:spTree>
    <p:extLst>
      <p:ext uri="{BB962C8B-B14F-4D97-AF65-F5344CB8AC3E}">
        <p14:creationId xmlns:p14="http://schemas.microsoft.com/office/powerpoint/2010/main" val="205958024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9"/>
            </p:custDataLst>
            <p:extLst>
              <p:ext uri="{D42A27DB-BD31-4B8C-83A1-F6EECF244321}">
                <p14:modId xmlns:p14="http://schemas.microsoft.com/office/powerpoint/2010/main" val="4108410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9"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65138" y="1157319"/>
            <a:ext cx="11256962" cy="5335557"/>
          </a:xfrm>
          <a:prstGeom prst="rect">
            <a:avLst/>
          </a:prstGeom>
        </p:spPr>
        <p:txBody>
          <a:bodyPr vert="horz" lIns="0" tIns="4572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Placeholder 1"/>
          <p:cNvSpPr>
            <a:spLocks noGrp="1"/>
          </p:cNvSpPr>
          <p:nvPr>
            <p:ph type="title"/>
          </p:nvPr>
        </p:nvSpPr>
        <p:spPr>
          <a:xfrm>
            <a:off x="465138" y="123700"/>
            <a:ext cx="11256962" cy="1002979"/>
          </a:xfrm>
          <a:prstGeom prst="rect">
            <a:avLst/>
          </a:prstGeom>
        </p:spPr>
        <p:txBody>
          <a:bodyPr vert="horz" lIns="0" tIns="45720" rIns="0" bIns="0" rtlCol="0" anchor="b" anchorCtr="0">
            <a:noAutofit/>
          </a:bodyPr>
          <a:lstStyle/>
          <a:p>
            <a:pPr lvl="0"/>
            <a:r>
              <a:rPr lang="en-US" dirty="0" smtClean="0"/>
              <a:t>Click to edit Master title style</a:t>
            </a:r>
            <a:endParaRPr lang="en-US" dirty="0"/>
          </a:p>
        </p:txBody>
      </p:sp>
      <p:sp>
        <p:nvSpPr>
          <p:cNvPr id="5"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pPr>
                <a:defRPr/>
              </a:pPr>
              <a:t>‹#›</a:t>
            </a:fld>
            <a:endParaRPr lang="en-US" dirty="0"/>
          </a:p>
        </p:txBody>
      </p:sp>
      <p:sp>
        <p:nvSpPr>
          <p:cNvPr id="4" name="Footer Placeholder 3"/>
          <p:cNvSpPr>
            <a:spLocks noGrp="1"/>
          </p:cNvSpPr>
          <p:nvPr>
            <p:ph type="ftr" sz="quarter" idx="3"/>
          </p:nvPr>
        </p:nvSpPr>
        <p:spPr>
          <a:xfrm>
            <a:off x="465138" y="6575425"/>
            <a:ext cx="5412319" cy="128588"/>
          </a:xfrm>
          <a:prstGeom prst="rect">
            <a:avLst/>
          </a:prstGeom>
          <a:noFill/>
        </p:spPr>
        <p:txBody>
          <a:bodyPr wrap="square" lIns="0" anchor="ctr" anchorCtr="0">
            <a:noAutofit/>
          </a:bodyPr>
          <a:lstStyle>
            <a:lvl1pPr>
              <a:defRPr lang="en-AU" sz="900">
                <a:solidFill>
                  <a:schemeClr val="tx2"/>
                </a:solidFill>
                <a:latin typeface="+mn-lt"/>
              </a:defRPr>
            </a:lvl1pPr>
          </a:lstStyle>
          <a:p>
            <a:r>
              <a:rPr lang="en-US" dirty="0" smtClean="0"/>
              <a:t>Copyright © 2015 Accenture  All rights reserved.</a:t>
            </a:r>
            <a:endParaRPr lang="en-US" dirty="0"/>
          </a:p>
        </p:txBody>
      </p:sp>
      <p:cxnSp>
        <p:nvCxnSpPr>
          <p:cNvPr id="8" name="Straight Connector 7"/>
          <p:cNvCxnSpPr/>
          <p:nvPr/>
        </p:nvCxnSpPr>
        <p:spPr>
          <a:xfrm>
            <a:off x="465138" y="1159234"/>
            <a:ext cx="1172210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74" r:id="rId1"/>
    <p:sldLayoutId id="2147483790" r:id="rId2"/>
    <p:sldLayoutId id="2147483791" r:id="rId3"/>
    <p:sldLayoutId id="2147483792" r:id="rId4"/>
    <p:sldLayoutId id="2147483793" r:id="rId5"/>
    <p:sldLayoutId id="2147483796" r:id="rId6"/>
    <p:sldLayoutId id="2147483794" r:id="rId7"/>
    <p:sldLayoutId id="2147483795" r:id="rId8"/>
    <p:sldLayoutId id="2147483773" r:id="rId9"/>
    <p:sldLayoutId id="2147483772" r:id="rId10"/>
    <p:sldLayoutId id="2147483786" r:id="rId11"/>
    <p:sldLayoutId id="2147483766" r:id="rId12"/>
    <p:sldLayoutId id="2147483788" r:id="rId13"/>
    <p:sldLayoutId id="2147483797" r:id="rId14"/>
    <p:sldLayoutId id="2147483763" r:id="rId15"/>
    <p:sldLayoutId id="2147483765" r:id="rId16"/>
    <p:sldLayoutId id="2147483782" r:id="rId17"/>
    <p:sldLayoutId id="2147483761" r:id="rId18"/>
    <p:sldLayoutId id="2147483723" r:id="rId19"/>
    <p:sldLayoutId id="2147483762" r:id="rId20"/>
    <p:sldLayoutId id="2147483729" r:id="rId21"/>
    <p:sldLayoutId id="2147483721" r:id="rId22"/>
    <p:sldLayoutId id="2147483720" r:id="rId23"/>
    <p:sldLayoutId id="2147483725" r:id="rId24"/>
    <p:sldLayoutId id="2147483728" r:id="rId25"/>
    <p:sldLayoutId id="2147483727" r:id="rId26"/>
  </p:sldLayoutIdLst>
  <p:timing>
    <p:tnLst>
      <p:par>
        <p:cTn id="1" dur="indefinite" restart="never" nodeType="tmRoot"/>
      </p:par>
    </p:tnLst>
  </p:timing>
  <p:hf hdr="0" dt="0"/>
  <p:txStyles>
    <p:titleStyle>
      <a:lvl1pPr algn="l" rtl="0" eaLnBrk="1" fontAlgn="base" hangingPunct="1">
        <a:lnSpc>
          <a:spcPct val="100000"/>
        </a:lnSpc>
        <a:spcBef>
          <a:spcPct val="0"/>
        </a:spcBef>
        <a:spcAft>
          <a:spcPct val="0"/>
        </a:spcAft>
        <a:buFont typeface="Arial" charset="0"/>
        <a:defRPr lang="en-AU" sz="2600" b="1" kern="1200" spc="0" baseline="0" dirty="0" smtClean="0">
          <a:solidFill>
            <a:srgbClr val="000000"/>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230400" indent="-230400" algn="l" rtl="0" eaLnBrk="1" fontAlgn="base" hangingPunct="1">
        <a:spcBef>
          <a:spcPts val="1200"/>
        </a:spcBef>
        <a:spcAft>
          <a:spcPct val="0"/>
        </a:spcAft>
        <a:buSzPct val="80000"/>
        <a:buFont typeface="Arial" pitchFamily="34" charset="0"/>
        <a:buChar char="•"/>
        <a:defRPr sz="2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Arial" pitchFamily="34" charset="0"/>
        <a:buChar char="–"/>
        <a:defRPr sz="2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Arial" pitchFamily="34" charset="0"/>
        <a:buChar char="•"/>
        <a:defRPr sz="20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8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hyperlink" Target="http://idcdocserv.com/250238e_Accenture" TargetMode="External"/><Relationship Id="rId2" Type="http://schemas.openxmlformats.org/officeDocument/2006/relationships/image" Target="../media/image54.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hyperlink" Target="https://research.everestgrp.com/Product/EGR-2014-4-R-1301/Infrastructure-Services-PEAK-Matrix-Assessment-and-Profile-Com" TargetMode="Externa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3.xml"/><Relationship Id="rId5" Type="http://schemas.openxmlformats.org/officeDocument/2006/relationships/image" Target="../media/image58.emf"/><Relationship Id="rId4" Type="http://schemas.openxmlformats.org/officeDocument/2006/relationships/image" Target="../media/image57.jpeg"/></Relationships>
</file>

<file path=ppt/slides/_rels/slide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61.jpeg"/><Relationship Id="rId4" Type="http://schemas.openxmlformats.org/officeDocument/2006/relationships/image" Target="../media/image60.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62.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18" Type="http://schemas.openxmlformats.org/officeDocument/2006/relationships/image" Target="../media/image76.jpeg"/><Relationship Id="rId3" Type="http://schemas.openxmlformats.org/officeDocument/2006/relationships/notesSlide" Target="../notesSlides/notesSlide10.xml"/><Relationship Id="rId21" Type="http://schemas.openxmlformats.org/officeDocument/2006/relationships/image" Target="../media/image79.png"/><Relationship Id="rId7" Type="http://schemas.openxmlformats.org/officeDocument/2006/relationships/image" Target="../media/image66.jpeg"/><Relationship Id="rId12" Type="http://schemas.openxmlformats.org/officeDocument/2006/relationships/image" Target="../media/image71.png"/><Relationship Id="rId17" Type="http://schemas.openxmlformats.org/officeDocument/2006/relationships/image" Target="../media/image75.png"/><Relationship Id="rId2" Type="http://schemas.openxmlformats.org/officeDocument/2006/relationships/slideLayout" Target="../slideLayouts/slideLayout23.xml"/><Relationship Id="rId16" Type="http://schemas.openxmlformats.org/officeDocument/2006/relationships/image" Target="../media/image74.gif"/><Relationship Id="rId20" Type="http://schemas.openxmlformats.org/officeDocument/2006/relationships/image" Target="../media/image78.png"/><Relationship Id="rId1" Type="http://schemas.openxmlformats.org/officeDocument/2006/relationships/tags" Target="../tags/tag7.xml"/><Relationship Id="rId6" Type="http://schemas.openxmlformats.org/officeDocument/2006/relationships/image" Target="../media/image65.jpeg"/><Relationship Id="rId11" Type="http://schemas.openxmlformats.org/officeDocument/2006/relationships/image" Target="../media/image70.jpeg"/><Relationship Id="rId5" Type="http://schemas.openxmlformats.org/officeDocument/2006/relationships/image" Target="../media/image64.png"/><Relationship Id="rId15" Type="http://schemas.openxmlformats.org/officeDocument/2006/relationships/image" Target="../media/image73.png"/><Relationship Id="rId23" Type="http://schemas.openxmlformats.org/officeDocument/2006/relationships/image" Target="../media/image81.png"/><Relationship Id="rId10" Type="http://schemas.openxmlformats.org/officeDocument/2006/relationships/image" Target="../media/image69.jpeg"/><Relationship Id="rId19" Type="http://schemas.openxmlformats.org/officeDocument/2006/relationships/image" Target="../media/image77.png"/><Relationship Id="rId4" Type="http://schemas.openxmlformats.org/officeDocument/2006/relationships/image" Target="../media/image63.png"/><Relationship Id="rId9" Type="http://schemas.openxmlformats.org/officeDocument/2006/relationships/image" Target="../media/image68.jpeg"/><Relationship Id="rId14" Type="http://schemas.openxmlformats.org/officeDocument/2006/relationships/hyperlink" Target="http://www.servicenow.com/home.do" TargetMode="External"/><Relationship Id="rId22" Type="http://schemas.openxmlformats.org/officeDocument/2006/relationships/image" Target="../media/image80.png"/></Relationships>
</file>

<file path=ppt/slides/_rels/slide18.xml.rels><?xml version="1.0" encoding="UTF-8" standalone="yes"?>
<Relationships xmlns="http://schemas.openxmlformats.org/package/2006/relationships"><Relationship Id="rId3" Type="http://schemas.openxmlformats.org/officeDocument/2006/relationships/hyperlink" Target="mailto:Steve.Nunn@accenture.com" TargetMode="External"/><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8" Type="http://schemas.openxmlformats.org/officeDocument/2006/relationships/hyperlink" Target="mailto:nicolas.rosengren@accenture.com" TargetMode="External"/><Relationship Id="rId13" Type="http://schemas.openxmlformats.org/officeDocument/2006/relationships/hyperlink" Target="mailto:stefano.mercolino@accenture.com" TargetMode="External"/><Relationship Id="rId18" Type="http://schemas.openxmlformats.org/officeDocument/2006/relationships/hyperlink" Target="mailto:ramesh.nair@accenture.com" TargetMode="External"/><Relationship Id="rId3" Type="http://schemas.openxmlformats.org/officeDocument/2006/relationships/slideLayout" Target="../slideLayouts/slideLayout23.xml"/><Relationship Id="rId21" Type="http://schemas.openxmlformats.org/officeDocument/2006/relationships/hyperlink" Target="mailto:romain.groleau@accenture.com" TargetMode="External"/><Relationship Id="rId7" Type="http://schemas.openxmlformats.org/officeDocument/2006/relationships/hyperlink" Target="mailto:john.f.esbenshade@accenture.com" TargetMode="External"/><Relationship Id="rId12" Type="http://schemas.openxmlformats.org/officeDocument/2006/relationships/hyperlink" Target="mailto:corrado.andreani@accenture.com" TargetMode="External"/><Relationship Id="rId17" Type="http://schemas.openxmlformats.org/officeDocument/2006/relationships/hyperlink" Target="mailto:zhentao.chen@accenture.com" TargetMode="External"/><Relationship Id="rId2" Type="http://schemas.openxmlformats.org/officeDocument/2006/relationships/tags" Target="../tags/tag8.xml"/><Relationship Id="rId16" Type="http://schemas.openxmlformats.org/officeDocument/2006/relationships/hyperlink" Target="mailto:michael.cheng@accenture.com" TargetMode="External"/><Relationship Id="rId20" Type="http://schemas.openxmlformats.org/officeDocument/2006/relationships/hyperlink" Target="mailto:duncan.r.eadie@accenture.com" TargetMode="Externa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hyperlink" Target="mailto:luc.hendrikx@accenture.com" TargetMode="External"/><Relationship Id="rId24" Type="http://schemas.openxmlformats.org/officeDocument/2006/relationships/hyperlink" Target="mailto:jay.ponnuswamy@accenture.com" TargetMode="External"/><Relationship Id="rId5" Type="http://schemas.openxmlformats.org/officeDocument/2006/relationships/oleObject" Target="../embeddings/oleObject6.bin"/><Relationship Id="rId15" Type="http://schemas.openxmlformats.org/officeDocument/2006/relationships/hyperlink" Target="mailto:luciano.lameda@accenture.com" TargetMode="External"/><Relationship Id="rId23" Type="http://schemas.openxmlformats.org/officeDocument/2006/relationships/hyperlink" Target="mailto:shaju.kuttappan@accenture.com" TargetMode="External"/><Relationship Id="rId10" Type="http://schemas.openxmlformats.org/officeDocument/2006/relationships/hyperlink" Target="mailto:matthew.simpkin@accenture.com" TargetMode="External"/><Relationship Id="rId19" Type="http://schemas.openxmlformats.org/officeDocument/2006/relationships/hyperlink" Target="mailto:yoshiyasu.shiraishi@accenture.com" TargetMode="External"/><Relationship Id="rId4" Type="http://schemas.openxmlformats.org/officeDocument/2006/relationships/notesSlide" Target="../notesSlides/notesSlide12.xml"/><Relationship Id="rId9" Type="http://schemas.openxmlformats.org/officeDocument/2006/relationships/hyperlink" Target="mailto:markus.jung@accenture.com" TargetMode="External"/><Relationship Id="rId14" Type="http://schemas.openxmlformats.org/officeDocument/2006/relationships/hyperlink" Target="mailto:julio.mingo@accenture.com" TargetMode="External"/><Relationship Id="rId22" Type="http://schemas.openxmlformats.org/officeDocument/2006/relationships/hyperlink" Target="mailto:seetabai.g.shastri@accenture.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27.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3.xml"/><Relationship Id="rId5" Type="http://schemas.openxmlformats.org/officeDocument/2006/relationships/image" Target="../media/image30.png"/><Relationship Id="rId4" Type="http://schemas.openxmlformats.org/officeDocument/2006/relationships/image" Target="../media/image29.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tmp"/><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jpeg"/><Relationship Id="rId17" Type="http://schemas.openxmlformats.org/officeDocument/2006/relationships/image" Target="../media/image47.png"/><Relationship Id="rId2" Type="http://schemas.openxmlformats.org/officeDocument/2006/relationships/image" Target="../media/image32.png"/><Relationship Id="rId16" Type="http://schemas.openxmlformats.org/officeDocument/2006/relationships/image" Target="../media/image46.png"/><Relationship Id="rId20" Type="http://schemas.openxmlformats.org/officeDocument/2006/relationships/image" Target="../media/image50.png"/><Relationship Id="rId1" Type="http://schemas.openxmlformats.org/officeDocument/2006/relationships/slideLayout" Target="../slideLayouts/slideLayout23.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5.jpeg"/><Relationship Id="rId23" Type="http://schemas.openxmlformats.org/officeDocument/2006/relationships/image" Target="../media/image53.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 Id="rId22"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b="1" dirty="0" smtClean="0"/>
              <a:t>DCO with Container as a Service</a:t>
            </a:r>
          </a:p>
          <a:p>
            <a:r>
              <a:rPr lang="en-US" dirty="0" smtClean="0"/>
              <a:t>May 2015</a:t>
            </a:r>
            <a:endParaRPr lang="en-US" dirty="0"/>
          </a:p>
        </p:txBody>
      </p:sp>
      <p:sp>
        <p:nvSpPr>
          <p:cNvPr id="3" name="Text Placeholder 2"/>
          <p:cNvSpPr>
            <a:spLocks noGrp="1"/>
          </p:cNvSpPr>
          <p:nvPr>
            <p:ph type="body" sz="quarter" idx="10"/>
          </p:nvPr>
        </p:nvSpPr>
        <p:spPr/>
        <p:txBody>
          <a:bodyPr/>
          <a:lstStyle/>
          <a:p>
            <a:r>
              <a:rPr lang="en-US" dirty="0" smtClean="0"/>
              <a:t>Data Center Offering</a:t>
            </a:r>
            <a:endParaRPr lang="en-US" dirty="0"/>
          </a:p>
        </p:txBody>
      </p:sp>
      <p:sp>
        <p:nvSpPr>
          <p:cNvPr id="4" name="Rectangle 3"/>
          <p:cNvSpPr/>
          <p:nvPr/>
        </p:nvSpPr>
        <p:spPr>
          <a:xfrm>
            <a:off x="8311243" y="1443658"/>
            <a:ext cx="466470" cy="474088"/>
          </a:xfrm>
          <a:prstGeom prst="rect">
            <a:avLst/>
          </a:prstGeom>
          <a:solidFill>
            <a:schemeClr val="accent5">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sp>
        <p:nvSpPr>
          <p:cNvPr id="5" name="Rectangle 4"/>
          <p:cNvSpPr/>
          <p:nvPr/>
        </p:nvSpPr>
        <p:spPr>
          <a:xfrm>
            <a:off x="8785907" y="1930036"/>
            <a:ext cx="479323" cy="487515"/>
          </a:xfrm>
          <a:prstGeom prst="rect">
            <a:avLst/>
          </a:prstGeom>
          <a:solidFill>
            <a:schemeClr val="accent3">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sp>
        <p:nvSpPr>
          <p:cNvPr id="6" name="Rectangle 5"/>
          <p:cNvSpPr/>
          <p:nvPr/>
        </p:nvSpPr>
        <p:spPr>
          <a:xfrm>
            <a:off x="7834636" y="2424824"/>
            <a:ext cx="472510" cy="474304"/>
          </a:xfrm>
          <a:prstGeom prst="rect">
            <a:avLst/>
          </a:prstGeom>
          <a:solidFill>
            <a:schemeClr val="accent1">
              <a:alpha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pic>
        <p:nvPicPr>
          <p:cNvPr id="7" name="Picture 6" descr="acceleratedRD-12.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77713" y="1939619"/>
            <a:ext cx="496517" cy="496517"/>
          </a:xfrm>
          <a:prstGeom prst="rect">
            <a:avLst/>
          </a:prstGeom>
        </p:spPr>
      </p:pic>
      <p:pic>
        <p:nvPicPr>
          <p:cNvPr id="8" name="Picture 7" descr="capital-13.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56346" y="1409171"/>
            <a:ext cx="579150" cy="579150"/>
          </a:xfrm>
          <a:prstGeom prst="rect">
            <a:avLst/>
          </a:prstGeom>
        </p:spPr>
      </p:pic>
      <p:pic>
        <p:nvPicPr>
          <p:cNvPr id="9" name="Picture 8" descr="credit-08.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89045" y="2376911"/>
            <a:ext cx="583158" cy="583158"/>
          </a:xfrm>
          <a:prstGeom prst="rect">
            <a:avLst/>
          </a:prstGeom>
        </p:spPr>
      </p:pic>
    </p:spTree>
    <p:extLst>
      <p:ext uri="{BB962C8B-B14F-4D97-AF65-F5344CB8AC3E}">
        <p14:creationId xmlns:p14="http://schemas.microsoft.com/office/powerpoint/2010/main" val="14803672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Why Accenture is the partner of choice?</a:t>
            </a:r>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0</a:t>
            </a:fld>
            <a:endParaRPr lang="en-US" dirty="0"/>
          </a:p>
        </p:txBody>
      </p:sp>
      <p:sp>
        <p:nvSpPr>
          <p:cNvPr id="26" name="Text Box 5"/>
          <p:cNvSpPr txBox="1">
            <a:spLocks noChangeArrowheads="1"/>
          </p:cNvSpPr>
          <p:nvPr/>
        </p:nvSpPr>
        <p:spPr bwMode="auto">
          <a:xfrm>
            <a:off x="2918369" y="1226170"/>
            <a:ext cx="8631471" cy="660400"/>
          </a:xfrm>
          <a:prstGeom prst="rect">
            <a:avLst/>
          </a:prstGeom>
          <a:solidFill>
            <a:sysClr val="window" lastClr="FFFFFF"/>
          </a:solidFill>
          <a:ln w="9525">
            <a:noFill/>
            <a:miter lim="800000"/>
            <a:headEnd/>
            <a:tailEnd/>
          </a:ln>
        </p:spPr>
        <p:txBody>
          <a:bodyPr lIns="90000" rIns="90000" anchor="ctr"/>
          <a:lstStyle/>
          <a:p>
            <a:pPr marL="0" marR="0" lvl="0" indent="0" defTabSz="914400" eaLnBrk="0" fontAlgn="auto" latinLnBrk="0" hangingPunct="0">
              <a:lnSpc>
                <a:spcPct val="100000"/>
              </a:lnSpc>
              <a:spcBef>
                <a:spcPct val="10000"/>
              </a:spcBef>
              <a:spcAft>
                <a:spcPts val="0"/>
              </a:spcAft>
              <a:buClrTx/>
              <a:buSzTx/>
              <a:buFontTx/>
              <a:buNone/>
              <a:tabLst/>
              <a:defRPr/>
            </a:pPr>
            <a:endParaRPr kumimoji="0" lang="en-US" sz="1400" b="0" i="0" u="none" strike="noStrike" kern="0" cap="none" spc="0" normalizeH="0" baseline="0" noProof="0" dirty="0" smtClean="0">
              <a:ln>
                <a:noFill/>
              </a:ln>
              <a:solidFill>
                <a:srgbClr val="666666"/>
              </a:solidFill>
              <a:effectLst/>
              <a:uLnTx/>
              <a:uFillTx/>
              <a:latin typeface="Arial"/>
              <a:cs typeface="+mn-cs"/>
            </a:endParaRPr>
          </a:p>
          <a:p>
            <a:pPr marL="0" marR="0" lvl="0" indent="0" defTabSz="914400" eaLnBrk="0" fontAlgn="auto" latinLnBrk="0" hangingPunct="0">
              <a:lnSpc>
                <a:spcPct val="100000"/>
              </a:lnSpc>
              <a:spcBef>
                <a:spcPct val="10000"/>
              </a:spcBef>
              <a:spcAft>
                <a:spcPts val="0"/>
              </a:spcAft>
              <a:buClrTx/>
              <a:buSzTx/>
              <a:buFontTx/>
              <a:buNone/>
              <a:tabLst/>
              <a:defRPr/>
            </a:pPr>
            <a:r>
              <a:rPr kumimoji="0" lang="en-US" sz="1400" b="0" i="0" u="none" strike="noStrike" kern="0" cap="none" spc="0" normalizeH="0" baseline="0" noProof="0" dirty="0" smtClean="0">
                <a:ln>
                  <a:noFill/>
                </a:ln>
                <a:solidFill>
                  <a:srgbClr val="666666"/>
                </a:solidFill>
                <a:effectLst/>
                <a:uLnTx/>
                <a:uFillTx/>
                <a:latin typeface="Arial"/>
                <a:cs typeface="+mn-cs"/>
              </a:rPr>
              <a:t>In 6-9 months, we can help reduce the cost and complexity of your data center infrastructure without sacrificing capability and performance.</a:t>
            </a:r>
          </a:p>
          <a:p>
            <a:pPr marL="0" marR="0" lvl="0" indent="0" defTabSz="914400" eaLnBrk="0" fontAlgn="auto" latinLnBrk="0" hangingPunct="0">
              <a:lnSpc>
                <a:spcPct val="100000"/>
              </a:lnSpc>
              <a:spcBef>
                <a:spcPct val="10000"/>
              </a:spcBef>
              <a:spcAft>
                <a:spcPts val="0"/>
              </a:spcAft>
              <a:buClrTx/>
              <a:buSzTx/>
              <a:buFontTx/>
              <a:buNone/>
              <a:tabLst/>
              <a:defRPr/>
            </a:pPr>
            <a:endParaRPr kumimoji="0" lang="en-US" sz="1400" b="0" i="0" u="none" strike="noStrike" kern="0" cap="none" spc="0" normalizeH="0" baseline="0" noProof="0" dirty="0" smtClean="0">
              <a:ln>
                <a:noFill/>
              </a:ln>
              <a:solidFill>
                <a:srgbClr val="666666"/>
              </a:solidFill>
              <a:effectLst/>
              <a:uLnTx/>
              <a:uFillTx/>
              <a:latin typeface="Arial"/>
              <a:cs typeface="+mn-cs"/>
            </a:endParaRPr>
          </a:p>
        </p:txBody>
      </p:sp>
      <p:sp>
        <p:nvSpPr>
          <p:cNvPr id="27" name="Text Box 7"/>
          <p:cNvSpPr txBox="1">
            <a:spLocks noChangeArrowheads="1"/>
          </p:cNvSpPr>
          <p:nvPr/>
        </p:nvSpPr>
        <p:spPr bwMode="auto">
          <a:xfrm>
            <a:off x="2918496" y="1764332"/>
            <a:ext cx="8633559" cy="731838"/>
          </a:xfrm>
          <a:prstGeom prst="rect">
            <a:avLst/>
          </a:prstGeom>
          <a:solidFill>
            <a:sysClr val="window" lastClr="FFFFFF"/>
          </a:solidFill>
          <a:ln w="9525">
            <a:noFill/>
            <a:miter lim="800000"/>
            <a:headEnd/>
            <a:tailEnd/>
          </a:ln>
        </p:spPr>
        <p:txBody>
          <a:bodyPr lIns="90000" rIns="90000"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666666"/>
                </a:solidFill>
                <a:effectLst/>
                <a:uLnTx/>
                <a:uFillTx/>
                <a:latin typeface="Arial"/>
                <a:cs typeface="+mn-cs"/>
              </a:rPr>
              <a:t>We help clients efficiently consolidate and migrate into more simplified and cost-effective data centers while preparing to transform to an Intelligent infrastructure—one that easily scales to support future growth and reduces time to market.</a:t>
            </a:r>
          </a:p>
        </p:txBody>
      </p:sp>
      <p:sp>
        <p:nvSpPr>
          <p:cNvPr id="28" name="Text Box 10"/>
          <p:cNvSpPr txBox="1">
            <a:spLocks noChangeArrowheads="1"/>
          </p:cNvSpPr>
          <p:nvPr/>
        </p:nvSpPr>
        <p:spPr bwMode="auto">
          <a:xfrm>
            <a:off x="2918496" y="2440607"/>
            <a:ext cx="8633559" cy="708025"/>
          </a:xfrm>
          <a:prstGeom prst="rect">
            <a:avLst/>
          </a:prstGeom>
          <a:solidFill>
            <a:sysClr val="window" lastClr="FFFFFF"/>
          </a:solidFill>
          <a:ln w="9525">
            <a:noFill/>
            <a:miter lim="800000"/>
            <a:headEnd/>
            <a:tailEnd/>
          </a:ln>
        </p:spPr>
        <p:txBody>
          <a:bodyPr lIns="90000" rIns="90000" anchor="ct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666666"/>
              </a:solidFill>
              <a:effectLst/>
              <a:uLnTx/>
              <a:uFillTx/>
              <a:latin typeface="Arial"/>
              <a:cs typeface="+mn-cs"/>
            </a:endParaRPr>
          </a:p>
          <a:p>
            <a:pPr marL="0" marR="0" lvl="0" indent="0" defTabSz="91440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666666"/>
                </a:solidFill>
                <a:effectLst/>
                <a:uLnTx/>
                <a:uFillTx/>
                <a:latin typeface="Arial"/>
                <a:cs typeface="+mn-cs"/>
              </a:rPr>
              <a:t>We recommend diverse sourcing models to scale the infrastructure to keep up with business demand—from renting capacity via cloud computing to outsourcing entire elements of your infrastructure—to speed execution and reduce costs. </a:t>
            </a:r>
          </a:p>
          <a:p>
            <a:pPr marL="0" marR="0" lvl="0" indent="0" defTabSz="91440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666666"/>
              </a:solidFill>
              <a:effectLst/>
              <a:uLnTx/>
              <a:uFillTx/>
              <a:latin typeface="Arial"/>
              <a:cs typeface="+mn-cs"/>
            </a:endParaRPr>
          </a:p>
        </p:txBody>
      </p:sp>
      <p:sp>
        <p:nvSpPr>
          <p:cNvPr id="29" name="Text Box 14"/>
          <p:cNvSpPr txBox="1">
            <a:spLocks noChangeArrowheads="1"/>
          </p:cNvSpPr>
          <p:nvPr/>
        </p:nvSpPr>
        <p:spPr bwMode="auto">
          <a:xfrm>
            <a:off x="2918369" y="4831274"/>
            <a:ext cx="8631471" cy="792163"/>
          </a:xfrm>
          <a:prstGeom prst="rect">
            <a:avLst/>
          </a:prstGeom>
          <a:solidFill>
            <a:sysClr val="window" lastClr="FFFFFF"/>
          </a:solidFill>
          <a:ln w="9525">
            <a:noFill/>
            <a:miter lim="800000"/>
            <a:headEnd/>
            <a:tailEnd/>
          </a:ln>
        </p:spPr>
        <p:txBody>
          <a:bodyPr lIns="90000" rIns="90000"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666666"/>
                </a:solidFill>
                <a:effectLst/>
                <a:uLnTx/>
                <a:uFillTx/>
                <a:latin typeface="Arial"/>
                <a:cs typeface="+mn-cs"/>
              </a:rPr>
              <a:t>Our 17,000 Infrastructure Services professionals have served more than 1,000 clients across at least 40 industries, and on every leading platform, for more than 20 years. </a:t>
            </a:r>
          </a:p>
        </p:txBody>
      </p:sp>
      <p:sp>
        <p:nvSpPr>
          <p:cNvPr id="30" name="Text Box 4"/>
          <p:cNvSpPr txBox="1">
            <a:spLocks noChangeArrowheads="1"/>
          </p:cNvSpPr>
          <p:nvPr/>
        </p:nvSpPr>
        <p:spPr bwMode="auto">
          <a:xfrm>
            <a:off x="484536" y="1287987"/>
            <a:ext cx="1854200" cy="533400"/>
          </a:xfrm>
          <a:prstGeom prst="rect">
            <a:avLst/>
          </a:prstGeom>
          <a:solidFill>
            <a:srgbClr val="408FCD"/>
          </a:solidFill>
          <a:ln w="9525">
            <a:noFill/>
            <a:miter lim="800000"/>
            <a:headEnd/>
            <a:tailEnd/>
          </a:ln>
        </p:spPr>
        <p:txBody>
          <a:bodyPr lIns="72000" rIns="72000" anchor="ctr"/>
          <a:lstStyle/>
          <a:p>
            <a:pPr marL="3175" marR="0" lvl="0" indent="0" defTabSz="914400" eaLnBrk="1" fontAlgn="auto" latinLnBrk="0" hangingPunct="1">
              <a:lnSpc>
                <a:spcPct val="100000"/>
              </a:lnSpc>
              <a:spcBef>
                <a:spcPts val="0"/>
              </a:spcBef>
              <a:spcAft>
                <a:spcPts val="0"/>
              </a:spcAft>
              <a:buClr>
                <a:srgbClr val="990033"/>
              </a:buClr>
              <a:buSzTx/>
              <a:buFont typeface="Wingdings" pitchFamily="2" charset="2"/>
              <a:buNone/>
              <a:tabLst/>
              <a:defRPr/>
            </a:pPr>
            <a:endParaRPr kumimoji="0" lang="en-US" sz="1400" b="1" i="0" u="none" strike="noStrike" kern="0" cap="none" spc="0" normalizeH="0" baseline="0" noProof="0" dirty="0" smtClean="0">
              <a:ln>
                <a:noFill/>
              </a:ln>
              <a:solidFill>
                <a:srgbClr val="FFFFFF"/>
              </a:solidFill>
              <a:effectLst/>
              <a:uLnTx/>
              <a:uFillTx/>
              <a:latin typeface="Arial"/>
              <a:ea typeface="ＭＳ Ｐゴシック" charset="-128"/>
              <a:cs typeface="+mn-cs"/>
            </a:endParaRPr>
          </a:p>
          <a:p>
            <a:pPr marL="3175" marR="0" lvl="0" indent="0" defTabSz="914400" eaLnBrk="1" fontAlgn="auto" latinLnBrk="0" hangingPunct="1">
              <a:lnSpc>
                <a:spcPct val="100000"/>
              </a:lnSpc>
              <a:spcBef>
                <a:spcPts val="0"/>
              </a:spcBef>
              <a:spcAft>
                <a:spcPts val="0"/>
              </a:spcAft>
              <a:buClr>
                <a:srgbClr val="990033"/>
              </a:buClr>
              <a:buSzTx/>
              <a:buFont typeface="Wingdings" pitchFamily="2" charset="2"/>
              <a:buNone/>
              <a:tabLst/>
              <a:defRPr/>
            </a:pPr>
            <a:r>
              <a:rPr kumimoji="0" lang="en-US" sz="1400" b="1" i="0" u="none" strike="noStrike" kern="0" cap="none" spc="0" normalizeH="0" baseline="0" noProof="0" dirty="0" smtClean="0">
                <a:ln>
                  <a:noFill/>
                </a:ln>
                <a:solidFill>
                  <a:srgbClr val="FFFFFF"/>
                </a:solidFill>
                <a:effectLst/>
                <a:uLnTx/>
                <a:uFillTx/>
                <a:latin typeface="Arial"/>
                <a:ea typeface="ＭＳ Ｐゴシック" charset="-128"/>
                <a:cs typeface="+mn-cs"/>
              </a:rPr>
              <a:t>Fast outcomes</a:t>
            </a:r>
            <a:br>
              <a:rPr kumimoji="0" lang="en-US" sz="1400" b="1" i="0" u="none" strike="noStrike" kern="0" cap="none" spc="0" normalizeH="0" baseline="0" noProof="0" dirty="0" smtClean="0">
                <a:ln>
                  <a:noFill/>
                </a:ln>
                <a:solidFill>
                  <a:srgbClr val="FFFFFF"/>
                </a:solidFill>
                <a:effectLst/>
                <a:uLnTx/>
                <a:uFillTx/>
                <a:latin typeface="Arial"/>
                <a:ea typeface="ＭＳ Ｐゴシック" charset="-128"/>
                <a:cs typeface="+mn-cs"/>
              </a:rPr>
            </a:br>
            <a:endParaRPr kumimoji="0" lang="en-US" sz="1400" b="1" i="0" u="none" strike="noStrike" kern="0" cap="none" spc="0" normalizeH="0" baseline="0" noProof="0" dirty="0" smtClean="0">
              <a:ln>
                <a:noFill/>
              </a:ln>
              <a:solidFill>
                <a:srgbClr val="FFFFFF"/>
              </a:solidFill>
              <a:effectLst/>
              <a:uLnTx/>
              <a:uFillTx/>
              <a:latin typeface="Arial"/>
              <a:ea typeface="ＭＳ Ｐゴシック" charset="-128"/>
              <a:cs typeface="+mn-cs"/>
            </a:endParaRPr>
          </a:p>
        </p:txBody>
      </p:sp>
      <p:sp>
        <p:nvSpPr>
          <p:cNvPr id="31" name="Text Box 6"/>
          <p:cNvSpPr txBox="1">
            <a:spLocks noChangeArrowheads="1"/>
          </p:cNvSpPr>
          <p:nvPr/>
        </p:nvSpPr>
        <p:spPr bwMode="auto">
          <a:xfrm>
            <a:off x="484536" y="1905326"/>
            <a:ext cx="1854200" cy="549275"/>
          </a:xfrm>
          <a:prstGeom prst="rect">
            <a:avLst/>
          </a:prstGeom>
          <a:solidFill>
            <a:srgbClr val="408FCD"/>
          </a:solidFill>
          <a:ln w="9525">
            <a:noFill/>
            <a:miter lim="800000"/>
            <a:headEnd/>
            <a:tailEnd/>
          </a:ln>
        </p:spPr>
        <p:txBody>
          <a:bodyPr lIns="72000" rIns="72000" anchor="ctr"/>
          <a:lstStyle/>
          <a:p>
            <a:pPr marL="3175" marR="0" lvl="0" indent="0" defTabSz="914400" eaLnBrk="1" fontAlgn="auto" latinLnBrk="0" hangingPunct="1">
              <a:lnSpc>
                <a:spcPct val="100000"/>
              </a:lnSpc>
              <a:spcBef>
                <a:spcPts val="0"/>
              </a:spcBef>
              <a:spcAft>
                <a:spcPts val="0"/>
              </a:spcAft>
              <a:buClr>
                <a:srgbClr val="990033"/>
              </a:buClr>
              <a:buSzTx/>
              <a:buFont typeface="Wingdings" pitchFamily="2" charset="2"/>
              <a:buNone/>
              <a:tabLst/>
              <a:defRPr/>
            </a:pPr>
            <a:r>
              <a:rPr kumimoji="0" lang="en-US" sz="1400" b="1" i="0" u="none" strike="noStrike" kern="0" cap="none" spc="0" normalizeH="0" baseline="0" noProof="0" dirty="0" smtClean="0">
                <a:ln>
                  <a:noFill/>
                </a:ln>
                <a:solidFill>
                  <a:srgbClr val="FFFFFF"/>
                </a:solidFill>
                <a:effectLst/>
                <a:uLnTx/>
                <a:uFillTx/>
                <a:latin typeface="Arial"/>
                <a:cs typeface="+mn-cs"/>
              </a:rPr>
              <a:t>Transformation guidance</a:t>
            </a:r>
          </a:p>
        </p:txBody>
      </p:sp>
      <p:sp>
        <p:nvSpPr>
          <p:cNvPr id="32" name="Text Box 9"/>
          <p:cNvSpPr txBox="1">
            <a:spLocks noChangeArrowheads="1"/>
          </p:cNvSpPr>
          <p:nvPr/>
        </p:nvSpPr>
        <p:spPr bwMode="auto">
          <a:xfrm>
            <a:off x="484536" y="2538540"/>
            <a:ext cx="1854200" cy="533400"/>
          </a:xfrm>
          <a:prstGeom prst="rect">
            <a:avLst/>
          </a:prstGeom>
          <a:solidFill>
            <a:srgbClr val="408FCD"/>
          </a:solidFill>
          <a:ln w="9525">
            <a:noFill/>
            <a:miter lim="800000"/>
            <a:headEnd/>
            <a:tailEnd/>
          </a:ln>
        </p:spPr>
        <p:txBody>
          <a:bodyPr lIns="72000" rIns="72000" anchor="ctr"/>
          <a:lstStyle/>
          <a:p>
            <a:pPr marL="3175" marR="0" lvl="0" indent="0" defTabSz="914400" eaLnBrk="0" fontAlgn="auto" latinLnBrk="0" hangingPunct="0">
              <a:lnSpc>
                <a:spcPct val="100000"/>
              </a:lnSpc>
              <a:spcBef>
                <a:spcPct val="50000"/>
              </a:spcBef>
              <a:spcAft>
                <a:spcPts val="0"/>
              </a:spcAft>
              <a:buClrTx/>
              <a:buSzTx/>
              <a:buFontTx/>
              <a:buNone/>
              <a:tabLst>
                <a:tab pos="1778000" algn="l"/>
              </a:tabLst>
              <a:defRPr/>
            </a:pPr>
            <a:r>
              <a:rPr kumimoji="0" lang="en-US" sz="1400" b="1" i="0" u="none" strike="noStrike" kern="0" cap="none" spc="0" normalizeH="0" baseline="0" noProof="0" dirty="0" smtClean="0">
                <a:ln>
                  <a:noFill/>
                </a:ln>
                <a:solidFill>
                  <a:srgbClr val="FFFFFF"/>
                </a:solidFill>
                <a:effectLst/>
                <a:uLnTx/>
                <a:uFillTx/>
                <a:latin typeface="Arial"/>
                <a:cs typeface="+mn-cs"/>
              </a:rPr>
              <a:t>Scalable sourcing models</a:t>
            </a:r>
          </a:p>
        </p:txBody>
      </p:sp>
      <p:sp>
        <p:nvSpPr>
          <p:cNvPr id="33" name="Text Box 11"/>
          <p:cNvSpPr txBox="1">
            <a:spLocks noChangeArrowheads="1"/>
          </p:cNvSpPr>
          <p:nvPr/>
        </p:nvSpPr>
        <p:spPr bwMode="auto">
          <a:xfrm>
            <a:off x="484536" y="3155879"/>
            <a:ext cx="1854200" cy="914874"/>
          </a:xfrm>
          <a:prstGeom prst="rect">
            <a:avLst/>
          </a:prstGeom>
          <a:solidFill>
            <a:srgbClr val="408FCD"/>
          </a:solidFill>
          <a:ln w="9525">
            <a:noFill/>
            <a:miter lim="800000"/>
            <a:headEnd/>
            <a:tailEnd/>
          </a:ln>
        </p:spPr>
        <p:txBody>
          <a:bodyPr lIns="72000" rIns="72000" anchor="ctr"/>
          <a:lstStyle/>
          <a:p>
            <a:pPr marL="3175" marR="0" lvl="0" indent="0" defTabSz="91440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a:cs typeface="+mn-cs"/>
              </a:rPr>
              <a:t>Industrialized approach</a:t>
            </a:r>
          </a:p>
        </p:txBody>
      </p:sp>
      <p:sp>
        <p:nvSpPr>
          <p:cNvPr id="34" name="Text Box 13"/>
          <p:cNvSpPr txBox="1">
            <a:spLocks noChangeArrowheads="1"/>
          </p:cNvSpPr>
          <p:nvPr/>
        </p:nvSpPr>
        <p:spPr bwMode="auto">
          <a:xfrm>
            <a:off x="484536" y="4899738"/>
            <a:ext cx="1854200" cy="609599"/>
          </a:xfrm>
          <a:prstGeom prst="rect">
            <a:avLst/>
          </a:prstGeom>
          <a:solidFill>
            <a:srgbClr val="408FCD"/>
          </a:solidFill>
          <a:ln w="9525">
            <a:noFill/>
            <a:miter lim="800000"/>
            <a:headEnd/>
            <a:tailEnd/>
          </a:ln>
        </p:spPr>
        <p:txBody>
          <a:bodyPr lIns="72000" rIns="72000" anchor="ctr"/>
          <a:lstStyle/>
          <a:p>
            <a:pPr marL="3175" marR="0" lvl="0" indent="0" defTabSz="914400" eaLnBrk="1" fontAlgn="auto" latinLnBrk="0" hangingPunct="1">
              <a:lnSpc>
                <a:spcPct val="100000"/>
              </a:lnSpc>
              <a:spcBef>
                <a:spcPts val="0"/>
              </a:spcBef>
              <a:spcAft>
                <a:spcPts val="0"/>
              </a:spcAft>
              <a:buClr>
                <a:srgbClr val="990033"/>
              </a:buClr>
              <a:buSzTx/>
              <a:buFont typeface="Wingdings" pitchFamily="2" charset="2"/>
              <a:buNone/>
              <a:tabLst/>
              <a:defRPr/>
            </a:pPr>
            <a:r>
              <a:rPr kumimoji="0" lang="en-US" sz="1400" b="1" i="0" u="none" strike="noStrike" kern="0" cap="none" spc="0" normalizeH="0" baseline="0" noProof="0" dirty="0" smtClean="0">
                <a:ln>
                  <a:noFill/>
                </a:ln>
                <a:solidFill>
                  <a:srgbClr val="FFFFFF"/>
                </a:solidFill>
                <a:effectLst/>
                <a:uLnTx/>
                <a:uFillTx/>
                <a:latin typeface="Arial"/>
                <a:cs typeface="+mn-cs"/>
              </a:rPr>
              <a:t>Deep Experience</a:t>
            </a:r>
          </a:p>
        </p:txBody>
      </p:sp>
      <p:sp>
        <p:nvSpPr>
          <p:cNvPr id="35" name="AutoShape 15"/>
          <p:cNvSpPr>
            <a:spLocks noChangeArrowheads="1"/>
          </p:cNvSpPr>
          <p:nvPr/>
        </p:nvSpPr>
        <p:spPr bwMode="auto">
          <a:xfrm rot="5400000">
            <a:off x="2379670" y="1395938"/>
            <a:ext cx="533400" cy="317499"/>
          </a:xfrm>
          <a:prstGeom prst="triangle">
            <a:avLst>
              <a:gd name="adj" fmla="val 50000"/>
            </a:avLst>
          </a:prstGeom>
          <a:solidFill>
            <a:srgbClr val="AADDEE"/>
          </a:solidFill>
          <a:ln w="9525">
            <a:noFill/>
            <a:miter lim="800000"/>
            <a:headEnd/>
            <a:tailEnd/>
          </a:ln>
        </p:spPr>
        <p:txBody>
          <a:bodyPr rot="10800000"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cs typeface="+mn-cs"/>
            </a:endParaRPr>
          </a:p>
        </p:txBody>
      </p:sp>
      <p:sp>
        <p:nvSpPr>
          <p:cNvPr id="36" name="Text Box 13"/>
          <p:cNvSpPr txBox="1">
            <a:spLocks noChangeArrowheads="1"/>
          </p:cNvSpPr>
          <p:nvPr/>
        </p:nvSpPr>
        <p:spPr bwMode="auto">
          <a:xfrm>
            <a:off x="484536" y="5612420"/>
            <a:ext cx="1854200" cy="887536"/>
          </a:xfrm>
          <a:prstGeom prst="rect">
            <a:avLst/>
          </a:prstGeom>
          <a:solidFill>
            <a:srgbClr val="408FCD"/>
          </a:solidFill>
          <a:ln w="9525">
            <a:noFill/>
            <a:miter lim="800000"/>
            <a:headEnd/>
            <a:tailEnd/>
          </a:ln>
        </p:spPr>
        <p:txBody>
          <a:bodyPr lIns="72000" rIns="72000" anchor="ctr"/>
          <a:lstStyle/>
          <a:p>
            <a:pPr marL="3175" marR="0" lvl="0" indent="0" defTabSz="914400" eaLnBrk="1" fontAlgn="auto" latinLnBrk="0" hangingPunct="1">
              <a:lnSpc>
                <a:spcPct val="100000"/>
              </a:lnSpc>
              <a:spcBef>
                <a:spcPts val="0"/>
              </a:spcBef>
              <a:spcAft>
                <a:spcPts val="0"/>
              </a:spcAft>
              <a:buClr>
                <a:srgbClr val="990033"/>
              </a:buClr>
              <a:buSzTx/>
              <a:buFont typeface="Wingdings" pitchFamily="2" charset="2"/>
              <a:buNone/>
              <a:tabLst/>
              <a:defRPr/>
            </a:pPr>
            <a:r>
              <a:rPr kumimoji="0" lang="en-US" sz="1400" b="1" i="0" u="none" strike="noStrike" kern="0" cap="none" spc="0" normalizeH="0" baseline="0" noProof="0" dirty="0" smtClean="0">
                <a:ln>
                  <a:noFill/>
                </a:ln>
                <a:solidFill>
                  <a:srgbClr val="FFFFFF"/>
                </a:solidFill>
                <a:effectLst/>
                <a:uLnTx/>
                <a:uFillTx/>
                <a:latin typeface="Arial"/>
                <a:cs typeface="+mn-cs"/>
              </a:rPr>
              <a:t>Right Resources and Capabilities + Global Delivery Network</a:t>
            </a:r>
          </a:p>
        </p:txBody>
      </p:sp>
      <p:sp>
        <p:nvSpPr>
          <p:cNvPr id="37" name="AutoShape 15"/>
          <p:cNvSpPr>
            <a:spLocks noChangeArrowheads="1"/>
          </p:cNvSpPr>
          <p:nvPr/>
        </p:nvSpPr>
        <p:spPr bwMode="auto">
          <a:xfrm rot="5400000">
            <a:off x="2379670" y="2015159"/>
            <a:ext cx="533400" cy="317499"/>
          </a:xfrm>
          <a:prstGeom prst="triangle">
            <a:avLst>
              <a:gd name="adj" fmla="val 50000"/>
            </a:avLst>
          </a:prstGeom>
          <a:solidFill>
            <a:srgbClr val="AADDEE"/>
          </a:solidFill>
          <a:ln w="9525">
            <a:noFill/>
            <a:miter lim="800000"/>
            <a:headEnd/>
            <a:tailEnd/>
          </a:ln>
        </p:spPr>
        <p:txBody>
          <a:bodyPr rot="10800000"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cs typeface="+mn-cs"/>
            </a:endParaRPr>
          </a:p>
        </p:txBody>
      </p:sp>
      <p:sp>
        <p:nvSpPr>
          <p:cNvPr id="38" name="AutoShape 15"/>
          <p:cNvSpPr>
            <a:spLocks noChangeArrowheads="1"/>
          </p:cNvSpPr>
          <p:nvPr/>
        </p:nvSpPr>
        <p:spPr bwMode="auto">
          <a:xfrm rot="5400000">
            <a:off x="2379670" y="2646793"/>
            <a:ext cx="533400" cy="317499"/>
          </a:xfrm>
          <a:prstGeom prst="triangle">
            <a:avLst>
              <a:gd name="adj" fmla="val 50000"/>
            </a:avLst>
          </a:prstGeom>
          <a:solidFill>
            <a:srgbClr val="AADDEE"/>
          </a:solidFill>
          <a:ln w="9525">
            <a:noFill/>
            <a:miter lim="800000"/>
            <a:headEnd/>
            <a:tailEnd/>
          </a:ln>
        </p:spPr>
        <p:txBody>
          <a:bodyPr rot="10800000"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cs typeface="+mn-cs"/>
            </a:endParaRPr>
          </a:p>
        </p:txBody>
      </p:sp>
      <p:sp>
        <p:nvSpPr>
          <p:cNvPr id="39" name="AutoShape 15"/>
          <p:cNvSpPr>
            <a:spLocks noChangeArrowheads="1"/>
          </p:cNvSpPr>
          <p:nvPr/>
        </p:nvSpPr>
        <p:spPr bwMode="auto">
          <a:xfrm rot="5400000">
            <a:off x="2379670" y="3462040"/>
            <a:ext cx="533400" cy="317499"/>
          </a:xfrm>
          <a:prstGeom prst="triangle">
            <a:avLst>
              <a:gd name="adj" fmla="val 50000"/>
            </a:avLst>
          </a:prstGeom>
          <a:solidFill>
            <a:srgbClr val="AADDEE"/>
          </a:solidFill>
          <a:ln w="9525">
            <a:noFill/>
            <a:miter lim="800000"/>
            <a:headEnd/>
            <a:tailEnd/>
          </a:ln>
        </p:spPr>
        <p:txBody>
          <a:bodyPr rot="10800000"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cs typeface="+mn-cs"/>
            </a:endParaRPr>
          </a:p>
        </p:txBody>
      </p:sp>
      <p:sp>
        <p:nvSpPr>
          <p:cNvPr id="40" name="AutoShape 15"/>
          <p:cNvSpPr>
            <a:spLocks noChangeArrowheads="1"/>
          </p:cNvSpPr>
          <p:nvPr/>
        </p:nvSpPr>
        <p:spPr bwMode="auto">
          <a:xfrm rot="5400000">
            <a:off x="2379670" y="5069215"/>
            <a:ext cx="533399" cy="317499"/>
          </a:xfrm>
          <a:prstGeom prst="triangle">
            <a:avLst>
              <a:gd name="adj" fmla="val 50000"/>
            </a:avLst>
          </a:prstGeom>
          <a:solidFill>
            <a:srgbClr val="AADDEE"/>
          </a:solidFill>
          <a:ln w="9525">
            <a:noFill/>
            <a:miter lim="800000"/>
            <a:headEnd/>
            <a:tailEnd/>
          </a:ln>
        </p:spPr>
        <p:txBody>
          <a:bodyPr rot="10800000"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cs typeface="+mn-cs"/>
            </a:endParaRPr>
          </a:p>
        </p:txBody>
      </p:sp>
      <p:sp>
        <p:nvSpPr>
          <p:cNvPr id="41" name="AutoShape 15"/>
          <p:cNvSpPr>
            <a:spLocks noChangeArrowheads="1"/>
          </p:cNvSpPr>
          <p:nvPr/>
        </p:nvSpPr>
        <p:spPr bwMode="auto">
          <a:xfrm rot="5400000">
            <a:off x="2379670" y="5885536"/>
            <a:ext cx="533400" cy="317499"/>
          </a:xfrm>
          <a:prstGeom prst="triangle">
            <a:avLst>
              <a:gd name="adj" fmla="val 50000"/>
            </a:avLst>
          </a:prstGeom>
          <a:solidFill>
            <a:srgbClr val="AADDEE"/>
          </a:solidFill>
          <a:ln w="9525">
            <a:noFill/>
            <a:miter lim="800000"/>
            <a:headEnd/>
            <a:tailEnd/>
          </a:ln>
        </p:spPr>
        <p:txBody>
          <a:bodyPr rot="10800000"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cs typeface="+mn-cs"/>
            </a:endParaRPr>
          </a:p>
        </p:txBody>
      </p:sp>
      <p:sp>
        <p:nvSpPr>
          <p:cNvPr id="42" name="Text Box 12"/>
          <p:cNvSpPr txBox="1">
            <a:spLocks noChangeArrowheads="1"/>
          </p:cNvSpPr>
          <p:nvPr/>
        </p:nvSpPr>
        <p:spPr bwMode="auto">
          <a:xfrm>
            <a:off x="2931194" y="4039889"/>
            <a:ext cx="8633559" cy="1006217"/>
          </a:xfrm>
          <a:prstGeom prst="rect">
            <a:avLst/>
          </a:prstGeom>
          <a:solidFill>
            <a:sysClr val="window" lastClr="FFFFFF"/>
          </a:solidFill>
          <a:ln w="9525">
            <a:noFill/>
            <a:miter lim="800000"/>
            <a:headEnd/>
            <a:tailEnd/>
          </a:ln>
        </p:spPr>
        <p:txBody>
          <a:bodyPr lIns="90000" rIns="90000"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666666"/>
                </a:solidFill>
                <a:effectLst/>
                <a:uLnTx/>
                <a:uFillTx/>
                <a:latin typeface="Arial"/>
                <a:cs typeface="+mn-cs"/>
              </a:rPr>
              <a:t>We bring industrialized, field-tested delivery assets such as our data center migration workbench, data center cost reduction toolkit, server optimization workbench, storage transformation workbench and application migration factory to ensure quality and predictability.</a:t>
            </a:r>
          </a:p>
        </p:txBody>
      </p:sp>
      <p:sp>
        <p:nvSpPr>
          <p:cNvPr id="43" name="Text Box 11"/>
          <p:cNvSpPr txBox="1">
            <a:spLocks noChangeArrowheads="1"/>
          </p:cNvSpPr>
          <p:nvPr/>
        </p:nvSpPr>
        <p:spPr bwMode="auto">
          <a:xfrm>
            <a:off x="484536" y="4165709"/>
            <a:ext cx="1866898" cy="639073"/>
          </a:xfrm>
          <a:prstGeom prst="rect">
            <a:avLst/>
          </a:prstGeom>
          <a:solidFill>
            <a:srgbClr val="408FCD"/>
          </a:solidFill>
          <a:ln w="9525">
            <a:noFill/>
            <a:miter lim="800000"/>
            <a:headEnd/>
            <a:tailEnd/>
          </a:ln>
        </p:spPr>
        <p:txBody>
          <a:bodyPr lIns="72000" rIns="72000" anchor="ctr"/>
          <a:lstStyle>
            <a:defPPr>
              <a:defRPr lang="en-US"/>
            </a:defPPr>
            <a:lvl1pPr marL="3175" eaLnBrk="0" hangingPunct="0">
              <a:spcBef>
                <a:spcPct val="50000"/>
              </a:spcBef>
              <a:defRPr sz="1300" b="1">
                <a:solidFill>
                  <a:srgbClr val="FFFFFF"/>
                </a:solidFill>
                <a:cs typeface="+mn-cs"/>
              </a:defRPr>
            </a:lvl1pPr>
          </a:lstStyle>
          <a:p>
            <a:pPr marL="3175" marR="0" lvl="0" indent="0" defTabSz="914400" eaLnBrk="0" fontAlgn="auto" latinLnBrk="0" hangingPunct="0">
              <a:lnSpc>
                <a:spcPct val="100000"/>
              </a:lnSpc>
              <a:spcBef>
                <a:spcPct val="5000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a:cs typeface="+mn-cs"/>
              </a:rPr>
              <a:t>Proven tools and methodologies </a:t>
            </a:r>
            <a:endParaRPr kumimoji="0" lang="en-US" sz="1400" b="1" i="0" u="none" strike="noStrike" kern="0" cap="none" spc="0" normalizeH="0" baseline="0" noProof="0" dirty="0">
              <a:ln>
                <a:noFill/>
              </a:ln>
              <a:solidFill>
                <a:srgbClr val="FFFFFF"/>
              </a:solidFill>
              <a:effectLst/>
              <a:uLnTx/>
              <a:uFillTx/>
              <a:latin typeface="Arial"/>
              <a:cs typeface="+mn-cs"/>
            </a:endParaRPr>
          </a:p>
        </p:txBody>
      </p:sp>
      <p:sp>
        <p:nvSpPr>
          <p:cNvPr id="44" name="AutoShape 15"/>
          <p:cNvSpPr>
            <a:spLocks noChangeArrowheads="1"/>
          </p:cNvSpPr>
          <p:nvPr/>
        </p:nvSpPr>
        <p:spPr bwMode="auto">
          <a:xfrm rot="5400000">
            <a:off x="2392368" y="4332755"/>
            <a:ext cx="533400" cy="317499"/>
          </a:xfrm>
          <a:prstGeom prst="triangle">
            <a:avLst>
              <a:gd name="adj" fmla="val 50000"/>
            </a:avLst>
          </a:prstGeom>
          <a:solidFill>
            <a:srgbClr val="AADDEE"/>
          </a:solidFill>
          <a:ln w="9525">
            <a:noFill/>
            <a:miter lim="800000"/>
            <a:headEnd/>
            <a:tailEnd/>
          </a:ln>
        </p:spPr>
        <p:txBody>
          <a:bodyPr rot="10800000" vert="eaVert"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a:cs typeface="+mn-cs"/>
            </a:endParaRPr>
          </a:p>
        </p:txBody>
      </p:sp>
      <p:sp>
        <p:nvSpPr>
          <p:cNvPr id="45" name="Text Box 12"/>
          <p:cNvSpPr txBox="1">
            <a:spLocks noChangeArrowheads="1"/>
          </p:cNvSpPr>
          <p:nvPr/>
        </p:nvSpPr>
        <p:spPr bwMode="auto">
          <a:xfrm>
            <a:off x="2918496" y="3103072"/>
            <a:ext cx="8633559" cy="1006217"/>
          </a:xfrm>
          <a:prstGeom prst="rect">
            <a:avLst/>
          </a:prstGeom>
          <a:solidFill>
            <a:sysClr val="window" lastClr="FFFFFF"/>
          </a:solidFill>
          <a:ln w="9525">
            <a:noFill/>
            <a:miter lim="800000"/>
            <a:headEnd/>
            <a:tailEnd/>
          </a:ln>
        </p:spPr>
        <p:txBody>
          <a:bodyPr lIns="90000" rIns="90000"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666666"/>
                </a:solidFill>
                <a:effectLst/>
                <a:uLnTx/>
                <a:uFillTx/>
                <a:latin typeface="Arial"/>
                <a:cs typeface="+mn-cs"/>
              </a:rPr>
              <a:t>Delivery is at the heart of what we do at Accenture. We combine industry, technology and business process innovations with an unmatched breadth and depth of industrialized delivery capabilities to help our clients achieve high performance. Our Global Delivery Network across 54-plus countries provides the world’s largest group of technology, business process and outsourcing professionals.</a:t>
            </a:r>
          </a:p>
        </p:txBody>
      </p:sp>
      <p:sp>
        <p:nvSpPr>
          <p:cNvPr id="46" name="Text Box 14"/>
          <p:cNvSpPr txBox="1">
            <a:spLocks noChangeArrowheads="1"/>
          </p:cNvSpPr>
          <p:nvPr/>
        </p:nvSpPr>
        <p:spPr bwMode="auto">
          <a:xfrm>
            <a:off x="2902226" y="5483104"/>
            <a:ext cx="8808761" cy="1122363"/>
          </a:xfrm>
          <a:prstGeom prst="rect">
            <a:avLst/>
          </a:prstGeom>
          <a:solidFill>
            <a:schemeClr val="bg1"/>
          </a:solidFill>
          <a:ln w="9525">
            <a:noFill/>
            <a:miter lim="800000"/>
            <a:headEnd/>
            <a:tailEnd/>
          </a:ln>
        </p:spPr>
        <p:txBody>
          <a:bodyPr lIns="90000" rIns="90000" anchor="ctr"/>
          <a:lstStyle/>
          <a:p>
            <a:pPr eaLnBrk="0" hangingPunct="0"/>
            <a:r>
              <a:rPr lang="en-US" sz="1400" dirty="0">
                <a:solidFill>
                  <a:schemeClr val="tx2"/>
                </a:solidFill>
                <a:cs typeface="+mn-cs"/>
              </a:rPr>
              <a:t>Our deeply skilled technologists use industry-leading practices to create a roadmap and navigate our client’s organization toward an </a:t>
            </a:r>
            <a:r>
              <a:rPr lang="en-US" sz="1400" dirty="0" smtClean="0">
                <a:solidFill>
                  <a:schemeClr val="tx2"/>
                </a:solidFill>
                <a:cs typeface="+mn-cs"/>
              </a:rPr>
              <a:t>optimized and agile data centers that </a:t>
            </a:r>
            <a:r>
              <a:rPr lang="en-US" sz="1400" dirty="0">
                <a:solidFill>
                  <a:schemeClr val="tx2"/>
                </a:solidFill>
                <a:cs typeface="+mn-cs"/>
              </a:rPr>
              <a:t>reflects their unique business and processes. </a:t>
            </a:r>
            <a:r>
              <a:rPr lang="en-US" sz="1400" dirty="0" smtClean="0">
                <a:solidFill>
                  <a:schemeClr val="tx2"/>
                </a:solidFill>
                <a:cs typeface="+mn-cs"/>
              </a:rPr>
              <a:t>We have 3,000+ dedicated professionals across the globe and a strong global delivery network to support our implementation work at cost-effective rates and reduced risk</a:t>
            </a:r>
            <a:endParaRPr lang="en-US" sz="1400" dirty="0">
              <a:solidFill>
                <a:schemeClr val="tx2"/>
              </a:solidFill>
              <a:cs typeface="+mn-cs"/>
            </a:endParaRPr>
          </a:p>
        </p:txBody>
      </p:sp>
    </p:spTree>
    <p:extLst>
      <p:ext uri="{BB962C8B-B14F-4D97-AF65-F5344CB8AC3E}">
        <p14:creationId xmlns:p14="http://schemas.microsoft.com/office/powerpoint/2010/main" val="35017432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DC </a:t>
            </a:r>
            <a:r>
              <a:rPr lang="en-US" dirty="0" err="1"/>
              <a:t>MarketScape</a:t>
            </a:r>
            <a:r>
              <a:rPr lang="en-US" dirty="0"/>
              <a:t>: Worldwide Cloud Professional Services 2014 Vendor Analysis positions Accenture as a Worldwide Leader in Cloud Professional Services </a:t>
            </a:r>
          </a:p>
        </p:txBody>
      </p:sp>
      <p:sp>
        <p:nvSpPr>
          <p:cNvPr id="4" name="Footer Placeholder 3"/>
          <p:cNvSpPr>
            <a:spLocks noGrp="1"/>
          </p:cNvSpPr>
          <p:nvPr>
            <p:ph type="ftr" sz="quarter" idx="12"/>
          </p:nvPr>
        </p:nvSpPr>
        <p:spPr/>
        <p:txBody>
          <a:bodyPr/>
          <a:lstStyle/>
          <a:p>
            <a:r>
              <a:rPr lang="en-US"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1</a:t>
            </a:fld>
            <a:endParaRPr lang="en-US" dirty="0"/>
          </a:p>
        </p:txBody>
      </p:sp>
      <p:pic>
        <p:nvPicPr>
          <p:cNvPr id="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7587"/>
          <a:stretch/>
        </p:blipFill>
        <p:spPr bwMode="auto">
          <a:xfrm>
            <a:off x="597048" y="1299543"/>
            <a:ext cx="3913040" cy="3798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6"/>
          <p:cNvSpPr>
            <a:spLocks noGrp="1"/>
          </p:cNvSpPr>
          <p:nvPr>
            <p:ph sz="half" idx="4294967295"/>
          </p:nvPr>
        </p:nvSpPr>
        <p:spPr>
          <a:xfrm>
            <a:off x="5295900" y="1528143"/>
            <a:ext cx="6426200" cy="4964732"/>
          </a:xfrm>
          <a:prstGeom prst="rect">
            <a:avLst/>
          </a:prstGeom>
        </p:spPr>
        <p:txBody>
          <a:bodyPr>
            <a:noAutofit/>
          </a:bodyPr>
          <a:lstStyle/>
          <a:p>
            <a:pPr marL="0" indent="0">
              <a:lnSpc>
                <a:spcPct val="100000"/>
              </a:lnSpc>
              <a:buNone/>
            </a:pPr>
            <a:r>
              <a:rPr lang="en-ZA" sz="1400" dirty="0" smtClean="0">
                <a:solidFill>
                  <a:schemeClr val="tx1"/>
                </a:solidFill>
              </a:rPr>
              <a:t>IDC analysis and buyer perception identifies Accenture as an IDC </a:t>
            </a:r>
            <a:r>
              <a:rPr lang="en-ZA" sz="1400" dirty="0" err="1" smtClean="0">
                <a:solidFill>
                  <a:schemeClr val="tx1"/>
                </a:solidFill>
              </a:rPr>
              <a:t>MarketScape</a:t>
            </a:r>
            <a:r>
              <a:rPr lang="en-ZA" sz="1400" dirty="0" smtClean="0">
                <a:solidFill>
                  <a:schemeClr val="tx1"/>
                </a:solidFill>
              </a:rPr>
              <a:t> </a:t>
            </a:r>
            <a:r>
              <a:rPr lang="en-US" sz="1400" dirty="0" smtClean="0">
                <a:solidFill>
                  <a:schemeClr val="tx1"/>
                </a:solidFill>
              </a:rPr>
              <a:t>Leader worldwide. </a:t>
            </a:r>
            <a:r>
              <a:rPr lang="en-US" sz="1400" dirty="0">
                <a:solidFill>
                  <a:schemeClr val="tx1"/>
                </a:solidFill>
              </a:rPr>
              <a:t>Accenture continues to invest heavily in cloud, growing its business to more than 13,000 professionals, working on more than 8,000 projects, and surpassing $1.5 billion in revenue. As part of its three-year $400 million investment announced in April 2013, Accenture is continuing the ramp-up of its professional services capabilities, enriching its cloud ecosystem, launching new cloud-based software and business process services, and implementing cloud capabilities for Accenture's more than 293,000 </a:t>
            </a:r>
            <a:r>
              <a:rPr lang="en-US" sz="1400" dirty="0" smtClean="0">
                <a:solidFill>
                  <a:schemeClr val="tx1"/>
                </a:solidFill>
              </a:rPr>
              <a:t>people.</a:t>
            </a:r>
          </a:p>
          <a:p>
            <a:pPr marL="0" indent="0">
              <a:lnSpc>
                <a:spcPct val="100000"/>
              </a:lnSpc>
              <a:buNone/>
            </a:pPr>
            <a:r>
              <a:rPr lang="en-US" sz="1400" dirty="0" smtClean="0">
                <a:solidFill>
                  <a:schemeClr val="tx1"/>
                </a:solidFill>
              </a:rPr>
              <a:t>IDC’s </a:t>
            </a:r>
            <a:r>
              <a:rPr lang="en-US" sz="1400" dirty="0">
                <a:solidFill>
                  <a:schemeClr val="tx1"/>
                </a:solidFill>
              </a:rPr>
              <a:t>evaluation is based on a comprehensive framework and set of parameters expected to be most conducive to success in providing cloud professional services during both the short term and the long term. A significant component of this evaluation is the inclusion of the perception of cloud professional services buyers of both the key characteristics and the capabilities of these </a:t>
            </a:r>
            <a:r>
              <a:rPr lang="en-US" sz="1400" dirty="0" smtClean="0">
                <a:solidFill>
                  <a:schemeClr val="tx1"/>
                </a:solidFill>
              </a:rPr>
              <a:t>providers.</a:t>
            </a:r>
          </a:p>
          <a:p>
            <a:pPr marL="0" indent="0">
              <a:lnSpc>
                <a:spcPct val="100000"/>
              </a:lnSpc>
              <a:spcBef>
                <a:spcPts val="0"/>
              </a:spcBef>
              <a:buNone/>
            </a:pPr>
            <a:endParaRPr lang="en-US" sz="1400" dirty="0" smtClean="0">
              <a:solidFill>
                <a:schemeClr val="tx1"/>
              </a:solidFill>
            </a:endParaRPr>
          </a:p>
          <a:p>
            <a:pPr marL="0" indent="0">
              <a:lnSpc>
                <a:spcPct val="100000"/>
              </a:lnSpc>
              <a:spcBef>
                <a:spcPts val="0"/>
              </a:spcBef>
              <a:buNone/>
            </a:pPr>
            <a:r>
              <a:rPr lang="en-ZA" sz="1400" b="1" dirty="0" smtClean="0">
                <a:solidFill>
                  <a:schemeClr val="tx1"/>
                </a:solidFill>
              </a:rPr>
              <a:t>Cloud Professional Services areas of strength:</a:t>
            </a:r>
            <a:endParaRPr lang="en-ZA" sz="1400" b="1" dirty="0">
              <a:solidFill>
                <a:schemeClr val="tx1"/>
              </a:solidFill>
            </a:endParaRPr>
          </a:p>
          <a:p>
            <a:pPr marL="0" indent="0">
              <a:lnSpc>
                <a:spcPct val="100000"/>
              </a:lnSpc>
              <a:spcBef>
                <a:spcPts val="0"/>
              </a:spcBef>
              <a:buNone/>
            </a:pPr>
            <a:r>
              <a:rPr lang="en-ZA" sz="1400" dirty="0">
                <a:solidFill>
                  <a:schemeClr val="tx1"/>
                </a:solidFill>
              </a:rPr>
              <a:t>According to IDC's 2013 </a:t>
            </a:r>
            <a:r>
              <a:rPr lang="en-ZA" sz="1400" i="1" dirty="0">
                <a:solidFill>
                  <a:schemeClr val="tx1"/>
                </a:solidFill>
              </a:rPr>
              <a:t>Global Cloud Professional Services Buyer </a:t>
            </a:r>
            <a:r>
              <a:rPr lang="en-ZA" sz="1400" i="1" dirty="0" smtClean="0">
                <a:solidFill>
                  <a:schemeClr val="tx1"/>
                </a:solidFill>
              </a:rPr>
              <a:t>Perception Survey</a:t>
            </a:r>
            <a:r>
              <a:rPr lang="en-ZA" sz="1400" i="1" dirty="0">
                <a:solidFill>
                  <a:schemeClr val="tx1"/>
                </a:solidFill>
              </a:rPr>
              <a:t>, </a:t>
            </a:r>
            <a:r>
              <a:rPr lang="en-ZA" sz="1400" dirty="0">
                <a:solidFill>
                  <a:schemeClr val="tx1"/>
                </a:solidFill>
              </a:rPr>
              <a:t>clients highlighted Accenture to be most strong in the following areas</a:t>
            </a:r>
            <a:r>
              <a:rPr lang="en-ZA" sz="1400" dirty="0" smtClean="0">
                <a:solidFill>
                  <a:schemeClr val="tx1"/>
                </a:solidFill>
              </a:rPr>
              <a:t>:</a:t>
            </a:r>
            <a:br>
              <a:rPr lang="en-ZA" sz="1400" dirty="0" smtClean="0">
                <a:solidFill>
                  <a:schemeClr val="tx1"/>
                </a:solidFill>
              </a:rPr>
            </a:br>
            <a:endParaRPr lang="en-US" sz="1400" dirty="0">
              <a:solidFill>
                <a:schemeClr val="tx1"/>
              </a:solidFill>
            </a:endParaRPr>
          </a:p>
          <a:p>
            <a:pPr lvl="0">
              <a:lnSpc>
                <a:spcPct val="100000"/>
              </a:lnSpc>
              <a:spcBef>
                <a:spcPts val="0"/>
              </a:spcBef>
            </a:pPr>
            <a:r>
              <a:rPr lang="en-US" sz="1400" dirty="0" smtClean="0">
                <a:solidFill>
                  <a:schemeClr val="tx1"/>
                </a:solidFill>
              </a:rPr>
              <a:t>Ability to provide </a:t>
            </a:r>
            <a:r>
              <a:rPr lang="en-US" sz="1400" dirty="0">
                <a:solidFill>
                  <a:schemeClr val="tx1"/>
                </a:solidFill>
              </a:rPr>
              <a:t>functional insights and competence</a:t>
            </a:r>
          </a:p>
          <a:p>
            <a:pPr lvl="0">
              <a:lnSpc>
                <a:spcPct val="100000"/>
              </a:lnSpc>
              <a:spcBef>
                <a:spcPts val="0"/>
              </a:spcBef>
            </a:pPr>
            <a:r>
              <a:rPr lang="en-US" sz="1400" dirty="0" smtClean="0">
                <a:solidFill>
                  <a:schemeClr val="tx1"/>
                </a:solidFill>
              </a:rPr>
              <a:t>Ability to manage </a:t>
            </a:r>
            <a:r>
              <a:rPr lang="en-US" sz="1400" dirty="0">
                <a:solidFill>
                  <a:schemeClr val="tx1"/>
                </a:solidFill>
              </a:rPr>
              <a:t>risk</a:t>
            </a:r>
          </a:p>
          <a:p>
            <a:pPr lvl="0">
              <a:lnSpc>
                <a:spcPct val="100000"/>
              </a:lnSpc>
              <a:spcBef>
                <a:spcPts val="0"/>
              </a:spcBef>
            </a:pPr>
            <a:r>
              <a:rPr lang="en-US" sz="1400" dirty="0" smtClean="0">
                <a:solidFill>
                  <a:schemeClr val="tx1"/>
                </a:solidFill>
              </a:rPr>
              <a:t>Ability to meet </a:t>
            </a:r>
            <a:r>
              <a:rPr lang="en-US" sz="1400" dirty="0">
                <a:solidFill>
                  <a:schemeClr val="tx1"/>
                </a:solidFill>
              </a:rPr>
              <a:t>the project timeline</a:t>
            </a:r>
          </a:p>
        </p:txBody>
      </p:sp>
      <p:sp>
        <p:nvSpPr>
          <p:cNvPr id="8" name="Rectangle 7"/>
          <p:cNvSpPr/>
          <p:nvPr/>
        </p:nvSpPr>
        <p:spPr>
          <a:xfrm>
            <a:off x="479419" y="4930178"/>
            <a:ext cx="4600581" cy="584775"/>
          </a:xfrm>
          <a:prstGeom prst="rect">
            <a:avLst/>
          </a:prstGeom>
        </p:spPr>
        <p:txBody>
          <a:bodyPr wrap="square">
            <a:spAutoFit/>
          </a:bodyPr>
          <a:lstStyle/>
          <a:p>
            <a:r>
              <a:rPr lang="en-US" sz="800" dirty="0" smtClean="0">
                <a:latin typeface="Arial" pitchFamily="34" charset="0"/>
                <a:cs typeface="Arial" pitchFamily="34" charset="0"/>
              </a:rPr>
              <a:t>© Copyright IDC. Source: </a:t>
            </a:r>
            <a:r>
              <a:rPr lang="en-US" sz="800" dirty="0">
                <a:latin typeface="Arial" pitchFamily="34" charset="0"/>
                <a:cs typeface="Arial" pitchFamily="34" charset="0"/>
              </a:rPr>
              <a:t>IDC </a:t>
            </a:r>
            <a:r>
              <a:rPr lang="en-US" sz="800" dirty="0" err="1">
                <a:latin typeface="Arial" pitchFamily="34" charset="0"/>
                <a:cs typeface="Arial" pitchFamily="34" charset="0"/>
              </a:rPr>
              <a:t>MarketScape</a:t>
            </a:r>
            <a:r>
              <a:rPr lang="en-US" sz="800" dirty="0">
                <a:latin typeface="Arial" pitchFamily="34" charset="0"/>
                <a:cs typeface="Arial" pitchFamily="34" charset="0"/>
              </a:rPr>
              <a:t>: Worldwide Cloud Professional Services 2014 Vendor </a:t>
            </a:r>
            <a:r>
              <a:rPr lang="en-US" sz="800" dirty="0" smtClean="0">
                <a:latin typeface="Arial" pitchFamily="34" charset="0"/>
                <a:cs typeface="Arial" pitchFamily="34" charset="0"/>
              </a:rPr>
              <a:t>Analysis by </a:t>
            </a:r>
            <a:r>
              <a:rPr lang="en-US" sz="800" dirty="0">
                <a:latin typeface="Arial" pitchFamily="34" charset="0"/>
                <a:cs typeface="Arial" pitchFamily="34" charset="0"/>
              </a:rPr>
              <a:t>Gard </a:t>
            </a:r>
            <a:r>
              <a:rPr lang="en-US" sz="800" dirty="0" smtClean="0">
                <a:latin typeface="Arial" pitchFamily="34" charset="0"/>
                <a:cs typeface="Arial" pitchFamily="34" charset="0"/>
              </a:rPr>
              <a:t>Little and Chad </a:t>
            </a:r>
            <a:r>
              <a:rPr lang="en-US" sz="800" dirty="0">
                <a:latin typeface="Arial" pitchFamily="34" charset="0"/>
                <a:cs typeface="Arial" pitchFamily="34" charset="0"/>
              </a:rPr>
              <a:t>Huston. </a:t>
            </a:r>
            <a:r>
              <a:rPr lang="en-US" sz="800" dirty="0" smtClean="0">
                <a:latin typeface="Arial" pitchFamily="34" charset="0"/>
                <a:cs typeface="Arial" pitchFamily="34" charset="0"/>
              </a:rPr>
              <a:t>August 2014.</a:t>
            </a:r>
          </a:p>
          <a:p>
            <a:r>
              <a:rPr lang="en-US" sz="800" dirty="0"/>
              <a:t>Access the IDC </a:t>
            </a:r>
            <a:r>
              <a:rPr lang="en-US" sz="800" dirty="0" smtClean="0"/>
              <a:t>reprint: </a:t>
            </a:r>
            <a:r>
              <a:rPr lang="en-US" sz="800" dirty="0">
                <a:hlinkClick r:id="rId3"/>
              </a:rPr>
              <a:t>http://</a:t>
            </a:r>
            <a:r>
              <a:rPr lang="en-US" sz="800" dirty="0" smtClean="0">
                <a:hlinkClick r:id="rId3"/>
              </a:rPr>
              <a:t>idcdocserv.com/250238e_Accenture</a:t>
            </a:r>
            <a:r>
              <a:rPr lang="en-US" sz="800" dirty="0" smtClean="0"/>
              <a:t>  </a:t>
            </a:r>
          </a:p>
          <a:p>
            <a:endParaRPr lang="en-US" sz="800" dirty="0">
              <a:latin typeface="Arial" pitchFamily="34" charset="0"/>
              <a:cs typeface="Arial" pitchFamily="34" charset="0"/>
            </a:endParaRPr>
          </a:p>
        </p:txBody>
      </p:sp>
      <p:sp>
        <p:nvSpPr>
          <p:cNvPr id="9" name="Rectangle 8"/>
          <p:cNvSpPr/>
          <p:nvPr/>
        </p:nvSpPr>
        <p:spPr>
          <a:xfrm>
            <a:off x="479419" y="5369846"/>
            <a:ext cx="4460881" cy="1200329"/>
          </a:xfrm>
          <a:prstGeom prst="rect">
            <a:avLst/>
          </a:prstGeom>
        </p:spPr>
        <p:txBody>
          <a:bodyPr wrap="square">
            <a:spAutoFit/>
          </a:bodyPr>
          <a:lstStyle/>
          <a:p>
            <a:r>
              <a:rPr lang="en-US" sz="800" dirty="0">
                <a:latin typeface="Arial" pitchFamily="34" charset="0"/>
                <a:cs typeface="Arial" pitchFamily="34" charset="0"/>
              </a:rPr>
              <a:t>IDC </a:t>
            </a:r>
            <a:r>
              <a:rPr lang="en-US" sz="800" dirty="0" err="1">
                <a:latin typeface="Arial" pitchFamily="34" charset="0"/>
                <a:cs typeface="Arial" pitchFamily="34" charset="0"/>
              </a:rPr>
              <a:t>MarketScape</a:t>
            </a:r>
            <a:r>
              <a:rPr lang="en-US" sz="800" dirty="0">
                <a:latin typeface="Arial" pitchFamily="34" charset="0"/>
                <a:cs typeface="Arial" pitchFamily="34" charset="0"/>
              </a:rPr>
              <a:t> vendor analysis model is designed to provide an overview of the competitive fitness of ICT suppliers in a given market. The research methodology utilizes a rigorous scoring methodology based on both qualitative and quantitative criteria that results in a single graphical illustration of each vendor’s position within a given market. The Capabilities score measures vendor product, go-to-market and business execution in the short-term. The Strategy score measures alignment of vendor strategies with customer requirements in a 3-5-year timeframe. Vendor market share is represented by the size of the circles. Vendor year-over-year growth rate relative to the given market is indicated by a plus, neutral or minus next to the vendor name.</a:t>
            </a:r>
          </a:p>
        </p:txBody>
      </p:sp>
    </p:spTree>
    <p:extLst>
      <p:ext uri="{BB962C8B-B14F-4D97-AF65-F5344CB8AC3E}">
        <p14:creationId xmlns:p14="http://schemas.microsoft.com/office/powerpoint/2010/main" val="28277777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ccenture is aiming to leverage its consulting capabilities to drive growth in infrastructure </a:t>
            </a:r>
            <a:r>
              <a:rPr lang="en-US" dirty="0" smtClean="0"/>
              <a:t>management</a:t>
            </a:r>
            <a:endParaRPr lang="en-US" dirty="0"/>
          </a:p>
        </p:txBody>
      </p:sp>
      <p:sp>
        <p:nvSpPr>
          <p:cNvPr id="4" name="Footer Placeholder 3"/>
          <p:cNvSpPr>
            <a:spLocks noGrp="1"/>
          </p:cNvSpPr>
          <p:nvPr>
            <p:ph type="ftr" sz="quarter" idx="12"/>
          </p:nvPr>
        </p:nvSpPr>
        <p:spPr/>
        <p:txBody>
          <a:bodyPr/>
          <a:lstStyle/>
          <a:p>
            <a:r>
              <a:rPr lang="en-US"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2</a:t>
            </a:fld>
            <a:endParaRPr lang="en-US" dirty="0"/>
          </a:p>
        </p:txBody>
      </p:sp>
      <p:sp>
        <p:nvSpPr>
          <p:cNvPr id="6" name="Rectangle 3"/>
          <p:cNvSpPr>
            <a:spLocks noGrp="1" noChangeArrowheads="1"/>
          </p:cNvSpPr>
          <p:nvPr>
            <p:ph idx="4294967295"/>
          </p:nvPr>
        </p:nvSpPr>
        <p:spPr>
          <a:xfrm>
            <a:off x="465138" y="1677764"/>
            <a:ext cx="11280775" cy="4575175"/>
          </a:xfrm>
          <a:prstGeom prst="rect">
            <a:avLst/>
          </a:prstGeom>
          <a:noFill/>
        </p:spPr>
        <p:txBody>
          <a:bodyPr tIns="18288" bIns="18288"/>
          <a:lstStyle/>
          <a:p>
            <a:r>
              <a:rPr lang="en-US" sz="1400" b="1" i="1" dirty="0">
                <a:solidFill>
                  <a:srgbClr val="0000FF"/>
                </a:solidFill>
              </a:rPr>
              <a:t>New</a:t>
            </a:r>
            <a:r>
              <a:rPr lang="en-US" sz="1400" b="1" i="1" dirty="0" smtClean="0">
                <a:solidFill>
                  <a:srgbClr val="0000FF"/>
                </a:solidFill>
              </a:rPr>
              <a:t>! </a:t>
            </a:r>
            <a:r>
              <a:rPr lang="en-US" sz="1400" dirty="0"/>
              <a:t>“Accenture carved out a separate dedicated infrastructure services. It is focusing on offering business service level agreements to client by combining infrastructure operations with business process services</a:t>
            </a:r>
            <a:r>
              <a:rPr lang="en-US" sz="1400" dirty="0" smtClean="0"/>
              <a:t>”</a:t>
            </a:r>
            <a:r>
              <a:rPr lang="en-US" sz="1400" dirty="0"/>
              <a:t> (Source: Everest Global, Inc. Infrastructure Services – PEAK Matrix™ Assessment and Profile Compendium 2014. December 2014. EGR-2014-4-R-1301. To access report click </a:t>
            </a:r>
            <a:r>
              <a:rPr lang="en-US" sz="1400" dirty="0">
                <a:hlinkClick r:id="rId2"/>
              </a:rPr>
              <a:t>here</a:t>
            </a:r>
            <a:r>
              <a:rPr lang="en-US" sz="1400" dirty="0"/>
              <a:t>.) </a:t>
            </a:r>
          </a:p>
          <a:p>
            <a:r>
              <a:rPr lang="en-US" sz="1400" b="1" i="1" dirty="0" smtClean="0">
                <a:solidFill>
                  <a:srgbClr val="0000FF"/>
                </a:solidFill>
              </a:rPr>
              <a:t>New! </a:t>
            </a:r>
            <a:r>
              <a:rPr lang="en-US" sz="1400" dirty="0" smtClean="0">
                <a:solidFill>
                  <a:schemeClr val="tx1"/>
                </a:solidFill>
              </a:rPr>
              <a:t>“Accenture’s heritage in transformational engagement coupled with its significant push towards infrastructure services should assist enterprises in leveraging its offerings for wide variety of services</a:t>
            </a:r>
            <a:r>
              <a:rPr lang="en-US" sz="1400" dirty="0"/>
              <a:t>.” (Source: Everest Global, Inc. Infrastructure Services – PEAK Matrix™ Assessment and Profile Compendium 2014. December 2014. EGR-2014-4-R-1301. To access report click </a:t>
            </a:r>
            <a:r>
              <a:rPr lang="en-US" sz="1400" dirty="0">
                <a:hlinkClick r:id="rId2"/>
              </a:rPr>
              <a:t>here</a:t>
            </a:r>
            <a:r>
              <a:rPr lang="en-US" sz="1400" dirty="0"/>
              <a:t>.) </a:t>
            </a:r>
            <a:endParaRPr lang="en-US" sz="1400" dirty="0" smtClean="0"/>
          </a:p>
          <a:p>
            <a:r>
              <a:rPr lang="en-US" sz="1400" b="1" i="1" dirty="0">
                <a:solidFill>
                  <a:srgbClr val="0000FF"/>
                </a:solidFill>
              </a:rPr>
              <a:t>New</a:t>
            </a:r>
            <a:r>
              <a:rPr lang="en-US" sz="1400" b="1" i="1" dirty="0" smtClean="0">
                <a:solidFill>
                  <a:srgbClr val="0000FF"/>
                </a:solidFill>
              </a:rPr>
              <a:t>! </a:t>
            </a:r>
            <a:r>
              <a:rPr lang="en-US" sz="1400" dirty="0" smtClean="0"/>
              <a:t>“Accenture ITO strategy: Address </a:t>
            </a:r>
            <a:r>
              <a:rPr lang="en-US" sz="1400" dirty="0"/>
              <a:t>increasing demand for cloud solutions by offering remote infrastructure management offerings that result in cost savings and improved efficiency</a:t>
            </a:r>
            <a:r>
              <a:rPr lang="en-US" sz="1400" dirty="0" smtClean="0"/>
              <a:t>.” </a:t>
            </a:r>
            <a:r>
              <a:rPr lang="en-US" sz="1400" dirty="0"/>
              <a:t>(© </a:t>
            </a:r>
            <a:r>
              <a:rPr lang="en-US" sz="1400" dirty="0" smtClean="0"/>
              <a:t>TBR</a:t>
            </a:r>
            <a:r>
              <a:rPr lang="en-US" sz="1400" dirty="0"/>
              <a:t>. </a:t>
            </a:r>
            <a:r>
              <a:rPr lang="en-US" sz="1400" dirty="0" smtClean="0"/>
              <a:t>4Q14 </a:t>
            </a:r>
            <a:r>
              <a:rPr lang="en-US" sz="1400" dirty="0"/>
              <a:t>Professional Services Business Quarterly: Accenture. </a:t>
            </a:r>
            <a:r>
              <a:rPr lang="en-US" sz="1400" dirty="0" smtClean="0"/>
              <a:t>14 January 2015.)</a:t>
            </a:r>
          </a:p>
          <a:p>
            <a:r>
              <a:rPr lang="en-US" sz="1400" b="1" i="1" dirty="0" smtClean="0">
                <a:solidFill>
                  <a:srgbClr val="0000FF"/>
                </a:solidFill>
              </a:rPr>
              <a:t>New! </a:t>
            </a:r>
            <a:r>
              <a:rPr lang="en-US" sz="1400" dirty="0" smtClean="0">
                <a:solidFill>
                  <a:schemeClr val="tx1"/>
                </a:solidFill>
              </a:rPr>
              <a:t>“</a:t>
            </a:r>
            <a:r>
              <a:rPr lang="en-US" sz="1400" dirty="0"/>
              <a:t>As a business/application-oriented vendor, Accenture historically partnered for provision of IT infrastructure management services components and provided consulting services to organizations looking to outsource. </a:t>
            </a:r>
            <a:r>
              <a:rPr lang="en-US" sz="1400" dirty="0" smtClean="0">
                <a:solidFill>
                  <a:schemeClr val="tx1"/>
                </a:solidFill>
              </a:rPr>
              <a:t>Having </a:t>
            </a:r>
            <a:r>
              <a:rPr lang="en-US" sz="1400" dirty="0">
                <a:solidFill>
                  <a:schemeClr val="tx1"/>
                </a:solidFill>
              </a:rPr>
              <a:t>avoided IT infrastructure </a:t>
            </a:r>
            <a:r>
              <a:rPr lang="en-US" sz="1400" dirty="0" smtClean="0">
                <a:solidFill>
                  <a:schemeClr val="tx1"/>
                </a:solidFill>
              </a:rPr>
              <a:t>management services</a:t>
            </a:r>
            <a:r>
              <a:rPr lang="en-US" sz="1400" dirty="0">
                <a:solidFill>
                  <a:schemeClr val="tx1"/>
                </a:solidFill>
              </a:rPr>
              <a:t>, Accenture now offers IT “transformational” outsourcing, with IT </a:t>
            </a:r>
            <a:r>
              <a:rPr lang="en-US" sz="1400" dirty="0" smtClean="0">
                <a:solidFill>
                  <a:schemeClr val="tx1"/>
                </a:solidFill>
              </a:rPr>
              <a:t>infrastructure management </a:t>
            </a:r>
            <a:r>
              <a:rPr lang="en-US" sz="1400" dirty="0">
                <a:solidFill>
                  <a:schemeClr val="tx1"/>
                </a:solidFill>
              </a:rPr>
              <a:t>being minor elements of the outsourcing service. The Thomas </a:t>
            </a:r>
            <a:r>
              <a:rPr lang="en-US" sz="1400" dirty="0" smtClean="0">
                <a:solidFill>
                  <a:schemeClr val="tx1"/>
                </a:solidFill>
              </a:rPr>
              <a:t>Cook contract </a:t>
            </a:r>
            <a:r>
              <a:rPr lang="en-US" sz="1400" dirty="0">
                <a:solidFill>
                  <a:schemeClr val="tx1"/>
                </a:solidFill>
              </a:rPr>
              <a:t>is an example of a deal where Accenture’s outsourcing service includes an </a:t>
            </a:r>
            <a:r>
              <a:rPr lang="en-US" sz="1400" dirty="0" smtClean="0">
                <a:solidFill>
                  <a:schemeClr val="tx1"/>
                </a:solidFill>
              </a:rPr>
              <a:t>IT infrastructure </a:t>
            </a:r>
            <a:r>
              <a:rPr lang="en-US" sz="1400" dirty="0">
                <a:solidFill>
                  <a:schemeClr val="tx1"/>
                </a:solidFill>
              </a:rPr>
              <a:t>management component</a:t>
            </a:r>
            <a:r>
              <a:rPr lang="en-US" sz="1400" dirty="0" smtClean="0">
                <a:solidFill>
                  <a:schemeClr val="tx1"/>
                </a:solidFill>
              </a:rPr>
              <a:t>.” </a:t>
            </a:r>
            <a:r>
              <a:rPr lang="en-US" sz="1400" dirty="0">
                <a:solidFill>
                  <a:schemeClr val="tx1"/>
                </a:solidFill>
              </a:rPr>
              <a:t>(© </a:t>
            </a:r>
            <a:r>
              <a:rPr lang="en-US" sz="1400" dirty="0" err="1">
                <a:solidFill>
                  <a:schemeClr val="tx1"/>
                </a:solidFill>
              </a:rPr>
              <a:t>NelsonHall</a:t>
            </a:r>
            <a:r>
              <a:rPr lang="en-US" sz="1400" dirty="0">
                <a:solidFill>
                  <a:schemeClr val="tx1"/>
                </a:solidFill>
              </a:rPr>
              <a:t>. </a:t>
            </a:r>
            <a:r>
              <a:rPr lang="en-US" sz="1400" dirty="0" smtClean="0">
                <a:solidFill>
                  <a:schemeClr val="tx1"/>
                </a:solidFill>
              </a:rPr>
              <a:t>Key Vendor </a:t>
            </a:r>
            <a:r>
              <a:rPr lang="en-US" sz="1400" dirty="0">
                <a:solidFill>
                  <a:schemeClr val="tx1"/>
                </a:solidFill>
              </a:rPr>
              <a:t>Assessment of Accenture. </a:t>
            </a:r>
            <a:r>
              <a:rPr lang="en-US" sz="1400" dirty="0">
                <a:ea typeface="Times New Roman"/>
                <a:cs typeface="Times New Roman"/>
              </a:rPr>
              <a:t>December 2014</a:t>
            </a:r>
            <a:r>
              <a:rPr lang="en-US" sz="1400" dirty="0" smtClean="0">
                <a:solidFill>
                  <a:schemeClr val="tx1"/>
                </a:solidFill>
              </a:rPr>
              <a:t>.)</a:t>
            </a:r>
          </a:p>
          <a:p>
            <a:r>
              <a:rPr lang="en-US" sz="1400" b="1" i="1" dirty="0">
                <a:solidFill>
                  <a:srgbClr val="0000FF"/>
                </a:solidFill>
              </a:rPr>
              <a:t>New! </a:t>
            </a:r>
            <a:r>
              <a:rPr lang="en-US" sz="1400" dirty="0"/>
              <a:t>“Accenture is not targeting major IT infrastructure management contracts requiring asset management, but rather deals involving remote services and/or cloud services. It is not generally interested in acquiring IT assets in ITO deals, positioning this as a means by which clients retain control and flexibility. Accenture highlights its vendor independence as a differentiator in infrastructure management, positioning it as neutral and objective when advising on technologies” (© </a:t>
            </a:r>
            <a:r>
              <a:rPr lang="en-US" sz="1400" dirty="0" err="1"/>
              <a:t>NelsonHall</a:t>
            </a:r>
            <a:r>
              <a:rPr lang="en-US" sz="1400" dirty="0"/>
              <a:t>. Key Vendor Assessment of Accenture. </a:t>
            </a:r>
            <a:r>
              <a:rPr lang="en-US" sz="1400" dirty="0">
                <a:ea typeface="Times New Roman"/>
                <a:cs typeface="Times New Roman"/>
              </a:rPr>
              <a:t>December 2014</a:t>
            </a:r>
            <a:r>
              <a:rPr lang="en-US" sz="1400" dirty="0"/>
              <a:t>.)</a:t>
            </a:r>
          </a:p>
          <a:p>
            <a:endParaRPr lang="en-US" sz="1400" dirty="0">
              <a:solidFill>
                <a:schemeClr val="tx1"/>
              </a:solidFill>
            </a:endParaRPr>
          </a:p>
        </p:txBody>
      </p:sp>
      <p:sp>
        <p:nvSpPr>
          <p:cNvPr id="7" name="Text Box 134"/>
          <p:cNvSpPr txBox="1">
            <a:spLocks noChangeArrowheads="1"/>
          </p:cNvSpPr>
          <p:nvPr/>
        </p:nvSpPr>
        <p:spPr bwMode="gray">
          <a:xfrm>
            <a:off x="0" y="1244600"/>
            <a:ext cx="3674404" cy="276999"/>
          </a:xfrm>
          <a:prstGeom prst="rect">
            <a:avLst/>
          </a:prstGeom>
          <a:solidFill>
            <a:srgbClr val="C00000"/>
          </a:solidFill>
          <a:ln w="9525">
            <a:noFill/>
            <a:miter lim="800000"/>
            <a:headEnd/>
            <a:tailEnd/>
          </a:ln>
        </p:spPr>
        <p:txBody>
          <a:bodyPr wrap="none">
            <a:spAutoFit/>
          </a:bodyPr>
          <a:lstStyle/>
          <a:p>
            <a:pPr eaLnBrk="0" hangingPunct="0"/>
            <a:r>
              <a:rPr lang="en-US" sz="1200" b="1" dirty="0" smtClean="0">
                <a:solidFill>
                  <a:schemeClr val="bg1"/>
                </a:solidFill>
              </a:rPr>
              <a:t>Caution: Requires permission to use externally </a:t>
            </a:r>
            <a:endParaRPr lang="en-US" sz="1200" b="1" dirty="0">
              <a:solidFill>
                <a:schemeClr val="bg1"/>
              </a:solidFill>
            </a:endParaRPr>
          </a:p>
        </p:txBody>
      </p:sp>
    </p:spTree>
    <p:extLst>
      <p:ext uri="{BB962C8B-B14F-4D97-AF65-F5344CB8AC3E}">
        <p14:creationId xmlns:p14="http://schemas.microsoft.com/office/powerpoint/2010/main" val="24222750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ccenture is a leader and strong transformational player in infrastructure outsourcing </a:t>
            </a:r>
          </a:p>
        </p:txBody>
      </p:sp>
      <p:sp>
        <p:nvSpPr>
          <p:cNvPr id="4" name="Footer Placeholder 3"/>
          <p:cNvSpPr>
            <a:spLocks noGrp="1"/>
          </p:cNvSpPr>
          <p:nvPr>
            <p:ph type="ftr" sz="quarter" idx="12"/>
          </p:nvPr>
        </p:nvSpPr>
        <p:spPr/>
        <p:txBody>
          <a:bodyPr/>
          <a:lstStyle/>
          <a:p>
            <a:r>
              <a:rPr lang="en-US"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3</a:t>
            </a:fld>
            <a:endParaRPr lang="en-US" dirty="0"/>
          </a:p>
        </p:txBody>
      </p:sp>
      <p:sp>
        <p:nvSpPr>
          <p:cNvPr id="6" name="Rectangle 3"/>
          <p:cNvSpPr>
            <a:spLocks noGrp="1" noChangeArrowheads="1"/>
          </p:cNvSpPr>
          <p:nvPr>
            <p:ph idx="4294967295"/>
          </p:nvPr>
        </p:nvSpPr>
        <p:spPr>
          <a:xfrm>
            <a:off x="465138" y="1677764"/>
            <a:ext cx="11280775" cy="4575175"/>
          </a:xfrm>
          <a:prstGeom prst="rect">
            <a:avLst/>
          </a:prstGeom>
          <a:noFill/>
        </p:spPr>
        <p:txBody>
          <a:bodyPr tIns="18288" bIns="18288"/>
          <a:lstStyle/>
          <a:p>
            <a:pPr marL="231775" lvl="0" indent="-231775">
              <a:spcBef>
                <a:spcPts val="600"/>
              </a:spcBef>
              <a:spcAft>
                <a:spcPts val="0"/>
              </a:spcAft>
              <a:buSzPts val="900"/>
              <a:buFont typeface="Symbol"/>
              <a:buChar char=""/>
              <a:tabLst>
                <a:tab pos="342900" algn="l"/>
              </a:tabLst>
            </a:pPr>
            <a:r>
              <a:rPr lang="en-US" sz="1400" b="1" i="1" dirty="0">
                <a:solidFill>
                  <a:srgbClr val="0000FF"/>
                </a:solidFill>
              </a:rPr>
              <a:t>New! </a:t>
            </a:r>
            <a:r>
              <a:rPr lang="en-US" sz="1400" dirty="0"/>
              <a:t>“Accenture, a leader, The Forrester Wave™: Global Infrastructure Outsourcing”</a:t>
            </a:r>
          </a:p>
          <a:p>
            <a:pPr marL="231775" lvl="0" indent="-231775">
              <a:spcBef>
                <a:spcPts val="600"/>
              </a:spcBef>
              <a:spcAft>
                <a:spcPts val="0"/>
              </a:spcAft>
              <a:buSzPts val="900"/>
              <a:buFont typeface="Symbol"/>
              <a:buChar char=""/>
              <a:tabLst>
                <a:tab pos="342900" algn="l"/>
              </a:tabLst>
            </a:pPr>
            <a:r>
              <a:rPr lang="en-US" sz="1400" b="1" i="1" dirty="0">
                <a:solidFill>
                  <a:srgbClr val="0000FF"/>
                </a:solidFill>
              </a:rPr>
              <a:t>New! </a:t>
            </a:r>
            <a:r>
              <a:rPr lang="en-US" sz="1400" dirty="0"/>
              <a:t>“Accenture possesses great strengths in applications services, infrastructure services, and transformational services. Historically, Accenture has avoided asset-heavy deals and has preferred to embrace its asset-light philosophy, but the company is now seeking to increase its competitiveness in standalone infrastructure outsourcing engagements.”</a:t>
            </a:r>
          </a:p>
          <a:p>
            <a:pPr marL="231775" lvl="0" indent="-231775">
              <a:spcBef>
                <a:spcPts val="600"/>
              </a:spcBef>
              <a:spcAft>
                <a:spcPts val="0"/>
              </a:spcAft>
              <a:buSzPts val="900"/>
              <a:buFont typeface="Symbol"/>
              <a:buChar char=""/>
              <a:tabLst>
                <a:tab pos="342900" algn="l"/>
              </a:tabLst>
            </a:pPr>
            <a:r>
              <a:rPr lang="en-US" sz="1400" b="1" i="1" dirty="0">
                <a:solidFill>
                  <a:srgbClr val="0000FF"/>
                </a:solidFill>
              </a:rPr>
              <a:t>New! </a:t>
            </a:r>
            <a:r>
              <a:rPr lang="en-US" sz="1400" dirty="0"/>
              <a:t>“Leadership in cloud orchestration and brokering is another focus, which is the rationale for the firm's significant investments in its Accenture Cloud Platform, a vehicle for integration and service orchestration across various cloud models, including private cloud solutions available from its partners. Accenture enthusiastically touts its partnership with </a:t>
            </a:r>
            <a:r>
              <a:rPr lang="en-US" sz="1400" dirty="0" err="1"/>
              <a:t>IPsoft</a:t>
            </a:r>
            <a:r>
              <a:rPr lang="en-US" sz="1400" dirty="0"/>
              <a:t> for automated infrastructure support services.” </a:t>
            </a:r>
          </a:p>
          <a:p>
            <a:pPr marL="231775" lvl="0" indent="-231775">
              <a:spcBef>
                <a:spcPts val="600"/>
              </a:spcBef>
              <a:spcAft>
                <a:spcPts val="0"/>
              </a:spcAft>
              <a:buSzPts val="900"/>
              <a:buFont typeface="Symbol"/>
              <a:buChar char=""/>
              <a:tabLst>
                <a:tab pos="342900" algn="l"/>
              </a:tabLst>
            </a:pPr>
            <a:r>
              <a:rPr lang="en-US" sz="1400" b="1" i="1" dirty="0">
                <a:solidFill>
                  <a:srgbClr val="0000FF"/>
                </a:solidFill>
              </a:rPr>
              <a:t>New! </a:t>
            </a:r>
            <a:r>
              <a:rPr lang="en-US" sz="1400" dirty="0"/>
              <a:t>“It is also seeking to serve as the role of service integrator in infrastructure engagements. Generally an asset-light provider, Accenture thrives on transformational engagements. Accenture's distribution of staff and clients is well-balanced and a source of strength for the supplier.” </a:t>
            </a:r>
          </a:p>
          <a:p>
            <a:pPr lvl="0">
              <a:spcBef>
                <a:spcPts val="600"/>
              </a:spcBef>
              <a:spcAft>
                <a:spcPts val="0"/>
              </a:spcAft>
              <a:buSzPts val="900"/>
              <a:tabLst>
                <a:tab pos="342900" algn="l"/>
              </a:tabLst>
            </a:pPr>
            <a:r>
              <a:rPr lang="en-US" sz="1400" dirty="0"/>
              <a:t>(</a:t>
            </a:r>
            <a:r>
              <a:rPr lang="en-US" sz="1400" dirty="0">
                <a:ea typeface="Times New Roman"/>
                <a:cs typeface="Arial"/>
              </a:rPr>
              <a:t>© </a:t>
            </a:r>
            <a:r>
              <a:rPr lang="en-US" sz="1400" dirty="0"/>
              <a:t>The Forrester Wave™: Global Infrastructure Outsourcing, Q1 2015; January 13, 2015)</a:t>
            </a:r>
          </a:p>
          <a:p>
            <a:pPr lvl="0">
              <a:spcBef>
                <a:spcPts val="600"/>
              </a:spcBef>
              <a:spcAft>
                <a:spcPts val="0"/>
              </a:spcAft>
              <a:buSzPts val="900"/>
              <a:tabLst>
                <a:tab pos="342900" algn="l"/>
              </a:tabLst>
            </a:pPr>
            <a:endParaRPr lang="en-US" sz="1400" dirty="0"/>
          </a:p>
          <a:p>
            <a:pPr marL="231775" indent="-231775">
              <a:spcBef>
                <a:spcPts val="600"/>
              </a:spcBef>
              <a:spcAft>
                <a:spcPts val="0"/>
              </a:spcAft>
              <a:buSzPts val="900"/>
              <a:buFont typeface="Symbol"/>
              <a:buChar char=""/>
              <a:tabLst>
                <a:tab pos="342900" algn="l"/>
              </a:tabLst>
            </a:pPr>
            <a:r>
              <a:rPr lang="en-US" sz="1400" b="1" i="1" dirty="0">
                <a:solidFill>
                  <a:srgbClr val="0000FF"/>
                </a:solidFill>
              </a:rPr>
              <a:t>New! </a:t>
            </a:r>
            <a:r>
              <a:rPr lang="en-US" sz="1400" i="1" dirty="0">
                <a:solidFill>
                  <a:srgbClr val="0000FF"/>
                </a:solidFill>
              </a:rPr>
              <a:t>“</a:t>
            </a:r>
            <a:r>
              <a:rPr lang="en-US" sz="1400" dirty="0"/>
              <a:t>TBR believes Accenture will sustain its growth momentum through FY15 as it offers price-competitive outsourcing services supported by investments in cognitive computing. During CY4Q14 Accenture deepened its relationship with Remote Infrastructure Management vendor </a:t>
            </a:r>
            <a:r>
              <a:rPr lang="en-US" sz="1400" dirty="0" err="1"/>
              <a:t>IPSoft</a:t>
            </a:r>
            <a:r>
              <a:rPr lang="en-US" sz="1400" dirty="0"/>
              <a:t>, implementing </a:t>
            </a:r>
            <a:r>
              <a:rPr lang="en-US" sz="1400" dirty="0" err="1"/>
              <a:t>IPSoft’s</a:t>
            </a:r>
            <a:r>
              <a:rPr lang="en-US" sz="1400" dirty="0"/>
              <a:t> artificial intelligence (AI)-based software agent Amelia to provide backend operation support to a couple of its existing clients. We expect leveraging Amelia in existing and future engagements will provide Accenture with pricing agility while delivering to scale.” (© TBR. 4Q14 Professional Services Business Quarterly: Accenture. 14 January 2015</a:t>
            </a:r>
            <a:r>
              <a:rPr lang="en-US" sz="1400" dirty="0" smtClean="0"/>
              <a:t>.)</a:t>
            </a:r>
            <a:endParaRPr lang="en-US" sz="1400" dirty="0"/>
          </a:p>
        </p:txBody>
      </p:sp>
      <p:sp>
        <p:nvSpPr>
          <p:cNvPr id="7" name="Text Box 134"/>
          <p:cNvSpPr txBox="1">
            <a:spLocks noChangeArrowheads="1"/>
          </p:cNvSpPr>
          <p:nvPr/>
        </p:nvSpPr>
        <p:spPr bwMode="gray">
          <a:xfrm>
            <a:off x="0" y="1244600"/>
            <a:ext cx="3674404" cy="276999"/>
          </a:xfrm>
          <a:prstGeom prst="rect">
            <a:avLst/>
          </a:prstGeom>
          <a:solidFill>
            <a:srgbClr val="C00000"/>
          </a:solidFill>
          <a:ln w="9525">
            <a:noFill/>
            <a:miter lim="800000"/>
            <a:headEnd/>
            <a:tailEnd/>
          </a:ln>
        </p:spPr>
        <p:txBody>
          <a:bodyPr wrap="none">
            <a:spAutoFit/>
          </a:bodyPr>
          <a:lstStyle/>
          <a:p>
            <a:pPr eaLnBrk="0" hangingPunct="0"/>
            <a:r>
              <a:rPr lang="en-US" sz="1200" b="1" dirty="0">
                <a:solidFill>
                  <a:schemeClr val="bg1"/>
                </a:solidFill>
              </a:rPr>
              <a:t>Caution: Requires permission to use externally </a:t>
            </a:r>
          </a:p>
        </p:txBody>
      </p:sp>
    </p:spTree>
    <p:extLst>
      <p:ext uri="{BB962C8B-B14F-4D97-AF65-F5344CB8AC3E}">
        <p14:creationId xmlns:p14="http://schemas.microsoft.com/office/powerpoint/2010/main" val="40301196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a:t>Accenture uses tested assets and project accelerators to enable Data Center development in an efficient, yet robust, manner</a:t>
            </a:r>
            <a:endParaRPr lang="en-US" dirty="0"/>
          </a:p>
        </p:txBody>
      </p:sp>
      <p:sp>
        <p:nvSpPr>
          <p:cNvPr id="4" name="Footer Placeholder 3"/>
          <p:cNvSpPr>
            <a:spLocks noGrp="1"/>
          </p:cNvSpPr>
          <p:nvPr>
            <p:ph type="ftr" sz="quarter" idx="12"/>
          </p:nvPr>
        </p:nvSpPr>
        <p:spPr/>
        <p:txBody>
          <a:bodyPr/>
          <a:lstStyle/>
          <a:p>
            <a:r>
              <a:rPr lang="en-US"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4</a:t>
            </a:fld>
            <a:endParaRPr lang="en-US" dirty="0"/>
          </a:p>
        </p:txBody>
      </p:sp>
      <p:sp>
        <p:nvSpPr>
          <p:cNvPr id="7" name="Rectangle 6"/>
          <p:cNvSpPr/>
          <p:nvPr/>
        </p:nvSpPr>
        <p:spPr>
          <a:xfrm>
            <a:off x="465137" y="1268413"/>
            <a:ext cx="7723187" cy="519906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300"/>
              </a:spcAft>
            </a:pPr>
            <a:r>
              <a:rPr lang="en-US" sz="1400" b="1" dirty="0">
                <a:solidFill>
                  <a:srgbClr val="000000"/>
                </a:solidFill>
                <a:latin typeface="Arial" panose="020B0604020202020204" pitchFamily="34" charset="0"/>
              </a:rPr>
              <a:t>Intelligent Infrastructure Assets and Demo including Private and Public Cloud</a:t>
            </a:r>
            <a:endParaRPr lang="en-US" sz="1400" dirty="0">
              <a:latin typeface="Arial" panose="020B0604020202020204" pitchFamily="34" charset="0"/>
            </a:endParaRPr>
          </a:p>
          <a:p>
            <a:pPr fontAlgn="auto">
              <a:spcBef>
                <a:spcPts val="0"/>
              </a:spcBef>
              <a:spcAft>
                <a:spcPts val="0"/>
              </a:spcAft>
            </a:pPr>
            <a:r>
              <a:rPr lang="en-US" sz="1400" dirty="0">
                <a:solidFill>
                  <a:srgbClr val="000000"/>
                </a:solidFill>
                <a:latin typeface="Arial" panose="020B0604020202020204" pitchFamily="34" charset="0"/>
              </a:rPr>
              <a:t>Our Agile IT architecture and reference models provide strategy, architecture and demonstration assets that demonstrate Accenture’s leadership is incorporating technology trends such as virtualization, automation and integration into a service oriented, business aligned DC capability</a:t>
            </a:r>
            <a:br>
              <a:rPr lang="en-US" sz="1400" dirty="0">
                <a:solidFill>
                  <a:srgbClr val="000000"/>
                </a:solidFill>
                <a:latin typeface="Arial" panose="020B0604020202020204" pitchFamily="34" charset="0"/>
              </a:rPr>
            </a:br>
            <a:endParaRPr lang="en-US" sz="1400" dirty="0">
              <a:latin typeface="Arial" panose="020B0604020202020204" pitchFamily="34" charset="0"/>
            </a:endParaRPr>
          </a:p>
          <a:p>
            <a:pPr fontAlgn="t">
              <a:spcBef>
                <a:spcPts val="0"/>
              </a:spcBef>
              <a:spcAft>
                <a:spcPts val="300"/>
              </a:spcAft>
            </a:pPr>
            <a:r>
              <a:rPr lang="en-US" sz="1400" b="1" dirty="0">
                <a:solidFill>
                  <a:srgbClr val="000000"/>
                </a:solidFill>
                <a:latin typeface="Arial" panose="020B0604020202020204" pitchFamily="34" charset="0"/>
              </a:rPr>
              <a:t>Infrastructure Workbench</a:t>
            </a:r>
            <a:endParaRPr lang="en-US" sz="1400" dirty="0">
              <a:latin typeface="Arial" panose="020B0604020202020204" pitchFamily="34" charset="0"/>
            </a:endParaRPr>
          </a:p>
          <a:p>
            <a:pPr fontAlgn="t">
              <a:spcBef>
                <a:spcPts val="0"/>
              </a:spcBef>
              <a:spcAft>
                <a:spcPts val="300"/>
              </a:spcAft>
            </a:pPr>
            <a:r>
              <a:rPr lang="en-US" sz="1400" dirty="0">
                <a:solidFill>
                  <a:srgbClr val="000000"/>
                </a:solidFill>
                <a:latin typeface="Arial" panose="020B0604020202020204" pitchFamily="34" charset="0"/>
              </a:rPr>
              <a:t>Recently revised release of the Data Center Migration Methods and supporting assets to provide the latest in Migration experience, further industrializing our capabilities and improving our predictability in DC migrations</a:t>
            </a:r>
            <a:r>
              <a:rPr lang="en-US" sz="1400" dirty="0" smtClean="0">
                <a:solidFill>
                  <a:srgbClr val="000000"/>
                </a:solidFill>
                <a:latin typeface="Arial" panose="020B0604020202020204" pitchFamily="34" charset="0"/>
              </a:rPr>
              <a:t>.</a:t>
            </a:r>
            <a:br>
              <a:rPr lang="en-US" sz="1400" dirty="0" smtClean="0">
                <a:solidFill>
                  <a:srgbClr val="000000"/>
                </a:solidFill>
                <a:latin typeface="Arial" panose="020B0604020202020204" pitchFamily="34" charset="0"/>
              </a:rPr>
            </a:br>
            <a:endParaRPr lang="en-US" sz="1400" dirty="0">
              <a:latin typeface="Arial" panose="020B0604020202020204" pitchFamily="34" charset="0"/>
            </a:endParaRPr>
          </a:p>
          <a:p>
            <a:pPr fontAlgn="t">
              <a:spcBef>
                <a:spcPts val="0"/>
              </a:spcBef>
              <a:spcAft>
                <a:spcPts val="300"/>
              </a:spcAft>
            </a:pPr>
            <a:r>
              <a:rPr lang="en-US" sz="1400" b="1" dirty="0">
                <a:solidFill>
                  <a:srgbClr val="000000"/>
                </a:solidFill>
                <a:latin typeface="Arial" panose="020B0604020202020204" pitchFamily="34" charset="0"/>
              </a:rPr>
              <a:t>Accelerate for Data Center &amp; Cloud (</a:t>
            </a:r>
            <a:r>
              <a:rPr lang="en-US" sz="1400" b="1" dirty="0" err="1">
                <a:solidFill>
                  <a:srgbClr val="000000"/>
                </a:solidFill>
                <a:latin typeface="Arial" panose="020B0604020202020204" pitchFamily="34" charset="0"/>
              </a:rPr>
              <a:t>eMPIR</a:t>
            </a:r>
            <a:r>
              <a:rPr lang="en-US" sz="1400" b="1" dirty="0">
                <a:solidFill>
                  <a:srgbClr val="000000"/>
                </a:solidFill>
                <a:latin typeface="Arial" panose="020B0604020202020204" pitchFamily="34" charset="0"/>
              </a:rPr>
              <a:t>)</a:t>
            </a:r>
            <a:endParaRPr lang="en-US" sz="1400" dirty="0">
              <a:latin typeface="Arial" panose="020B0604020202020204" pitchFamily="34" charset="0"/>
            </a:endParaRPr>
          </a:p>
          <a:p>
            <a:pPr fontAlgn="t">
              <a:spcBef>
                <a:spcPts val="0"/>
              </a:spcBef>
              <a:spcAft>
                <a:spcPts val="300"/>
              </a:spcAft>
            </a:pPr>
            <a:r>
              <a:rPr lang="en-US" sz="1400" dirty="0">
                <a:solidFill>
                  <a:srgbClr val="000000"/>
                </a:solidFill>
                <a:latin typeface="Arial" panose="020B0604020202020204" pitchFamily="34" charset="0"/>
              </a:rPr>
              <a:t>Accenture tool under pilot use in client migrations that aids in planning, executing and reporting upon the progress of migrations.  Using inventory data on systems and applications, this tool associates these assets to actively ensure dependencies are managed, the migration execution is planned, and the migration activities are clearly reported in a multi-user platform</a:t>
            </a:r>
            <a:r>
              <a:rPr lang="en-US" sz="1400" dirty="0" smtClean="0">
                <a:solidFill>
                  <a:srgbClr val="000000"/>
                </a:solidFill>
                <a:latin typeface="Arial" panose="020B0604020202020204" pitchFamily="34" charset="0"/>
              </a:rPr>
              <a:t>.</a:t>
            </a:r>
            <a:br>
              <a:rPr lang="en-US" sz="1400" dirty="0" smtClean="0">
                <a:solidFill>
                  <a:srgbClr val="000000"/>
                </a:solidFill>
                <a:latin typeface="Arial" panose="020B0604020202020204" pitchFamily="34" charset="0"/>
              </a:rPr>
            </a:br>
            <a:endParaRPr lang="en-US" sz="1400" dirty="0">
              <a:latin typeface="Arial" panose="020B0604020202020204" pitchFamily="34" charset="0"/>
            </a:endParaRPr>
          </a:p>
          <a:p>
            <a:pPr fontAlgn="t">
              <a:spcBef>
                <a:spcPts val="0"/>
              </a:spcBef>
              <a:spcAft>
                <a:spcPts val="300"/>
              </a:spcAft>
            </a:pPr>
            <a:r>
              <a:rPr lang="en-US" sz="1400" b="1" dirty="0">
                <a:solidFill>
                  <a:srgbClr val="000000"/>
                </a:solidFill>
                <a:latin typeface="Arial" panose="020B0604020202020204" pitchFamily="34" charset="0"/>
              </a:rPr>
              <a:t>Application Migration </a:t>
            </a:r>
            <a:r>
              <a:rPr lang="en-US" sz="1400" b="1" dirty="0" smtClean="0">
                <a:solidFill>
                  <a:srgbClr val="000000"/>
                </a:solidFill>
                <a:latin typeface="Arial" panose="020B0604020202020204" pitchFamily="34" charset="0"/>
              </a:rPr>
              <a:t>Factory</a:t>
            </a:r>
            <a:endParaRPr lang="en-US" sz="1400" dirty="0">
              <a:latin typeface="Arial" panose="020B0604020202020204" pitchFamily="34" charset="0"/>
            </a:endParaRPr>
          </a:p>
          <a:p>
            <a:pPr fontAlgn="t">
              <a:spcBef>
                <a:spcPts val="0"/>
              </a:spcBef>
              <a:spcAft>
                <a:spcPts val="300"/>
              </a:spcAft>
            </a:pPr>
            <a:r>
              <a:rPr lang="en-US" sz="1400" dirty="0">
                <a:solidFill>
                  <a:srgbClr val="000000"/>
                </a:solidFill>
                <a:latin typeface="Arial" panose="020B0604020202020204" pitchFamily="34" charset="0"/>
              </a:rPr>
              <a:t>A set of tools that aids in mapping and migrating applications as part of a data center move. This proven tool consists of a package of questionnaires to collect business and application data, means to associate, plan, and execute application migrations via an Access database tool, and methods and reports to govern the process.</a:t>
            </a:r>
            <a:endParaRPr lang="en-US" sz="1400" b="0" i="0" u="none" strike="noStrike" dirty="0">
              <a:effectLst/>
              <a:latin typeface="Arial" panose="020B0604020202020204" pitchFamily="34" charset="0"/>
            </a:endParaRPr>
          </a:p>
        </p:txBody>
      </p:sp>
      <p:pic>
        <p:nvPicPr>
          <p:cNvPr id="8" name="Picture 7"/>
          <p:cNvPicPr>
            <a:picLocks noChangeAspect="1"/>
          </p:cNvPicPr>
          <p:nvPr/>
        </p:nvPicPr>
        <p:blipFill>
          <a:blip r:embed="rId2"/>
          <a:stretch>
            <a:fillRect/>
          </a:stretch>
        </p:blipFill>
        <p:spPr>
          <a:xfrm>
            <a:off x="8688388" y="1445332"/>
            <a:ext cx="2551559" cy="1187967"/>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37600" y="2818673"/>
            <a:ext cx="2442142" cy="1058290"/>
          </a:xfrm>
          <a:prstGeom prst="rect">
            <a:avLst/>
          </a:prstGeom>
        </p:spPr>
      </p:pic>
      <p:pic>
        <p:nvPicPr>
          <p:cNvPr id="10" name="Picture 3" descr="C:\Users\sean.d.peterson\AppData\Local\Temp\wz8217\File-Homepage.jpg"/>
          <p:cNvPicPr>
            <a:picLocks noChangeAspect="1" noChangeArrowheads="1"/>
          </p:cNvPicPr>
          <p:nvPr/>
        </p:nvPicPr>
        <p:blipFill>
          <a:blip r:embed="rId4" cstate="print">
            <a:extLst>
              <a:ext uri="{28A0092B-C50C-407E-A947-70E740481C1C}">
                <a14:useLocalDpi xmlns:a14="http://schemas.microsoft.com/office/drawing/2010/main" val="0"/>
              </a:ext>
            </a:extLst>
          </a:blip>
          <a:srcRect r="227" b="82"/>
          <a:stretch>
            <a:fillRect/>
          </a:stretch>
        </p:blipFill>
        <p:spPr bwMode="auto">
          <a:xfrm>
            <a:off x="8688388" y="4065000"/>
            <a:ext cx="2656611" cy="1211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85278" y="5464583"/>
            <a:ext cx="2862830" cy="1004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Tree>
    <p:extLst>
      <p:ext uri="{BB962C8B-B14F-4D97-AF65-F5344CB8AC3E}">
        <p14:creationId xmlns:p14="http://schemas.microsoft.com/office/powerpoint/2010/main" val="7515575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that </a:t>
            </a:r>
            <a:r>
              <a:rPr lang="en-US" sz="2400" dirty="0" smtClean="0"/>
              <a:t>helps </a:t>
            </a:r>
            <a:r>
              <a:rPr lang="en-US" sz="2400" dirty="0"/>
              <a:t>to industrialize and ensure high quality and predictability</a:t>
            </a:r>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5</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248721502"/>
              </p:ext>
            </p:extLst>
          </p:nvPr>
        </p:nvGraphicFramePr>
        <p:xfrm>
          <a:off x="496800" y="1552952"/>
          <a:ext cx="11214188" cy="3453352"/>
        </p:xfrm>
        <a:graphic>
          <a:graphicData uri="http://schemas.openxmlformats.org/drawingml/2006/table">
            <a:tbl>
              <a:tblPr firstRow="1" bandRow="1">
                <a:tableStyleId>{2D5ABB26-0587-4C30-8999-92F81FD0307C}</a:tableStyleId>
              </a:tblPr>
              <a:tblGrid>
                <a:gridCol w="7918330"/>
                <a:gridCol w="3295858"/>
              </a:tblGrid>
              <a:tr h="1137493">
                <a:tc>
                  <a:txBody>
                    <a:bodyPr/>
                    <a:lstStyle/>
                    <a:p>
                      <a:pPr marL="0" algn="l" defTabSz="914400" rtl="0" eaLnBrk="1" latinLnBrk="0" hangingPunct="1">
                        <a:spcAft>
                          <a:spcPts val="300"/>
                        </a:spcAft>
                      </a:pPr>
                      <a:r>
                        <a:rPr lang="en-US" sz="1600" b="1" kern="1200" dirty="0" smtClean="0"/>
                        <a:t>Server Optimization Workbench</a:t>
                      </a:r>
                    </a:p>
                    <a:p>
                      <a:r>
                        <a:rPr lang="en-US" sz="1400" dirty="0" smtClean="0"/>
                        <a:t>Industrialized assets</a:t>
                      </a:r>
                      <a:r>
                        <a:rPr lang="en-US" sz="1400" baseline="0" dirty="0" smtClean="0"/>
                        <a:t> that help clients rapidly and efficiently virtualize their server compute by consolidating, migrating and transforming their server compute capability as part of the cloud infrastructure journey</a:t>
                      </a:r>
                      <a:endParaRPr lang="en-US" sz="1400" b="0" dirty="0" smtClean="0">
                        <a:solidFill>
                          <a:schemeClr val="tx2"/>
                        </a:solidFill>
                        <a:latin typeface="+mn-lt"/>
                      </a:endParaRPr>
                    </a:p>
                  </a:txBody>
                  <a:tcPr marL="0" marR="0" marT="54000" marB="54000"/>
                </a:tc>
                <a:tc>
                  <a:txBody>
                    <a:bodyPr/>
                    <a:lstStyle/>
                    <a:p>
                      <a:endParaRPr lang="en-US" sz="1200" dirty="0" smtClean="0"/>
                    </a:p>
                    <a:p>
                      <a:endParaRPr lang="en-US" sz="1200" dirty="0" smtClean="0"/>
                    </a:p>
                    <a:p>
                      <a:endParaRPr lang="en-US" sz="1200" b="0" dirty="0">
                        <a:solidFill>
                          <a:schemeClr val="tx1"/>
                        </a:solidFill>
                        <a:latin typeface="+mn-lt"/>
                      </a:endParaRPr>
                    </a:p>
                  </a:txBody>
                  <a:tcPr marL="0" marR="0" marT="54000" marB="54000"/>
                </a:tc>
              </a:tr>
              <a:tr h="1051690">
                <a:tc>
                  <a:txBody>
                    <a:bodyPr/>
                    <a:lstStyle/>
                    <a:p>
                      <a:pPr marL="0" algn="l" defTabSz="914400" rtl="0" eaLnBrk="1" latinLnBrk="0" hangingPunct="1">
                        <a:spcAft>
                          <a:spcPts val="300"/>
                        </a:spcAft>
                      </a:pPr>
                      <a:r>
                        <a:rPr lang="en-US" sz="1600" b="1" kern="1200" dirty="0" smtClean="0"/>
                        <a:t>Storage Transformation Workbench</a:t>
                      </a:r>
                    </a:p>
                    <a:p>
                      <a:r>
                        <a:rPr lang="en-US" sz="1400" dirty="0" smtClean="0"/>
                        <a:t>Industrialized assets that transform</a:t>
                      </a:r>
                      <a:r>
                        <a:rPr lang="en-US" sz="1400" baseline="0" dirty="0" smtClean="0"/>
                        <a:t> clients to a tiered storage environment reducing costs while improving agility of use in a cloud infrastructure</a:t>
                      </a:r>
                      <a:endParaRPr lang="en-US" sz="1400" b="0" dirty="0" smtClean="0">
                        <a:solidFill>
                          <a:schemeClr val="tx2"/>
                        </a:solidFill>
                        <a:latin typeface="+mn-lt"/>
                      </a:endParaRPr>
                    </a:p>
                  </a:txBody>
                  <a:tcPr marL="0" marR="0" marT="54000" marB="54000"/>
                </a:tc>
                <a:tc>
                  <a:txBody>
                    <a:bodyPr/>
                    <a:lstStyle/>
                    <a:p>
                      <a:endParaRPr lang="en-US" sz="1200" dirty="0" smtClean="0"/>
                    </a:p>
                    <a:p>
                      <a:endParaRPr lang="en-US" sz="1200" dirty="0" smtClean="0"/>
                    </a:p>
                    <a:p>
                      <a:endParaRPr lang="en-US" sz="1200" b="0" dirty="0">
                        <a:solidFill>
                          <a:schemeClr val="tx1"/>
                        </a:solidFill>
                        <a:latin typeface="+mn-lt"/>
                      </a:endParaRPr>
                    </a:p>
                  </a:txBody>
                  <a:tcPr marL="0" marR="0" marT="54000" marB="54000"/>
                </a:tc>
              </a:tr>
              <a:tr h="1264169">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mn-lt"/>
                          <a:ea typeface="+mn-ea"/>
                          <a:cs typeface="+mn-cs"/>
                        </a:rPr>
                        <a:t>Data Center Cost Reduction Toolkit</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A proven toolkit of assessment, value trees, benchmarks and reports that aid in identifying cost take out opportunities within data centers.</a:t>
                      </a:r>
                      <a:endParaRPr kumimoji="0" lang="en-US" sz="1400" b="0" i="0" u="none" strike="noStrike" kern="1200" cap="none" spc="0" normalizeH="0" baseline="0" noProof="0" dirty="0" smtClean="0">
                        <a:ln>
                          <a:noFill/>
                        </a:ln>
                        <a:solidFill>
                          <a:srgbClr val="666666"/>
                        </a:solidFill>
                        <a:effectLst/>
                        <a:uLnTx/>
                        <a:uFillTx/>
                        <a:latin typeface="+mn-lt"/>
                        <a:ea typeface="+mn-ea"/>
                        <a:cs typeface="+mn-cs"/>
                      </a:endParaRPr>
                    </a:p>
                  </a:txBody>
                  <a:tcPr marL="0" marR="0" marT="54000" marB="54000"/>
                </a:tc>
                <a:tc>
                  <a:txBody>
                    <a:bodyPr/>
                    <a:lstStyle/>
                    <a:p>
                      <a:endParaRPr lang="en-US" sz="1200" dirty="0" smtClean="0"/>
                    </a:p>
                    <a:p>
                      <a:endParaRPr lang="en-US" sz="1200" dirty="0" smtClean="0"/>
                    </a:p>
                    <a:p>
                      <a:endParaRPr lang="en-US" sz="1200" b="0" dirty="0">
                        <a:solidFill>
                          <a:schemeClr val="tx1"/>
                        </a:solidFill>
                        <a:latin typeface="+mn-lt"/>
                      </a:endParaRPr>
                    </a:p>
                  </a:txBody>
                  <a:tcPr marL="0" marR="0" marT="54000" marB="54000"/>
                </a:tc>
              </a:tr>
            </a:tbl>
          </a:graphicData>
        </a:graphic>
      </p:graphicFrame>
      <p:pic>
        <p:nvPicPr>
          <p:cNvPr id="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74000" y="1624190"/>
            <a:ext cx="2047875" cy="924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74000" y="2759774"/>
            <a:ext cx="2047874" cy="835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8908970" y="3860800"/>
            <a:ext cx="2177933"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6945756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032502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b="2962"/>
          <a:stretch/>
        </p:blipFill>
        <p:spPr bwMode="auto">
          <a:xfrm>
            <a:off x="891351" y="1919195"/>
            <a:ext cx="9972212" cy="4656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lstStyle/>
          <a:p>
            <a:r>
              <a:rPr lang="en-US" sz="2400" dirty="0"/>
              <a:t>Accenture Global Delivery Network provides capabilities and support 24/7</a:t>
            </a:r>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6</a:t>
            </a:fld>
            <a:endParaRPr lang="en-US" dirty="0"/>
          </a:p>
        </p:txBody>
      </p:sp>
      <p:sp>
        <p:nvSpPr>
          <p:cNvPr id="6" name="Rectangle 5"/>
          <p:cNvSpPr/>
          <p:nvPr/>
        </p:nvSpPr>
        <p:spPr>
          <a:xfrm>
            <a:off x="455613" y="1287463"/>
            <a:ext cx="11266487" cy="923330"/>
          </a:xfrm>
          <a:prstGeom prst="rect">
            <a:avLst/>
          </a:prstGeom>
        </p:spPr>
        <p:txBody>
          <a:bodyPr wrap="square">
            <a:spAutoFit/>
          </a:bodyPr>
          <a:lstStyle/>
          <a:p>
            <a:r>
              <a:rPr lang="en-US" dirty="0">
                <a:latin typeface="Arial"/>
                <a:cs typeface="Arial" pitchFamily="34" charset="0"/>
              </a:rPr>
              <a:t>With </a:t>
            </a:r>
            <a:r>
              <a:rPr lang="en-US" dirty="0" smtClean="0">
                <a:latin typeface="Arial"/>
                <a:cs typeface="Arial" pitchFamily="34" charset="0"/>
              </a:rPr>
              <a:t>330,000 </a:t>
            </a:r>
            <a:r>
              <a:rPr lang="en-US" dirty="0">
                <a:latin typeface="Arial"/>
                <a:cs typeface="Arial" pitchFamily="34" charset="0"/>
              </a:rPr>
              <a:t>professionals in more than 50 centers, Accenture offices and client locations, the Accenture Global Delivery Network is the largest and most diversified group of management consulting, technology and business process outsourcing professionals in the world</a:t>
            </a:r>
            <a:endParaRPr lang="en-US" dirty="0"/>
          </a:p>
        </p:txBody>
      </p:sp>
    </p:spTree>
    <p:extLst>
      <p:ext uri="{BB962C8B-B14F-4D97-AF65-F5344CB8AC3E}">
        <p14:creationId xmlns:p14="http://schemas.microsoft.com/office/powerpoint/2010/main" val="256761645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An </a:t>
            </a:r>
            <a:r>
              <a:rPr lang="en-US" sz="2400" dirty="0" smtClean="0"/>
              <a:t>Data Center Alliance </a:t>
            </a:r>
            <a:r>
              <a:rPr lang="en-US" sz="2400" dirty="0"/>
              <a:t>ecosystem that amplifies our capabilities </a:t>
            </a:r>
            <a:r>
              <a:rPr lang="en-US" sz="2400" dirty="0" smtClean="0"/>
              <a:t/>
            </a:r>
            <a:br>
              <a:rPr lang="en-US" sz="2400" dirty="0" smtClean="0"/>
            </a:br>
            <a:r>
              <a:rPr lang="en-US" sz="2400" dirty="0" smtClean="0"/>
              <a:t>(non-exhaustive)</a:t>
            </a:r>
            <a:endParaRPr lang="en-US" sz="2400" dirty="0"/>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7</a:t>
            </a:fld>
            <a:endParaRPr lang="en-US" dirty="0"/>
          </a:p>
        </p:txBody>
      </p:sp>
      <p:sp>
        <p:nvSpPr>
          <p:cNvPr id="6" name="Rectangle 5"/>
          <p:cNvSpPr/>
          <p:nvPr/>
        </p:nvSpPr>
        <p:spPr>
          <a:xfrm>
            <a:off x="465138" y="1287463"/>
            <a:ext cx="11245850" cy="923330"/>
          </a:xfrm>
          <a:prstGeom prst="rect">
            <a:avLst/>
          </a:prstGeom>
        </p:spPr>
        <p:txBody>
          <a:bodyPr wrap="square">
            <a:spAutoFit/>
          </a:bodyPr>
          <a:lstStyle/>
          <a:p>
            <a:r>
              <a:rPr lang="en-US" dirty="0"/>
              <a:t>Accenture carefully assesses the technology provider landscape, and forms strategic partnerships that bring world-class technology to our clients.  Based on client’s individual needs, we provide technology solutions to help them solve their most pressing business concerns.</a:t>
            </a:r>
          </a:p>
        </p:txBody>
      </p:sp>
      <p:pic>
        <p:nvPicPr>
          <p:cNvPr id="7" name="Picture 17"/>
          <p:cNvPicPr>
            <a:picLocks noChangeAspect="1" noChangeArrowheads="1"/>
          </p:cNvPicPr>
          <p:nvPr/>
        </p:nvPicPr>
        <p:blipFill>
          <a:blip r:embed="rId4" cstate="print"/>
          <a:srcRect/>
          <a:stretch>
            <a:fillRect/>
          </a:stretch>
        </p:blipFill>
        <p:spPr bwMode="auto">
          <a:xfrm>
            <a:off x="5282467" y="5002997"/>
            <a:ext cx="1600200" cy="330200"/>
          </a:xfrm>
          <a:prstGeom prst="rect">
            <a:avLst/>
          </a:prstGeom>
          <a:noFill/>
          <a:ln w="9525">
            <a:noFill/>
            <a:miter lim="800000"/>
            <a:headEnd/>
            <a:tailEnd/>
          </a:ln>
        </p:spPr>
      </p:pic>
      <p:pic>
        <p:nvPicPr>
          <p:cNvPr id="8" name="Picture 2" descr="VMware"/>
          <p:cNvPicPr>
            <a:picLocks noChangeAspect="1" noChangeArrowheads="1"/>
          </p:cNvPicPr>
          <p:nvPr/>
        </p:nvPicPr>
        <p:blipFill>
          <a:blip r:embed="rId5" cstate="print"/>
          <a:srcRect/>
          <a:stretch>
            <a:fillRect/>
          </a:stretch>
        </p:blipFill>
        <p:spPr bwMode="auto">
          <a:xfrm>
            <a:off x="7625816" y="2701941"/>
            <a:ext cx="1479176" cy="228600"/>
          </a:xfrm>
          <a:prstGeom prst="rect">
            <a:avLst/>
          </a:prstGeom>
          <a:noFill/>
          <a:ln w="9525">
            <a:noFill/>
            <a:miter lim="800000"/>
            <a:headEnd/>
            <a:tailEnd/>
          </a:ln>
        </p:spPr>
      </p:pic>
      <p:pic>
        <p:nvPicPr>
          <p:cNvPr id="9" name="Picture 8" descr="cisco.jpg"/>
          <p:cNvPicPr>
            <a:picLocks noChangeAspect="1"/>
          </p:cNvPicPr>
          <p:nvPr/>
        </p:nvPicPr>
        <p:blipFill>
          <a:blip r:embed="rId6" cstate="print"/>
          <a:stretch>
            <a:fillRect/>
          </a:stretch>
        </p:blipFill>
        <p:spPr>
          <a:xfrm>
            <a:off x="2874276" y="3772702"/>
            <a:ext cx="1225118" cy="659167"/>
          </a:xfrm>
          <a:prstGeom prst="rect">
            <a:avLst/>
          </a:prstGeom>
        </p:spPr>
      </p:pic>
      <p:pic>
        <p:nvPicPr>
          <p:cNvPr id="10" name="Picture 9" descr="EMC_Logo---colour.jpg"/>
          <p:cNvPicPr>
            <a:picLocks noChangeAspect="1"/>
          </p:cNvPicPr>
          <p:nvPr/>
        </p:nvPicPr>
        <p:blipFill>
          <a:blip r:embed="rId7" cstate="print"/>
          <a:stretch>
            <a:fillRect/>
          </a:stretch>
        </p:blipFill>
        <p:spPr>
          <a:xfrm>
            <a:off x="487256" y="3792845"/>
            <a:ext cx="1685925" cy="675477"/>
          </a:xfrm>
          <a:prstGeom prst="rect">
            <a:avLst/>
          </a:prstGeom>
        </p:spPr>
      </p:pic>
      <p:pic>
        <p:nvPicPr>
          <p:cNvPr id="11" name="Picture 10" descr="IBM_logo.png"/>
          <p:cNvPicPr>
            <a:picLocks noChangeAspect="1"/>
          </p:cNvPicPr>
          <p:nvPr/>
        </p:nvPicPr>
        <p:blipFill>
          <a:blip r:embed="rId8" cstate="print"/>
          <a:stretch>
            <a:fillRect/>
          </a:stretch>
        </p:blipFill>
        <p:spPr>
          <a:xfrm>
            <a:off x="2874276" y="2521732"/>
            <a:ext cx="1488146" cy="602699"/>
          </a:xfrm>
          <a:prstGeom prst="rect">
            <a:avLst/>
          </a:prstGeom>
        </p:spPr>
      </p:pic>
      <p:pic>
        <p:nvPicPr>
          <p:cNvPr id="12" name="Picture 11" descr="microsoft2.png"/>
          <p:cNvPicPr>
            <a:picLocks noChangeAspect="1"/>
          </p:cNvPicPr>
          <p:nvPr/>
        </p:nvPicPr>
        <p:blipFill>
          <a:blip r:embed="rId9" cstate="print"/>
          <a:stretch>
            <a:fillRect/>
          </a:stretch>
        </p:blipFill>
        <p:spPr>
          <a:xfrm>
            <a:off x="4933009" y="3709418"/>
            <a:ext cx="1905165" cy="416596"/>
          </a:xfrm>
          <a:prstGeom prst="rect">
            <a:avLst/>
          </a:prstGeom>
        </p:spPr>
      </p:pic>
      <p:pic>
        <p:nvPicPr>
          <p:cNvPr id="13" name="Picture 2"/>
          <p:cNvPicPr>
            <a:picLocks noChangeAspect="1" noChangeArrowheads="1"/>
          </p:cNvPicPr>
          <p:nvPr/>
        </p:nvPicPr>
        <p:blipFill>
          <a:blip r:embed="rId10" cstate="print"/>
          <a:srcRect/>
          <a:stretch>
            <a:fillRect/>
          </a:stretch>
        </p:blipFill>
        <p:spPr bwMode="auto">
          <a:xfrm>
            <a:off x="5468873" y="2374200"/>
            <a:ext cx="833438" cy="942975"/>
          </a:xfrm>
          <a:prstGeom prst="rect">
            <a:avLst/>
          </a:prstGeom>
          <a:noFill/>
          <a:ln w="9525">
            <a:noFill/>
            <a:miter lim="800000"/>
            <a:headEnd/>
            <a:tailEnd/>
          </a:ln>
        </p:spPr>
      </p:pic>
      <p:pic>
        <p:nvPicPr>
          <p:cNvPr id="14" name="Picture 13" descr="catech.jpg"/>
          <p:cNvPicPr>
            <a:picLocks noChangeAspect="1"/>
          </p:cNvPicPr>
          <p:nvPr/>
        </p:nvPicPr>
        <p:blipFill>
          <a:blip r:embed="rId11" cstate="print"/>
          <a:stretch>
            <a:fillRect/>
          </a:stretch>
        </p:blipFill>
        <p:spPr>
          <a:xfrm>
            <a:off x="7968729" y="4867193"/>
            <a:ext cx="1006320" cy="627893"/>
          </a:xfrm>
          <a:prstGeom prst="rect">
            <a:avLst/>
          </a:prstGeom>
        </p:spPr>
      </p:pic>
      <p:pic>
        <p:nvPicPr>
          <p:cNvPr id="15" name="Picture 1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7256" y="4909304"/>
            <a:ext cx="1828800" cy="482121"/>
          </a:xfrm>
          <a:prstGeom prst="rect">
            <a:avLst/>
          </a:prstGeom>
        </p:spPr>
      </p:pic>
      <p:pic>
        <p:nvPicPr>
          <p:cNvPr id="16" name="Picture 2" descr="C:\Users\michael.malke\Pictures\HP\HP_Blue_RGB_150_MN.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0192" y="2444073"/>
            <a:ext cx="803230" cy="80323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www.servicenow.com/1fc1b6958763b804318f183a2d434dfd.iix">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71789" y="3771557"/>
            <a:ext cx="2057400" cy="477318"/>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2748660" y="4950308"/>
            <a:ext cx="2098651" cy="461665"/>
          </a:xfrm>
          <a:prstGeom prst="rect">
            <a:avLst/>
          </a:prstGeom>
          <a:noFill/>
        </p:spPr>
        <p:txBody>
          <a:bodyPr wrap="none" rtlCol="0">
            <a:spAutoFit/>
          </a:bodyPr>
          <a:lstStyle/>
          <a:p>
            <a:r>
              <a:rPr lang="en-US" sz="2400" b="1" i="1" dirty="0" smtClean="0"/>
              <a:t>Open Source</a:t>
            </a:r>
            <a:endParaRPr lang="en-US" sz="2400" b="1" i="1" dirty="0"/>
          </a:p>
        </p:txBody>
      </p:sp>
      <p:grpSp>
        <p:nvGrpSpPr>
          <p:cNvPr id="19" name="Group 18"/>
          <p:cNvGrpSpPr/>
          <p:nvPr/>
        </p:nvGrpSpPr>
        <p:grpSpPr>
          <a:xfrm>
            <a:off x="10025104" y="4950308"/>
            <a:ext cx="1260736" cy="636119"/>
            <a:chOff x="4904365" y="4028911"/>
            <a:chExt cx="1260736" cy="636119"/>
          </a:xfrm>
        </p:grpSpPr>
        <p:pic>
          <p:nvPicPr>
            <p:cNvPr id="20" name="Picture 4" descr="C:\Users\ryan.l.hunt\Pictures\logo_redhat.gif"/>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t="3581" b="10561"/>
            <a:stretch/>
          </p:blipFill>
          <p:spPr bwMode="auto">
            <a:xfrm>
              <a:off x="4904365" y="4028911"/>
              <a:ext cx="624617" cy="53628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528982" y="4028911"/>
              <a:ext cx="636119" cy="636119"/>
            </a:xfrm>
            <a:prstGeom prst="rect">
              <a:avLst/>
            </a:prstGeom>
          </p:spPr>
        </p:pic>
      </p:grpSp>
      <p:pic>
        <p:nvPicPr>
          <p:cNvPr id="22" name="Picture 2" descr="C:\Users\ryan.l.hunt\Desktop\AAP August Work\vce-logo.jp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0317762" y="2514071"/>
            <a:ext cx="595706" cy="59570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http://upload.wikimedia.org/wikipedia/commons/8/82/Dell_Logo.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317762" y="3656796"/>
            <a:ext cx="645195" cy="64381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3" descr="Verizon"/>
          <p:cNvPicPr>
            <a:picLocks noChangeAspect="1" noChangeArrowheads="1"/>
          </p:cNvPicPr>
          <p:nvPr>
            <p:custDataLst>
              <p:tags r:id="rId1"/>
            </p:custDataLst>
          </p:nvPr>
        </p:nvPicPr>
        <p:blipFill>
          <a:blip r:embed="rId20"/>
          <a:srcRect/>
          <a:stretch>
            <a:fillRect/>
          </a:stretch>
        </p:blipFill>
        <p:spPr bwMode="gray">
          <a:xfrm>
            <a:off x="3628575" y="5684476"/>
            <a:ext cx="941637" cy="491871"/>
          </a:xfrm>
          <a:prstGeom prst="rect">
            <a:avLst/>
          </a:prstGeom>
          <a:noFill/>
          <a:ln w="9525">
            <a:noFill/>
            <a:miter lim="800000"/>
            <a:headEnd/>
            <a:tailEnd/>
          </a:ln>
        </p:spPr>
      </p:pic>
      <p:pic>
        <p:nvPicPr>
          <p:cNvPr id="25" name="Picture 7"/>
          <p:cNvPicPr>
            <a:picLocks noChangeAspect="1" noChangeArrowheads="1"/>
          </p:cNvPicPr>
          <p:nvPr/>
        </p:nvPicPr>
        <p:blipFill rotWithShape="1">
          <a:blip r:embed="rId21" cstate="print"/>
          <a:srcRect l="2363" t="10051" b="9721"/>
          <a:stretch/>
        </p:blipFill>
        <p:spPr bwMode="auto">
          <a:xfrm>
            <a:off x="5643717" y="5729457"/>
            <a:ext cx="2079837" cy="518406"/>
          </a:xfrm>
          <a:prstGeom prst="rect">
            <a:avLst/>
          </a:prstGeom>
          <a:noFill/>
          <a:ln>
            <a:noFill/>
          </a:ln>
        </p:spPr>
      </p:pic>
      <p:pic>
        <p:nvPicPr>
          <p:cNvPr id="26" name="Picture 4"/>
          <p:cNvPicPr>
            <a:picLocks noChangeAspect="1" noChangeArrowheads="1"/>
          </p:cNvPicPr>
          <p:nvPr/>
        </p:nvPicPr>
        <p:blipFill>
          <a:blip r:embed="rId22" cstate="screen">
            <a:extLst>
              <a:ext uri="{28A0092B-C50C-407E-A947-70E740481C1C}">
                <a14:useLocalDpi xmlns:a14="http://schemas.microsoft.com/office/drawing/2010/main"/>
              </a:ext>
            </a:extLst>
          </a:blip>
          <a:srcRect l="3353"/>
          <a:stretch>
            <a:fillRect/>
          </a:stretch>
        </p:blipFill>
        <p:spPr bwMode="auto">
          <a:xfrm>
            <a:off x="1330218" y="5693517"/>
            <a:ext cx="1224852" cy="528486"/>
          </a:xfrm>
          <a:prstGeom prst="rect">
            <a:avLst/>
          </a:prstGeom>
          <a:noFill/>
          <a:ln w="9525">
            <a:noFill/>
            <a:miter lim="800000"/>
            <a:headEnd/>
            <a:tailEnd/>
          </a:ln>
        </p:spPr>
      </p:pic>
      <p:pic>
        <p:nvPicPr>
          <p:cNvPr id="27" name="Picture 26"/>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365404" y="5755318"/>
            <a:ext cx="1403832" cy="466685"/>
          </a:xfrm>
          <a:prstGeom prst="rect">
            <a:avLst/>
          </a:prstGeom>
        </p:spPr>
      </p:pic>
    </p:spTree>
    <p:extLst>
      <p:ext uri="{BB962C8B-B14F-4D97-AF65-F5344CB8AC3E}">
        <p14:creationId xmlns:p14="http://schemas.microsoft.com/office/powerpoint/2010/main" val="13769150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t>Key Contacts</a:t>
            </a:r>
            <a:endParaRPr lang="en-US" sz="2400" dirty="0"/>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8</a:t>
            </a:fld>
            <a:endParaRPr lang="en-US" dirty="0"/>
          </a:p>
        </p:txBody>
      </p:sp>
      <p:sp>
        <p:nvSpPr>
          <p:cNvPr id="9" name="Text Placeholder 1"/>
          <p:cNvSpPr txBox="1">
            <a:spLocks/>
          </p:cNvSpPr>
          <p:nvPr/>
        </p:nvSpPr>
        <p:spPr>
          <a:xfrm>
            <a:off x="458788" y="1271588"/>
            <a:ext cx="11269662" cy="396000"/>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2"/>
                </a:solidFill>
                <a:latin typeface="+mn-lt"/>
                <a:ea typeface="Arial" pitchFamily="-105" charset="-52"/>
                <a:cs typeface="Arial" pitchFamily="34" charset="0"/>
              </a:defRPr>
            </a:lvl1pPr>
            <a:lvl2pPr marL="449263" indent="-266700" algn="l" rtl="0" eaLnBrk="1" fontAlgn="base" hangingPunct="1">
              <a:spcBef>
                <a:spcPts val="800"/>
              </a:spcBef>
              <a:spcAft>
                <a:spcPct val="0"/>
              </a:spcAft>
              <a:buFont typeface="Arial" pitchFamily="34" charset="0"/>
              <a:buChar char="–"/>
              <a:defRPr sz="3500" kern="1200">
                <a:solidFill>
                  <a:schemeClr val="tx2"/>
                </a:solidFill>
                <a:latin typeface="+mn-lt"/>
                <a:ea typeface="Arial" pitchFamily="-105" charset="-52"/>
                <a:cs typeface="Arial" pitchFamily="34" charset="0"/>
              </a:defRPr>
            </a:lvl2pPr>
            <a:lvl3pPr marL="625475" indent="-176213" algn="l" rtl="0" eaLnBrk="1" fontAlgn="base" hangingPunct="1">
              <a:spcBef>
                <a:spcPts val="800"/>
              </a:spcBef>
              <a:spcAft>
                <a:spcPct val="0"/>
              </a:spcAft>
              <a:buFont typeface="Arial" pitchFamily="34" charset="0"/>
              <a:buChar char="•"/>
              <a:tabLst/>
              <a:defRPr sz="3200" kern="1200">
                <a:solidFill>
                  <a:schemeClr val="tx2"/>
                </a:solidFill>
                <a:latin typeface="+mn-lt"/>
                <a:ea typeface="Arial" pitchFamily="-105" charset="-52"/>
                <a:cs typeface="Arial" pitchFamily="34" charset="0"/>
              </a:defRPr>
            </a:lvl3pPr>
            <a:lvl4pPr marL="898525" indent="-273050" algn="l" rtl="0" eaLnBrk="1" fontAlgn="base" hangingPunct="1">
              <a:spcBef>
                <a:spcPts val="800"/>
              </a:spcBef>
              <a:spcAft>
                <a:spcPct val="0"/>
              </a:spcAft>
              <a:buFont typeface="Arial" pitchFamily="34" charset="0"/>
              <a:buChar char="–"/>
              <a:defRPr sz="2900" kern="1200">
                <a:solidFill>
                  <a:schemeClr val="tx2"/>
                </a:solidFill>
                <a:latin typeface="+mn-lt"/>
                <a:ea typeface="Arial" pitchFamily="-105" charset="-52"/>
                <a:cs typeface="Arial" pitchFamily="34" charset="0"/>
              </a:defRPr>
            </a:lvl4pPr>
            <a:lvl5pPr marL="1074738" indent="-176213" algn="l" rtl="0" eaLnBrk="1" fontAlgn="base" hangingPunct="1">
              <a:spcBef>
                <a:spcPts val="800"/>
              </a:spcBef>
              <a:spcAft>
                <a:spcPct val="0"/>
              </a:spcAft>
              <a:buFont typeface="Arial" pitchFamily="34" charset="0"/>
              <a:buChar char="•"/>
              <a:defRPr sz="2700" kern="1200">
                <a:solidFill>
                  <a:schemeClr val="tx2"/>
                </a:solidFill>
                <a:latin typeface="+mn-lt"/>
                <a:ea typeface="Arial" pitchFamily="-105" charset="-52"/>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800"/>
              </a:spcBef>
              <a:spcAft>
                <a:spcPct val="0"/>
              </a:spcAft>
              <a:buClrTx/>
              <a:buSzTx/>
              <a:buFont typeface="Arial" pitchFamily="34" charset="0"/>
              <a:buNone/>
              <a:tabLst/>
              <a:defRPr/>
            </a:pPr>
            <a:r>
              <a:rPr kumimoji="0" lang="en-US" sz="1800" b="1" i="0" u="none" strike="noStrike" kern="1200" cap="none" spc="0" normalizeH="0" baseline="0" noProof="0" dirty="0">
                <a:ln>
                  <a:noFill/>
                </a:ln>
                <a:solidFill>
                  <a:srgbClr val="993399"/>
                </a:solidFill>
                <a:effectLst/>
                <a:uLnTx/>
                <a:uFillTx/>
                <a:latin typeface="Arial"/>
                <a:cs typeface="Arial" pitchFamily="34" charset="0"/>
              </a:rPr>
              <a:t>For additional information on Accenture’s </a:t>
            </a:r>
            <a:r>
              <a:rPr kumimoji="0" lang="en-US" sz="1800" b="1" i="0" u="none" strike="noStrike" kern="1200" cap="none" spc="0" normalizeH="0" baseline="0" noProof="0" dirty="0" smtClean="0">
                <a:ln>
                  <a:noFill/>
                </a:ln>
                <a:solidFill>
                  <a:srgbClr val="993399"/>
                </a:solidFill>
                <a:effectLst/>
                <a:uLnTx/>
                <a:uFillTx/>
                <a:latin typeface="Arial"/>
                <a:cs typeface="Arial" pitchFamily="34" charset="0"/>
              </a:rPr>
              <a:t>Data Center Optimization offering</a:t>
            </a:r>
            <a:r>
              <a:rPr kumimoji="0" lang="en-US" sz="1800" b="1" i="0" u="none" strike="noStrike" kern="1200" cap="none" spc="0" normalizeH="0" baseline="0" noProof="0" dirty="0">
                <a:ln>
                  <a:noFill/>
                </a:ln>
                <a:solidFill>
                  <a:srgbClr val="993399"/>
                </a:solidFill>
                <a:effectLst/>
                <a:uLnTx/>
                <a:uFillTx/>
                <a:latin typeface="Arial"/>
                <a:cs typeface="Arial" pitchFamily="34" charset="0"/>
              </a:rPr>
              <a:t>, please contact one of the following individuals:</a:t>
            </a:r>
          </a:p>
        </p:txBody>
      </p:sp>
      <p:sp>
        <p:nvSpPr>
          <p:cNvPr id="10" name="Content Placeholder 2"/>
          <p:cNvSpPr txBox="1">
            <a:spLocks/>
          </p:cNvSpPr>
          <p:nvPr/>
        </p:nvSpPr>
        <p:spPr>
          <a:xfrm>
            <a:off x="465138" y="2302511"/>
            <a:ext cx="4739595" cy="2865436"/>
          </a:xfrm>
          <a:prstGeom prst="rect">
            <a:avLst/>
          </a:prstGeom>
        </p:spPr>
        <p:txBody>
          <a:bodyPr vert="horz" lIns="0" tIns="0" rIns="0" bIns="0" rtlCol="0">
            <a:norm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
                <a:sysClr val="windowText" lastClr="000000"/>
              </a:buClr>
              <a:buSzPct val="80000"/>
              <a:buFont typeface="Arial" pitchFamily="34" charset="0"/>
              <a:buNone/>
              <a:tabLst/>
              <a:defRPr/>
            </a:pPr>
            <a:r>
              <a:rPr kumimoji="0" lang="en-US" sz="1600" b="0" i="0" u="none" strike="noStrike" kern="1200" cap="none" spc="0" normalizeH="0" baseline="0" noProof="0" dirty="0" smtClean="0">
                <a:ln>
                  <a:noFill/>
                </a:ln>
                <a:solidFill>
                  <a:srgbClr val="AADDEE">
                    <a:lumMod val="50000"/>
                  </a:srgbClr>
                </a:solidFill>
                <a:effectLst/>
                <a:uLnTx/>
                <a:uFillTx/>
                <a:latin typeface="Arial" pitchFamily="34" charset="0"/>
                <a:cs typeface="Arial" pitchFamily="34" charset="0"/>
              </a:rPr>
              <a:t>Michael Malke</a:t>
            </a:r>
            <a:br>
              <a:rPr kumimoji="0" lang="en-US" sz="1600" b="0" i="0" u="none" strike="noStrike" kern="1200" cap="none" spc="0" normalizeH="0" baseline="0" noProof="0" dirty="0" smtClean="0">
                <a:ln>
                  <a:noFill/>
                </a:ln>
                <a:solidFill>
                  <a:srgbClr val="AADDEE">
                    <a:lumMod val="50000"/>
                  </a:srgbClr>
                </a:solidFill>
                <a:effectLst/>
                <a:uLnTx/>
                <a:uFillTx/>
                <a:latin typeface="Arial" pitchFamily="34" charset="0"/>
                <a:cs typeface="Arial" pitchFamily="34" charset="0"/>
              </a:rPr>
            </a:br>
            <a:r>
              <a:rPr kumimoji="0" lang="en-US" sz="1600" b="0" i="0" u="none" strike="noStrike" kern="1200" cap="none" spc="0" normalizeH="0" baseline="0" noProof="0" dirty="0" smtClean="0">
                <a:ln>
                  <a:noFill/>
                </a:ln>
                <a:solidFill>
                  <a:srgbClr val="AADDEE">
                    <a:lumMod val="50000"/>
                  </a:srgbClr>
                </a:solidFill>
                <a:effectLst/>
                <a:uLnTx/>
                <a:uFillTx/>
                <a:latin typeface="Arial" pitchFamily="34" charset="0"/>
                <a:cs typeface="Arial" pitchFamily="34" charset="0"/>
              </a:rPr>
              <a:t>Data Center Offering Lead</a:t>
            </a:r>
            <a:r>
              <a:rPr kumimoji="0" lang="en-US" sz="1600" b="0" i="0" u="none" strike="noStrike" kern="1200" cap="none" spc="0" normalizeH="0" baseline="0" noProof="0" dirty="0" smtClean="0">
                <a:ln>
                  <a:noFill/>
                </a:ln>
                <a:solidFill>
                  <a:srgbClr val="000000">
                    <a:lumMod val="95000"/>
                    <a:lumOff val="5000"/>
                  </a:srgbClr>
                </a:solidFill>
                <a:effectLst/>
                <a:uLnTx/>
                <a:uFillTx/>
                <a:latin typeface="Arial" pitchFamily="34" charset="0"/>
                <a:cs typeface="Arial" pitchFamily="34" charset="0"/>
              </a:rPr>
              <a:t/>
            </a:r>
            <a:br>
              <a:rPr kumimoji="0" lang="en-US" sz="1600" b="0" i="0" u="none" strike="noStrike" kern="1200" cap="none" spc="0" normalizeH="0" baseline="0" noProof="0" dirty="0" smtClean="0">
                <a:ln>
                  <a:noFill/>
                </a:ln>
                <a:solidFill>
                  <a:srgbClr val="000000">
                    <a:lumMod val="95000"/>
                    <a:lumOff val="5000"/>
                  </a:srgbClr>
                </a:solidFill>
                <a:effectLst/>
                <a:uLnTx/>
                <a:uFillTx/>
                <a:latin typeface="Arial" pitchFamily="34" charset="0"/>
                <a:cs typeface="Arial" pitchFamily="34" charset="0"/>
              </a:rPr>
            </a:br>
            <a:r>
              <a:rPr kumimoji="0" lang="en-US" sz="1600" b="0" i="0" u="none" strike="noStrike" kern="1200" cap="none" spc="0" normalizeH="0" baseline="0" noProof="0" dirty="0" smtClean="0">
                <a:ln>
                  <a:noFill/>
                </a:ln>
                <a:solidFill>
                  <a:srgbClr val="000000">
                    <a:lumMod val="95000"/>
                    <a:lumOff val="5000"/>
                  </a:srgbClr>
                </a:solidFill>
                <a:effectLst/>
                <a:uLnTx/>
                <a:uFillTx/>
                <a:latin typeface="Arial" pitchFamily="34" charset="0"/>
                <a:cs typeface="Arial" pitchFamily="34" charset="0"/>
              </a:rPr>
              <a:t>michael.malke@accenture.com</a:t>
            </a:r>
            <a:endParaRPr kumimoji="0" lang="en-US" sz="1600" b="0" i="0" u="none" strike="noStrike" kern="1200" cap="none" spc="0" normalizeH="0" baseline="0" noProof="0" dirty="0">
              <a:ln>
                <a:noFill/>
              </a:ln>
              <a:solidFill>
                <a:srgbClr val="000000">
                  <a:lumMod val="95000"/>
                  <a:lumOff val="5000"/>
                </a:srgbClr>
              </a:solidFill>
              <a:effectLst/>
              <a:uLnTx/>
              <a:uFillTx/>
              <a:latin typeface="Arial" pitchFamily="34" charset="0"/>
              <a:cs typeface="Arial" pitchFamily="34" charset="0"/>
            </a:endParaRPr>
          </a:p>
          <a:p>
            <a:pPr marL="0" marR="0" lvl="0" indent="0" algn="l" defTabSz="914400" rtl="0" eaLnBrk="1" fontAlgn="auto" latinLnBrk="0" hangingPunct="1">
              <a:lnSpc>
                <a:spcPct val="100000"/>
              </a:lnSpc>
              <a:spcBef>
                <a:spcPct val="50000"/>
              </a:spcBef>
              <a:spcAft>
                <a:spcPts val="0"/>
              </a:spcAft>
              <a:buClr>
                <a:sysClr val="windowText" lastClr="000000"/>
              </a:buClr>
              <a:buSzPct val="80000"/>
              <a:buFont typeface="Arial" pitchFamily="34" charset="0"/>
              <a:buNone/>
              <a:tabLst/>
              <a:defRPr/>
            </a:pPr>
            <a:endParaRPr kumimoji="0" lang="en-US" sz="1600" b="0" i="0" u="none" strike="noStrike" kern="1200" cap="none" spc="0" normalizeH="0" baseline="0" noProof="0" dirty="0" smtClean="0">
              <a:ln>
                <a:noFill/>
              </a:ln>
              <a:solidFill>
                <a:srgbClr val="000000">
                  <a:lumMod val="95000"/>
                  <a:lumOff val="5000"/>
                </a:srgbClr>
              </a:solidFill>
              <a:effectLst/>
              <a:uLnTx/>
              <a:uFillTx/>
              <a:latin typeface="Arial" pitchFamily="34" charset="0"/>
              <a:ea typeface="Arial" pitchFamily="-105" charset="-52"/>
              <a:cs typeface="Arial" pitchFamily="34" charset="0"/>
              <a:hlinkClick r:id="rId3"/>
            </a:endParaRPr>
          </a:p>
          <a:p>
            <a:pPr marL="0" marR="0" lvl="0" indent="0" algn="l" defTabSz="914400" rtl="0" eaLnBrk="1" fontAlgn="auto" latinLnBrk="0" hangingPunct="1">
              <a:lnSpc>
                <a:spcPts val="1000"/>
              </a:lnSpc>
              <a:spcBef>
                <a:spcPct val="50000"/>
              </a:spcBef>
              <a:spcAft>
                <a:spcPts val="0"/>
              </a:spcAft>
              <a:buClr>
                <a:sysClr val="windowText" lastClr="000000"/>
              </a:buClr>
              <a:buSzPct val="80000"/>
              <a:buFont typeface="Arial" pitchFamily="34" charset="0"/>
              <a:buNone/>
              <a:tabLst/>
              <a:defRPr/>
            </a:pPr>
            <a:r>
              <a:rPr kumimoji="0" lang="en-US" sz="1600" b="0" i="0" u="none" strike="noStrike" kern="1200" cap="none" spc="0" normalizeH="0" baseline="0" noProof="0" dirty="0" smtClean="0">
                <a:ln>
                  <a:noFill/>
                </a:ln>
                <a:solidFill>
                  <a:srgbClr val="AADDEE">
                    <a:lumMod val="50000"/>
                  </a:srgbClr>
                </a:solidFill>
                <a:effectLst/>
                <a:uLnTx/>
                <a:uFillTx/>
                <a:latin typeface="Arial" pitchFamily="34" charset="0"/>
                <a:cs typeface="Arial" pitchFamily="34" charset="0"/>
              </a:rPr>
              <a:t>Sean Peterson</a:t>
            </a:r>
          </a:p>
          <a:p>
            <a:pPr marL="0" marR="0" lvl="0" indent="0" algn="l" defTabSz="914400" rtl="0" eaLnBrk="1" fontAlgn="auto" latinLnBrk="0" hangingPunct="1">
              <a:lnSpc>
                <a:spcPts val="1000"/>
              </a:lnSpc>
              <a:spcBef>
                <a:spcPct val="50000"/>
              </a:spcBef>
              <a:spcAft>
                <a:spcPts val="0"/>
              </a:spcAft>
              <a:buClr>
                <a:sysClr val="windowText" lastClr="000000"/>
              </a:buClr>
              <a:buSzPct val="80000"/>
              <a:buFont typeface="Arial" pitchFamily="34" charset="0"/>
              <a:buNone/>
              <a:tabLst/>
              <a:defRPr/>
            </a:pPr>
            <a:r>
              <a:rPr kumimoji="0" lang="en-US" sz="1600" b="0" i="0" u="none" strike="noStrike" kern="1200" cap="none" spc="0" normalizeH="0" baseline="0" noProof="0" dirty="0" smtClean="0">
                <a:ln>
                  <a:noFill/>
                </a:ln>
                <a:solidFill>
                  <a:srgbClr val="AADDEE">
                    <a:lumMod val="50000"/>
                  </a:srgbClr>
                </a:solidFill>
                <a:effectLst/>
                <a:uLnTx/>
                <a:uFillTx/>
                <a:latin typeface="Arial" pitchFamily="34" charset="0"/>
                <a:cs typeface="Arial" pitchFamily="34" charset="0"/>
              </a:rPr>
              <a:t>T&amp;OD Chief Architect</a:t>
            </a:r>
            <a:endParaRPr kumimoji="0" lang="en-US" sz="1600" b="0" i="0" u="none" strike="noStrike" kern="1200" cap="none" spc="0" normalizeH="0" baseline="0" noProof="0" dirty="0">
              <a:ln>
                <a:noFill/>
              </a:ln>
              <a:solidFill>
                <a:srgbClr val="000000">
                  <a:lumMod val="95000"/>
                  <a:lumOff val="5000"/>
                </a:srgbClr>
              </a:solidFill>
              <a:effectLst/>
              <a:uLnTx/>
              <a:uFillTx/>
              <a:latin typeface="Arial" pitchFamily="34" charset="0"/>
              <a:cs typeface="Arial" pitchFamily="34" charset="0"/>
            </a:endParaRPr>
          </a:p>
          <a:p>
            <a:pPr marL="0" marR="0" lvl="0" indent="0" algn="l" defTabSz="914400" rtl="0" eaLnBrk="1" fontAlgn="auto" latinLnBrk="0" hangingPunct="1">
              <a:lnSpc>
                <a:spcPts val="1000"/>
              </a:lnSpc>
              <a:spcBef>
                <a:spcPct val="50000"/>
              </a:spcBef>
              <a:spcAft>
                <a:spcPts val="0"/>
              </a:spcAft>
              <a:buClr>
                <a:sysClr val="windowText" lastClr="000000"/>
              </a:buClr>
              <a:buSzPct val="80000"/>
              <a:buFont typeface="Arial" pitchFamily="34" charset="0"/>
              <a:buNone/>
              <a:tabLst/>
              <a:defRPr/>
            </a:pPr>
            <a:r>
              <a:rPr kumimoji="0" lang="en-US" sz="1600" b="0" i="0" u="none" strike="noStrike" kern="1200" cap="none" spc="0" normalizeH="0" baseline="0" noProof="0" dirty="0">
                <a:ln>
                  <a:noFill/>
                </a:ln>
                <a:solidFill>
                  <a:srgbClr val="000000">
                    <a:lumMod val="95000"/>
                    <a:lumOff val="5000"/>
                  </a:srgbClr>
                </a:solidFill>
                <a:effectLst/>
                <a:uLnTx/>
                <a:uFillTx/>
                <a:latin typeface="Arial" pitchFamily="34" charset="0"/>
                <a:cs typeface="Arial" pitchFamily="34" charset="0"/>
              </a:rPr>
              <a:t>s</a:t>
            </a:r>
            <a:r>
              <a:rPr kumimoji="0" lang="en-US" sz="1600" b="0" i="0" u="none" strike="noStrike" kern="1200" cap="none" spc="0" normalizeH="0" baseline="0" noProof="0" dirty="0" smtClean="0">
                <a:ln>
                  <a:noFill/>
                </a:ln>
                <a:solidFill>
                  <a:srgbClr val="000000">
                    <a:lumMod val="95000"/>
                    <a:lumOff val="5000"/>
                  </a:srgbClr>
                </a:solidFill>
                <a:effectLst/>
                <a:uLnTx/>
                <a:uFillTx/>
                <a:latin typeface="Arial" pitchFamily="34" charset="0"/>
                <a:cs typeface="Arial" pitchFamily="34" charset="0"/>
              </a:rPr>
              <a:t>ean.d.peterson@accenture.com</a:t>
            </a:r>
          </a:p>
        </p:txBody>
      </p:sp>
      <p:sp>
        <p:nvSpPr>
          <p:cNvPr id="11" name="Content Placeholder 2"/>
          <p:cNvSpPr txBox="1">
            <a:spLocks/>
          </p:cNvSpPr>
          <p:nvPr/>
        </p:nvSpPr>
        <p:spPr>
          <a:xfrm>
            <a:off x="6185108" y="2298577"/>
            <a:ext cx="5024437" cy="3006339"/>
          </a:xfrm>
          <a:prstGeom prst="rect">
            <a:avLst/>
          </a:prstGeom>
        </p:spPr>
        <p:txBody>
          <a:bodyPr vert="horz" lIns="0" tIns="0" rIns="0" bIns="0" rtlCol="0">
            <a:norm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50000"/>
              </a:spcBef>
              <a:spcAft>
                <a:spcPts val="0"/>
              </a:spcAft>
              <a:buClr>
                <a:prstClr val="black"/>
              </a:buClr>
              <a:buSzPct val="80000"/>
              <a:buFont typeface="Arial" pitchFamily="34" charset="0"/>
              <a:buNone/>
              <a:tabLst/>
              <a:defRPr/>
            </a:pPr>
            <a:r>
              <a:rPr kumimoji="0" lang="en-US" sz="1600" b="0" i="0" u="none" strike="noStrike" kern="1200" cap="none" spc="0" normalizeH="0" baseline="0" noProof="0" dirty="0">
                <a:ln>
                  <a:noFill/>
                </a:ln>
                <a:solidFill>
                  <a:srgbClr val="AADDEE">
                    <a:lumMod val="50000"/>
                  </a:srgbClr>
                </a:solidFill>
                <a:effectLst/>
                <a:uLnTx/>
                <a:uFillTx/>
              </a:rPr>
              <a:t>Sabino </a:t>
            </a:r>
            <a:r>
              <a:rPr kumimoji="0" lang="en-US" sz="1600" b="0" i="0" u="none" strike="noStrike" kern="1200" cap="none" spc="0" normalizeH="0" baseline="0" noProof="0" dirty="0" err="1">
                <a:ln>
                  <a:noFill/>
                </a:ln>
                <a:solidFill>
                  <a:srgbClr val="AADDEE">
                    <a:lumMod val="50000"/>
                  </a:srgbClr>
                </a:solidFill>
                <a:effectLst/>
                <a:uLnTx/>
                <a:uFillTx/>
              </a:rPr>
              <a:t>Prizio</a:t>
            </a:r>
            <a:r>
              <a:rPr kumimoji="0" lang="en-US" sz="1600" b="0" i="0" u="none" strike="noStrike" kern="1200" cap="none" spc="0" normalizeH="0" baseline="0" noProof="0" dirty="0">
                <a:ln>
                  <a:noFill/>
                </a:ln>
                <a:solidFill>
                  <a:srgbClr val="AADDEE">
                    <a:lumMod val="50000"/>
                  </a:srgbClr>
                </a:solidFill>
                <a:effectLst/>
                <a:uLnTx/>
                <a:uFillTx/>
              </a:rPr>
              <a:t/>
            </a:r>
            <a:br>
              <a:rPr kumimoji="0" lang="en-US" sz="1600" b="0" i="0" u="none" strike="noStrike" kern="1200" cap="none" spc="0" normalizeH="0" baseline="0" noProof="0" dirty="0">
                <a:ln>
                  <a:noFill/>
                </a:ln>
                <a:solidFill>
                  <a:srgbClr val="AADDEE">
                    <a:lumMod val="50000"/>
                  </a:srgbClr>
                </a:solidFill>
                <a:effectLst/>
                <a:uLnTx/>
                <a:uFillTx/>
              </a:rPr>
            </a:br>
            <a:r>
              <a:rPr kumimoji="0" lang="en-US" sz="1600" b="0" i="0" u="none" strike="noStrike" kern="1200" cap="none" spc="0" normalizeH="0" baseline="0" noProof="0" dirty="0" smtClean="0">
                <a:ln>
                  <a:noFill/>
                </a:ln>
                <a:solidFill>
                  <a:srgbClr val="AADDEE">
                    <a:lumMod val="50000"/>
                  </a:srgbClr>
                </a:solidFill>
                <a:effectLst/>
                <a:uLnTx/>
                <a:uFillTx/>
              </a:rPr>
              <a:t>Global Data </a:t>
            </a:r>
            <a:r>
              <a:rPr kumimoji="0" lang="en-US" sz="1600" b="0" i="0" u="none" strike="noStrike" kern="1200" cap="none" spc="0" normalizeH="0" baseline="0" noProof="0" dirty="0">
                <a:ln>
                  <a:noFill/>
                </a:ln>
                <a:solidFill>
                  <a:srgbClr val="AADDEE">
                    <a:lumMod val="50000"/>
                  </a:srgbClr>
                </a:solidFill>
                <a:effectLst/>
                <a:uLnTx/>
                <a:uFillTx/>
              </a:rPr>
              <a:t>Center Practice Lead</a:t>
            </a:r>
            <a:r>
              <a:rPr kumimoji="0" lang="en-US" sz="1600" b="0" i="0" u="none" strike="noStrike" kern="1200" cap="none" spc="0" normalizeH="0" baseline="0" noProof="0" dirty="0">
                <a:ln>
                  <a:noFill/>
                </a:ln>
                <a:solidFill>
                  <a:srgbClr val="000000">
                    <a:lumMod val="95000"/>
                    <a:lumOff val="5000"/>
                  </a:srgbClr>
                </a:solidFill>
                <a:effectLst/>
                <a:uLnTx/>
                <a:uFillTx/>
              </a:rPr>
              <a:t/>
            </a:r>
            <a:br>
              <a:rPr kumimoji="0" lang="en-US" sz="1600" b="0" i="0" u="none" strike="noStrike" kern="1200" cap="none" spc="0" normalizeH="0" baseline="0" noProof="0" dirty="0">
                <a:ln>
                  <a:noFill/>
                </a:ln>
                <a:solidFill>
                  <a:srgbClr val="000000">
                    <a:lumMod val="95000"/>
                    <a:lumOff val="5000"/>
                  </a:srgbClr>
                </a:solidFill>
                <a:effectLst/>
                <a:uLnTx/>
                <a:uFillTx/>
              </a:rPr>
            </a:br>
            <a:r>
              <a:rPr kumimoji="0" lang="en-US" sz="1600" b="0" i="0" u="none" strike="noStrike" kern="1200" cap="none" spc="0" normalizeH="0" baseline="0" noProof="0" dirty="0" smtClean="0">
                <a:ln>
                  <a:noFill/>
                </a:ln>
                <a:solidFill>
                  <a:srgbClr val="000000">
                    <a:lumMod val="95000"/>
                    <a:lumOff val="5000"/>
                  </a:srgbClr>
                </a:solidFill>
                <a:effectLst/>
                <a:uLnTx/>
                <a:uFillTx/>
              </a:rPr>
              <a:t>sabino.prizio@accenture.com</a:t>
            </a:r>
            <a:br>
              <a:rPr kumimoji="0" lang="en-US" sz="1600" b="0" i="0" u="none" strike="noStrike" kern="1200" cap="none" spc="0" normalizeH="0" baseline="0" noProof="0" dirty="0" smtClean="0">
                <a:ln>
                  <a:noFill/>
                </a:ln>
                <a:solidFill>
                  <a:srgbClr val="000000">
                    <a:lumMod val="95000"/>
                    <a:lumOff val="5000"/>
                  </a:srgbClr>
                </a:solidFill>
                <a:effectLst/>
                <a:uLnTx/>
                <a:uFillTx/>
              </a:rPr>
            </a:br>
            <a:endParaRPr kumimoji="0" lang="en-US" sz="1600" b="0" i="0" u="none" strike="noStrike" kern="1200" cap="none" spc="0" normalizeH="0" baseline="0" noProof="0" dirty="0">
              <a:ln>
                <a:noFill/>
              </a:ln>
              <a:solidFill>
                <a:srgbClr val="000000">
                  <a:lumMod val="95000"/>
                  <a:lumOff val="5000"/>
                </a:srgbClr>
              </a:solidFill>
              <a:effectLst/>
              <a:uLnTx/>
              <a:uFillTx/>
            </a:endParaRPr>
          </a:p>
          <a:p>
            <a:pPr marL="0" marR="0" lvl="0" indent="0" algn="l" defTabSz="914400" rtl="0" eaLnBrk="1" fontAlgn="auto" latinLnBrk="0" hangingPunct="1">
              <a:lnSpc>
                <a:spcPct val="100000"/>
              </a:lnSpc>
              <a:spcBef>
                <a:spcPct val="50000"/>
              </a:spcBef>
              <a:spcAft>
                <a:spcPts val="0"/>
              </a:spcAft>
              <a:buClr>
                <a:prstClr val="black"/>
              </a:buClr>
              <a:buSzPct val="80000"/>
              <a:buFont typeface="Arial" pitchFamily="34" charset="0"/>
              <a:buNone/>
              <a:tabLst/>
              <a:defRPr/>
            </a:pPr>
            <a:r>
              <a:rPr kumimoji="0" lang="en-US" sz="1600" b="0" i="0" u="none" strike="noStrike" kern="1200" cap="none" spc="0" normalizeH="0" baseline="0" noProof="0" dirty="0">
                <a:ln>
                  <a:noFill/>
                </a:ln>
                <a:solidFill>
                  <a:srgbClr val="AADDEE">
                    <a:lumMod val="50000"/>
                  </a:srgbClr>
                </a:solidFill>
                <a:effectLst/>
                <a:uLnTx/>
                <a:uFillTx/>
              </a:rPr>
              <a:t>Larry </a:t>
            </a:r>
            <a:r>
              <a:rPr kumimoji="0" lang="en-US" sz="1600" b="0" i="0" u="none" strike="noStrike" kern="1200" cap="none" spc="0" normalizeH="0" baseline="0" noProof="0" dirty="0" err="1">
                <a:ln>
                  <a:noFill/>
                </a:ln>
                <a:solidFill>
                  <a:srgbClr val="AADDEE">
                    <a:lumMod val="50000"/>
                  </a:srgbClr>
                </a:solidFill>
                <a:effectLst/>
                <a:uLnTx/>
                <a:uFillTx/>
              </a:rPr>
              <a:t>Socher</a:t>
            </a:r>
            <a:r>
              <a:rPr kumimoji="0" lang="en-US" sz="1600" b="0" i="0" u="none" strike="noStrike" kern="1200" cap="none" spc="0" normalizeH="0" baseline="0" noProof="0" dirty="0">
                <a:ln>
                  <a:noFill/>
                </a:ln>
                <a:solidFill>
                  <a:srgbClr val="AADDEE">
                    <a:lumMod val="50000"/>
                  </a:srgbClr>
                </a:solidFill>
                <a:effectLst/>
                <a:uLnTx/>
                <a:uFillTx/>
              </a:rPr>
              <a:t/>
            </a:r>
            <a:br>
              <a:rPr kumimoji="0" lang="en-US" sz="1600" b="0" i="0" u="none" strike="noStrike" kern="1200" cap="none" spc="0" normalizeH="0" baseline="0" noProof="0" dirty="0">
                <a:ln>
                  <a:noFill/>
                </a:ln>
                <a:solidFill>
                  <a:srgbClr val="AADDEE">
                    <a:lumMod val="50000"/>
                  </a:srgbClr>
                </a:solidFill>
                <a:effectLst/>
                <a:uLnTx/>
                <a:uFillTx/>
              </a:rPr>
            </a:br>
            <a:r>
              <a:rPr lang="en-US" sz="1600" dirty="0">
                <a:solidFill>
                  <a:srgbClr val="AADDEE">
                    <a:lumMod val="50000"/>
                  </a:srgbClr>
                </a:solidFill>
              </a:rPr>
              <a:t>G</a:t>
            </a:r>
            <a:r>
              <a:rPr kumimoji="0" lang="en-US" sz="1600" b="0" i="0" u="none" strike="noStrike" kern="1200" cap="none" spc="0" normalizeH="0" baseline="0" noProof="0" dirty="0" err="1" smtClean="0">
                <a:ln>
                  <a:noFill/>
                </a:ln>
                <a:solidFill>
                  <a:srgbClr val="AADDEE">
                    <a:lumMod val="50000"/>
                  </a:srgbClr>
                </a:solidFill>
                <a:effectLst/>
                <a:uLnTx/>
                <a:uFillTx/>
              </a:rPr>
              <a:t>lobal</a:t>
            </a:r>
            <a:r>
              <a:rPr kumimoji="0" lang="en-US" sz="1600" b="0" i="0" u="none" strike="noStrike" kern="1200" cap="none" spc="0" normalizeH="0" baseline="0" noProof="0" dirty="0" smtClean="0">
                <a:ln>
                  <a:noFill/>
                </a:ln>
                <a:solidFill>
                  <a:srgbClr val="AADDEE">
                    <a:lumMod val="50000"/>
                  </a:srgbClr>
                </a:solidFill>
                <a:effectLst/>
                <a:uLnTx/>
                <a:uFillTx/>
              </a:rPr>
              <a:t> Infrastructure </a:t>
            </a:r>
            <a:r>
              <a:rPr kumimoji="0" lang="en-US" sz="1600" b="0" i="0" u="none" strike="noStrike" kern="1200" cap="none" spc="0" normalizeH="0" baseline="0" noProof="0" dirty="0">
                <a:ln>
                  <a:noFill/>
                </a:ln>
                <a:solidFill>
                  <a:srgbClr val="AADDEE">
                    <a:lumMod val="50000"/>
                  </a:srgbClr>
                </a:solidFill>
                <a:effectLst/>
                <a:uLnTx/>
                <a:uFillTx/>
              </a:rPr>
              <a:t>Origination &amp; Enablement</a:t>
            </a:r>
            <a:br>
              <a:rPr kumimoji="0" lang="en-US" sz="1600" b="0" i="0" u="none" strike="noStrike" kern="1200" cap="none" spc="0" normalizeH="0" baseline="0" noProof="0" dirty="0">
                <a:ln>
                  <a:noFill/>
                </a:ln>
                <a:solidFill>
                  <a:srgbClr val="AADDEE">
                    <a:lumMod val="50000"/>
                  </a:srgbClr>
                </a:solidFill>
                <a:effectLst/>
                <a:uLnTx/>
                <a:uFillTx/>
              </a:rPr>
            </a:br>
            <a:r>
              <a:rPr kumimoji="0" lang="en-US" sz="1600" b="0" i="0" u="none" strike="noStrike" kern="1200" cap="none" spc="0" normalizeH="0" baseline="0" noProof="0" dirty="0" smtClean="0">
                <a:ln>
                  <a:noFill/>
                </a:ln>
                <a:solidFill>
                  <a:srgbClr val="000000">
                    <a:lumMod val="95000"/>
                    <a:lumOff val="5000"/>
                  </a:srgbClr>
                </a:solidFill>
                <a:effectLst/>
                <a:uLnTx/>
                <a:uFillTx/>
              </a:rPr>
              <a:t>larry.m.socher@accenture.com</a:t>
            </a:r>
            <a:br>
              <a:rPr kumimoji="0" lang="en-US" sz="1600" b="0" i="0" u="none" strike="noStrike" kern="1200" cap="none" spc="0" normalizeH="0" baseline="0" noProof="0" dirty="0" smtClean="0">
                <a:ln>
                  <a:noFill/>
                </a:ln>
                <a:solidFill>
                  <a:srgbClr val="000000">
                    <a:lumMod val="95000"/>
                    <a:lumOff val="5000"/>
                  </a:srgbClr>
                </a:solidFill>
                <a:effectLst/>
                <a:uLnTx/>
                <a:uFillTx/>
              </a:rPr>
            </a:br>
            <a:r>
              <a:rPr kumimoji="0" lang="en-US" sz="1600" b="0" i="0" u="none" strike="noStrike" kern="1200" cap="none" spc="0" normalizeH="0" baseline="0" noProof="0" dirty="0">
                <a:ln>
                  <a:noFill/>
                </a:ln>
                <a:solidFill>
                  <a:srgbClr val="AADDEE">
                    <a:lumMod val="50000"/>
                  </a:srgbClr>
                </a:solidFill>
                <a:effectLst/>
                <a:uLnTx/>
                <a:uFillTx/>
              </a:rPr>
              <a:t/>
            </a:r>
            <a:br>
              <a:rPr kumimoji="0" lang="en-US" sz="1600" b="0" i="0" u="none" strike="noStrike" kern="1200" cap="none" spc="0" normalizeH="0" baseline="0" noProof="0" dirty="0">
                <a:ln>
                  <a:noFill/>
                </a:ln>
                <a:solidFill>
                  <a:srgbClr val="AADDEE">
                    <a:lumMod val="50000"/>
                  </a:srgbClr>
                </a:solidFill>
                <a:effectLst/>
                <a:uLnTx/>
                <a:uFillTx/>
              </a:rPr>
            </a:br>
            <a:r>
              <a:rPr kumimoji="0" lang="en-US" sz="1600" b="0" i="0" u="none" strike="noStrike" kern="1200" cap="none" spc="0" normalizeH="0" baseline="0" noProof="0" dirty="0">
                <a:ln>
                  <a:noFill/>
                </a:ln>
                <a:solidFill>
                  <a:srgbClr val="AADDEE">
                    <a:lumMod val="50000"/>
                  </a:srgbClr>
                </a:solidFill>
                <a:effectLst/>
                <a:uLnTx/>
                <a:uFillTx/>
              </a:rPr>
              <a:t>Jack Sepple</a:t>
            </a:r>
            <a:br>
              <a:rPr kumimoji="0" lang="en-US" sz="1600" b="0" i="0" u="none" strike="noStrike" kern="1200" cap="none" spc="0" normalizeH="0" baseline="0" noProof="0" dirty="0">
                <a:ln>
                  <a:noFill/>
                </a:ln>
                <a:solidFill>
                  <a:srgbClr val="AADDEE">
                    <a:lumMod val="50000"/>
                  </a:srgbClr>
                </a:solidFill>
                <a:effectLst/>
                <a:uLnTx/>
                <a:uFillTx/>
              </a:rPr>
            </a:br>
            <a:r>
              <a:rPr lang="en-US" sz="1600" dirty="0" smtClean="0">
                <a:solidFill>
                  <a:srgbClr val="AADDEE">
                    <a:lumMod val="50000"/>
                  </a:srgbClr>
                </a:solidFill>
              </a:rPr>
              <a:t>Global </a:t>
            </a:r>
            <a:r>
              <a:rPr kumimoji="0" lang="en-US" sz="1600" b="0" i="0" u="none" strike="noStrike" kern="1200" cap="none" spc="0" normalizeH="0" baseline="0" noProof="0" dirty="0" smtClean="0">
                <a:ln>
                  <a:noFill/>
                </a:ln>
                <a:solidFill>
                  <a:srgbClr val="AADDEE">
                    <a:lumMod val="50000"/>
                  </a:srgbClr>
                </a:solidFill>
                <a:effectLst/>
                <a:uLnTx/>
                <a:uFillTx/>
              </a:rPr>
              <a:t>Infrastructure </a:t>
            </a:r>
            <a:r>
              <a:rPr kumimoji="0" lang="en-US" sz="1600" b="0" i="0" u="none" strike="noStrike" kern="1200" cap="none" spc="0" normalizeH="0" baseline="0" noProof="0" dirty="0">
                <a:ln>
                  <a:noFill/>
                </a:ln>
                <a:solidFill>
                  <a:srgbClr val="AADDEE">
                    <a:lumMod val="50000"/>
                  </a:srgbClr>
                </a:solidFill>
                <a:effectLst/>
                <a:uLnTx/>
                <a:uFillTx/>
              </a:rPr>
              <a:t>Consulting Global Lead</a:t>
            </a:r>
            <a:r>
              <a:rPr kumimoji="0" lang="en-US" sz="1600" b="0" i="0" u="none" strike="noStrike" kern="1200" cap="none" spc="0" normalizeH="0" baseline="0" noProof="0" dirty="0">
                <a:ln>
                  <a:noFill/>
                </a:ln>
                <a:solidFill>
                  <a:srgbClr val="000000">
                    <a:lumMod val="95000"/>
                    <a:lumOff val="5000"/>
                  </a:srgbClr>
                </a:solidFill>
                <a:effectLst/>
                <a:uLnTx/>
                <a:uFillTx/>
              </a:rPr>
              <a:t/>
            </a:r>
            <a:br>
              <a:rPr kumimoji="0" lang="en-US" sz="1600" b="0" i="0" u="none" strike="noStrike" kern="1200" cap="none" spc="0" normalizeH="0" baseline="0" noProof="0" dirty="0">
                <a:ln>
                  <a:noFill/>
                </a:ln>
                <a:solidFill>
                  <a:srgbClr val="000000">
                    <a:lumMod val="95000"/>
                    <a:lumOff val="5000"/>
                  </a:srgbClr>
                </a:solidFill>
                <a:effectLst/>
                <a:uLnTx/>
                <a:uFillTx/>
              </a:rPr>
            </a:br>
            <a:r>
              <a:rPr kumimoji="0" lang="en-US" sz="1600" b="0" i="0" u="none" strike="noStrike" kern="1200" cap="none" spc="0" normalizeH="0" baseline="0" noProof="0" dirty="0" smtClean="0">
                <a:ln>
                  <a:noFill/>
                </a:ln>
                <a:solidFill>
                  <a:srgbClr val="000000">
                    <a:lumMod val="95000"/>
                    <a:lumOff val="5000"/>
                  </a:srgbClr>
                </a:solidFill>
                <a:effectLst/>
                <a:uLnTx/>
                <a:uFillTx/>
              </a:rPr>
              <a:t>john.s.sepple@accenture.com</a:t>
            </a:r>
            <a:endParaRPr kumimoji="0" lang="en-US" sz="1600" b="0" i="0" u="none" strike="noStrike" kern="1200" cap="none" spc="0" normalizeH="0" baseline="0" noProof="0" dirty="0">
              <a:ln>
                <a:noFill/>
              </a:ln>
              <a:solidFill>
                <a:srgbClr val="000000">
                  <a:lumMod val="95000"/>
                  <a:lumOff val="5000"/>
                </a:srgbClr>
              </a:solidFill>
              <a:effectLst/>
              <a:uLnTx/>
              <a:uFillTx/>
            </a:endParaRPr>
          </a:p>
        </p:txBody>
      </p:sp>
    </p:spTree>
    <p:extLst>
      <p:ext uri="{BB962C8B-B14F-4D97-AF65-F5344CB8AC3E}">
        <p14:creationId xmlns:p14="http://schemas.microsoft.com/office/powerpoint/2010/main" val="1483233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021260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7" name="Group 6"/>
          <p:cNvGrpSpPr/>
          <p:nvPr/>
        </p:nvGrpSpPr>
        <p:grpSpPr>
          <a:xfrm>
            <a:off x="444789" y="1667041"/>
            <a:ext cx="11094068" cy="5036972"/>
            <a:chOff x="444790" y="1667042"/>
            <a:chExt cx="8171930" cy="4714708"/>
          </a:xfrm>
        </p:grpSpPr>
        <p:sp>
          <p:nvSpPr>
            <p:cNvPr id="530" name="Freeform 6"/>
            <p:cNvSpPr>
              <a:spLocks/>
            </p:cNvSpPr>
            <p:nvPr/>
          </p:nvSpPr>
          <p:spPr bwMode="auto">
            <a:xfrm>
              <a:off x="8363837" y="5235116"/>
              <a:ext cx="62355" cy="51962"/>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31" name="Freeform 7"/>
            <p:cNvSpPr>
              <a:spLocks/>
            </p:cNvSpPr>
            <p:nvPr/>
          </p:nvSpPr>
          <p:spPr bwMode="auto">
            <a:xfrm>
              <a:off x="8363837" y="5235116"/>
              <a:ext cx="62355" cy="51962"/>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32" name="Freeform 8"/>
            <p:cNvSpPr>
              <a:spLocks/>
            </p:cNvSpPr>
            <p:nvPr/>
          </p:nvSpPr>
          <p:spPr bwMode="auto">
            <a:xfrm>
              <a:off x="8072848" y="4684317"/>
              <a:ext cx="55426" cy="69283"/>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33" name="Freeform 9"/>
            <p:cNvSpPr>
              <a:spLocks/>
            </p:cNvSpPr>
            <p:nvPr/>
          </p:nvSpPr>
          <p:spPr bwMode="auto">
            <a:xfrm>
              <a:off x="8072848" y="4684317"/>
              <a:ext cx="55426" cy="69283"/>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34" name="Freeform 10"/>
            <p:cNvSpPr>
              <a:spLocks/>
            </p:cNvSpPr>
            <p:nvPr/>
          </p:nvSpPr>
          <p:spPr bwMode="auto">
            <a:xfrm>
              <a:off x="7847679" y="4725886"/>
              <a:ext cx="207849" cy="214777"/>
            </a:xfrm>
            <a:custGeom>
              <a:avLst/>
              <a:gdLst>
                <a:gd name="T0" fmla="*/ 2 w 120"/>
                <a:gd name="T1" fmla="*/ 0 h 124"/>
                <a:gd name="T2" fmla="*/ 14 w 120"/>
                <a:gd name="T3" fmla="*/ 4 h 124"/>
                <a:gd name="T4" fmla="*/ 18 w 120"/>
                <a:gd name="T5" fmla="*/ 6 h 124"/>
                <a:gd name="T6" fmla="*/ 32 w 120"/>
                <a:gd name="T7" fmla="*/ 2 h 124"/>
                <a:gd name="T8" fmla="*/ 36 w 120"/>
                <a:gd name="T9" fmla="*/ 2 h 124"/>
                <a:gd name="T10" fmla="*/ 40 w 120"/>
                <a:gd name="T11" fmla="*/ 4 h 124"/>
                <a:gd name="T12" fmla="*/ 40 w 120"/>
                <a:gd name="T13" fmla="*/ 6 h 124"/>
                <a:gd name="T14" fmla="*/ 40 w 120"/>
                <a:gd name="T15" fmla="*/ 14 h 124"/>
                <a:gd name="T16" fmla="*/ 38 w 120"/>
                <a:gd name="T17" fmla="*/ 20 h 124"/>
                <a:gd name="T18" fmla="*/ 40 w 120"/>
                <a:gd name="T19" fmla="*/ 24 h 124"/>
                <a:gd name="T20" fmla="*/ 42 w 120"/>
                <a:gd name="T21" fmla="*/ 26 h 124"/>
                <a:gd name="T22" fmla="*/ 46 w 120"/>
                <a:gd name="T23" fmla="*/ 26 h 124"/>
                <a:gd name="T24" fmla="*/ 52 w 120"/>
                <a:gd name="T25" fmla="*/ 28 h 124"/>
                <a:gd name="T26" fmla="*/ 54 w 120"/>
                <a:gd name="T27" fmla="*/ 30 h 124"/>
                <a:gd name="T28" fmla="*/ 56 w 120"/>
                <a:gd name="T29" fmla="*/ 34 h 124"/>
                <a:gd name="T30" fmla="*/ 58 w 120"/>
                <a:gd name="T31" fmla="*/ 40 h 124"/>
                <a:gd name="T32" fmla="*/ 64 w 120"/>
                <a:gd name="T33" fmla="*/ 44 h 124"/>
                <a:gd name="T34" fmla="*/ 72 w 120"/>
                <a:gd name="T35" fmla="*/ 52 h 124"/>
                <a:gd name="T36" fmla="*/ 78 w 120"/>
                <a:gd name="T37" fmla="*/ 56 h 124"/>
                <a:gd name="T38" fmla="*/ 78 w 120"/>
                <a:gd name="T39" fmla="*/ 58 h 124"/>
                <a:gd name="T40" fmla="*/ 78 w 120"/>
                <a:gd name="T41" fmla="*/ 64 h 124"/>
                <a:gd name="T42" fmla="*/ 76 w 120"/>
                <a:gd name="T43" fmla="*/ 72 h 124"/>
                <a:gd name="T44" fmla="*/ 76 w 120"/>
                <a:gd name="T45" fmla="*/ 76 h 124"/>
                <a:gd name="T46" fmla="*/ 78 w 120"/>
                <a:gd name="T47" fmla="*/ 82 h 124"/>
                <a:gd name="T48" fmla="*/ 84 w 120"/>
                <a:gd name="T49" fmla="*/ 90 h 124"/>
                <a:gd name="T50" fmla="*/ 88 w 120"/>
                <a:gd name="T51" fmla="*/ 94 h 124"/>
                <a:gd name="T52" fmla="*/ 94 w 120"/>
                <a:gd name="T53" fmla="*/ 96 h 124"/>
                <a:gd name="T54" fmla="*/ 104 w 120"/>
                <a:gd name="T55" fmla="*/ 98 h 124"/>
                <a:gd name="T56" fmla="*/ 108 w 120"/>
                <a:gd name="T57" fmla="*/ 100 h 124"/>
                <a:gd name="T58" fmla="*/ 114 w 120"/>
                <a:gd name="T59" fmla="*/ 106 h 124"/>
                <a:gd name="T60" fmla="*/ 118 w 120"/>
                <a:gd name="T61" fmla="*/ 112 h 124"/>
                <a:gd name="T62" fmla="*/ 120 w 120"/>
                <a:gd name="T63" fmla="*/ 116 h 124"/>
                <a:gd name="T64" fmla="*/ 118 w 120"/>
                <a:gd name="T65" fmla="*/ 120 h 124"/>
                <a:gd name="T66" fmla="*/ 116 w 120"/>
                <a:gd name="T67" fmla="*/ 122 h 124"/>
                <a:gd name="T68" fmla="*/ 110 w 120"/>
                <a:gd name="T69" fmla="*/ 122 h 124"/>
                <a:gd name="T70" fmla="*/ 102 w 120"/>
                <a:gd name="T71" fmla="*/ 124 h 124"/>
                <a:gd name="T72" fmla="*/ 96 w 120"/>
                <a:gd name="T73" fmla="*/ 122 h 124"/>
                <a:gd name="T74" fmla="*/ 94 w 120"/>
                <a:gd name="T75" fmla="*/ 122 h 124"/>
                <a:gd name="T76" fmla="*/ 86 w 120"/>
                <a:gd name="T77" fmla="*/ 118 h 124"/>
                <a:gd name="T78" fmla="*/ 76 w 120"/>
                <a:gd name="T79" fmla="*/ 116 h 124"/>
                <a:gd name="T80" fmla="*/ 72 w 120"/>
                <a:gd name="T81" fmla="*/ 114 h 124"/>
                <a:gd name="T82" fmla="*/ 66 w 120"/>
                <a:gd name="T83" fmla="*/ 110 h 124"/>
                <a:gd name="T84" fmla="*/ 54 w 120"/>
                <a:gd name="T85" fmla="*/ 96 h 124"/>
                <a:gd name="T86" fmla="*/ 48 w 120"/>
                <a:gd name="T87" fmla="*/ 86 h 124"/>
                <a:gd name="T88" fmla="*/ 42 w 120"/>
                <a:gd name="T89" fmla="*/ 78 h 124"/>
                <a:gd name="T90" fmla="*/ 40 w 120"/>
                <a:gd name="T91" fmla="*/ 76 h 124"/>
                <a:gd name="T92" fmla="*/ 30 w 120"/>
                <a:gd name="T93" fmla="*/ 74 h 124"/>
                <a:gd name="T94" fmla="*/ 18 w 120"/>
                <a:gd name="T95"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24">
                  <a:moveTo>
                    <a:pt x="18" y="74"/>
                  </a:moveTo>
                  <a:lnTo>
                    <a:pt x="0" y="0"/>
                  </a:lnTo>
                  <a:lnTo>
                    <a:pt x="2" y="0"/>
                  </a:lnTo>
                  <a:lnTo>
                    <a:pt x="6" y="2"/>
                  </a:lnTo>
                  <a:lnTo>
                    <a:pt x="10" y="4"/>
                  </a:lnTo>
                  <a:lnTo>
                    <a:pt x="14" y="4"/>
                  </a:lnTo>
                  <a:lnTo>
                    <a:pt x="16" y="6"/>
                  </a:lnTo>
                  <a:lnTo>
                    <a:pt x="16" y="6"/>
                  </a:lnTo>
                  <a:lnTo>
                    <a:pt x="18" y="6"/>
                  </a:lnTo>
                  <a:lnTo>
                    <a:pt x="20" y="4"/>
                  </a:lnTo>
                  <a:lnTo>
                    <a:pt x="28" y="4"/>
                  </a:lnTo>
                  <a:lnTo>
                    <a:pt x="32" y="2"/>
                  </a:lnTo>
                  <a:lnTo>
                    <a:pt x="32" y="2"/>
                  </a:lnTo>
                  <a:lnTo>
                    <a:pt x="34" y="2"/>
                  </a:lnTo>
                  <a:lnTo>
                    <a:pt x="36" y="2"/>
                  </a:lnTo>
                  <a:lnTo>
                    <a:pt x="38" y="2"/>
                  </a:lnTo>
                  <a:lnTo>
                    <a:pt x="38" y="4"/>
                  </a:lnTo>
                  <a:lnTo>
                    <a:pt x="40" y="4"/>
                  </a:lnTo>
                  <a:lnTo>
                    <a:pt x="40" y="4"/>
                  </a:lnTo>
                  <a:lnTo>
                    <a:pt x="40" y="6"/>
                  </a:lnTo>
                  <a:lnTo>
                    <a:pt x="40" y="6"/>
                  </a:lnTo>
                  <a:lnTo>
                    <a:pt x="40" y="8"/>
                  </a:lnTo>
                  <a:lnTo>
                    <a:pt x="40" y="10"/>
                  </a:lnTo>
                  <a:lnTo>
                    <a:pt x="40" y="14"/>
                  </a:lnTo>
                  <a:lnTo>
                    <a:pt x="38" y="16"/>
                  </a:lnTo>
                  <a:lnTo>
                    <a:pt x="38" y="20"/>
                  </a:lnTo>
                  <a:lnTo>
                    <a:pt x="38" y="20"/>
                  </a:lnTo>
                  <a:lnTo>
                    <a:pt x="38" y="22"/>
                  </a:lnTo>
                  <a:lnTo>
                    <a:pt x="38" y="24"/>
                  </a:lnTo>
                  <a:lnTo>
                    <a:pt x="40" y="24"/>
                  </a:lnTo>
                  <a:lnTo>
                    <a:pt x="40" y="24"/>
                  </a:lnTo>
                  <a:lnTo>
                    <a:pt x="40" y="24"/>
                  </a:lnTo>
                  <a:lnTo>
                    <a:pt x="42" y="26"/>
                  </a:lnTo>
                  <a:lnTo>
                    <a:pt x="42" y="26"/>
                  </a:lnTo>
                  <a:lnTo>
                    <a:pt x="44" y="26"/>
                  </a:lnTo>
                  <a:lnTo>
                    <a:pt x="46" y="26"/>
                  </a:lnTo>
                  <a:lnTo>
                    <a:pt x="48" y="26"/>
                  </a:lnTo>
                  <a:lnTo>
                    <a:pt x="52" y="28"/>
                  </a:lnTo>
                  <a:lnTo>
                    <a:pt x="52" y="28"/>
                  </a:lnTo>
                  <a:lnTo>
                    <a:pt x="54" y="28"/>
                  </a:lnTo>
                  <a:lnTo>
                    <a:pt x="54" y="30"/>
                  </a:lnTo>
                  <a:lnTo>
                    <a:pt x="54" y="30"/>
                  </a:lnTo>
                  <a:lnTo>
                    <a:pt x="56" y="32"/>
                  </a:lnTo>
                  <a:lnTo>
                    <a:pt x="56" y="32"/>
                  </a:lnTo>
                  <a:lnTo>
                    <a:pt x="56" y="34"/>
                  </a:lnTo>
                  <a:lnTo>
                    <a:pt x="58" y="36"/>
                  </a:lnTo>
                  <a:lnTo>
                    <a:pt x="58" y="38"/>
                  </a:lnTo>
                  <a:lnTo>
                    <a:pt x="58" y="40"/>
                  </a:lnTo>
                  <a:lnTo>
                    <a:pt x="60" y="40"/>
                  </a:lnTo>
                  <a:lnTo>
                    <a:pt x="60" y="42"/>
                  </a:lnTo>
                  <a:lnTo>
                    <a:pt x="64" y="44"/>
                  </a:lnTo>
                  <a:lnTo>
                    <a:pt x="68" y="48"/>
                  </a:lnTo>
                  <a:lnTo>
                    <a:pt x="70" y="50"/>
                  </a:lnTo>
                  <a:lnTo>
                    <a:pt x="72" y="52"/>
                  </a:lnTo>
                  <a:lnTo>
                    <a:pt x="74" y="54"/>
                  </a:lnTo>
                  <a:lnTo>
                    <a:pt x="76" y="54"/>
                  </a:lnTo>
                  <a:lnTo>
                    <a:pt x="78" y="56"/>
                  </a:lnTo>
                  <a:lnTo>
                    <a:pt x="78" y="56"/>
                  </a:lnTo>
                  <a:lnTo>
                    <a:pt x="78" y="58"/>
                  </a:lnTo>
                  <a:lnTo>
                    <a:pt x="78" y="58"/>
                  </a:lnTo>
                  <a:lnTo>
                    <a:pt x="78" y="60"/>
                  </a:lnTo>
                  <a:lnTo>
                    <a:pt x="78" y="62"/>
                  </a:lnTo>
                  <a:lnTo>
                    <a:pt x="78" y="64"/>
                  </a:lnTo>
                  <a:lnTo>
                    <a:pt x="78" y="66"/>
                  </a:lnTo>
                  <a:lnTo>
                    <a:pt x="76" y="70"/>
                  </a:lnTo>
                  <a:lnTo>
                    <a:pt x="76" y="72"/>
                  </a:lnTo>
                  <a:lnTo>
                    <a:pt x="76" y="74"/>
                  </a:lnTo>
                  <a:lnTo>
                    <a:pt x="76" y="74"/>
                  </a:lnTo>
                  <a:lnTo>
                    <a:pt x="76" y="76"/>
                  </a:lnTo>
                  <a:lnTo>
                    <a:pt x="76" y="78"/>
                  </a:lnTo>
                  <a:lnTo>
                    <a:pt x="78" y="80"/>
                  </a:lnTo>
                  <a:lnTo>
                    <a:pt x="78" y="82"/>
                  </a:lnTo>
                  <a:lnTo>
                    <a:pt x="80" y="86"/>
                  </a:lnTo>
                  <a:lnTo>
                    <a:pt x="82" y="88"/>
                  </a:lnTo>
                  <a:lnTo>
                    <a:pt x="84" y="90"/>
                  </a:lnTo>
                  <a:lnTo>
                    <a:pt x="86" y="92"/>
                  </a:lnTo>
                  <a:lnTo>
                    <a:pt x="88" y="92"/>
                  </a:lnTo>
                  <a:lnTo>
                    <a:pt x="88" y="94"/>
                  </a:lnTo>
                  <a:lnTo>
                    <a:pt x="90" y="94"/>
                  </a:lnTo>
                  <a:lnTo>
                    <a:pt x="92" y="94"/>
                  </a:lnTo>
                  <a:lnTo>
                    <a:pt x="94" y="96"/>
                  </a:lnTo>
                  <a:lnTo>
                    <a:pt x="98" y="96"/>
                  </a:lnTo>
                  <a:lnTo>
                    <a:pt x="100" y="96"/>
                  </a:lnTo>
                  <a:lnTo>
                    <a:pt x="104" y="98"/>
                  </a:lnTo>
                  <a:lnTo>
                    <a:pt x="106" y="98"/>
                  </a:lnTo>
                  <a:lnTo>
                    <a:pt x="106" y="98"/>
                  </a:lnTo>
                  <a:lnTo>
                    <a:pt x="108" y="100"/>
                  </a:lnTo>
                  <a:lnTo>
                    <a:pt x="110" y="100"/>
                  </a:lnTo>
                  <a:lnTo>
                    <a:pt x="112" y="104"/>
                  </a:lnTo>
                  <a:lnTo>
                    <a:pt x="114" y="106"/>
                  </a:lnTo>
                  <a:lnTo>
                    <a:pt x="116" y="108"/>
                  </a:lnTo>
                  <a:lnTo>
                    <a:pt x="118" y="110"/>
                  </a:lnTo>
                  <a:lnTo>
                    <a:pt x="118" y="112"/>
                  </a:lnTo>
                  <a:lnTo>
                    <a:pt x="118" y="114"/>
                  </a:lnTo>
                  <a:lnTo>
                    <a:pt x="118" y="114"/>
                  </a:lnTo>
                  <a:lnTo>
                    <a:pt x="120" y="116"/>
                  </a:lnTo>
                  <a:lnTo>
                    <a:pt x="120" y="118"/>
                  </a:lnTo>
                  <a:lnTo>
                    <a:pt x="118" y="118"/>
                  </a:lnTo>
                  <a:lnTo>
                    <a:pt x="118" y="120"/>
                  </a:lnTo>
                  <a:lnTo>
                    <a:pt x="118" y="120"/>
                  </a:lnTo>
                  <a:lnTo>
                    <a:pt x="116" y="120"/>
                  </a:lnTo>
                  <a:lnTo>
                    <a:pt x="116" y="122"/>
                  </a:lnTo>
                  <a:lnTo>
                    <a:pt x="114" y="122"/>
                  </a:lnTo>
                  <a:lnTo>
                    <a:pt x="112" y="122"/>
                  </a:lnTo>
                  <a:lnTo>
                    <a:pt x="110" y="122"/>
                  </a:lnTo>
                  <a:lnTo>
                    <a:pt x="108" y="122"/>
                  </a:lnTo>
                  <a:lnTo>
                    <a:pt x="104" y="124"/>
                  </a:lnTo>
                  <a:lnTo>
                    <a:pt x="102" y="124"/>
                  </a:lnTo>
                  <a:lnTo>
                    <a:pt x="100" y="122"/>
                  </a:lnTo>
                  <a:lnTo>
                    <a:pt x="98" y="122"/>
                  </a:lnTo>
                  <a:lnTo>
                    <a:pt x="96" y="122"/>
                  </a:lnTo>
                  <a:lnTo>
                    <a:pt x="96" y="122"/>
                  </a:lnTo>
                  <a:lnTo>
                    <a:pt x="96" y="122"/>
                  </a:lnTo>
                  <a:lnTo>
                    <a:pt x="94" y="122"/>
                  </a:lnTo>
                  <a:lnTo>
                    <a:pt x="92" y="120"/>
                  </a:lnTo>
                  <a:lnTo>
                    <a:pt x="88" y="120"/>
                  </a:lnTo>
                  <a:lnTo>
                    <a:pt x="86" y="118"/>
                  </a:lnTo>
                  <a:lnTo>
                    <a:pt x="82" y="118"/>
                  </a:lnTo>
                  <a:lnTo>
                    <a:pt x="78" y="118"/>
                  </a:lnTo>
                  <a:lnTo>
                    <a:pt x="76" y="116"/>
                  </a:lnTo>
                  <a:lnTo>
                    <a:pt x="74" y="116"/>
                  </a:lnTo>
                  <a:lnTo>
                    <a:pt x="74" y="116"/>
                  </a:lnTo>
                  <a:lnTo>
                    <a:pt x="72" y="114"/>
                  </a:lnTo>
                  <a:lnTo>
                    <a:pt x="70" y="114"/>
                  </a:lnTo>
                  <a:lnTo>
                    <a:pt x="68" y="112"/>
                  </a:lnTo>
                  <a:lnTo>
                    <a:pt x="66" y="110"/>
                  </a:lnTo>
                  <a:lnTo>
                    <a:pt x="64" y="106"/>
                  </a:lnTo>
                  <a:lnTo>
                    <a:pt x="58" y="100"/>
                  </a:lnTo>
                  <a:lnTo>
                    <a:pt x="54" y="96"/>
                  </a:lnTo>
                  <a:lnTo>
                    <a:pt x="52" y="94"/>
                  </a:lnTo>
                  <a:lnTo>
                    <a:pt x="52" y="92"/>
                  </a:lnTo>
                  <a:lnTo>
                    <a:pt x="48" y="86"/>
                  </a:lnTo>
                  <a:lnTo>
                    <a:pt x="46" y="82"/>
                  </a:lnTo>
                  <a:lnTo>
                    <a:pt x="44" y="80"/>
                  </a:lnTo>
                  <a:lnTo>
                    <a:pt x="42" y="78"/>
                  </a:lnTo>
                  <a:lnTo>
                    <a:pt x="42" y="78"/>
                  </a:lnTo>
                  <a:lnTo>
                    <a:pt x="40" y="76"/>
                  </a:lnTo>
                  <a:lnTo>
                    <a:pt x="40" y="76"/>
                  </a:lnTo>
                  <a:lnTo>
                    <a:pt x="38" y="76"/>
                  </a:lnTo>
                  <a:lnTo>
                    <a:pt x="34" y="76"/>
                  </a:lnTo>
                  <a:lnTo>
                    <a:pt x="30" y="74"/>
                  </a:lnTo>
                  <a:lnTo>
                    <a:pt x="26" y="74"/>
                  </a:lnTo>
                  <a:lnTo>
                    <a:pt x="20" y="74"/>
                  </a:lnTo>
                  <a:lnTo>
                    <a:pt x="18"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35" name="Freeform 11"/>
            <p:cNvSpPr>
              <a:spLocks/>
            </p:cNvSpPr>
            <p:nvPr/>
          </p:nvSpPr>
          <p:spPr bwMode="auto">
            <a:xfrm>
              <a:off x="7847679" y="4725886"/>
              <a:ext cx="207849" cy="214777"/>
            </a:xfrm>
            <a:custGeom>
              <a:avLst/>
              <a:gdLst>
                <a:gd name="T0" fmla="*/ 2 w 120"/>
                <a:gd name="T1" fmla="*/ 0 h 124"/>
                <a:gd name="T2" fmla="*/ 14 w 120"/>
                <a:gd name="T3" fmla="*/ 4 h 124"/>
                <a:gd name="T4" fmla="*/ 18 w 120"/>
                <a:gd name="T5" fmla="*/ 6 h 124"/>
                <a:gd name="T6" fmla="*/ 32 w 120"/>
                <a:gd name="T7" fmla="*/ 2 h 124"/>
                <a:gd name="T8" fmla="*/ 36 w 120"/>
                <a:gd name="T9" fmla="*/ 2 h 124"/>
                <a:gd name="T10" fmla="*/ 40 w 120"/>
                <a:gd name="T11" fmla="*/ 4 h 124"/>
                <a:gd name="T12" fmla="*/ 40 w 120"/>
                <a:gd name="T13" fmla="*/ 6 h 124"/>
                <a:gd name="T14" fmla="*/ 40 w 120"/>
                <a:gd name="T15" fmla="*/ 14 h 124"/>
                <a:gd name="T16" fmla="*/ 38 w 120"/>
                <a:gd name="T17" fmla="*/ 20 h 124"/>
                <a:gd name="T18" fmla="*/ 40 w 120"/>
                <a:gd name="T19" fmla="*/ 24 h 124"/>
                <a:gd name="T20" fmla="*/ 42 w 120"/>
                <a:gd name="T21" fmla="*/ 26 h 124"/>
                <a:gd name="T22" fmla="*/ 46 w 120"/>
                <a:gd name="T23" fmla="*/ 26 h 124"/>
                <a:gd name="T24" fmla="*/ 52 w 120"/>
                <a:gd name="T25" fmla="*/ 28 h 124"/>
                <a:gd name="T26" fmla="*/ 54 w 120"/>
                <a:gd name="T27" fmla="*/ 30 h 124"/>
                <a:gd name="T28" fmla="*/ 56 w 120"/>
                <a:gd name="T29" fmla="*/ 34 h 124"/>
                <a:gd name="T30" fmla="*/ 58 w 120"/>
                <a:gd name="T31" fmla="*/ 40 h 124"/>
                <a:gd name="T32" fmla="*/ 64 w 120"/>
                <a:gd name="T33" fmla="*/ 44 h 124"/>
                <a:gd name="T34" fmla="*/ 72 w 120"/>
                <a:gd name="T35" fmla="*/ 52 h 124"/>
                <a:gd name="T36" fmla="*/ 78 w 120"/>
                <a:gd name="T37" fmla="*/ 56 h 124"/>
                <a:gd name="T38" fmla="*/ 78 w 120"/>
                <a:gd name="T39" fmla="*/ 58 h 124"/>
                <a:gd name="T40" fmla="*/ 78 w 120"/>
                <a:gd name="T41" fmla="*/ 64 h 124"/>
                <a:gd name="T42" fmla="*/ 76 w 120"/>
                <a:gd name="T43" fmla="*/ 72 h 124"/>
                <a:gd name="T44" fmla="*/ 76 w 120"/>
                <a:gd name="T45" fmla="*/ 76 h 124"/>
                <a:gd name="T46" fmla="*/ 78 w 120"/>
                <a:gd name="T47" fmla="*/ 82 h 124"/>
                <a:gd name="T48" fmla="*/ 84 w 120"/>
                <a:gd name="T49" fmla="*/ 90 h 124"/>
                <a:gd name="T50" fmla="*/ 88 w 120"/>
                <a:gd name="T51" fmla="*/ 94 h 124"/>
                <a:gd name="T52" fmla="*/ 94 w 120"/>
                <a:gd name="T53" fmla="*/ 96 h 124"/>
                <a:gd name="T54" fmla="*/ 104 w 120"/>
                <a:gd name="T55" fmla="*/ 98 h 124"/>
                <a:gd name="T56" fmla="*/ 108 w 120"/>
                <a:gd name="T57" fmla="*/ 100 h 124"/>
                <a:gd name="T58" fmla="*/ 114 w 120"/>
                <a:gd name="T59" fmla="*/ 106 h 124"/>
                <a:gd name="T60" fmla="*/ 118 w 120"/>
                <a:gd name="T61" fmla="*/ 112 h 124"/>
                <a:gd name="T62" fmla="*/ 120 w 120"/>
                <a:gd name="T63" fmla="*/ 116 h 124"/>
                <a:gd name="T64" fmla="*/ 118 w 120"/>
                <a:gd name="T65" fmla="*/ 120 h 124"/>
                <a:gd name="T66" fmla="*/ 116 w 120"/>
                <a:gd name="T67" fmla="*/ 122 h 124"/>
                <a:gd name="T68" fmla="*/ 110 w 120"/>
                <a:gd name="T69" fmla="*/ 122 h 124"/>
                <a:gd name="T70" fmla="*/ 102 w 120"/>
                <a:gd name="T71" fmla="*/ 124 h 124"/>
                <a:gd name="T72" fmla="*/ 96 w 120"/>
                <a:gd name="T73" fmla="*/ 122 h 124"/>
                <a:gd name="T74" fmla="*/ 94 w 120"/>
                <a:gd name="T75" fmla="*/ 122 h 124"/>
                <a:gd name="T76" fmla="*/ 86 w 120"/>
                <a:gd name="T77" fmla="*/ 118 h 124"/>
                <a:gd name="T78" fmla="*/ 76 w 120"/>
                <a:gd name="T79" fmla="*/ 116 h 124"/>
                <a:gd name="T80" fmla="*/ 72 w 120"/>
                <a:gd name="T81" fmla="*/ 114 h 124"/>
                <a:gd name="T82" fmla="*/ 66 w 120"/>
                <a:gd name="T83" fmla="*/ 110 h 124"/>
                <a:gd name="T84" fmla="*/ 54 w 120"/>
                <a:gd name="T85" fmla="*/ 96 h 124"/>
                <a:gd name="T86" fmla="*/ 48 w 120"/>
                <a:gd name="T87" fmla="*/ 86 h 124"/>
                <a:gd name="T88" fmla="*/ 42 w 120"/>
                <a:gd name="T89" fmla="*/ 78 h 124"/>
                <a:gd name="T90" fmla="*/ 40 w 120"/>
                <a:gd name="T91" fmla="*/ 76 h 124"/>
                <a:gd name="T92" fmla="*/ 30 w 120"/>
                <a:gd name="T93" fmla="*/ 74 h 124"/>
                <a:gd name="T94" fmla="*/ 18 w 120"/>
                <a:gd name="T95"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24">
                  <a:moveTo>
                    <a:pt x="18" y="74"/>
                  </a:moveTo>
                  <a:lnTo>
                    <a:pt x="0" y="0"/>
                  </a:lnTo>
                  <a:lnTo>
                    <a:pt x="2" y="0"/>
                  </a:lnTo>
                  <a:lnTo>
                    <a:pt x="6" y="2"/>
                  </a:lnTo>
                  <a:lnTo>
                    <a:pt x="10" y="4"/>
                  </a:lnTo>
                  <a:lnTo>
                    <a:pt x="14" y="4"/>
                  </a:lnTo>
                  <a:lnTo>
                    <a:pt x="16" y="6"/>
                  </a:lnTo>
                  <a:lnTo>
                    <a:pt x="16" y="6"/>
                  </a:lnTo>
                  <a:lnTo>
                    <a:pt x="18" y="6"/>
                  </a:lnTo>
                  <a:lnTo>
                    <a:pt x="20" y="4"/>
                  </a:lnTo>
                  <a:lnTo>
                    <a:pt x="28" y="4"/>
                  </a:lnTo>
                  <a:lnTo>
                    <a:pt x="32" y="2"/>
                  </a:lnTo>
                  <a:lnTo>
                    <a:pt x="32" y="2"/>
                  </a:lnTo>
                  <a:lnTo>
                    <a:pt x="34" y="2"/>
                  </a:lnTo>
                  <a:lnTo>
                    <a:pt x="36" y="2"/>
                  </a:lnTo>
                  <a:lnTo>
                    <a:pt x="38" y="2"/>
                  </a:lnTo>
                  <a:lnTo>
                    <a:pt x="38" y="4"/>
                  </a:lnTo>
                  <a:lnTo>
                    <a:pt x="40" y="4"/>
                  </a:lnTo>
                  <a:lnTo>
                    <a:pt x="40" y="4"/>
                  </a:lnTo>
                  <a:lnTo>
                    <a:pt x="40" y="6"/>
                  </a:lnTo>
                  <a:lnTo>
                    <a:pt x="40" y="6"/>
                  </a:lnTo>
                  <a:lnTo>
                    <a:pt x="40" y="8"/>
                  </a:lnTo>
                  <a:lnTo>
                    <a:pt x="40" y="10"/>
                  </a:lnTo>
                  <a:lnTo>
                    <a:pt x="40" y="14"/>
                  </a:lnTo>
                  <a:lnTo>
                    <a:pt x="38" y="16"/>
                  </a:lnTo>
                  <a:lnTo>
                    <a:pt x="38" y="20"/>
                  </a:lnTo>
                  <a:lnTo>
                    <a:pt x="38" y="20"/>
                  </a:lnTo>
                  <a:lnTo>
                    <a:pt x="38" y="22"/>
                  </a:lnTo>
                  <a:lnTo>
                    <a:pt x="38" y="24"/>
                  </a:lnTo>
                  <a:lnTo>
                    <a:pt x="40" y="24"/>
                  </a:lnTo>
                  <a:lnTo>
                    <a:pt x="40" y="24"/>
                  </a:lnTo>
                  <a:lnTo>
                    <a:pt x="40" y="24"/>
                  </a:lnTo>
                  <a:lnTo>
                    <a:pt x="42" y="26"/>
                  </a:lnTo>
                  <a:lnTo>
                    <a:pt x="42" y="26"/>
                  </a:lnTo>
                  <a:lnTo>
                    <a:pt x="44" y="26"/>
                  </a:lnTo>
                  <a:lnTo>
                    <a:pt x="46" y="26"/>
                  </a:lnTo>
                  <a:lnTo>
                    <a:pt x="48" y="26"/>
                  </a:lnTo>
                  <a:lnTo>
                    <a:pt x="52" y="28"/>
                  </a:lnTo>
                  <a:lnTo>
                    <a:pt x="52" y="28"/>
                  </a:lnTo>
                  <a:lnTo>
                    <a:pt x="54" y="28"/>
                  </a:lnTo>
                  <a:lnTo>
                    <a:pt x="54" y="30"/>
                  </a:lnTo>
                  <a:lnTo>
                    <a:pt x="54" y="30"/>
                  </a:lnTo>
                  <a:lnTo>
                    <a:pt x="56" y="32"/>
                  </a:lnTo>
                  <a:lnTo>
                    <a:pt x="56" y="32"/>
                  </a:lnTo>
                  <a:lnTo>
                    <a:pt x="56" y="34"/>
                  </a:lnTo>
                  <a:lnTo>
                    <a:pt x="58" y="36"/>
                  </a:lnTo>
                  <a:lnTo>
                    <a:pt x="58" y="38"/>
                  </a:lnTo>
                  <a:lnTo>
                    <a:pt x="58" y="40"/>
                  </a:lnTo>
                  <a:lnTo>
                    <a:pt x="60" y="40"/>
                  </a:lnTo>
                  <a:lnTo>
                    <a:pt x="60" y="42"/>
                  </a:lnTo>
                  <a:lnTo>
                    <a:pt x="64" y="44"/>
                  </a:lnTo>
                  <a:lnTo>
                    <a:pt x="68" y="48"/>
                  </a:lnTo>
                  <a:lnTo>
                    <a:pt x="70" y="50"/>
                  </a:lnTo>
                  <a:lnTo>
                    <a:pt x="72" y="52"/>
                  </a:lnTo>
                  <a:lnTo>
                    <a:pt x="74" y="54"/>
                  </a:lnTo>
                  <a:lnTo>
                    <a:pt x="76" y="54"/>
                  </a:lnTo>
                  <a:lnTo>
                    <a:pt x="78" y="56"/>
                  </a:lnTo>
                  <a:lnTo>
                    <a:pt x="78" y="56"/>
                  </a:lnTo>
                  <a:lnTo>
                    <a:pt x="78" y="58"/>
                  </a:lnTo>
                  <a:lnTo>
                    <a:pt x="78" y="58"/>
                  </a:lnTo>
                  <a:lnTo>
                    <a:pt x="78" y="60"/>
                  </a:lnTo>
                  <a:lnTo>
                    <a:pt x="78" y="62"/>
                  </a:lnTo>
                  <a:lnTo>
                    <a:pt x="78" y="64"/>
                  </a:lnTo>
                  <a:lnTo>
                    <a:pt x="78" y="66"/>
                  </a:lnTo>
                  <a:lnTo>
                    <a:pt x="76" y="70"/>
                  </a:lnTo>
                  <a:lnTo>
                    <a:pt x="76" y="72"/>
                  </a:lnTo>
                  <a:lnTo>
                    <a:pt x="76" y="74"/>
                  </a:lnTo>
                  <a:lnTo>
                    <a:pt x="76" y="74"/>
                  </a:lnTo>
                  <a:lnTo>
                    <a:pt x="76" y="76"/>
                  </a:lnTo>
                  <a:lnTo>
                    <a:pt x="76" y="78"/>
                  </a:lnTo>
                  <a:lnTo>
                    <a:pt x="78" y="80"/>
                  </a:lnTo>
                  <a:lnTo>
                    <a:pt x="78" y="82"/>
                  </a:lnTo>
                  <a:lnTo>
                    <a:pt x="80" y="86"/>
                  </a:lnTo>
                  <a:lnTo>
                    <a:pt x="82" y="88"/>
                  </a:lnTo>
                  <a:lnTo>
                    <a:pt x="84" y="90"/>
                  </a:lnTo>
                  <a:lnTo>
                    <a:pt x="86" y="92"/>
                  </a:lnTo>
                  <a:lnTo>
                    <a:pt x="88" y="92"/>
                  </a:lnTo>
                  <a:lnTo>
                    <a:pt x="88" y="94"/>
                  </a:lnTo>
                  <a:lnTo>
                    <a:pt x="90" y="94"/>
                  </a:lnTo>
                  <a:lnTo>
                    <a:pt x="92" y="94"/>
                  </a:lnTo>
                  <a:lnTo>
                    <a:pt x="94" y="96"/>
                  </a:lnTo>
                  <a:lnTo>
                    <a:pt x="98" y="96"/>
                  </a:lnTo>
                  <a:lnTo>
                    <a:pt x="100" y="96"/>
                  </a:lnTo>
                  <a:lnTo>
                    <a:pt x="104" y="98"/>
                  </a:lnTo>
                  <a:lnTo>
                    <a:pt x="106" y="98"/>
                  </a:lnTo>
                  <a:lnTo>
                    <a:pt x="106" y="98"/>
                  </a:lnTo>
                  <a:lnTo>
                    <a:pt x="108" y="100"/>
                  </a:lnTo>
                  <a:lnTo>
                    <a:pt x="110" y="100"/>
                  </a:lnTo>
                  <a:lnTo>
                    <a:pt x="112" y="104"/>
                  </a:lnTo>
                  <a:lnTo>
                    <a:pt x="114" y="106"/>
                  </a:lnTo>
                  <a:lnTo>
                    <a:pt x="116" y="108"/>
                  </a:lnTo>
                  <a:lnTo>
                    <a:pt x="118" y="110"/>
                  </a:lnTo>
                  <a:lnTo>
                    <a:pt x="118" y="112"/>
                  </a:lnTo>
                  <a:lnTo>
                    <a:pt x="118" y="114"/>
                  </a:lnTo>
                  <a:lnTo>
                    <a:pt x="118" y="114"/>
                  </a:lnTo>
                  <a:lnTo>
                    <a:pt x="120" y="116"/>
                  </a:lnTo>
                  <a:lnTo>
                    <a:pt x="120" y="118"/>
                  </a:lnTo>
                  <a:lnTo>
                    <a:pt x="118" y="118"/>
                  </a:lnTo>
                  <a:lnTo>
                    <a:pt x="118" y="120"/>
                  </a:lnTo>
                  <a:lnTo>
                    <a:pt x="118" y="120"/>
                  </a:lnTo>
                  <a:lnTo>
                    <a:pt x="116" y="120"/>
                  </a:lnTo>
                  <a:lnTo>
                    <a:pt x="116" y="122"/>
                  </a:lnTo>
                  <a:lnTo>
                    <a:pt x="114" y="122"/>
                  </a:lnTo>
                  <a:lnTo>
                    <a:pt x="112" y="122"/>
                  </a:lnTo>
                  <a:lnTo>
                    <a:pt x="110" y="122"/>
                  </a:lnTo>
                  <a:lnTo>
                    <a:pt x="108" y="122"/>
                  </a:lnTo>
                  <a:lnTo>
                    <a:pt x="104" y="124"/>
                  </a:lnTo>
                  <a:lnTo>
                    <a:pt x="102" y="124"/>
                  </a:lnTo>
                  <a:lnTo>
                    <a:pt x="100" y="122"/>
                  </a:lnTo>
                  <a:lnTo>
                    <a:pt x="98" y="122"/>
                  </a:lnTo>
                  <a:lnTo>
                    <a:pt x="96" y="122"/>
                  </a:lnTo>
                  <a:lnTo>
                    <a:pt x="96" y="122"/>
                  </a:lnTo>
                  <a:lnTo>
                    <a:pt x="96" y="122"/>
                  </a:lnTo>
                  <a:lnTo>
                    <a:pt x="94" y="122"/>
                  </a:lnTo>
                  <a:lnTo>
                    <a:pt x="92" y="120"/>
                  </a:lnTo>
                  <a:lnTo>
                    <a:pt x="88" y="120"/>
                  </a:lnTo>
                  <a:lnTo>
                    <a:pt x="86" y="118"/>
                  </a:lnTo>
                  <a:lnTo>
                    <a:pt x="82" y="118"/>
                  </a:lnTo>
                  <a:lnTo>
                    <a:pt x="78" y="118"/>
                  </a:lnTo>
                  <a:lnTo>
                    <a:pt x="76" y="116"/>
                  </a:lnTo>
                  <a:lnTo>
                    <a:pt x="74" y="116"/>
                  </a:lnTo>
                  <a:lnTo>
                    <a:pt x="74" y="116"/>
                  </a:lnTo>
                  <a:lnTo>
                    <a:pt x="72" y="114"/>
                  </a:lnTo>
                  <a:lnTo>
                    <a:pt x="70" y="114"/>
                  </a:lnTo>
                  <a:lnTo>
                    <a:pt x="68" y="112"/>
                  </a:lnTo>
                  <a:lnTo>
                    <a:pt x="66" y="110"/>
                  </a:lnTo>
                  <a:lnTo>
                    <a:pt x="64" y="106"/>
                  </a:lnTo>
                  <a:lnTo>
                    <a:pt x="58" y="100"/>
                  </a:lnTo>
                  <a:lnTo>
                    <a:pt x="54" y="96"/>
                  </a:lnTo>
                  <a:lnTo>
                    <a:pt x="52" y="94"/>
                  </a:lnTo>
                  <a:lnTo>
                    <a:pt x="52" y="92"/>
                  </a:lnTo>
                  <a:lnTo>
                    <a:pt x="48" y="86"/>
                  </a:lnTo>
                  <a:lnTo>
                    <a:pt x="46" y="82"/>
                  </a:lnTo>
                  <a:lnTo>
                    <a:pt x="44" y="80"/>
                  </a:lnTo>
                  <a:lnTo>
                    <a:pt x="42" y="78"/>
                  </a:lnTo>
                  <a:lnTo>
                    <a:pt x="42" y="78"/>
                  </a:lnTo>
                  <a:lnTo>
                    <a:pt x="40" y="76"/>
                  </a:lnTo>
                  <a:lnTo>
                    <a:pt x="40" y="76"/>
                  </a:lnTo>
                  <a:lnTo>
                    <a:pt x="38" y="76"/>
                  </a:lnTo>
                  <a:lnTo>
                    <a:pt x="34" y="76"/>
                  </a:lnTo>
                  <a:lnTo>
                    <a:pt x="30" y="74"/>
                  </a:lnTo>
                  <a:lnTo>
                    <a:pt x="26" y="74"/>
                  </a:lnTo>
                  <a:lnTo>
                    <a:pt x="20" y="74"/>
                  </a:lnTo>
                  <a:lnTo>
                    <a:pt x="18" y="7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36" name="Freeform 12"/>
            <p:cNvSpPr>
              <a:spLocks/>
            </p:cNvSpPr>
            <p:nvPr/>
          </p:nvSpPr>
          <p:spPr bwMode="auto">
            <a:xfrm>
              <a:off x="8013958" y="4760528"/>
              <a:ext cx="72747" cy="55426"/>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37" name="Freeform 13"/>
            <p:cNvSpPr>
              <a:spLocks/>
            </p:cNvSpPr>
            <p:nvPr/>
          </p:nvSpPr>
          <p:spPr bwMode="auto">
            <a:xfrm>
              <a:off x="8013958" y="4760528"/>
              <a:ext cx="72747" cy="55426"/>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38" name="Freeform 14"/>
            <p:cNvSpPr>
              <a:spLocks/>
            </p:cNvSpPr>
            <p:nvPr/>
          </p:nvSpPr>
          <p:spPr bwMode="auto">
            <a:xfrm>
              <a:off x="8131739" y="4781313"/>
              <a:ext cx="38106" cy="24249"/>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39" name="Freeform 15"/>
            <p:cNvSpPr>
              <a:spLocks/>
            </p:cNvSpPr>
            <p:nvPr/>
          </p:nvSpPr>
          <p:spPr bwMode="auto">
            <a:xfrm>
              <a:off x="8131739" y="4781313"/>
              <a:ext cx="38106" cy="24249"/>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0" name="Freeform 16"/>
            <p:cNvSpPr>
              <a:spLocks/>
            </p:cNvSpPr>
            <p:nvPr/>
          </p:nvSpPr>
          <p:spPr bwMode="auto">
            <a:xfrm>
              <a:off x="7064781" y="4940664"/>
              <a:ext cx="1004604" cy="855645"/>
            </a:xfrm>
            <a:custGeom>
              <a:avLst/>
              <a:gdLst>
                <a:gd name="T0" fmla="*/ 296 w 580"/>
                <a:gd name="T1" fmla="*/ 34 h 494"/>
                <a:gd name="T2" fmla="*/ 262 w 580"/>
                <a:gd name="T3" fmla="*/ 46 h 494"/>
                <a:gd name="T4" fmla="*/ 256 w 580"/>
                <a:gd name="T5" fmla="*/ 74 h 494"/>
                <a:gd name="T6" fmla="*/ 234 w 580"/>
                <a:gd name="T7" fmla="*/ 68 h 494"/>
                <a:gd name="T8" fmla="*/ 208 w 580"/>
                <a:gd name="T9" fmla="*/ 56 h 494"/>
                <a:gd name="T10" fmla="*/ 196 w 580"/>
                <a:gd name="T11" fmla="*/ 76 h 494"/>
                <a:gd name="T12" fmla="*/ 166 w 580"/>
                <a:gd name="T13" fmla="*/ 100 h 494"/>
                <a:gd name="T14" fmla="*/ 160 w 580"/>
                <a:gd name="T15" fmla="*/ 112 h 494"/>
                <a:gd name="T16" fmla="*/ 148 w 580"/>
                <a:gd name="T17" fmla="*/ 102 h 494"/>
                <a:gd name="T18" fmla="*/ 138 w 580"/>
                <a:gd name="T19" fmla="*/ 140 h 494"/>
                <a:gd name="T20" fmla="*/ 64 w 580"/>
                <a:gd name="T21" fmla="*/ 172 h 494"/>
                <a:gd name="T22" fmla="*/ 30 w 580"/>
                <a:gd name="T23" fmla="*/ 200 h 494"/>
                <a:gd name="T24" fmla="*/ 4 w 580"/>
                <a:gd name="T25" fmla="*/ 204 h 494"/>
                <a:gd name="T26" fmla="*/ 10 w 580"/>
                <a:gd name="T27" fmla="*/ 248 h 494"/>
                <a:gd name="T28" fmla="*/ 18 w 580"/>
                <a:gd name="T29" fmla="*/ 266 h 494"/>
                <a:gd name="T30" fmla="*/ 2 w 580"/>
                <a:gd name="T31" fmla="*/ 256 h 494"/>
                <a:gd name="T32" fmla="*/ 10 w 580"/>
                <a:gd name="T33" fmla="*/ 302 h 494"/>
                <a:gd name="T34" fmla="*/ 16 w 580"/>
                <a:gd name="T35" fmla="*/ 344 h 494"/>
                <a:gd name="T36" fmla="*/ 28 w 580"/>
                <a:gd name="T37" fmla="*/ 362 h 494"/>
                <a:gd name="T38" fmla="*/ 18 w 580"/>
                <a:gd name="T39" fmla="*/ 380 h 494"/>
                <a:gd name="T40" fmla="*/ 6 w 580"/>
                <a:gd name="T41" fmla="*/ 400 h 494"/>
                <a:gd name="T42" fmla="*/ 36 w 580"/>
                <a:gd name="T43" fmla="*/ 426 h 494"/>
                <a:gd name="T44" fmla="*/ 56 w 580"/>
                <a:gd name="T45" fmla="*/ 420 h 494"/>
                <a:gd name="T46" fmla="*/ 84 w 580"/>
                <a:gd name="T47" fmla="*/ 414 h 494"/>
                <a:gd name="T48" fmla="*/ 138 w 580"/>
                <a:gd name="T49" fmla="*/ 402 h 494"/>
                <a:gd name="T50" fmla="*/ 184 w 580"/>
                <a:gd name="T51" fmla="*/ 380 h 494"/>
                <a:gd name="T52" fmla="*/ 220 w 580"/>
                <a:gd name="T53" fmla="*/ 366 h 494"/>
                <a:gd name="T54" fmla="*/ 248 w 580"/>
                <a:gd name="T55" fmla="*/ 364 h 494"/>
                <a:gd name="T56" fmla="*/ 266 w 580"/>
                <a:gd name="T57" fmla="*/ 372 h 494"/>
                <a:gd name="T58" fmla="*/ 292 w 580"/>
                <a:gd name="T59" fmla="*/ 402 h 494"/>
                <a:gd name="T60" fmla="*/ 302 w 580"/>
                <a:gd name="T61" fmla="*/ 420 h 494"/>
                <a:gd name="T62" fmla="*/ 330 w 580"/>
                <a:gd name="T63" fmla="*/ 386 h 494"/>
                <a:gd name="T64" fmla="*/ 332 w 580"/>
                <a:gd name="T65" fmla="*/ 404 h 494"/>
                <a:gd name="T66" fmla="*/ 326 w 580"/>
                <a:gd name="T67" fmla="*/ 424 h 494"/>
                <a:gd name="T68" fmla="*/ 338 w 580"/>
                <a:gd name="T69" fmla="*/ 408 h 494"/>
                <a:gd name="T70" fmla="*/ 342 w 580"/>
                <a:gd name="T71" fmla="*/ 424 h 494"/>
                <a:gd name="T72" fmla="*/ 348 w 580"/>
                <a:gd name="T73" fmla="*/ 456 h 494"/>
                <a:gd name="T74" fmla="*/ 376 w 580"/>
                <a:gd name="T75" fmla="*/ 480 h 494"/>
                <a:gd name="T76" fmla="*/ 438 w 580"/>
                <a:gd name="T77" fmla="*/ 492 h 494"/>
                <a:gd name="T78" fmla="*/ 498 w 580"/>
                <a:gd name="T79" fmla="*/ 460 h 494"/>
                <a:gd name="T80" fmla="*/ 520 w 580"/>
                <a:gd name="T81" fmla="*/ 422 h 494"/>
                <a:gd name="T82" fmla="*/ 542 w 580"/>
                <a:gd name="T83" fmla="*/ 388 h 494"/>
                <a:gd name="T84" fmla="*/ 572 w 580"/>
                <a:gd name="T85" fmla="*/ 344 h 494"/>
                <a:gd name="T86" fmla="*/ 580 w 580"/>
                <a:gd name="T87" fmla="*/ 258 h 494"/>
                <a:gd name="T88" fmla="*/ 558 w 580"/>
                <a:gd name="T89" fmla="*/ 222 h 494"/>
                <a:gd name="T90" fmla="*/ 536 w 580"/>
                <a:gd name="T91" fmla="*/ 194 h 494"/>
                <a:gd name="T92" fmla="*/ 526 w 580"/>
                <a:gd name="T93" fmla="*/ 164 h 494"/>
                <a:gd name="T94" fmla="*/ 498 w 580"/>
                <a:gd name="T95" fmla="*/ 146 h 494"/>
                <a:gd name="T96" fmla="*/ 488 w 580"/>
                <a:gd name="T97" fmla="*/ 82 h 494"/>
                <a:gd name="T98" fmla="*/ 462 w 580"/>
                <a:gd name="T99" fmla="*/ 42 h 494"/>
                <a:gd name="T100" fmla="*/ 468 w 580"/>
                <a:gd name="T101" fmla="*/ 16 h 494"/>
                <a:gd name="T102" fmla="*/ 450 w 580"/>
                <a:gd name="T103" fmla="*/ 0 h 494"/>
                <a:gd name="T104" fmla="*/ 434 w 580"/>
                <a:gd name="T105" fmla="*/ 28 h 494"/>
                <a:gd name="T106" fmla="*/ 434 w 580"/>
                <a:gd name="T107" fmla="*/ 90 h 494"/>
                <a:gd name="T108" fmla="*/ 416 w 580"/>
                <a:gd name="T109" fmla="*/ 114 h 494"/>
                <a:gd name="T110" fmla="*/ 384 w 580"/>
                <a:gd name="T111" fmla="*/ 98 h 494"/>
                <a:gd name="T112" fmla="*/ 346 w 580"/>
                <a:gd name="T113" fmla="*/ 76 h 494"/>
                <a:gd name="T114" fmla="*/ 354 w 580"/>
                <a:gd name="T115" fmla="*/ 50 h 494"/>
                <a:gd name="T116" fmla="*/ 370 w 580"/>
                <a:gd name="T117" fmla="*/ 30 h 494"/>
                <a:gd name="T118" fmla="*/ 346 w 580"/>
                <a:gd name="T119" fmla="*/ 22 h 494"/>
                <a:gd name="T120" fmla="*/ 298 w 580"/>
                <a:gd name="T121" fmla="*/ 8 h 494"/>
                <a:gd name="T122" fmla="*/ 286 w 580"/>
                <a:gd name="T123" fmla="*/ 1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 h="494">
                  <a:moveTo>
                    <a:pt x="296" y="20"/>
                  </a:moveTo>
                  <a:lnTo>
                    <a:pt x="296" y="20"/>
                  </a:lnTo>
                  <a:lnTo>
                    <a:pt x="296" y="20"/>
                  </a:lnTo>
                  <a:lnTo>
                    <a:pt x="298" y="22"/>
                  </a:lnTo>
                  <a:lnTo>
                    <a:pt x="298" y="24"/>
                  </a:lnTo>
                  <a:lnTo>
                    <a:pt x="300" y="26"/>
                  </a:lnTo>
                  <a:lnTo>
                    <a:pt x="300" y="28"/>
                  </a:lnTo>
                  <a:lnTo>
                    <a:pt x="300" y="30"/>
                  </a:lnTo>
                  <a:lnTo>
                    <a:pt x="300" y="30"/>
                  </a:lnTo>
                  <a:lnTo>
                    <a:pt x="300" y="30"/>
                  </a:lnTo>
                  <a:lnTo>
                    <a:pt x="300" y="32"/>
                  </a:lnTo>
                  <a:lnTo>
                    <a:pt x="300" y="32"/>
                  </a:lnTo>
                  <a:lnTo>
                    <a:pt x="300" y="32"/>
                  </a:lnTo>
                  <a:lnTo>
                    <a:pt x="298" y="32"/>
                  </a:lnTo>
                  <a:lnTo>
                    <a:pt x="298" y="34"/>
                  </a:lnTo>
                  <a:lnTo>
                    <a:pt x="296" y="34"/>
                  </a:lnTo>
                  <a:lnTo>
                    <a:pt x="294" y="34"/>
                  </a:lnTo>
                  <a:lnTo>
                    <a:pt x="292" y="34"/>
                  </a:lnTo>
                  <a:lnTo>
                    <a:pt x="290" y="34"/>
                  </a:lnTo>
                  <a:lnTo>
                    <a:pt x="286" y="34"/>
                  </a:lnTo>
                  <a:lnTo>
                    <a:pt x="282" y="34"/>
                  </a:lnTo>
                  <a:lnTo>
                    <a:pt x="278" y="34"/>
                  </a:lnTo>
                  <a:lnTo>
                    <a:pt x="276" y="34"/>
                  </a:lnTo>
                  <a:lnTo>
                    <a:pt x="274" y="34"/>
                  </a:lnTo>
                  <a:lnTo>
                    <a:pt x="274" y="36"/>
                  </a:lnTo>
                  <a:lnTo>
                    <a:pt x="272" y="36"/>
                  </a:lnTo>
                  <a:lnTo>
                    <a:pt x="270" y="36"/>
                  </a:lnTo>
                  <a:lnTo>
                    <a:pt x="268" y="38"/>
                  </a:lnTo>
                  <a:lnTo>
                    <a:pt x="268" y="40"/>
                  </a:lnTo>
                  <a:lnTo>
                    <a:pt x="266" y="42"/>
                  </a:lnTo>
                  <a:lnTo>
                    <a:pt x="264" y="44"/>
                  </a:lnTo>
                  <a:lnTo>
                    <a:pt x="262" y="46"/>
                  </a:lnTo>
                  <a:lnTo>
                    <a:pt x="262" y="48"/>
                  </a:lnTo>
                  <a:lnTo>
                    <a:pt x="260" y="50"/>
                  </a:lnTo>
                  <a:lnTo>
                    <a:pt x="260" y="50"/>
                  </a:lnTo>
                  <a:lnTo>
                    <a:pt x="260" y="52"/>
                  </a:lnTo>
                  <a:lnTo>
                    <a:pt x="260" y="54"/>
                  </a:lnTo>
                  <a:lnTo>
                    <a:pt x="260" y="56"/>
                  </a:lnTo>
                  <a:lnTo>
                    <a:pt x="260" y="58"/>
                  </a:lnTo>
                  <a:lnTo>
                    <a:pt x="260" y="60"/>
                  </a:lnTo>
                  <a:lnTo>
                    <a:pt x="260" y="62"/>
                  </a:lnTo>
                  <a:lnTo>
                    <a:pt x="258" y="66"/>
                  </a:lnTo>
                  <a:lnTo>
                    <a:pt x="258" y="68"/>
                  </a:lnTo>
                  <a:lnTo>
                    <a:pt x="258" y="70"/>
                  </a:lnTo>
                  <a:lnTo>
                    <a:pt x="258" y="72"/>
                  </a:lnTo>
                  <a:lnTo>
                    <a:pt x="258" y="72"/>
                  </a:lnTo>
                  <a:lnTo>
                    <a:pt x="256" y="74"/>
                  </a:lnTo>
                  <a:lnTo>
                    <a:pt x="256" y="74"/>
                  </a:lnTo>
                  <a:lnTo>
                    <a:pt x="256" y="74"/>
                  </a:lnTo>
                  <a:lnTo>
                    <a:pt x="254" y="76"/>
                  </a:lnTo>
                  <a:lnTo>
                    <a:pt x="250" y="76"/>
                  </a:lnTo>
                  <a:lnTo>
                    <a:pt x="248" y="78"/>
                  </a:lnTo>
                  <a:lnTo>
                    <a:pt x="246" y="78"/>
                  </a:lnTo>
                  <a:lnTo>
                    <a:pt x="244" y="78"/>
                  </a:lnTo>
                  <a:lnTo>
                    <a:pt x="242" y="78"/>
                  </a:lnTo>
                  <a:lnTo>
                    <a:pt x="240" y="78"/>
                  </a:lnTo>
                  <a:lnTo>
                    <a:pt x="240" y="78"/>
                  </a:lnTo>
                  <a:lnTo>
                    <a:pt x="240" y="78"/>
                  </a:lnTo>
                  <a:lnTo>
                    <a:pt x="238" y="76"/>
                  </a:lnTo>
                  <a:lnTo>
                    <a:pt x="238" y="76"/>
                  </a:lnTo>
                  <a:lnTo>
                    <a:pt x="236" y="74"/>
                  </a:lnTo>
                  <a:lnTo>
                    <a:pt x="236" y="74"/>
                  </a:lnTo>
                  <a:lnTo>
                    <a:pt x="236" y="72"/>
                  </a:lnTo>
                  <a:lnTo>
                    <a:pt x="234" y="68"/>
                  </a:lnTo>
                  <a:lnTo>
                    <a:pt x="234" y="66"/>
                  </a:lnTo>
                  <a:lnTo>
                    <a:pt x="232" y="64"/>
                  </a:lnTo>
                  <a:lnTo>
                    <a:pt x="232" y="62"/>
                  </a:lnTo>
                  <a:lnTo>
                    <a:pt x="228" y="58"/>
                  </a:lnTo>
                  <a:lnTo>
                    <a:pt x="228" y="58"/>
                  </a:lnTo>
                  <a:lnTo>
                    <a:pt x="226" y="56"/>
                  </a:lnTo>
                  <a:lnTo>
                    <a:pt x="226" y="56"/>
                  </a:lnTo>
                  <a:lnTo>
                    <a:pt x="224" y="54"/>
                  </a:lnTo>
                  <a:lnTo>
                    <a:pt x="224" y="54"/>
                  </a:lnTo>
                  <a:lnTo>
                    <a:pt x="222" y="54"/>
                  </a:lnTo>
                  <a:lnTo>
                    <a:pt x="222" y="54"/>
                  </a:lnTo>
                  <a:lnTo>
                    <a:pt x="220" y="54"/>
                  </a:lnTo>
                  <a:lnTo>
                    <a:pt x="218" y="54"/>
                  </a:lnTo>
                  <a:lnTo>
                    <a:pt x="216" y="54"/>
                  </a:lnTo>
                  <a:lnTo>
                    <a:pt x="212" y="54"/>
                  </a:lnTo>
                  <a:lnTo>
                    <a:pt x="208" y="56"/>
                  </a:lnTo>
                  <a:lnTo>
                    <a:pt x="206" y="56"/>
                  </a:lnTo>
                  <a:lnTo>
                    <a:pt x="204" y="58"/>
                  </a:lnTo>
                  <a:lnTo>
                    <a:pt x="204" y="58"/>
                  </a:lnTo>
                  <a:lnTo>
                    <a:pt x="202" y="58"/>
                  </a:lnTo>
                  <a:lnTo>
                    <a:pt x="202" y="60"/>
                  </a:lnTo>
                  <a:lnTo>
                    <a:pt x="200" y="60"/>
                  </a:lnTo>
                  <a:lnTo>
                    <a:pt x="200" y="60"/>
                  </a:lnTo>
                  <a:lnTo>
                    <a:pt x="200" y="62"/>
                  </a:lnTo>
                  <a:lnTo>
                    <a:pt x="200" y="64"/>
                  </a:lnTo>
                  <a:lnTo>
                    <a:pt x="200" y="66"/>
                  </a:lnTo>
                  <a:lnTo>
                    <a:pt x="198" y="70"/>
                  </a:lnTo>
                  <a:lnTo>
                    <a:pt x="198" y="72"/>
                  </a:lnTo>
                  <a:lnTo>
                    <a:pt x="198" y="72"/>
                  </a:lnTo>
                  <a:lnTo>
                    <a:pt x="198" y="74"/>
                  </a:lnTo>
                  <a:lnTo>
                    <a:pt x="196" y="74"/>
                  </a:lnTo>
                  <a:lnTo>
                    <a:pt x="196" y="76"/>
                  </a:lnTo>
                  <a:lnTo>
                    <a:pt x="194" y="78"/>
                  </a:lnTo>
                  <a:lnTo>
                    <a:pt x="192" y="78"/>
                  </a:lnTo>
                  <a:lnTo>
                    <a:pt x="188" y="82"/>
                  </a:lnTo>
                  <a:lnTo>
                    <a:pt x="186" y="84"/>
                  </a:lnTo>
                  <a:lnTo>
                    <a:pt x="184" y="84"/>
                  </a:lnTo>
                  <a:lnTo>
                    <a:pt x="184" y="84"/>
                  </a:lnTo>
                  <a:lnTo>
                    <a:pt x="180" y="86"/>
                  </a:lnTo>
                  <a:lnTo>
                    <a:pt x="176" y="88"/>
                  </a:lnTo>
                  <a:lnTo>
                    <a:pt x="174" y="90"/>
                  </a:lnTo>
                  <a:lnTo>
                    <a:pt x="174" y="90"/>
                  </a:lnTo>
                  <a:lnTo>
                    <a:pt x="172" y="90"/>
                  </a:lnTo>
                  <a:lnTo>
                    <a:pt x="172" y="92"/>
                  </a:lnTo>
                  <a:lnTo>
                    <a:pt x="170" y="96"/>
                  </a:lnTo>
                  <a:lnTo>
                    <a:pt x="168" y="96"/>
                  </a:lnTo>
                  <a:lnTo>
                    <a:pt x="168" y="98"/>
                  </a:lnTo>
                  <a:lnTo>
                    <a:pt x="166" y="100"/>
                  </a:lnTo>
                  <a:lnTo>
                    <a:pt x="166" y="102"/>
                  </a:lnTo>
                  <a:lnTo>
                    <a:pt x="166" y="102"/>
                  </a:lnTo>
                  <a:lnTo>
                    <a:pt x="166" y="104"/>
                  </a:lnTo>
                  <a:lnTo>
                    <a:pt x="166" y="106"/>
                  </a:lnTo>
                  <a:lnTo>
                    <a:pt x="166" y="108"/>
                  </a:lnTo>
                  <a:lnTo>
                    <a:pt x="166" y="110"/>
                  </a:lnTo>
                  <a:lnTo>
                    <a:pt x="166" y="112"/>
                  </a:lnTo>
                  <a:lnTo>
                    <a:pt x="166" y="112"/>
                  </a:lnTo>
                  <a:lnTo>
                    <a:pt x="166" y="112"/>
                  </a:lnTo>
                  <a:lnTo>
                    <a:pt x="166" y="112"/>
                  </a:lnTo>
                  <a:lnTo>
                    <a:pt x="164" y="114"/>
                  </a:lnTo>
                  <a:lnTo>
                    <a:pt x="164" y="114"/>
                  </a:lnTo>
                  <a:lnTo>
                    <a:pt x="162" y="114"/>
                  </a:lnTo>
                  <a:lnTo>
                    <a:pt x="162" y="114"/>
                  </a:lnTo>
                  <a:lnTo>
                    <a:pt x="160" y="112"/>
                  </a:lnTo>
                  <a:lnTo>
                    <a:pt x="160" y="112"/>
                  </a:lnTo>
                  <a:lnTo>
                    <a:pt x="158" y="112"/>
                  </a:lnTo>
                  <a:lnTo>
                    <a:pt x="158" y="112"/>
                  </a:lnTo>
                  <a:lnTo>
                    <a:pt x="158" y="112"/>
                  </a:lnTo>
                  <a:lnTo>
                    <a:pt x="156" y="110"/>
                  </a:lnTo>
                  <a:lnTo>
                    <a:pt x="156" y="108"/>
                  </a:lnTo>
                  <a:lnTo>
                    <a:pt x="154" y="106"/>
                  </a:lnTo>
                  <a:lnTo>
                    <a:pt x="154" y="104"/>
                  </a:lnTo>
                  <a:lnTo>
                    <a:pt x="154" y="102"/>
                  </a:lnTo>
                  <a:lnTo>
                    <a:pt x="152" y="102"/>
                  </a:lnTo>
                  <a:lnTo>
                    <a:pt x="152" y="102"/>
                  </a:lnTo>
                  <a:lnTo>
                    <a:pt x="152" y="102"/>
                  </a:lnTo>
                  <a:lnTo>
                    <a:pt x="150" y="102"/>
                  </a:lnTo>
                  <a:lnTo>
                    <a:pt x="150" y="102"/>
                  </a:lnTo>
                  <a:lnTo>
                    <a:pt x="150" y="102"/>
                  </a:lnTo>
                  <a:lnTo>
                    <a:pt x="150" y="102"/>
                  </a:lnTo>
                  <a:lnTo>
                    <a:pt x="148" y="102"/>
                  </a:lnTo>
                  <a:lnTo>
                    <a:pt x="148" y="104"/>
                  </a:lnTo>
                  <a:lnTo>
                    <a:pt x="148" y="104"/>
                  </a:lnTo>
                  <a:lnTo>
                    <a:pt x="148" y="106"/>
                  </a:lnTo>
                  <a:lnTo>
                    <a:pt x="148" y="108"/>
                  </a:lnTo>
                  <a:lnTo>
                    <a:pt x="148" y="112"/>
                  </a:lnTo>
                  <a:lnTo>
                    <a:pt x="148" y="116"/>
                  </a:lnTo>
                  <a:lnTo>
                    <a:pt x="148" y="120"/>
                  </a:lnTo>
                  <a:lnTo>
                    <a:pt x="148" y="122"/>
                  </a:lnTo>
                  <a:lnTo>
                    <a:pt x="148" y="124"/>
                  </a:lnTo>
                  <a:lnTo>
                    <a:pt x="148" y="126"/>
                  </a:lnTo>
                  <a:lnTo>
                    <a:pt x="148" y="126"/>
                  </a:lnTo>
                  <a:lnTo>
                    <a:pt x="146" y="128"/>
                  </a:lnTo>
                  <a:lnTo>
                    <a:pt x="146" y="130"/>
                  </a:lnTo>
                  <a:lnTo>
                    <a:pt x="144" y="134"/>
                  </a:lnTo>
                  <a:lnTo>
                    <a:pt x="140" y="136"/>
                  </a:lnTo>
                  <a:lnTo>
                    <a:pt x="138" y="140"/>
                  </a:lnTo>
                  <a:lnTo>
                    <a:pt x="134" y="144"/>
                  </a:lnTo>
                  <a:lnTo>
                    <a:pt x="132" y="148"/>
                  </a:lnTo>
                  <a:lnTo>
                    <a:pt x="128" y="150"/>
                  </a:lnTo>
                  <a:lnTo>
                    <a:pt x="126" y="152"/>
                  </a:lnTo>
                  <a:lnTo>
                    <a:pt x="124" y="154"/>
                  </a:lnTo>
                  <a:lnTo>
                    <a:pt x="122" y="156"/>
                  </a:lnTo>
                  <a:lnTo>
                    <a:pt x="118" y="156"/>
                  </a:lnTo>
                  <a:lnTo>
                    <a:pt x="116" y="158"/>
                  </a:lnTo>
                  <a:lnTo>
                    <a:pt x="110" y="160"/>
                  </a:lnTo>
                  <a:lnTo>
                    <a:pt x="106" y="162"/>
                  </a:lnTo>
                  <a:lnTo>
                    <a:pt x="104" y="162"/>
                  </a:lnTo>
                  <a:lnTo>
                    <a:pt x="100" y="164"/>
                  </a:lnTo>
                  <a:lnTo>
                    <a:pt x="94" y="164"/>
                  </a:lnTo>
                  <a:lnTo>
                    <a:pt x="80" y="168"/>
                  </a:lnTo>
                  <a:lnTo>
                    <a:pt x="72" y="170"/>
                  </a:lnTo>
                  <a:lnTo>
                    <a:pt x="64" y="172"/>
                  </a:lnTo>
                  <a:lnTo>
                    <a:pt x="62" y="172"/>
                  </a:lnTo>
                  <a:lnTo>
                    <a:pt x="58" y="174"/>
                  </a:lnTo>
                  <a:lnTo>
                    <a:pt x="56" y="176"/>
                  </a:lnTo>
                  <a:lnTo>
                    <a:pt x="54" y="176"/>
                  </a:lnTo>
                  <a:lnTo>
                    <a:pt x="52" y="178"/>
                  </a:lnTo>
                  <a:lnTo>
                    <a:pt x="52" y="178"/>
                  </a:lnTo>
                  <a:lnTo>
                    <a:pt x="50" y="180"/>
                  </a:lnTo>
                  <a:lnTo>
                    <a:pt x="48" y="182"/>
                  </a:lnTo>
                  <a:lnTo>
                    <a:pt x="46" y="184"/>
                  </a:lnTo>
                  <a:lnTo>
                    <a:pt x="42" y="188"/>
                  </a:lnTo>
                  <a:lnTo>
                    <a:pt x="40" y="192"/>
                  </a:lnTo>
                  <a:lnTo>
                    <a:pt x="36" y="194"/>
                  </a:lnTo>
                  <a:lnTo>
                    <a:pt x="36" y="196"/>
                  </a:lnTo>
                  <a:lnTo>
                    <a:pt x="34" y="198"/>
                  </a:lnTo>
                  <a:lnTo>
                    <a:pt x="32" y="198"/>
                  </a:lnTo>
                  <a:lnTo>
                    <a:pt x="30" y="200"/>
                  </a:lnTo>
                  <a:lnTo>
                    <a:pt x="30" y="200"/>
                  </a:lnTo>
                  <a:lnTo>
                    <a:pt x="28" y="200"/>
                  </a:lnTo>
                  <a:lnTo>
                    <a:pt x="26" y="200"/>
                  </a:lnTo>
                  <a:lnTo>
                    <a:pt x="26" y="200"/>
                  </a:lnTo>
                  <a:lnTo>
                    <a:pt x="22" y="200"/>
                  </a:lnTo>
                  <a:lnTo>
                    <a:pt x="18" y="200"/>
                  </a:lnTo>
                  <a:lnTo>
                    <a:pt x="14" y="200"/>
                  </a:lnTo>
                  <a:lnTo>
                    <a:pt x="12" y="200"/>
                  </a:lnTo>
                  <a:lnTo>
                    <a:pt x="10" y="200"/>
                  </a:lnTo>
                  <a:lnTo>
                    <a:pt x="10" y="200"/>
                  </a:lnTo>
                  <a:lnTo>
                    <a:pt x="8" y="200"/>
                  </a:lnTo>
                  <a:lnTo>
                    <a:pt x="6" y="200"/>
                  </a:lnTo>
                  <a:lnTo>
                    <a:pt x="6" y="202"/>
                  </a:lnTo>
                  <a:lnTo>
                    <a:pt x="6" y="202"/>
                  </a:lnTo>
                  <a:lnTo>
                    <a:pt x="4" y="204"/>
                  </a:lnTo>
                  <a:lnTo>
                    <a:pt x="4" y="204"/>
                  </a:lnTo>
                  <a:lnTo>
                    <a:pt x="4" y="206"/>
                  </a:lnTo>
                  <a:lnTo>
                    <a:pt x="2" y="208"/>
                  </a:lnTo>
                  <a:lnTo>
                    <a:pt x="2" y="212"/>
                  </a:lnTo>
                  <a:lnTo>
                    <a:pt x="2" y="214"/>
                  </a:lnTo>
                  <a:lnTo>
                    <a:pt x="2" y="218"/>
                  </a:lnTo>
                  <a:lnTo>
                    <a:pt x="2" y="222"/>
                  </a:lnTo>
                  <a:lnTo>
                    <a:pt x="2" y="224"/>
                  </a:lnTo>
                  <a:lnTo>
                    <a:pt x="4" y="228"/>
                  </a:lnTo>
                  <a:lnTo>
                    <a:pt x="4" y="232"/>
                  </a:lnTo>
                  <a:lnTo>
                    <a:pt x="4" y="234"/>
                  </a:lnTo>
                  <a:lnTo>
                    <a:pt x="6" y="238"/>
                  </a:lnTo>
                  <a:lnTo>
                    <a:pt x="6" y="242"/>
                  </a:lnTo>
                  <a:lnTo>
                    <a:pt x="8" y="244"/>
                  </a:lnTo>
                  <a:lnTo>
                    <a:pt x="8" y="246"/>
                  </a:lnTo>
                  <a:lnTo>
                    <a:pt x="10" y="248"/>
                  </a:lnTo>
                  <a:lnTo>
                    <a:pt x="10" y="248"/>
                  </a:lnTo>
                  <a:lnTo>
                    <a:pt x="10" y="250"/>
                  </a:lnTo>
                  <a:lnTo>
                    <a:pt x="12" y="250"/>
                  </a:lnTo>
                  <a:lnTo>
                    <a:pt x="14" y="252"/>
                  </a:lnTo>
                  <a:lnTo>
                    <a:pt x="14" y="252"/>
                  </a:lnTo>
                  <a:lnTo>
                    <a:pt x="16" y="252"/>
                  </a:lnTo>
                  <a:lnTo>
                    <a:pt x="18" y="254"/>
                  </a:lnTo>
                  <a:lnTo>
                    <a:pt x="20" y="254"/>
                  </a:lnTo>
                  <a:lnTo>
                    <a:pt x="20" y="256"/>
                  </a:lnTo>
                  <a:lnTo>
                    <a:pt x="20" y="256"/>
                  </a:lnTo>
                  <a:lnTo>
                    <a:pt x="20" y="256"/>
                  </a:lnTo>
                  <a:lnTo>
                    <a:pt x="20" y="258"/>
                  </a:lnTo>
                  <a:lnTo>
                    <a:pt x="20" y="260"/>
                  </a:lnTo>
                  <a:lnTo>
                    <a:pt x="20" y="262"/>
                  </a:lnTo>
                  <a:lnTo>
                    <a:pt x="20" y="264"/>
                  </a:lnTo>
                  <a:lnTo>
                    <a:pt x="18" y="264"/>
                  </a:lnTo>
                  <a:lnTo>
                    <a:pt x="18" y="266"/>
                  </a:lnTo>
                  <a:lnTo>
                    <a:pt x="18" y="266"/>
                  </a:lnTo>
                  <a:lnTo>
                    <a:pt x="18" y="266"/>
                  </a:lnTo>
                  <a:lnTo>
                    <a:pt x="16" y="266"/>
                  </a:lnTo>
                  <a:lnTo>
                    <a:pt x="16" y="266"/>
                  </a:lnTo>
                  <a:lnTo>
                    <a:pt x="14" y="266"/>
                  </a:lnTo>
                  <a:lnTo>
                    <a:pt x="14" y="264"/>
                  </a:lnTo>
                  <a:lnTo>
                    <a:pt x="12" y="262"/>
                  </a:lnTo>
                  <a:lnTo>
                    <a:pt x="10" y="260"/>
                  </a:lnTo>
                  <a:lnTo>
                    <a:pt x="8" y="258"/>
                  </a:lnTo>
                  <a:lnTo>
                    <a:pt x="6" y="258"/>
                  </a:lnTo>
                  <a:lnTo>
                    <a:pt x="6" y="256"/>
                  </a:lnTo>
                  <a:lnTo>
                    <a:pt x="4" y="256"/>
                  </a:lnTo>
                  <a:lnTo>
                    <a:pt x="4" y="256"/>
                  </a:lnTo>
                  <a:lnTo>
                    <a:pt x="2" y="256"/>
                  </a:lnTo>
                  <a:lnTo>
                    <a:pt x="2" y="256"/>
                  </a:lnTo>
                  <a:lnTo>
                    <a:pt x="2" y="256"/>
                  </a:lnTo>
                  <a:lnTo>
                    <a:pt x="2" y="256"/>
                  </a:lnTo>
                  <a:lnTo>
                    <a:pt x="0" y="258"/>
                  </a:lnTo>
                  <a:lnTo>
                    <a:pt x="0" y="258"/>
                  </a:lnTo>
                  <a:lnTo>
                    <a:pt x="0" y="260"/>
                  </a:lnTo>
                  <a:lnTo>
                    <a:pt x="0" y="262"/>
                  </a:lnTo>
                  <a:lnTo>
                    <a:pt x="0" y="266"/>
                  </a:lnTo>
                  <a:lnTo>
                    <a:pt x="0" y="268"/>
                  </a:lnTo>
                  <a:lnTo>
                    <a:pt x="0" y="270"/>
                  </a:lnTo>
                  <a:lnTo>
                    <a:pt x="2" y="274"/>
                  </a:lnTo>
                  <a:lnTo>
                    <a:pt x="2" y="278"/>
                  </a:lnTo>
                  <a:lnTo>
                    <a:pt x="2" y="280"/>
                  </a:lnTo>
                  <a:lnTo>
                    <a:pt x="4" y="284"/>
                  </a:lnTo>
                  <a:lnTo>
                    <a:pt x="6" y="292"/>
                  </a:lnTo>
                  <a:lnTo>
                    <a:pt x="8" y="298"/>
                  </a:lnTo>
                  <a:lnTo>
                    <a:pt x="10" y="300"/>
                  </a:lnTo>
                  <a:lnTo>
                    <a:pt x="10" y="302"/>
                  </a:lnTo>
                  <a:lnTo>
                    <a:pt x="14" y="306"/>
                  </a:lnTo>
                  <a:lnTo>
                    <a:pt x="14" y="308"/>
                  </a:lnTo>
                  <a:lnTo>
                    <a:pt x="16" y="310"/>
                  </a:lnTo>
                  <a:lnTo>
                    <a:pt x="16" y="312"/>
                  </a:lnTo>
                  <a:lnTo>
                    <a:pt x="18" y="314"/>
                  </a:lnTo>
                  <a:lnTo>
                    <a:pt x="18" y="316"/>
                  </a:lnTo>
                  <a:lnTo>
                    <a:pt x="18" y="318"/>
                  </a:lnTo>
                  <a:lnTo>
                    <a:pt x="18" y="320"/>
                  </a:lnTo>
                  <a:lnTo>
                    <a:pt x="18" y="324"/>
                  </a:lnTo>
                  <a:lnTo>
                    <a:pt x="18" y="328"/>
                  </a:lnTo>
                  <a:lnTo>
                    <a:pt x="18" y="332"/>
                  </a:lnTo>
                  <a:lnTo>
                    <a:pt x="18" y="334"/>
                  </a:lnTo>
                  <a:lnTo>
                    <a:pt x="18" y="336"/>
                  </a:lnTo>
                  <a:lnTo>
                    <a:pt x="16" y="340"/>
                  </a:lnTo>
                  <a:lnTo>
                    <a:pt x="16" y="342"/>
                  </a:lnTo>
                  <a:lnTo>
                    <a:pt x="16" y="344"/>
                  </a:lnTo>
                  <a:lnTo>
                    <a:pt x="16" y="346"/>
                  </a:lnTo>
                  <a:lnTo>
                    <a:pt x="16" y="346"/>
                  </a:lnTo>
                  <a:lnTo>
                    <a:pt x="18" y="346"/>
                  </a:lnTo>
                  <a:lnTo>
                    <a:pt x="18" y="348"/>
                  </a:lnTo>
                  <a:lnTo>
                    <a:pt x="18" y="348"/>
                  </a:lnTo>
                  <a:lnTo>
                    <a:pt x="20" y="348"/>
                  </a:lnTo>
                  <a:lnTo>
                    <a:pt x="24" y="350"/>
                  </a:lnTo>
                  <a:lnTo>
                    <a:pt x="24" y="350"/>
                  </a:lnTo>
                  <a:lnTo>
                    <a:pt x="24" y="350"/>
                  </a:lnTo>
                  <a:lnTo>
                    <a:pt x="26" y="352"/>
                  </a:lnTo>
                  <a:lnTo>
                    <a:pt x="26" y="352"/>
                  </a:lnTo>
                  <a:lnTo>
                    <a:pt x="26" y="354"/>
                  </a:lnTo>
                  <a:lnTo>
                    <a:pt x="28" y="356"/>
                  </a:lnTo>
                  <a:lnTo>
                    <a:pt x="28" y="358"/>
                  </a:lnTo>
                  <a:lnTo>
                    <a:pt x="28" y="360"/>
                  </a:lnTo>
                  <a:lnTo>
                    <a:pt x="28" y="362"/>
                  </a:lnTo>
                  <a:lnTo>
                    <a:pt x="28" y="364"/>
                  </a:lnTo>
                  <a:lnTo>
                    <a:pt x="28" y="368"/>
                  </a:lnTo>
                  <a:lnTo>
                    <a:pt x="28" y="370"/>
                  </a:lnTo>
                  <a:lnTo>
                    <a:pt x="28" y="372"/>
                  </a:lnTo>
                  <a:lnTo>
                    <a:pt x="28" y="374"/>
                  </a:lnTo>
                  <a:lnTo>
                    <a:pt x="28" y="374"/>
                  </a:lnTo>
                  <a:lnTo>
                    <a:pt x="28" y="376"/>
                  </a:lnTo>
                  <a:lnTo>
                    <a:pt x="26" y="378"/>
                  </a:lnTo>
                  <a:lnTo>
                    <a:pt x="26" y="380"/>
                  </a:lnTo>
                  <a:lnTo>
                    <a:pt x="26" y="380"/>
                  </a:lnTo>
                  <a:lnTo>
                    <a:pt x="26" y="380"/>
                  </a:lnTo>
                  <a:lnTo>
                    <a:pt x="24" y="380"/>
                  </a:lnTo>
                  <a:lnTo>
                    <a:pt x="24" y="380"/>
                  </a:lnTo>
                  <a:lnTo>
                    <a:pt x="22" y="380"/>
                  </a:lnTo>
                  <a:lnTo>
                    <a:pt x="20" y="380"/>
                  </a:lnTo>
                  <a:lnTo>
                    <a:pt x="18" y="380"/>
                  </a:lnTo>
                  <a:lnTo>
                    <a:pt x="18" y="380"/>
                  </a:lnTo>
                  <a:lnTo>
                    <a:pt x="18" y="380"/>
                  </a:lnTo>
                  <a:lnTo>
                    <a:pt x="16" y="380"/>
                  </a:lnTo>
                  <a:lnTo>
                    <a:pt x="16" y="382"/>
                  </a:lnTo>
                  <a:lnTo>
                    <a:pt x="16" y="382"/>
                  </a:lnTo>
                  <a:lnTo>
                    <a:pt x="14" y="384"/>
                  </a:lnTo>
                  <a:lnTo>
                    <a:pt x="14" y="386"/>
                  </a:lnTo>
                  <a:lnTo>
                    <a:pt x="14" y="390"/>
                  </a:lnTo>
                  <a:lnTo>
                    <a:pt x="12" y="390"/>
                  </a:lnTo>
                  <a:lnTo>
                    <a:pt x="12" y="392"/>
                  </a:lnTo>
                  <a:lnTo>
                    <a:pt x="12" y="392"/>
                  </a:lnTo>
                  <a:lnTo>
                    <a:pt x="10" y="394"/>
                  </a:lnTo>
                  <a:lnTo>
                    <a:pt x="8" y="396"/>
                  </a:lnTo>
                  <a:lnTo>
                    <a:pt x="8" y="398"/>
                  </a:lnTo>
                  <a:lnTo>
                    <a:pt x="6" y="398"/>
                  </a:lnTo>
                  <a:lnTo>
                    <a:pt x="6" y="400"/>
                  </a:lnTo>
                  <a:lnTo>
                    <a:pt x="6" y="400"/>
                  </a:lnTo>
                  <a:lnTo>
                    <a:pt x="6" y="400"/>
                  </a:lnTo>
                  <a:lnTo>
                    <a:pt x="6" y="402"/>
                  </a:lnTo>
                  <a:lnTo>
                    <a:pt x="6" y="402"/>
                  </a:lnTo>
                  <a:lnTo>
                    <a:pt x="8" y="404"/>
                  </a:lnTo>
                  <a:lnTo>
                    <a:pt x="8" y="406"/>
                  </a:lnTo>
                  <a:lnTo>
                    <a:pt x="10" y="408"/>
                  </a:lnTo>
                  <a:lnTo>
                    <a:pt x="12" y="410"/>
                  </a:lnTo>
                  <a:lnTo>
                    <a:pt x="14" y="412"/>
                  </a:lnTo>
                  <a:lnTo>
                    <a:pt x="16" y="414"/>
                  </a:lnTo>
                  <a:lnTo>
                    <a:pt x="18" y="416"/>
                  </a:lnTo>
                  <a:lnTo>
                    <a:pt x="20" y="418"/>
                  </a:lnTo>
                  <a:lnTo>
                    <a:pt x="22" y="420"/>
                  </a:lnTo>
                  <a:lnTo>
                    <a:pt x="28" y="422"/>
                  </a:lnTo>
                  <a:lnTo>
                    <a:pt x="32" y="426"/>
                  </a:lnTo>
                  <a:lnTo>
                    <a:pt x="36" y="426"/>
                  </a:lnTo>
                  <a:lnTo>
                    <a:pt x="38" y="428"/>
                  </a:lnTo>
                  <a:lnTo>
                    <a:pt x="40" y="428"/>
                  </a:lnTo>
                  <a:lnTo>
                    <a:pt x="42" y="430"/>
                  </a:lnTo>
                  <a:lnTo>
                    <a:pt x="44" y="430"/>
                  </a:lnTo>
                  <a:lnTo>
                    <a:pt x="46" y="430"/>
                  </a:lnTo>
                  <a:lnTo>
                    <a:pt x="48" y="430"/>
                  </a:lnTo>
                  <a:lnTo>
                    <a:pt x="48" y="430"/>
                  </a:lnTo>
                  <a:lnTo>
                    <a:pt x="48" y="430"/>
                  </a:lnTo>
                  <a:lnTo>
                    <a:pt x="50" y="428"/>
                  </a:lnTo>
                  <a:lnTo>
                    <a:pt x="50" y="428"/>
                  </a:lnTo>
                  <a:lnTo>
                    <a:pt x="50" y="428"/>
                  </a:lnTo>
                  <a:lnTo>
                    <a:pt x="52" y="426"/>
                  </a:lnTo>
                  <a:lnTo>
                    <a:pt x="52" y="424"/>
                  </a:lnTo>
                  <a:lnTo>
                    <a:pt x="54" y="422"/>
                  </a:lnTo>
                  <a:lnTo>
                    <a:pt x="54" y="420"/>
                  </a:lnTo>
                  <a:lnTo>
                    <a:pt x="56" y="420"/>
                  </a:lnTo>
                  <a:lnTo>
                    <a:pt x="56" y="416"/>
                  </a:lnTo>
                  <a:lnTo>
                    <a:pt x="58" y="414"/>
                  </a:lnTo>
                  <a:lnTo>
                    <a:pt x="58" y="414"/>
                  </a:lnTo>
                  <a:lnTo>
                    <a:pt x="60" y="412"/>
                  </a:lnTo>
                  <a:lnTo>
                    <a:pt x="60" y="412"/>
                  </a:lnTo>
                  <a:lnTo>
                    <a:pt x="60" y="412"/>
                  </a:lnTo>
                  <a:lnTo>
                    <a:pt x="62" y="412"/>
                  </a:lnTo>
                  <a:lnTo>
                    <a:pt x="62" y="412"/>
                  </a:lnTo>
                  <a:lnTo>
                    <a:pt x="64" y="412"/>
                  </a:lnTo>
                  <a:lnTo>
                    <a:pt x="66" y="412"/>
                  </a:lnTo>
                  <a:lnTo>
                    <a:pt x="68" y="412"/>
                  </a:lnTo>
                  <a:lnTo>
                    <a:pt x="72" y="412"/>
                  </a:lnTo>
                  <a:lnTo>
                    <a:pt x="78" y="414"/>
                  </a:lnTo>
                  <a:lnTo>
                    <a:pt x="82" y="414"/>
                  </a:lnTo>
                  <a:lnTo>
                    <a:pt x="82" y="414"/>
                  </a:lnTo>
                  <a:lnTo>
                    <a:pt x="84" y="414"/>
                  </a:lnTo>
                  <a:lnTo>
                    <a:pt x="90" y="414"/>
                  </a:lnTo>
                  <a:lnTo>
                    <a:pt x="96" y="414"/>
                  </a:lnTo>
                  <a:lnTo>
                    <a:pt x="102" y="414"/>
                  </a:lnTo>
                  <a:lnTo>
                    <a:pt x="110" y="412"/>
                  </a:lnTo>
                  <a:lnTo>
                    <a:pt x="114" y="412"/>
                  </a:lnTo>
                  <a:lnTo>
                    <a:pt x="118" y="412"/>
                  </a:lnTo>
                  <a:lnTo>
                    <a:pt x="120" y="412"/>
                  </a:lnTo>
                  <a:lnTo>
                    <a:pt x="124" y="410"/>
                  </a:lnTo>
                  <a:lnTo>
                    <a:pt x="126" y="410"/>
                  </a:lnTo>
                  <a:lnTo>
                    <a:pt x="130" y="410"/>
                  </a:lnTo>
                  <a:lnTo>
                    <a:pt x="132" y="408"/>
                  </a:lnTo>
                  <a:lnTo>
                    <a:pt x="134" y="406"/>
                  </a:lnTo>
                  <a:lnTo>
                    <a:pt x="136" y="406"/>
                  </a:lnTo>
                  <a:lnTo>
                    <a:pt x="136" y="406"/>
                  </a:lnTo>
                  <a:lnTo>
                    <a:pt x="138" y="404"/>
                  </a:lnTo>
                  <a:lnTo>
                    <a:pt x="138" y="402"/>
                  </a:lnTo>
                  <a:lnTo>
                    <a:pt x="140" y="400"/>
                  </a:lnTo>
                  <a:lnTo>
                    <a:pt x="142" y="396"/>
                  </a:lnTo>
                  <a:lnTo>
                    <a:pt x="144" y="394"/>
                  </a:lnTo>
                  <a:lnTo>
                    <a:pt x="144" y="392"/>
                  </a:lnTo>
                  <a:lnTo>
                    <a:pt x="148" y="390"/>
                  </a:lnTo>
                  <a:lnTo>
                    <a:pt x="152" y="386"/>
                  </a:lnTo>
                  <a:lnTo>
                    <a:pt x="154" y="386"/>
                  </a:lnTo>
                  <a:lnTo>
                    <a:pt x="156" y="384"/>
                  </a:lnTo>
                  <a:lnTo>
                    <a:pt x="158" y="382"/>
                  </a:lnTo>
                  <a:lnTo>
                    <a:pt x="160" y="382"/>
                  </a:lnTo>
                  <a:lnTo>
                    <a:pt x="162" y="382"/>
                  </a:lnTo>
                  <a:lnTo>
                    <a:pt x="164" y="380"/>
                  </a:lnTo>
                  <a:lnTo>
                    <a:pt x="168" y="380"/>
                  </a:lnTo>
                  <a:lnTo>
                    <a:pt x="170" y="380"/>
                  </a:lnTo>
                  <a:lnTo>
                    <a:pt x="176" y="380"/>
                  </a:lnTo>
                  <a:lnTo>
                    <a:pt x="184" y="380"/>
                  </a:lnTo>
                  <a:lnTo>
                    <a:pt x="190" y="380"/>
                  </a:lnTo>
                  <a:lnTo>
                    <a:pt x="194" y="380"/>
                  </a:lnTo>
                  <a:lnTo>
                    <a:pt x="196" y="380"/>
                  </a:lnTo>
                  <a:lnTo>
                    <a:pt x="198" y="378"/>
                  </a:lnTo>
                  <a:lnTo>
                    <a:pt x="202" y="378"/>
                  </a:lnTo>
                  <a:lnTo>
                    <a:pt x="204" y="378"/>
                  </a:lnTo>
                  <a:lnTo>
                    <a:pt x="206" y="376"/>
                  </a:lnTo>
                  <a:lnTo>
                    <a:pt x="208" y="376"/>
                  </a:lnTo>
                  <a:lnTo>
                    <a:pt x="208" y="374"/>
                  </a:lnTo>
                  <a:lnTo>
                    <a:pt x="210" y="372"/>
                  </a:lnTo>
                  <a:lnTo>
                    <a:pt x="212" y="370"/>
                  </a:lnTo>
                  <a:lnTo>
                    <a:pt x="214" y="368"/>
                  </a:lnTo>
                  <a:lnTo>
                    <a:pt x="216" y="368"/>
                  </a:lnTo>
                  <a:lnTo>
                    <a:pt x="216" y="368"/>
                  </a:lnTo>
                  <a:lnTo>
                    <a:pt x="216" y="368"/>
                  </a:lnTo>
                  <a:lnTo>
                    <a:pt x="220" y="366"/>
                  </a:lnTo>
                  <a:lnTo>
                    <a:pt x="222" y="366"/>
                  </a:lnTo>
                  <a:lnTo>
                    <a:pt x="224" y="366"/>
                  </a:lnTo>
                  <a:lnTo>
                    <a:pt x="230" y="366"/>
                  </a:lnTo>
                  <a:lnTo>
                    <a:pt x="232" y="366"/>
                  </a:lnTo>
                  <a:lnTo>
                    <a:pt x="234" y="366"/>
                  </a:lnTo>
                  <a:lnTo>
                    <a:pt x="236" y="366"/>
                  </a:lnTo>
                  <a:lnTo>
                    <a:pt x="236" y="366"/>
                  </a:lnTo>
                  <a:lnTo>
                    <a:pt x="240" y="364"/>
                  </a:lnTo>
                  <a:lnTo>
                    <a:pt x="242" y="364"/>
                  </a:lnTo>
                  <a:lnTo>
                    <a:pt x="244" y="364"/>
                  </a:lnTo>
                  <a:lnTo>
                    <a:pt x="244" y="364"/>
                  </a:lnTo>
                  <a:lnTo>
                    <a:pt x="246" y="364"/>
                  </a:lnTo>
                  <a:lnTo>
                    <a:pt x="246" y="364"/>
                  </a:lnTo>
                  <a:lnTo>
                    <a:pt x="246" y="364"/>
                  </a:lnTo>
                  <a:lnTo>
                    <a:pt x="246" y="364"/>
                  </a:lnTo>
                  <a:lnTo>
                    <a:pt x="248" y="364"/>
                  </a:lnTo>
                  <a:lnTo>
                    <a:pt x="248" y="366"/>
                  </a:lnTo>
                  <a:lnTo>
                    <a:pt x="248" y="366"/>
                  </a:lnTo>
                  <a:lnTo>
                    <a:pt x="248" y="368"/>
                  </a:lnTo>
                  <a:lnTo>
                    <a:pt x="248" y="370"/>
                  </a:lnTo>
                  <a:lnTo>
                    <a:pt x="248" y="370"/>
                  </a:lnTo>
                  <a:lnTo>
                    <a:pt x="248" y="372"/>
                  </a:lnTo>
                  <a:lnTo>
                    <a:pt x="248" y="372"/>
                  </a:lnTo>
                  <a:lnTo>
                    <a:pt x="248" y="372"/>
                  </a:lnTo>
                  <a:lnTo>
                    <a:pt x="250" y="372"/>
                  </a:lnTo>
                  <a:lnTo>
                    <a:pt x="252" y="372"/>
                  </a:lnTo>
                  <a:lnTo>
                    <a:pt x="252" y="374"/>
                  </a:lnTo>
                  <a:lnTo>
                    <a:pt x="256" y="374"/>
                  </a:lnTo>
                  <a:lnTo>
                    <a:pt x="258" y="372"/>
                  </a:lnTo>
                  <a:lnTo>
                    <a:pt x="262" y="372"/>
                  </a:lnTo>
                  <a:lnTo>
                    <a:pt x="264" y="372"/>
                  </a:lnTo>
                  <a:lnTo>
                    <a:pt x="266" y="372"/>
                  </a:lnTo>
                  <a:lnTo>
                    <a:pt x="268" y="372"/>
                  </a:lnTo>
                  <a:lnTo>
                    <a:pt x="268" y="372"/>
                  </a:lnTo>
                  <a:lnTo>
                    <a:pt x="270" y="372"/>
                  </a:lnTo>
                  <a:lnTo>
                    <a:pt x="270" y="374"/>
                  </a:lnTo>
                  <a:lnTo>
                    <a:pt x="272" y="374"/>
                  </a:lnTo>
                  <a:lnTo>
                    <a:pt x="274" y="376"/>
                  </a:lnTo>
                  <a:lnTo>
                    <a:pt x="276" y="378"/>
                  </a:lnTo>
                  <a:lnTo>
                    <a:pt x="278" y="382"/>
                  </a:lnTo>
                  <a:lnTo>
                    <a:pt x="280" y="384"/>
                  </a:lnTo>
                  <a:lnTo>
                    <a:pt x="284" y="388"/>
                  </a:lnTo>
                  <a:lnTo>
                    <a:pt x="288" y="392"/>
                  </a:lnTo>
                  <a:lnTo>
                    <a:pt x="288" y="396"/>
                  </a:lnTo>
                  <a:lnTo>
                    <a:pt x="290" y="398"/>
                  </a:lnTo>
                  <a:lnTo>
                    <a:pt x="292" y="400"/>
                  </a:lnTo>
                  <a:lnTo>
                    <a:pt x="292" y="402"/>
                  </a:lnTo>
                  <a:lnTo>
                    <a:pt x="292" y="402"/>
                  </a:lnTo>
                  <a:lnTo>
                    <a:pt x="292" y="404"/>
                  </a:lnTo>
                  <a:lnTo>
                    <a:pt x="292" y="406"/>
                  </a:lnTo>
                  <a:lnTo>
                    <a:pt x="292" y="412"/>
                  </a:lnTo>
                  <a:lnTo>
                    <a:pt x="292" y="414"/>
                  </a:lnTo>
                  <a:lnTo>
                    <a:pt x="292" y="418"/>
                  </a:lnTo>
                  <a:lnTo>
                    <a:pt x="292" y="418"/>
                  </a:lnTo>
                  <a:lnTo>
                    <a:pt x="292" y="420"/>
                  </a:lnTo>
                  <a:lnTo>
                    <a:pt x="292" y="420"/>
                  </a:lnTo>
                  <a:lnTo>
                    <a:pt x="294" y="420"/>
                  </a:lnTo>
                  <a:lnTo>
                    <a:pt x="294" y="420"/>
                  </a:lnTo>
                  <a:lnTo>
                    <a:pt x="294" y="422"/>
                  </a:lnTo>
                  <a:lnTo>
                    <a:pt x="296" y="422"/>
                  </a:lnTo>
                  <a:lnTo>
                    <a:pt x="296" y="422"/>
                  </a:lnTo>
                  <a:lnTo>
                    <a:pt x="298" y="420"/>
                  </a:lnTo>
                  <a:lnTo>
                    <a:pt x="300" y="420"/>
                  </a:lnTo>
                  <a:lnTo>
                    <a:pt x="302" y="420"/>
                  </a:lnTo>
                  <a:lnTo>
                    <a:pt x="304" y="418"/>
                  </a:lnTo>
                  <a:lnTo>
                    <a:pt x="304" y="418"/>
                  </a:lnTo>
                  <a:lnTo>
                    <a:pt x="308" y="416"/>
                  </a:lnTo>
                  <a:lnTo>
                    <a:pt x="310" y="414"/>
                  </a:lnTo>
                  <a:lnTo>
                    <a:pt x="314" y="412"/>
                  </a:lnTo>
                  <a:lnTo>
                    <a:pt x="316" y="410"/>
                  </a:lnTo>
                  <a:lnTo>
                    <a:pt x="320" y="406"/>
                  </a:lnTo>
                  <a:lnTo>
                    <a:pt x="322" y="402"/>
                  </a:lnTo>
                  <a:lnTo>
                    <a:pt x="324" y="400"/>
                  </a:lnTo>
                  <a:lnTo>
                    <a:pt x="326" y="398"/>
                  </a:lnTo>
                  <a:lnTo>
                    <a:pt x="326" y="398"/>
                  </a:lnTo>
                  <a:lnTo>
                    <a:pt x="326" y="396"/>
                  </a:lnTo>
                  <a:lnTo>
                    <a:pt x="328" y="390"/>
                  </a:lnTo>
                  <a:lnTo>
                    <a:pt x="330" y="388"/>
                  </a:lnTo>
                  <a:lnTo>
                    <a:pt x="330" y="386"/>
                  </a:lnTo>
                  <a:lnTo>
                    <a:pt x="330" y="386"/>
                  </a:lnTo>
                  <a:lnTo>
                    <a:pt x="332" y="386"/>
                  </a:lnTo>
                  <a:lnTo>
                    <a:pt x="332" y="384"/>
                  </a:lnTo>
                  <a:lnTo>
                    <a:pt x="332" y="384"/>
                  </a:lnTo>
                  <a:lnTo>
                    <a:pt x="334" y="384"/>
                  </a:lnTo>
                  <a:lnTo>
                    <a:pt x="334" y="384"/>
                  </a:lnTo>
                  <a:lnTo>
                    <a:pt x="334" y="384"/>
                  </a:lnTo>
                  <a:lnTo>
                    <a:pt x="334" y="386"/>
                  </a:lnTo>
                  <a:lnTo>
                    <a:pt x="336" y="386"/>
                  </a:lnTo>
                  <a:lnTo>
                    <a:pt x="336" y="388"/>
                  </a:lnTo>
                  <a:lnTo>
                    <a:pt x="336" y="390"/>
                  </a:lnTo>
                  <a:lnTo>
                    <a:pt x="336" y="392"/>
                  </a:lnTo>
                  <a:lnTo>
                    <a:pt x="336" y="394"/>
                  </a:lnTo>
                  <a:lnTo>
                    <a:pt x="334" y="396"/>
                  </a:lnTo>
                  <a:lnTo>
                    <a:pt x="334" y="398"/>
                  </a:lnTo>
                  <a:lnTo>
                    <a:pt x="334" y="400"/>
                  </a:lnTo>
                  <a:lnTo>
                    <a:pt x="332" y="404"/>
                  </a:lnTo>
                  <a:lnTo>
                    <a:pt x="332" y="408"/>
                  </a:lnTo>
                  <a:lnTo>
                    <a:pt x="330" y="410"/>
                  </a:lnTo>
                  <a:lnTo>
                    <a:pt x="328" y="412"/>
                  </a:lnTo>
                  <a:lnTo>
                    <a:pt x="328" y="414"/>
                  </a:lnTo>
                  <a:lnTo>
                    <a:pt x="324" y="416"/>
                  </a:lnTo>
                  <a:lnTo>
                    <a:pt x="322" y="418"/>
                  </a:lnTo>
                  <a:lnTo>
                    <a:pt x="322" y="420"/>
                  </a:lnTo>
                  <a:lnTo>
                    <a:pt x="322" y="420"/>
                  </a:lnTo>
                  <a:lnTo>
                    <a:pt x="320" y="420"/>
                  </a:lnTo>
                  <a:lnTo>
                    <a:pt x="320" y="422"/>
                  </a:lnTo>
                  <a:lnTo>
                    <a:pt x="320" y="422"/>
                  </a:lnTo>
                  <a:lnTo>
                    <a:pt x="322" y="422"/>
                  </a:lnTo>
                  <a:lnTo>
                    <a:pt x="322" y="422"/>
                  </a:lnTo>
                  <a:lnTo>
                    <a:pt x="322" y="424"/>
                  </a:lnTo>
                  <a:lnTo>
                    <a:pt x="324" y="424"/>
                  </a:lnTo>
                  <a:lnTo>
                    <a:pt x="326" y="424"/>
                  </a:lnTo>
                  <a:lnTo>
                    <a:pt x="328" y="424"/>
                  </a:lnTo>
                  <a:lnTo>
                    <a:pt x="328" y="424"/>
                  </a:lnTo>
                  <a:lnTo>
                    <a:pt x="330" y="424"/>
                  </a:lnTo>
                  <a:lnTo>
                    <a:pt x="332" y="424"/>
                  </a:lnTo>
                  <a:lnTo>
                    <a:pt x="332" y="424"/>
                  </a:lnTo>
                  <a:lnTo>
                    <a:pt x="332" y="424"/>
                  </a:lnTo>
                  <a:lnTo>
                    <a:pt x="332" y="422"/>
                  </a:lnTo>
                  <a:lnTo>
                    <a:pt x="332" y="422"/>
                  </a:lnTo>
                  <a:lnTo>
                    <a:pt x="334" y="420"/>
                  </a:lnTo>
                  <a:lnTo>
                    <a:pt x="334" y="416"/>
                  </a:lnTo>
                  <a:lnTo>
                    <a:pt x="334" y="416"/>
                  </a:lnTo>
                  <a:lnTo>
                    <a:pt x="334" y="414"/>
                  </a:lnTo>
                  <a:lnTo>
                    <a:pt x="336" y="412"/>
                  </a:lnTo>
                  <a:lnTo>
                    <a:pt x="338" y="410"/>
                  </a:lnTo>
                  <a:lnTo>
                    <a:pt x="338" y="410"/>
                  </a:lnTo>
                  <a:lnTo>
                    <a:pt x="338" y="408"/>
                  </a:lnTo>
                  <a:lnTo>
                    <a:pt x="340" y="408"/>
                  </a:lnTo>
                  <a:lnTo>
                    <a:pt x="340" y="408"/>
                  </a:lnTo>
                  <a:lnTo>
                    <a:pt x="340" y="408"/>
                  </a:lnTo>
                  <a:lnTo>
                    <a:pt x="340" y="408"/>
                  </a:lnTo>
                  <a:lnTo>
                    <a:pt x="340" y="408"/>
                  </a:lnTo>
                  <a:lnTo>
                    <a:pt x="340" y="410"/>
                  </a:lnTo>
                  <a:lnTo>
                    <a:pt x="340" y="410"/>
                  </a:lnTo>
                  <a:lnTo>
                    <a:pt x="340" y="410"/>
                  </a:lnTo>
                  <a:lnTo>
                    <a:pt x="340" y="412"/>
                  </a:lnTo>
                  <a:lnTo>
                    <a:pt x="340" y="414"/>
                  </a:lnTo>
                  <a:lnTo>
                    <a:pt x="340" y="414"/>
                  </a:lnTo>
                  <a:lnTo>
                    <a:pt x="340" y="416"/>
                  </a:lnTo>
                  <a:lnTo>
                    <a:pt x="340" y="420"/>
                  </a:lnTo>
                  <a:lnTo>
                    <a:pt x="342" y="422"/>
                  </a:lnTo>
                  <a:lnTo>
                    <a:pt x="342" y="424"/>
                  </a:lnTo>
                  <a:lnTo>
                    <a:pt x="342" y="424"/>
                  </a:lnTo>
                  <a:lnTo>
                    <a:pt x="344" y="426"/>
                  </a:lnTo>
                  <a:lnTo>
                    <a:pt x="344" y="426"/>
                  </a:lnTo>
                  <a:lnTo>
                    <a:pt x="346" y="428"/>
                  </a:lnTo>
                  <a:lnTo>
                    <a:pt x="350" y="432"/>
                  </a:lnTo>
                  <a:lnTo>
                    <a:pt x="350" y="432"/>
                  </a:lnTo>
                  <a:lnTo>
                    <a:pt x="352" y="434"/>
                  </a:lnTo>
                  <a:lnTo>
                    <a:pt x="352" y="434"/>
                  </a:lnTo>
                  <a:lnTo>
                    <a:pt x="352" y="436"/>
                  </a:lnTo>
                  <a:lnTo>
                    <a:pt x="352" y="438"/>
                  </a:lnTo>
                  <a:lnTo>
                    <a:pt x="352" y="442"/>
                  </a:lnTo>
                  <a:lnTo>
                    <a:pt x="352" y="444"/>
                  </a:lnTo>
                  <a:lnTo>
                    <a:pt x="352" y="446"/>
                  </a:lnTo>
                  <a:lnTo>
                    <a:pt x="352" y="448"/>
                  </a:lnTo>
                  <a:lnTo>
                    <a:pt x="350" y="452"/>
                  </a:lnTo>
                  <a:lnTo>
                    <a:pt x="348" y="454"/>
                  </a:lnTo>
                  <a:lnTo>
                    <a:pt x="348" y="456"/>
                  </a:lnTo>
                  <a:lnTo>
                    <a:pt x="348" y="458"/>
                  </a:lnTo>
                  <a:lnTo>
                    <a:pt x="348" y="458"/>
                  </a:lnTo>
                  <a:lnTo>
                    <a:pt x="348" y="460"/>
                  </a:lnTo>
                  <a:lnTo>
                    <a:pt x="348" y="460"/>
                  </a:lnTo>
                  <a:lnTo>
                    <a:pt x="348" y="462"/>
                  </a:lnTo>
                  <a:lnTo>
                    <a:pt x="348" y="462"/>
                  </a:lnTo>
                  <a:lnTo>
                    <a:pt x="350" y="464"/>
                  </a:lnTo>
                  <a:lnTo>
                    <a:pt x="352" y="466"/>
                  </a:lnTo>
                  <a:lnTo>
                    <a:pt x="354" y="468"/>
                  </a:lnTo>
                  <a:lnTo>
                    <a:pt x="356" y="470"/>
                  </a:lnTo>
                  <a:lnTo>
                    <a:pt x="358" y="470"/>
                  </a:lnTo>
                  <a:lnTo>
                    <a:pt x="362" y="474"/>
                  </a:lnTo>
                  <a:lnTo>
                    <a:pt x="364" y="476"/>
                  </a:lnTo>
                  <a:lnTo>
                    <a:pt x="368" y="478"/>
                  </a:lnTo>
                  <a:lnTo>
                    <a:pt x="372" y="478"/>
                  </a:lnTo>
                  <a:lnTo>
                    <a:pt x="376" y="480"/>
                  </a:lnTo>
                  <a:lnTo>
                    <a:pt x="382" y="482"/>
                  </a:lnTo>
                  <a:lnTo>
                    <a:pt x="386" y="484"/>
                  </a:lnTo>
                  <a:lnTo>
                    <a:pt x="392" y="486"/>
                  </a:lnTo>
                  <a:lnTo>
                    <a:pt x="402" y="488"/>
                  </a:lnTo>
                  <a:lnTo>
                    <a:pt x="406" y="490"/>
                  </a:lnTo>
                  <a:lnTo>
                    <a:pt x="410" y="492"/>
                  </a:lnTo>
                  <a:lnTo>
                    <a:pt x="416" y="492"/>
                  </a:lnTo>
                  <a:lnTo>
                    <a:pt x="422" y="494"/>
                  </a:lnTo>
                  <a:lnTo>
                    <a:pt x="424" y="494"/>
                  </a:lnTo>
                  <a:lnTo>
                    <a:pt x="426" y="494"/>
                  </a:lnTo>
                  <a:lnTo>
                    <a:pt x="428" y="494"/>
                  </a:lnTo>
                  <a:lnTo>
                    <a:pt x="430" y="494"/>
                  </a:lnTo>
                  <a:lnTo>
                    <a:pt x="430" y="494"/>
                  </a:lnTo>
                  <a:lnTo>
                    <a:pt x="432" y="494"/>
                  </a:lnTo>
                  <a:lnTo>
                    <a:pt x="436" y="492"/>
                  </a:lnTo>
                  <a:lnTo>
                    <a:pt x="438" y="492"/>
                  </a:lnTo>
                  <a:lnTo>
                    <a:pt x="442" y="490"/>
                  </a:lnTo>
                  <a:lnTo>
                    <a:pt x="448" y="486"/>
                  </a:lnTo>
                  <a:lnTo>
                    <a:pt x="454" y="484"/>
                  </a:lnTo>
                  <a:lnTo>
                    <a:pt x="460" y="482"/>
                  </a:lnTo>
                  <a:lnTo>
                    <a:pt x="464" y="480"/>
                  </a:lnTo>
                  <a:lnTo>
                    <a:pt x="470" y="478"/>
                  </a:lnTo>
                  <a:lnTo>
                    <a:pt x="476" y="476"/>
                  </a:lnTo>
                  <a:lnTo>
                    <a:pt x="482" y="472"/>
                  </a:lnTo>
                  <a:lnTo>
                    <a:pt x="486" y="472"/>
                  </a:lnTo>
                  <a:lnTo>
                    <a:pt x="488" y="470"/>
                  </a:lnTo>
                  <a:lnTo>
                    <a:pt x="490" y="468"/>
                  </a:lnTo>
                  <a:lnTo>
                    <a:pt x="492" y="466"/>
                  </a:lnTo>
                  <a:lnTo>
                    <a:pt x="494" y="466"/>
                  </a:lnTo>
                  <a:lnTo>
                    <a:pt x="496" y="464"/>
                  </a:lnTo>
                  <a:lnTo>
                    <a:pt x="498" y="462"/>
                  </a:lnTo>
                  <a:lnTo>
                    <a:pt x="498" y="460"/>
                  </a:lnTo>
                  <a:lnTo>
                    <a:pt x="500" y="458"/>
                  </a:lnTo>
                  <a:lnTo>
                    <a:pt x="500" y="456"/>
                  </a:lnTo>
                  <a:lnTo>
                    <a:pt x="500" y="452"/>
                  </a:lnTo>
                  <a:lnTo>
                    <a:pt x="502" y="448"/>
                  </a:lnTo>
                  <a:lnTo>
                    <a:pt x="504" y="444"/>
                  </a:lnTo>
                  <a:lnTo>
                    <a:pt x="504" y="438"/>
                  </a:lnTo>
                  <a:lnTo>
                    <a:pt x="506" y="436"/>
                  </a:lnTo>
                  <a:lnTo>
                    <a:pt x="506" y="436"/>
                  </a:lnTo>
                  <a:lnTo>
                    <a:pt x="506" y="434"/>
                  </a:lnTo>
                  <a:lnTo>
                    <a:pt x="508" y="432"/>
                  </a:lnTo>
                  <a:lnTo>
                    <a:pt x="508" y="432"/>
                  </a:lnTo>
                  <a:lnTo>
                    <a:pt x="510" y="430"/>
                  </a:lnTo>
                  <a:lnTo>
                    <a:pt x="512" y="428"/>
                  </a:lnTo>
                  <a:lnTo>
                    <a:pt x="514" y="426"/>
                  </a:lnTo>
                  <a:lnTo>
                    <a:pt x="516" y="424"/>
                  </a:lnTo>
                  <a:lnTo>
                    <a:pt x="520" y="422"/>
                  </a:lnTo>
                  <a:lnTo>
                    <a:pt x="522" y="420"/>
                  </a:lnTo>
                  <a:lnTo>
                    <a:pt x="524" y="418"/>
                  </a:lnTo>
                  <a:lnTo>
                    <a:pt x="526" y="418"/>
                  </a:lnTo>
                  <a:lnTo>
                    <a:pt x="526" y="416"/>
                  </a:lnTo>
                  <a:lnTo>
                    <a:pt x="528" y="416"/>
                  </a:lnTo>
                  <a:lnTo>
                    <a:pt x="528" y="414"/>
                  </a:lnTo>
                  <a:lnTo>
                    <a:pt x="530" y="412"/>
                  </a:lnTo>
                  <a:lnTo>
                    <a:pt x="532" y="408"/>
                  </a:lnTo>
                  <a:lnTo>
                    <a:pt x="532" y="404"/>
                  </a:lnTo>
                  <a:lnTo>
                    <a:pt x="534" y="400"/>
                  </a:lnTo>
                  <a:lnTo>
                    <a:pt x="536" y="396"/>
                  </a:lnTo>
                  <a:lnTo>
                    <a:pt x="538" y="394"/>
                  </a:lnTo>
                  <a:lnTo>
                    <a:pt x="538" y="392"/>
                  </a:lnTo>
                  <a:lnTo>
                    <a:pt x="540" y="390"/>
                  </a:lnTo>
                  <a:lnTo>
                    <a:pt x="540" y="390"/>
                  </a:lnTo>
                  <a:lnTo>
                    <a:pt x="542" y="388"/>
                  </a:lnTo>
                  <a:lnTo>
                    <a:pt x="544" y="386"/>
                  </a:lnTo>
                  <a:lnTo>
                    <a:pt x="548" y="382"/>
                  </a:lnTo>
                  <a:lnTo>
                    <a:pt x="550" y="380"/>
                  </a:lnTo>
                  <a:lnTo>
                    <a:pt x="558" y="374"/>
                  </a:lnTo>
                  <a:lnTo>
                    <a:pt x="560" y="370"/>
                  </a:lnTo>
                  <a:lnTo>
                    <a:pt x="564" y="368"/>
                  </a:lnTo>
                  <a:lnTo>
                    <a:pt x="564" y="366"/>
                  </a:lnTo>
                  <a:lnTo>
                    <a:pt x="568" y="364"/>
                  </a:lnTo>
                  <a:lnTo>
                    <a:pt x="570" y="360"/>
                  </a:lnTo>
                  <a:lnTo>
                    <a:pt x="570" y="358"/>
                  </a:lnTo>
                  <a:lnTo>
                    <a:pt x="570" y="358"/>
                  </a:lnTo>
                  <a:lnTo>
                    <a:pt x="572" y="356"/>
                  </a:lnTo>
                  <a:lnTo>
                    <a:pt x="572" y="354"/>
                  </a:lnTo>
                  <a:lnTo>
                    <a:pt x="572" y="352"/>
                  </a:lnTo>
                  <a:lnTo>
                    <a:pt x="572" y="348"/>
                  </a:lnTo>
                  <a:lnTo>
                    <a:pt x="572" y="344"/>
                  </a:lnTo>
                  <a:lnTo>
                    <a:pt x="572" y="338"/>
                  </a:lnTo>
                  <a:lnTo>
                    <a:pt x="570" y="326"/>
                  </a:lnTo>
                  <a:lnTo>
                    <a:pt x="570" y="322"/>
                  </a:lnTo>
                  <a:lnTo>
                    <a:pt x="570" y="320"/>
                  </a:lnTo>
                  <a:lnTo>
                    <a:pt x="570" y="318"/>
                  </a:lnTo>
                  <a:lnTo>
                    <a:pt x="570" y="314"/>
                  </a:lnTo>
                  <a:lnTo>
                    <a:pt x="572" y="312"/>
                  </a:lnTo>
                  <a:lnTo>
                    <a:pt x="572" y="306"/>
                  </a:lnTo>
                  <a:lnTo>
                    <a:pt x="576" y="292"/>
                  </a:lnTo>
                  <a:lnTo>
                    <a:pt x="576" y="284"/>
                  </a:lnTo>
                  <a:lnTo>
                    <a:pt x="578" y="276"/>
                  </a:lnTo>
                  <a:lnTo>
                    <a:pt x="578" y="270"/>
                  </a:lnTo>
                  <a:lnTo>
                    <a:pt x="580" y="268"/>
                  </a:lnTo>
                  <a:lnTo>
                    <a:pt x="580" y="264"/>
                  </a:lnTo>
                  <a:lnTo>
                    <a:pt x="580" y="262"/>
                  </a:lnTo>
                  <a:lnTo>
                    <a:pt x="580" y="258"/>
                  </a:lnTo>
                  <a:lnTo>
                    <a:pt x="578" y="254"/>
                  </a:lnTo>
                  <a:lnTo>
                    <a:pt x="578" y="254"/>
                  </a:lnTo>
                  <a:lnTo>
                    <a:pt x="578" y="252"/>
                  </a:lnTo>
                  <a:lnTo>
                    <a:pt x="578" y="250"/>
                  </a:lnTo>
                  <a:lnTo>
                    <a:pt x="576" y="250"/>
                  </a:lnTo>
                  <a:lnTo>
                    <a:pt x="574" y="246"/>
                  </a:lnTo>
                  <a:lnTo>
                    <a:pt x="572" y="244"/>
                  </a:lnTo>
                  <a:lnTo>
                    <a:pt x="570" y="240"/>
                  </a:lnTo>
                  <a:lnTo>
                    <a:pt x="566" y="236"/>
                  </a:lnTo>
                  <a:lnTo>
                    <a:pt x="564" y="234"/>
                  </a:lnTo>
                  <a:lnTo>
                    <a:pt x="562" y="230"/>
                  </a:lnTo>
                  <a:lnTo>
                    <a:pt x="562" y="230"/>
                  </a:lnTo>
                  <a:lnTo>
                    <a:pt x="560" y="228"/>
                  </a:lnTo>
                  <a:lnTo>
                    <a:pt x="560" y="226"/>
                  </a:lnTo>
                  <a:lnTo>
                    <a:pt x="560" y="226"/>
                  </a:lnTo>
                  <a:lnTo>
                    <a:pt x="558" y="222"/>
                  </a:lnTo>
                  <a:lnTo>
                    <a:pt x="556" y="214"/>
                  </a:lnTo>
                  <a:lnTo>
                    <a:pt x="556" y="210"/>
                  </a:lnTo>
                  <a:lnTo>
                    <a:pt x="554" y="206"/>
                  </a:lnTo>
                  <a:lnTo>
                    <a:pt x="554" y="204"/>
                  </a:lnTo>
                  <a:lnTo>
                    <a:pt x="554" y="204"/>
                  </a:lnTo>
                  <a:lnTo>
                    <a:pt x="552" y="202"/>
                  </a:lnTo>
                  <a:lnTo>
                    <a:pt x="552" y="200"/>
                  </a:lnTo>
                  <a:lnTo>
                    <a:pt x="550" y="200"/>
                  </a:lnTo>
                  <a:lnTo>
                    <a:pt x="550" y="200"/>
                  </a:lnTo>
                  <a:lnTo>
                    <a:pt x="550" y="198"/>
                  </a:lnTo>
                  <a:lnTo>
                    <a:pt x="548" y="198"/>
                  </a:lnTo>
                  <a:lnTo>
                    <a:pt x="546" y="198"/>
                  </a:lnTo>
                  <a:lnTo>
                    <a:pt x="542" y="196"/>
                  </a:lnTo>
                  <a:lnTo>
                    <a:pt x="540" y="196"/>
                  </a:lnTo>
                  <a:lnTo>
                    <a:pt x="536" y="194"/>
                  </a:lnTo>
                  <a:lnTo>
                    <a:pt x="536" y="194"/>
                  </a:lnTo>
                  <a:lnTo>
                    <a:pt x="534" y="194"/>
                  </a:lnTo>
                  <a:lnTo>
                    <a:pt x="534" y="192"/>
                  </a:lnTo>
                  <a:lnTo>
                    <a:pt x="532" y="192"/>
                  </a:lnTo>
                  <a:lnTo>
                    <a:pt x="532" y="190"/>
                  </a:lnTo>
                  <a:lnTo>
                    <a:pt x="532" y="190"/>
                  </a:lnTo>
                  <a:lnTo>
                    <a:pt x="532" y="188"/>
                  </a:lnTo>
                  <a:lnTo>
                    <a:pt x="530" y="186"/>
                  </a:lnTo>
                  <a:lnTo>
                    <a:pt x="530" y="182"/>
                  </a:lnTo>
                  <a:lnTo>
                    <a:pt x="530" y="178"/>
                  </a:lnTo>
                  <a:lnTo>
                    <a:pt x="530" y="174"/>
                  </a:lnTo>
                  <a:lnTo>
                    <a:pt x="530" y="172"/>
                  </a:lnTo>
                  <a:lnTo>
                    <a:pt x="530" y="170"/>
                  </a:lnTo>
                  <a:lnTo>
                    <a:pt x="530" y="168"/>
                  </a:lnTo>
                  <a:lnTo>
                    <a:pt x="528" y="166"/>
                  </a:lnTo>
                  <a:lnTo>
                    <a:pt x="528" y="166"/>
                  </a:lnTo>
                  <a:lnTo>
                    <a:pt x="526" y="164"/>
                  </a:lnTo>
                  <a:lnTo>
                    <a:pt x="526" y="162"/>
                  </a:lnTo>
                  <a:lnTo>
                    <a:pt x="524" y="162"/>
                  </a:lnTo>
                  <a:lnTo>
                    <a:pt x="522" y="162"/>
                  </a:lnTo>
                  <a:lnTo>
                    <a:pt x="520" y="160"/>
                  </a:lnTo>
                  <a:lnTo>
                    <a:pt x="518" y="160"/>
                  </a:lnTo>
                  <a:lnTo>
                    <a:pt x="514" y="158"/>
                  </a:lnTo>
                  <a:lnTo>
                    <a:pt x="508" y="156"/>
                  </a:lnTo>
                  <a:lnTo>
                    <a:pt x="506" y="156"/>
                  </a:lnTo>
                  <a:lnTo>
                    <a:pt x="504" y="154"/>
                  </a:lnTo>
                  <a:lnTo>
                    <a:pt x="502" y="154"/>
                  </a:lnTo>
                  <a:lnTo>
                    <a:pt x="500" y="152"/>
                  </a:lnTo>
                  <a:lnTo>
                    <a:pt x="500" y="152"/>
                  </a:lnTo>
                  <a:lnTo>
                    <a:pt x="498" y="150"/>
                  </a:lnTo>
                  <a:lnTo>
                    <a:pt x="498" y="148"/>
                  </a:lnTo>
                  <a:lnTo>
                    <a:pt x="498" y="146"/>
                  </a:lnTo>
                  <a:lnTo>
                    <a:pt x="498" y="146"/>
                  </a:lnTo>
                  <a:lnTo>
                    <a:pt x="496" y="144"/>
                  </a:lnTo>
                  <a:lnTo>
                    <a:pt x="496" y="140"/>
                  </a:lnTo>
                  <a:lnTo>
                    <a:pt x="496" y="138"/>
                  </a:lnTo>
                  <a:lnTo>
                    <a:pt x="496" y="134"/>
                  </a:lnTo>
                  <a:lnTo>
                    <a:pt x="498" y="124"/>
                  </a:lnTo>
                  <a:lnTo>
                    <a:pt x="498" y="120"/>
                  </a:lnTo>
                  <a:lnTo>
                    <a:pt x="498" y="118"/>
                  </a:lnTo>
                  <a:lnTo>
                    <a:pt x="498" y="116"/>
                  </a:lnTo>
                  <a:lnTo>
                    <a:pt x="496" y="112"/>
                  </a:lnTo>
                  <a:lnTo>
                    <a:pt x="496" y="108"/>
                  </a:lnTo>
                  <a:lnTo>
                    <a:pt x="494" y="102"/>
                  </a:lnTo>
                  <a:lnTo>
                    <a:pt x="494" y="98"/>
                  </a:lnTo>
                  <a:lnTo>
                    <a:pt x="492" y="92"/>
                  </a:lnTo>
                  <a:lnTo>
                    <a:pt x="490" y="88"/>
                  </a:lnTo>
                  <a:lnTo>
                    <a:pt x="490" y="84"/>
                  </a:lnTo>
                  <a:lnTo>
                    <a:pt x="488" y="82"/>
                  </a:lnTo>
                  <a:lnTo>
                    <a:pt x="488" y="80"/>
                  </a:lnTo>
                  <a:lnTo>
                    <a:pt x="486" y="78"/>
                  </a:lnTo>
                  <a:lnTo>
                    <a:pt x="486" y="78"/>
                  </a:lnTo>
                  <a:lnTo>
                    <a:pt x="484" y="74"/>
                  </a:lnTo>
                  <a:lnTo>
                    <a:pt x="482" y="72"/>
                  </a:lnTo>
                  <a:lnTo>
                    <a:pt x="478" y="70"/>
                  </a:lnTo>
                  <a:lnTo>
                    <a:pt x="476" y="68"/>
                  </a:lnTo>
                  <a:lnTo>
                    <a:pt x="474" y="64"/>
                  </a:lnTo>
                  <a:lnTo>
                    <a:pt x="472" y="62"/>
                  </a:lnTo>
                  <a:lnTo>
                    <a:pt x="470" y="60"/>
                  </a:lnTo>
                  <a:lnTo>
                    <a:pt x="470" y="60"/>
                  </a:lnTo>
                  <a:lnTo>
                    <a:pt x="468" y="56"/>
                  </a:lnTo>
                  <a:lnTo>
                    <a:pt x="466" y="54"/>
                  </a:lnTo>
                  <a:lnTo>
                    <a:pt x="464" y="50"/>
                  </a:lnTo>
                  <a:lnTo>
                    <a:pt x="464" y="46"/>
                  </a:lnTo>
                  <a:lnTo>
                    <a:pt x="462" y="42"/>
                  </a:lnTo>
                  <a:lnTo>
                    <a:pt x="460" y="38"/>
                  </a:lnTo>
                  <a:lnTo>
                    <a:pt x="460" y="36"/>
                  </a:lnTo>
                  <a:lnTo>
                    <a:pt x="460" y="34"/>
                  </a:lnTo>
                  <a:lnTo>
                    <a:pt x="460" y="34"/>
                  </a:lnTo>
                  <a:lnTo>
                    <a:pt x="460" y="32"/>
                  </a:lnTo>
                  <a:lnTo>
                    <a:pt x="460" y="32"/>
                  </a:lnTo>
                  <a:lnTo>
                    <a:pt x="460" y="30"/>
                  </a:lnTo>
                  <a:lnTo>
                    <a:pt x="460" y="28"/>
                  </a:lnTo>
                  <a:lnTo>
                    <a:pt x="462" y="26"/>
                  </a:lnTo>
                  <a:lnTo>
                    <a:pt x="464" y="24"/>
                  </a:lnTo>
                  <a:lnTo>
                    <a:pt x="466" y="22"/>
                  </a:lnTo>
                  <a:lnTo>
                    <a:pt x="466" y="20"/>
                  </a:lnTo>
                  <a:lnTo>
                    <a:pt x="466" y="20"/>
                  </a:lnTo>
                  <a:lnTo>
                    <a:pt x="468" y="18"/>
                  </a:lnTo>
                  <a:lnTo>
                    <a:pt x="468" y="18"/>
                  </a:lnTo>
                  <a:lnTo>
                    <a:pt x="468" y="16"/>
                  </a:lnTo>
                  <a:lnTo>
                    <a:pt x="466" y="16"/>
                  </a:lnTo>
                  <a:lnTo>
                    <a:pt x="466" y="14"/>
                  </a:lnTo>
                  <a:lnTo>
                    <a:pt x="466" y="12"/>
                  </a:lnTo>
                  <a:lnTo>
                    <a:pt x="466" y="12"/>
                  </a:lnTo>
                  <a:lnTo>
                    <a:pt x="464" y="8"/>
                  </a:lnTo>
                  <a:lnTo>
                    <a:pt x="462" y="6"/>
                  </a:lnTo>
                  <a:lnTo>
                    <a:pt x="460" y="4"/>
                  </a:lnTo>
                  <a:lnTo>
                    <a:pt x="460" y="4"/>
                  </a:lnTo>
                  <a:lnTo>
                    <a:pt x="458" y="2"/>
                  </a:lnTo>
                  <a:lnTo>
                    <a:pt x="456" y="0"/>
                  </a:lnTo>
                  <a:lnTo>
                    <a:pt x="456" y="0"/>
                  </a:lnTo>
                  <a:lnTo>
                    <a:pt x="454" y="0"/>
                  </a:lnTo>
                  <a:lnTo>
                    <a:pt x="454" y="0"/>
                  </a:lnTo>
                  <a:lnTo>
                    <a:pt x="452" y="0"/>
                  </a:lnTo>
                  <a:lnTo>
                    <a:pt x="452" y="0"/>
                  </a:lnTo>
                  <a:lnTo>
                    <a:pt x="450" y="0"/>
                  </a:lnTo>
                  <a:lnTo>
                    <a:pt x="450" y="0"/>
                  </a:lnTo>
                  <a:lnTo>
                    <a:pt x="448" y="2"/>
                  </a:lnTo>
                  <a:lnTo>
                    <a:pt x="448" y="2"/>
                  </a:lnTo>
                  <a:lnTo>
                    <a:pt x="448" y="4"/>
                  </a:lnTo>
                  <a:lnTo>
                    <a:pt x="446" y="6"/>
                  </a:lnTo>
                  <a:lnTo>
                    <a:pt x="444" y="12"/>
                  </a:lnTo>
                  <a:lnTo>
                    <a:pt x="444" y="14"/>
                  </a:lnTo>
                  <a:lnTo>
                    <a:pt x="442" y="16"/>
                  </a:lnTo>
                  <a:lnTo>
                    <a:pt x="442" y="16"/>
                  </a:lnTo>
                  <a:lnTo>
                    <a:pt x="442" y="18"/>
                  </a:lnTo>
                  <a:lnTo>
                    <a:pt x="440" y="20"/>
                  </a:lnTo>
                  <a:lnTo>
                    <a:pt x="438" y="22"/>
                  </a:lnTo>
                  <a:lnTo>
                    <a:pt x="436" y="24"/>
                  </a:lnTo>
                  <a:lnTo>
                    <a:pt x="434" y="26"/>
                  </a:lnTo>
                  <a:lnTo>
                    <a:pt x="434" y="26"/>
                  </a:lnTo>
                  <a:lnTo>
                    <a:pt x="434" y="28"/>
                  </a:lnTo>
                  <a:lnTo>
                    <a:pt x="432" y="30"/>
                  </a:lnTo>
                  <a:lnTo>
                    <a:pt x="432" y="30"/>
                  </a:lnTo>
                  <a:lnTo>
                    <a:pt x="432" y="34"/>
                  </a:lnTo>
                  <a:lnTo>
                    <a:pt x="432" y="38"/>
                  </a:lnTo>
                  <a:lnTo>
                    <a:pt x="432" y="42"/>
                  </a:lnTo>
                  <a:lnTo>
                    <a:pt x="432" y="46"/>
                  </a:lnTo>
                  <a:lnTo>
                    <a:pt x="432" y="50"/>
                  </a:lnTo>
                  <a:lnTo>
                    <a:pt x="434" y="58"/>
                  </a:lnTo>
                  <a:lnTo>
                    <a:pt x="434" y="66"/>
                  </a:lnTo>
                  <a:lnTo>
                    <a:pt x="434" y="70"/>
                  </a:lnTo>
                  <a:lnTo>
                    <a:pt x="436" y="74"/>
                  </a:lnTo>
                  <a:lnTo>
                    <a:pt x="436" y="78"/>
                  </a:lnTo>
                  <a:lnTo>
                    <a:pt x="436" y="82"/>
                  </a:lnTo>
                  <a:lnTo>
                    <a:pt x="436" y="86"/>
                  </a:lnTo>
                  <a:lnTo>
                    <a:pt x="434" y="88"/>
                  </a:lnTo>
                  <a:lnTo>
                    <a:pt x="434" y="90"/>
                  </a:lnTo>
                  <a:lnTo>
                    <a:pt x="432" y="92"/>
                  </a:lnTo>
                  <a:lnTo>
                    <a:pt x="432" y="94"/>
                  </a:lnTo>
                  <a:lnTo>
                    <a:pt x="430" y="96"/>
                  </a:lnTo>
                  <a:lnTo>
                    <a:pt x="428" y="100"/>
                  </a:lnTo>
                  <a:lnTo>
                    <a:pt x="426" y="102"/>
                  </a:lnTo>
                  <a:lnTo>
                    <a:pt x="426" y="104"/>
                  </a:lnTo>
                  <a:lnTo>
                    <a:pt x="426" y="104"/>
                  </a:lnTo>
                  <a:lnTo>
                    <a:pt x="424" y="106"/>
                  </a:lnTo>
                  <a:lnTo>
                    <a:pt x="424" y="110"/>
                  </a:lnTo>
                  <a:lnTo>
                    <a:pt x="422" y="110"/>
                  </a:lnTo>
                  <a:lnTo>
                    <a:pt x="422" y="112"/>
                  </a:lnTo>
                  <a:lnTo>
                    <a:pt x="422" y="112"/>
                  </a:lnTo>
                  <a:lnTo>
                    <a:pt x="420" y="114"/>
                  </a:lnTo>
                  <a:lnTo>
                    <a:pt x="420" y="114"/>
                  </a:lnTo>
                  <a:lnTo>
                    <a:pt x="420" y="114"/>
                  </a:lnTo>
                  <a:lnTo>
                    <a:pt x="416" y="114"/>
                  </a:lnTo>
                  <a:lnTo>
                    <a:pt x="414" y="116"/>
                  </a:lnTo>
                  <a:lnTo>
                    <a:pt x="412" y="116"/>
                  </a:lnTo>
                  <a:lnTo>
                    <a:pt x="410" y="116"/>
                  </a:lnTo>
                  <a:lnTo>
                    <a:pt x="406" y="114"/>
                  </a:lnTo>
                  <a:lnTo>
                    <a:pt x="404" y="114"/>
                  </a:lnTo>
                  <a:lnTo>
                    <a:pt x="402" y="114"/>
                  </a:lnTo>
                  <a:lnTo>
                    <a:pt x="402" y="114"/>
                  </a:lnTo>
                  <a:lnTo>
                    <a:pt x="402" y="112"/>
                  </a:lnTo>
                  <a:lnTo>
                    <a:pt x="400" y="112"/>
                  </a:lnTo>
                  <a:lnTo>
                    <a:pt x="398" y="110"/>
                  </a:lnTo>
                  <a:lnTo>
                    <a:pt x="396" y="106"/>
                  </a:lnTo>
                  <a:lnTo>
                    <a:pt x="392" y="102"/>
                  </a:lnTo>
                  <a:lnTo>
                    <a:pt x="390" y="102"/>
                  </a:lnTo>
                  <a:lnTo>
                    <a:pt x="388" y="100"/>
                  </a:lnTo>
                  <a:lnTo>
                    <a:pt x="386" y="98"/>
                  </a:lnTo>
                  <a:lnTo>
                    <a:pt x="384" y="98"/>
                  </a:lnTo>
                  <a:lnTo>
                    <a:pt x="378" y="96"/>
                  </a:lnTo>
                  <a:lnTo>
                    <a:pt x="374" y="94"/>
                  </a:lnTo>
                  <a:lnTo>
                    <a:pt x="370" y="94"/>
                  </a:lnTo>
                  <a:lnTo>
                    <a:pt x="368" y="92"/>
                  </a:lnTo>
                  <a:lnTo>
                    <a:pt x="368" y="92"/>
                  </a:lnTo>
                  <a:lnTo>
                    <a:pt x="366" y="90"/>
                  </a:lnTo>
                  <a:lnTo>
                    <a:pt x="362" y="86"/>
                  </a:lnTo>
                  <a:lnTo>
                    <a:pt x="360" y="84"/>
                  </a:lnTo>
                  <a:lnTo>
                    <a:pt x="358" y="82"/>
                  </a:lnTo>
                  <a:lnTo>
                    <a:pt x="356" y="80"/>
                  </a:lnTo>
                  <a:lnTo>
                    <a:pt x="356" y="80"/>
                  </a:lnTo>
                  <a:lnTo>
                    <a:pt x="354" y="80"/>
                  </a:lnTo>
                  <a:lnTo>
                    <a:pt x="350" y="78"/>
                  </a:lnTo>
                  <a:lnTo>
                    <a:pt x="348" y="78"/>
                  </a:lnTo>
                  <a:lnTo>
                    <a:pt x="346" y="78"/>
                  </a:lnTo>
                  <a:lnTo>
                    <a:pt x="346" y="76"/>
                  </a:lnTo>
                  <a:lnTo>
                    <a:pt x="346" y="76"/>
                  </a:lnTo>
                  <a:lnTo>
                    <a:pt x="344" y="76"/>
                  </a:lnTo>
                  <a:lnTo>
                    <a:pt x="344" y="76"/>
                  </a:lnTo>
                  <a:lnTo>
                    <a:pt x="344" y="74"/>
                  </a:lnTo>
                  <a:lnTo>
                    <a:pt x="344" y="74"/>
                  </a:lnTo>
                  <a:lnTo>
                    <a:pt x="346" y="72"/>
                  </a:lnTo>
                  <a:lnTo>
                    <a:pt x="346" y="70"/>
                  </a:lnTo>
                  <a:lnTo>
                    <a:pt x="348" y="68"/>
                  </a:lnTo>
                  <a:lnTo>
                    <a:pt x="350" y="64"/>
                  </a:lnTo>
                  <a:lnTo>
                    <a:pt x="350" y="62"/>
                  </a:lnTo>
                  <a:lnTo>
                    <a:pt x="352" y="60"/>
                  </a:lnTo>
                  <a:lnTo>
                    <a:pt x="352" y="60"/>
                  </a:lnTo>
                  <a:lnTo>
                    <a:pt x="352" y="58"/>
                  </a:lnTo>
                  <a:lnTo>
                    <a:pt x="352" y="54"/>
                  </a:lnTo>
                  <a:lnTo>
                    <a:pt x="354" y="52"/>
                  </a:lnTo>
                  <a:lnTo>
                    <a:pt x="354" y="50"/>
                  </a:lnTo>
                  <a:lnTo>
                    <a:pt x="354" y="50"/>
                  </a:lnTo>
                  <a:lnTo>
                    <a:pt x="356" y="48"/>
                  </a:lnTo>
                  <a:lnTo>
                    <a:pt x="356" y="48"/>
                  </a:lnTo>
                  <a:lnTo>
                    <a:pt x="356" y="48"/>
                  </a:lnTo>
                  <a:lnTo>
                    <a:pt x="360" y="46"/>
                  </a:lnTo>
                  <a:lnTo>
                    <a:pt x="362" y="46"/>
                  </a:lnTo>
                  <a:lnTo>
                    <a:pt x="364" y="46"/>
                  </a:lnTo>
                  <a:lnTo>
                    <a:pt x="364" y="44"/>
                  </a:lnTo>
                  <a:lnTo>
                    <a:pt x="366" y="42"/>
                  </a:lnTo>
                  <a:lnTo>
                    <a:pt x="366" y="40"/>
                  </a:lnTo>
                  <a:lnTo>
                    <a:pt x="368" y="38"/>
                  </a:lnTo>
                  <a:lnTo>
                    <a:pt x="370" y="36"/>
                  </a:lnTo>
                  <a:lnTo>
                    <a:pt x="370" y="34"/>
                  </a:lnTo>
                  <a:lnTo>
                    <a:pt x="370" y="32"/>
                  </a:lnTo>
                  <a:lnTo>
                    <a:pt x="370" y="30"/>
                  </a:lnTo>
                  <a:lnTo>
                    <a:pt x="370" y="30"/>
                  </a:lnTo>
                  <a:lnTo>
                    <a:pt x="370" y="28"/>
                  </a:lnTo>
                  <a:lnTo>
                    <a:pt x="370" y="28"/>
                  </a:lnTo>
                  <a:lnTo>
                    <a:pt x="370" y="26"/>
                  </a:lnTo>
                  <a:lnTo>
                    <a:pt x="370" y="26"/>
                  </a:lnTo>
                  <a:lnTo>
                    <a:pt x="368" y="26"/>
                  </a:lnTo>
                  <a:lnTo>
                    <a:pt x="368" y="24"/>
                  </a:lnTo>
                  <a:lnTo>
                    <a:pt x="366" y="24"/>
                  </a:lnTo>
                  <a:lnTo>
                    <a:pt x="366" y="24"/>
                  </a:lnTo>
                  <a:lnTo>
                    <a:pt x="364" y="24"/>
                  </a:lnTo>
                  <a:lnTo>
                    <a:pt x="362" y="24"/>
                  </a:lnTo>
                  <a:lnTo>
                    <a:pt x="358" y="24"/>
                  </a:lnTo>
                  <a:lnTo>
                    <a:pt x="354" y="24"/>
                  </a:lnTo>
                  <a:lnTo>
                    <a:pt x="352" y="24"/>
                  </a:lnTo>
                  <a:lnTo>
                    <a:pt x="350" y="24"/>
                  </a:lnTo>
                  <a:lnTo>
                    <a:pt x="348" y="24"/>
                  </a:lnTo>
                  <a:lnTo>
                    <a:pt x="346" y="22"/>
                  </a:lnTo>
                  <a:lnTo>
                    <a:pt x="340" y="22"/>
                  </a:lnTo>
                  <a:lnTo>
                    <a:pt x="336" y="22"/>
                  </a:lnTo>
                  <a:lnTo>
                    <a:pt x="332" y="22"/>
                  </a:lnTo>
                  <a:lnTo>
                    <a:pt x="332" y="22"/>
                  </a:lnTo>
                  <a:lnTo>
                    <a:pt x="330" y="22"/>
                  </a:lnTo>
                  <a:lnTo>
                    <a:pt x="328" y="20"/>
                  </a:lnTo>
                  <a:lnTo>
                    <a:pt x="326" y="20"/>
                  </a:lnTo>
                  <a:lnTo>
                    <a:pt x="324" y="18"/>
                  </a:lnTo>
                  <a:lnTo>
                    <a:pt x="320" y="16"/>
                  </a:lnTo>
                  <a:lnTo>
                    <a:pt x="318" y="14"/>
                  </a:lnTo>
                  <a:lnTo>
                    <a:pt x="314" y="12"/>
                  </a:lnTo>
                  <a:lnTo>
                    <a:pt x="312" y="12"/>
                  </a:lnTo>
                  <a:lnTo>
                    <a:pt x="310" y="10"/>
                  </a:lnTo>
                  <a:lnTo>
                    <a:pt x="304" y="8"/>
                  </a:lnTo>
                  <a:lnTo>
                    <a:pt x="302" y="8"/>
                  </a:lnTo>
                  <a:lnTo>
                    <a:pt x="298" y="8"/>
                  </a:lnTo>
                  <a:lnTo>
                    <a:pt x="294" y="6"/>
                  </a:lnTo>
                  <a:lnTo>
                    <a:pt x="294" y="6"/>
                  </a:lnTo>
                  <a:lnTo>
                    <a:pt x="292" y="6"/>
                  </a:lnTo>
                  <a:lnTo>
                    <a:pt x="290" y="6"/>
                  </a:lnTo>
                  <a:lnTo>
                    <a:pt x="290" y="8"/>
                  </a:lnTo>
                  <a:lnTo>
                    <a:pt x="288" y="8"/>
                  </a:lnTo>
                  <a:lnTo>
                    <a:pt x="288" y="8"/>
                  </a:lnTo>
                  <a:lnTo>
                    <a:pt x="286" y="8"/>
                  </a:lnTo>
                  <a:lnTo>
                    <a:pt x="286" y="10"/>
                  </a:lnTo>
                  <a:lnTo>
                    <a:pt x="286" y="10"/>
                  </a:lnTo>
                  <a:lnTo>
                    <a:pt x="286" y="10"/>
                  </a:lnTo>
                  <a:lnTo>
                    <a:pt x="286" y="12"/>
                  </a:lnTo>
                  <a:lnTo>
                    <a:pt x="286" y="12"/>
                  </a:lnTo>
                  <a:lnTo>
                    <a:pt x="286" y="14"/>
                  </a:lnTo>
                  <a:lnTo>
                    <a:pt x="286" y="14"/>
                  </a:lnTo>
                  <a:lnTo>
                    <a:pt x="286" y="14"/>
                  </a:lnTo>
                  <a:lnTo>
                    <a:pt x="286" y="16"/>
                  </a:lnTo>
                  <a:lnTo>
                    <a:pt x="288" y="16"/>
                  </a:lnTo>
                  <a:lnTo>
                    <a:pt x="288" y="16"/>
                  </a:lnTo>
                  <a:lnTo>
                    <a:pt x="290" y="18"/>
                  </a:lnTo>
                  <a:lnTo>
                    <a:pt x="294" y="18"/>
                  </a:lnTo>
                  <a:lnTo>
                    <a:pt x="294" y="18"/>
                  </a:lnTo>
                  <a:lnTo>
                    <a:pt x="296" y="18"/>
                  </a:lnTo>
                  <a:lnTo>
                    <a:pt x="296"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1" name="Freeform 17"/>
            <p:cNvSpPr>
              <a:spLocks/>
            </p:cNvSpPr>
            <p:nvPr/>
          </p:nvSpPr>
          <p:spPr bwMode="auto">
            <a:xfrm>
              <a:off x="7064781" y="4940664"/>
              <a:ext cx="1004604" cy="855645"/>
            </a:xfrm>
            <a:custGeom>
              <a:avLst/>
              <a:gdLst>
                <a:gd name="T0" fmla="*/ 296 w 580"/>
                <a:gd name="T1" fmla="*/ 34 h 494"/>
                <a:gd name="T2" fmla="*/ 262 w 580"/>
                <a:gd name="T3" fmla="*/ 46 h 494"/>
                <a:gd name="T4" fmla="*/ 256 w 580"/>
                <a:gd name="T5" fmla="*/ 74 h 494"/>
                <a:gd name="T6" fmla="*/ 234 w 580"/>
                <a:gd name="T7" fmla="*/ 68 h 494"/>
                <a:gd name="T8" fmla="*/ 208 w 580"/>
                <a:gd name="T9" fmla="*/ 56 h 494"/>
                <a:gd name="T10" fmla="*/ 196 w 580"/>
                <a:gd name="T11" fmla="*/ 76 h 494"/>
                <a:gd name="T12" fmla="*/ 166 w 580"/>
                <a:gd name="T13" fmla="*/ 100 h 494"/>
                <a:gd name="T14" fmla="*/ 160 w 580"/>
                <a:gd name="T15" fmla="*/ 112 h 494"/>
                <a:gd name="T16" fmla="*/ 148 w 580"/>
                <a:gd name="T17" fmla="*/ 102 h 494"/>
                <a:gd name="T18" fmla="*/ 138 w 580"/>
                <a:gd name="T19" fmla="*/ 140 h 494"/>
                <a:gd name="T20" fmla="*/ 64 w 580"/>
                <a:gd name="T21" fmla="*/ 172 h 494"/>
                <a:gd name="T22" fmla="*/ 30 w 580"/>
                <a:gd name="T23" fmla="*/ 200 h 494"/>
                <a:gd name="T24" fmla="*/ 4 w 580"/>
                <a:gd name="T25" fmla="*/ 204 h 494"/>
                <a:gd name="T26" fmla="*/ 10 w 580"/>
                <a:gd name="T27" fmla="*/ 248 h 494"/>
                <a:gd name="T28" fmla="*/ 18 w 580"/>
                <a:gd name="T29" fmla="*/ 266 h 494"/>
                <a:gd name="T30" fmla="*/ 2 w 580"/>
                <a:gd name="T31" fmla="*/ 256 h 494"/>
                <a:gd name="T32" fmla="*/ 10 w 580"/>
                <a:gd name="T33" fmla="*/ 302 h 494"/>
                <a:gd name="T34" fmla="*/ 16 w 580"/>
                <a:gd name="T35" fmla="*/ 344 h 494"/>
                <a:gd name="T36" fmla="*/ 28 w 580"/>
                <a:gd name="T37" fmla="*/ 362 h 494"/>
                <a:gd name="T38" fmla="*/ 18 w 580"/>
                <a:gd name="T39" fmla="*/ 380 h 494"/>
                <a:gd name="T40" fmla="*/ 6 w 580"/>
                <a:gd name="T41" fmla="*/ 400 h 494"/>
                <a:gd name="T42" fmla="*/ 36 w 580"/>
                <a:gd name="T43" fmla="*/ 426 h 494"/>
                <a:gd name="T44" fmla="*/ 56 w 580"/>
                <a:gd name="T45" fmla="*/ 420 h 494"/>
                <a:gd name="T46" fmla="*/ 84 w 580"/>
                <a:gd name="T47" fmla="*/ 414 h 494"/>
                <a:gd name="T48" fmla="*/ 138 w 580"/>
                <a:gd name="T49" fmla="*/ 402 h 494"/>
                <a:gd name="T50" fmla="*/ 184 w 580"/>
                <a:gd name="T51" fmla="*/ 380 h 494"/>
                <a:gd name="T52" fmla="*/ 220 w 580"/>
                <a:gd name="T53" fmla="*/ 366 h 494"/>
                <a:gd name="T54" fmla="*/ 248 w 580"/>
                <a:gd name="T55" fmla="*/ 364 h 494"/>
                <a:gd name="T56" fmla="*/ 266 w 580"/>
                <a:gd name="T57" fmla="*/ 372 h 494"/>
                <a:gd name="T58" fmla="*/ 292 w 580"/>
                <a:gd name="T59" fmla="*/ 402 h 494"/>
                <a:gd name="T60" fmla="*/ 302 w 580"/>
                <a:gd name="T61" fmla="*/ 420 h 494"/>
                <a:gd name="T62" fmla="*/ 330 w 580"/>
                <a:gd name="T63" fmla="*/ 386 h 494"/>
                <a:gd name="T64" fmla="*/ 332 w 580"/>
                <a:gd name="T65" fmla="*/ 404 h 494"/>
                <a:gd name="T66" fmla="*/ 326 w 580"/>
                <a:gd name="T67" fmla="*/ 424 h 494"/>
                <a:gd name="T68" fmla="*/ 338 w 580"/>
                <a:gd name="T69" fmla="*/ 408 h 494"/>
                <a:gd name="T70" fmla="*/ 342 w 580"/>
                <a:gd name="T71" fmla="*/ 424 h 494"/>
                <a:gd name="T72" fmla="*/ 348 w 580"/>
                <a:gd name="T73" fmla="*/ 456 h 494"/>
                <a:gd name="T74" fmla="*/ 376 w 580"/>
                <a:gd name="T75" fmla="*/ 480 h 494"/>
                <a:gd name="T76" fmla="*/ 438 w 580"/>
                <a:gd name="T77" fmla="*/ 492 h 494"/>
                <a:gd name="T78" fmla="*/ 498 w 580"/>
                <a:gd name="T79" fmla="*/ 460 h 494"/>
                <a:gd name="T80" fmla="*/ 520 w 580"/>
                <a:gd name="T81" fmla="*/ 422 h 494"/>
                <a:gd name="T82" fmla="*/ 542 w 580"/>
                <a:gd name="T83" fmla="*/ 388 h 494"/>
                <a:gd name="T84" fmla="*/ 572 w 580"/>
                <a:gd name="T85" fmla="*/ 344 h 494"/>
                <a:gd name="T86" fmla="*/ 580 w 580"/>
                <a:gd name="T87" fmla="*/ 258 h 494"/>
                <a:gd name="T88" fmla="*/ 558 w 580"/>
                <a:gd name="T89" fmla="*/ 222 h 494"/>
                <a:gd name="T90" fmla="*/ 536 w 580"/>
                <a:gd name="T91" fmla="*/ 194 h 494"/>
                <a:gd name="T92" fmla="*/ 526 w 580"/>
                <a:gd name="T93" fmla="*/ 164 h 494"/>
                <a:gd name="T94" fmla="*/ 498 w 580"/>
                <a:gd name="T95" fmla="*/ 146 h 494"/>
                <a:gd name="T96" fmla="*/ 488 w 580"/>
                <a:gd name="T97" fmla="*/ 82 h 494"/>
                <a:gd name="T98" fmla="*/ 462 w 580"/>
                <a:gd name="T99" fmla="*/ 42 h 494"/>
                <a:gd name="T100" fmla="*/ 468 w 580"/>
                <a:gd name="T101" fmla="*/ 16 h 494"/>
                <a:gd name="T102" fmla="*/ 450 w 580"/>
                <a:gd name="T103" fmla="*/ 0 h 494"/>
                <a:gd name="T104" fmla="*/ 434 w 580"/>
                <a:gd name="T105" fmla="*/ 28 h 494"/>
                <a:gd name="T106" fmla="*/ 434 w 580"/>
                <a:gd name="T107" fmla="*/ 90 h 494"/>
                <a:gd name="T108" fmla="*/ 416 w 580"/>
                <a:gd name="T109" fmla="*/ 114 h 494"/>
                <a:gd name="T110" fmla="*/ 384 w 580"/>
                <a:gd name="T111" fmla="*/ 98 h 494"/>
                <a:gd name="T112" fmla="*/ 346 w 580"/>
                <a:gd name="T113" fmla="*/ 76 h 494"/>
                <a:gd name="T114" fmla="*/ 354 w 580"/>
                <a:gd name="T115" fmla="*/ 50 h 494"/>
                <a:gd name="T116" fmla="*/ 370 w 580"/>
                <a:gd name="T117" fmla="*/ 30 h 494"/>
                <a:gd name="T118" fmla="*/ 346 w 580"/>
                <a:gd name="T119" fmla="*/ 22 h 494"/>
                <a:gd name="T120" fmla="*/ 298 w 580"/>
                <a:gd name="T121" fmla="*/ 8 h 494"/>
                <a:gd name="T122" fmla="*/ 286 w 580"/>
                <a:gd name="T123" fmla="*/ 1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 h="494">
                  <a:moveTo>
                    <a:pt x="296" y="20"/>
                  </a:moveTo>
                  <a:lnTo>
                    <a:pt x="296" y="20"/>
                  </a:lnTo>
                  <a:lnTo>
                    <a:pt x="296" y="20"/>
                  </a:lnTo>
                  <a:lnTo>
                    <a:pt x="298" y="22"/>
                  </a:lnTo>
                  <a:lnTo>
                    <a:pt x="298" y="24"/>
                  </a:lnTo>
                  <a:lnTo>
                    <a:pt x="300" y="26"/>
                  </a:lnTo>
                  <a:lnTo>
                    <a:pt x="300" y="28"/>
                  </a:lnTo>
                  <a:lnTo>
                    <a:pt x="300" y="30"/>
                  </a:lnTo>
                  <a:lnTo>
                    <a:pt x="300" y="30"/>
                  </a:lnTo>
                  <a:lnTo>
                    <a:pt x="300" y="30"/>
                  </a:lnTo>
                  <a:lnTo>
                    <a:pt x="300" y="32"/>
                  </a:lnTo>
                  <a:lnTo>
                    <a:pt x="300" y="32"/>
                  </a:lnTo>
                  <a:lnTo>
                    <a:pt x="300" y="32"/>
                  </a:lnTo>
                  <a:lnTo>
                    <a:pt x="298" y="32"/>
                  </a:lnTo>
                  <a:lnTo>
                    <a:pt x="298" y="34"/>
                  </a:lnTo>
                  <a:lnTo>
                    <a:pt x="296" y="34"/>
                  </a:lnTo>
                  <a:lnTo>
                    <a:pt x="294" y="34"/>
                  </a:lnTo>
                  <a:lnTo>
                    <a:pt x="292" y="34"/>
                  </a:lnTo>
                  <a:lnTo>
                    <a:pt x="290" y="34"/>
                  </a:lnTo>
                  <a:lnTo>
                    <a:pt x="286" y="34"/>
                  </a:lnTo>
                  <a:lnTo>
                    <a:pt x="282" y="34"/>
                  </a:lnTo>
                  <a:lnTo>
                    <a:pt x="278" y="34"/>
                  </a:lnTo>
                  <a:lnTo>
                    <a:pt x="276" y="34"/>
                  </a:lnTo>
                  <a:lnTo>
                    <a:pt x="274" y="34"/>
                  </a:lnTo>
                  <a:lnTo>
                    <a:pt x="274" y="36"/>
                  </a:lnTo>
                  <a:lnTo>
                    <a:pt x="272" y="36"/>
                  </a:lnTo>
                  <a:lnTo>
                    <a:pt x="270" y="36"/>
                  </a:lnTo>
                  <a:lnTo>
                    <a:pt x="268" y="38"/>
                  </a:lnTo>
                  <a:lnTo>
                    <a:pt x="268" y="40"/>
                  </a:lnTo>
                  <a:lnTo>
                    <a:pt x="266" y="42"/>
                  </a:lnTo>
                  <a:lnTo>
                    <a:pt x="264" y="44"/>
                  </a:lnTo>
                  <a:lnTo>
                    <a:pt x="262" y="46"/>
                  </a:lnTo>
                  <a:lnTo>
                    <a:pt x="262" y="48"/>
                  </a:lnTo>
                  <a:lnTo>
                    <a:pt x="260" y="50"/>
                  </a:lnTo>
                  <a:lnTo>
                    <a:pt x="260" y="50"/>
                  </a:lnTo>
                  <a:lnTo>
                    <a:pt x="260" y="52"/>
                  </a:lnTo>
                  <a:lnTo>
                    <a:pt x="260" y="54"/>
                  </a:lnTo>
                  <a:lnTo>
                    <a:pt x="260" y="56"/>
                  </a:lnTo>
                  <a:lnTo>
                    <a:pt x="260" y="58"/>
                  </a:lnTo>
                  <a:lnTo>
                    <a:pt x="260" y="60"/>
                  </a:lnTo>
                  <a:lnTo>
                    <a:pt x="260" y="62"/>
                  </a:lnTo>
                  <a:lnTo>
                    <a:pt x="258" y="66"/>
                  </a:lnTo>
                  <a:lnTo>
                    <a:pt x="258" y="68"/>
                  </a:lnTo>
                  <a:lnTo>
                    <a:pt x="258" y="70"/>
                  </a:lnTo>
                  <a:lnTo>
                    <a:pt x="258" y="72"/>
                  </a:lnTo>
                  <a:lnTo>
                    <a:pt x="258" y="72"/>
                  </a:lnTo>
                  <a:lnTo>
                    <a:pt x="256" y="74"/>
                  </a:lnTo>
                  <a:lnTo>
                    <a:pt x="256" y="74"/>
                  </a:lnTo>
                  <a:lnTo>
                    <a:pt x="256" y="74"/>
                  </a:lnTo>
                  <a:lnTo>
                    <a:pt x="254" y="76"/>
                  </a:lnTo>
                  <a:lnTo>
                    <a:pt x="250" y="76"/>
                  </a:lnTo>
                  <a:lnTo>
                    <a:pt x="248" y="78"/>
                  </a:lnTo>
                  <a:lnTo>
                    <a:pt x="246" y="78"/>
                  </a:lnTo>
                  <a:lnTo>
                    <a:pt x="244" y="78"/>
                  </a:lnTo>
                  <a:lnTo>
                    <a:pt x="242" y="78"/>
                  </a:lnTo>
                  <a:lnTo>
                    <a:pt x="240" y="78"/>
                  </a:lnTo>
                  <a:lnTo>
                    <a:pt x="240" y="78"/>
                  </a:lnTo>
                  <a:lnTo>
                    <a:pt x="240" y="78"/>
                  </a:lnTo>
                  <a:lnTo>
                    <a:pt x="238" y="76"/>
                  </a:lnTo>
                  <a:lnTo>
                    <a:pt x="238" y="76"/>
                  </a:lnTo>
                  <a:lnTo>
                    <a:pt x="236" y="74"/>
                  </a:lnTo>
                  <a:lnTo>
                    <a:pt x="236" y="74"/>
                  </a:lnTo>
                  <a:lnTo>
                    <a:pt x="236" y="72"/>
                  </a:lnTo>
                  <a:lnTo>
                    <a:pt x="234" y="68"/>
                  </a:lnTo>
                  <a:lnTo>
                    <a:pt x="234" y="66"/>
                  </a:lnTo>
                  <a:lnTo>
                    <a:pt x="232" y="64"/>
                  </a:lnTo>
                  <a:lnTo>
                    <a:pt x="232" y="62"/>
                  </a:lnTo>
                  <a:lnTo>
                    <a:pt x="228" y="58"/>
                  </a:lnTo>
                  <a:lnTo>
                    <a:pt x="228" y="58"/>
                  </a:lnTo>
                  <a:lnTo>
                    <a:pt x="226" y="56"/>
                  </a:lnTo>
                  <a:lnTo>
                    <a:pt x="226" y="56"/>
                  </a:lnTo>
                  <a:lnTo>
                    <a:pt x="224" y="54"/>
                  </a:lnTo>
                  <a:lnTo>
                    <a:pt x="224" y="54"/>
                  </a:lnTo>
                  <a:lnTo>
                    <a:pt x="222" y="54"/>
                  </a:lnTo>
                  <a:lnTo>
                    <a:pt x="222" y="54"/>
                  </a:lnTo>
                  <a:lnTo>
                    <a:pt x="220" y="54"/>
                  </a:lnTo>
                  <a:lnTo>
                    <a:pt x="218" y="54"/>
                  </a:lnTo>
                  <a:lnTo>
                    <a:pt x="216" y="54"/>
                  </a:lnTo>
                  <a:lnTo>
                    <a:pt x="212" y="54"/>
                  </a:lnTo>
                  <a:lnTo>
                    <a:pt x="208" y="56"/>
                  </a:lnTo>
                  <a:lnTo>
                    <a:pt x="206" y="56"/>
                  </a:lnTo>
                  <a:lnTo>
                    <a:pt x="204" y="58"/>
                  </a:lnTo>
                  <a:lnTo>
                    <a:pt x="204" y="58"/>
                  </a:lnTo>
                  <a:lnTo>
                    <a:pt x="202" y="58"/>
                  </a:lnTo>
                  <a:lnTo>
                    <a:pt x="202" y="60"/>
                  </a:lnTo>
                  <a:lnTo>
                    <a:pt x="200" y="60"/>
                  </a:lnTo>
                  <a:lnTo>
                    <a:pt x="200" y="60"/>
                  </a:lnTo>
                  <a:lnTo>
                    <a:pt x="200" y="62"/>
                  </a:lnTo>
                  <a:lnTo>
                    <a:pt x="200" y="64"/>
                  </a:lnTo>
                  <a:lnTo>
                    <a:pt x="200" y="66"/>
                  </a:lnTo>
                  <a:lnTo>
                    <a:pt x="198" y="70"/>
                  </a:lnTo>
                  <a:lnTo>
                    <a:pt x="198" y="72"/>
                  </a:lnTo>
                  <a:lnTo>
                    <a:pt x="198" y="72"/>
                  </a:lnTo>
                  <a:lnTo>
                    <a:pt x="198" y="74"/>
                  </a:lnTo>
                  <a:lnTo>
                    <a:pt x="196" y="74"/>
                  </a:lnTo>
                  <a:lnTo>
                    <a:pt x="196" y="76"/>
                  </a:lnTo>
                  <a:lnTo>
                    <a:pt x="194" y="78"/>
                  </a:lnTo>
                  <a:lnTo>
                    <a:pt x="192" y="78"/>
                  </a:lnTo>
                  <a:lnTo>
                    <a:pt x="188" y="82"/>
                  </a:lnTo>
                  <a:lnTo>
                    <a:pt x="186" y="84"/>
                  </a:lnTo>
                  <a:lnTo>
                    <a:pt x="184" y="84"/>
                  </a:lnTo>
                  <a:lnTo>
                    <a:pt x="184" y="84"/>
                  </a:lnTo>
                  <a:lnTo>
                    <a:pt x="180" y="86"/>
                  </a:lnTo>
                  <a:lnTo>
                    <a:pt x="176" y="88"/>
                  </a:lnTo>
                  <a:lnTo>
                    <a:pt x="174" y="90"/>
                  </a:lnTo>
                  <a:lnTo>
                    <a:pt x="174" y="90"/>
                  </a:lnTo>
                  <a:lnTo>
                    <a:pt x="172" y="90"/>
                  </a:lnTo>
                  <a:lnTo>
                    <a:pt x="172" y="92"/>
                  </a:lnTo>
                  <a:lnTo>
                    <a:pt x="170" y="96"/>
                  </a:lnTo>
                  <a:lnTo>
                    <a:pt x="168" y="96"/>
                  </a:lnTo>
                  <a:lnTo>
                    <a:pt x="168" y="98"/>
                  </a:lnTo>
                  <a:lnTo>
                    <a:pt x="166" y="100"/>
                  </a:lnTo>
                  <a:lnTo>
                    <a:pt x="166" y="102"/>
                  </a:lnTo>
                  <a:lnTo>
                    <a:pt x="166" y="102"/>
                  </a:lnTo>
                  <a:lnTo>
                    <a:pt x="166" y="104"/>
                  </a:lnTo>
                  <a:lnTo>
                    <a:pt x="166" y="106"/>
                  </a:lnTo>
                  <a:lnTo>
                    <a:pt x="166" y="108"/>
                  </a:lnTo>
                  <a:lnTo>
                    <a:pt x="166" y="110"/>
                  </a:lnTo>
                  <a:lnTo>
                    <a:pt x="166" y="112"/>
                  </a:lnTo>
                  <a:lnTo>
                    <a:pt x="166" y="112"/>
                  </a:lnTo>
                  <a:lnTo>
                    <a:pt x="166" y="112"/>
                  </a:lnTo>
                  <a:lnTo>
                    <a:pt x="166" y="112"/>
                  </a:lnTo>
                  <a:lnTo>
                    <a:pt x="164" y="114"/>
                  </a:lnTo>
                  <a:lnTo>
                    <a:pt x="164" y="114"/>
                  </a:lnTo>
                  <a:lnTo>
                    <a:pt x="162" y="114"/>
                  </a:lnTo>
                  <a:lnTo>
                    <a:pt x="162" y="114"/>
                  </a:lnTo>
                  <a:lnTo>
                    <a:pt x="160" y="112"/>
                  </a:lnTo>
                  <a:lnTo>
                    <a:pt x="160" y="112"/>
                  </a:lnTo>
                  <a:lnTo>
                    <a:pt x="158" y="112"/>
                  </a:lnTo>
                  <a:lnTo>
                    <a:pt x="158" y="112"/>
                  </a:lnTo>
                  <a:lnTo>
                    <a:pt x="158" y="112"/>
                  </a:lnTo>
                  <a:lnTo>
                    <a:pt x="156" y="110"/>
                  </a:lnTo>
                  <a:lnTo>
                    <a:pt x="156" y="108"/>
                  </a:lnTo>
                  <a:lnTo>
                    <a:pt x="154" y="106"/>
                  </a:lnTo>
                  <a:lnTo>
                    <a:pt x="154" y="104"/>
                  </a:lnTo>
                  <a:lnTo>
                    <a:pt x="154" y="102"/>
                  </a:lnTo>
                  <a:lnTo>
                    <a:pt x="152" y="102"/>
                  </a:lnTo>
                  <a:lnTo>
                    <a:pt x="152" y="102"/>
                  </a:lnTo>
                  <a:lnTo>
                    <a:pt x="152" y="102"/>
                  </a:lnTo>
                  <a:lnTo>
                    <a:pt x="150" y="102"/>
                  </a:lnTo>
                  <a:lnTo>
                    <a:pt x="150" y="102"/>
                  </a:lnTo>
                  <a:lnTo>
                    <a:pt x="150" y="102"/>
                  </a:lnTo>
                  <a:lnTo>
                    <a:pt x="150" y="102"/>
                  </a:lnTo>
                  <a:lnTo>
                    <a:pt x="148" y="102"/>
                  </a:lnTo>
                  <a:lnTo>
                    <a:pt x="148" y="104"/>
                  </a:lnTo>
                  <a:lnTo>
                    <a:pt x="148" y="104"/>
                  </a:lnTo>
                  <a:lnTo>
                    <a:pt x="148" y="106"/>
                  </a:lnTo>
                  <a:lnTo>
                    <a:pt x="148" y="108"/>
                  </a:lnTo>
                  <a:lnTo>
                    <a:pt x="148" y="112"/>
                  </a:lnTo>
                  <a:lnTo>
                    <a:pt x="148" y="116"/>
                  </a:lnTo>
                  <a:lnTo>
                    <a:pt x="148" y="120"/>
                  </a:lnTo>
                  <a:lnTo>
                    <a:pt x="148" y="122"/>
                  </a:lnTo>
                  <a:lnTo>
                    <a:pt x="148" y="124"/>
                  </a:lnTo>
                  <a:lnTo>
                    <a:pt x="148" y="126"/>
                  </a:lnTo>
                  <a:lnTo>
                    <a:pt x="148" y="126"/>
                  </a:lnTo>
                  <a:lnTo>
                    <a:pt x="146" y="128"/>
                  </a:lnTo>
                  <a:lnTo>
                    <a:pt x="146" y="130"/>
                  </a:lnTo>
                  <a:lnTo>
                    <a:pt x="144" y="134"/>
                  </a:lnTo>
                  <a:lnTo>
                    <a:pt x="140" y="136"/>
                  </a:lnTo>
                  <a:lnTo>
                    <a:pt x="138" y="140"/>
                  </a:lnTo>
                  <a:lnTo>
                    <a:pt x="134" y="144"/>
                  </a:lnTo>
                  <a:lnTo>
                    <a:pt x="132" y="148"/>
                  </a:lnTo>
                  <a:lnTo>
                    <a:pt x="128" y="150"/>
                  </a:lnTo>
                  <a:lnTo>
                    <a:pt x="126" y="152"/>
                  </a:lnTo>
                  <a:lnTo>
                    <a:pt x="124" y="154"/>
                  </a:lnTo>
                  <a:lnTo>
                    <a:pt x="122" y="156"/>
                  </a:lnTo>
                  <a:lnTo>
                    <a:pt x="118" y="156"/>
                  </a:lnTo>
                  <a:lnTo>
                    <a:pt x="116" y="158"/>
                  </a:lnTo>
                  <a:lnTo>
                    <a:pt x="110" y="160"/>
                  </a:lnTo>
                  <a:lnTo>
                    <a:pt x="106" y="162"/>
                  </a:lnTo>
                  <a:lnTo>
                    <a:pt x="104" y="162"/>
                  </a:lnTo>
                  <a:lnTo>
                    <a:pt x="100" y="164"/>
                  </a:lnTo>
                  <a:lnTo>
                    <a:pt x="94" y="164"/>
                  </a:lnTo>
                  <a:lnTo>
                    <a:pt x="80" y="168"/>
                  </a:lnTo>
                  <a:lnTo>
                    <a:pt x="72" y="170"/>
                  </a:lnTo>
                  <a:lnTo>
                    <a:pt x="64" y="172"/>
                  </a:lnTo>
                  <a:lnTo>
                    <a:pt x="62" y="172"/>
                  </a:lnTo>
                  <a:lnTo>
                    <a:pt x="58" y="174"/>
                  </a:lnTo>
                  <a:lnTo>
                    <a:pt x="56" y="176"/>
                  </a:lnTo>
                  <a:lnTo>
                    <a:pt x="54" y="176"/>
                  </a:lnTo>
                  <a:lnTo>
                    <a:pt x="52" y="178"/>
                  </a:lnTo>
                  <a:lnTo>
                    <a:pt x="52" y="178"/>
                  </a:lnTo>
                  <a:lnTo>
                    <a:pt x="50" y="180"/>
                  </a:lnTo>
                  <a:lnTo>
                    <a:pt x="48" y="182"/>
                  </a:lnTo>
                  <a:lnTo>
                    <a:pt x="46" y="184"/>
                  </a:lnTo>
                  <a:lnTo>
                    <a:pt x="42" y="188"/>
                  </a:lnTo>
                  <a:lnTo>
                    <a:pt x="40" y="192"/>
                  </a:lnTo>
                  <a:lnTo>
                    <a:pt x="36" y="194"/>
                  </a:lnTo>
                  <a:lnTo>
                    <a:pt x="36" y="196"/>
                  </a:lnTo>
                  <a:lnTo>
                    <a:pt x="34" y="198"/>
                  </a:lnTo>
                  <a:lnTo>
                    <a:pt x="32" y="198"/>
                  </a:lnTo>
                  <a:lnTo>
                    <a:pt x="30" y="200"/>
                  </a:lnTo>
                  <a:lnTo>
                    <a:pt x="30" y="200"/>
                  </a:lnTo>
                  <a:lnTo>
                    <a:pt x="28" y="200"/>
                  </a:lnTo>
                  <a:lnTo>
                    <a:pt x="26" y="200"/>
                  </a:lnTo>
                  <a:lnTo>
                    <a:pt x="26" y="200"/>
                  </a:lnTo>
                  <a:lnTo>
                    <a:pt x="22" y="200"/>
                  </a:lnTo>
                  <a:lnTo>
                    <a:pt x="18" y="200"/>
                  </a:lnTo>
                  <a:lnTo>
                    <a:pt x="14" y="200"/>
                  </a:lnTo>
                  <a:lnTo>
                    <a:pt x="12" y="200"/>
                  </a:lnTo>
                  <a:lnTo>
                    <a:pt x="10" y="200"/>
                  </a:lnTo>
                  <a:lnTo>
                    <a:pt x="10" y="200"/>
                  </a:lnTo>
                  <a:lnTo>
                    <a:pt x="8" y="200"/>
                  </a:lnTo>
                  <a:lnTo>
                    <a:pt x="6" y="200"/>
                  </a:lnTo>
                  <a:lnTo>
                    <a:pt x="6" y="202"/>
                  </a:lnTo>
                  <a:lnTo>
                    <a:pt x="6" y="202"/>
                  </a:lnTo>
                  <a:lnTo>
                    <a:pt x="4" y="204"/>
                  </a:lnTo>
                  <a:lnTo>
                    <a:pt x="4" y="204"/>
                  </a:lnTo>
                  <a:lnTo>
                    <a:pt x="4" y="206"/>
                  </a:lnTo>
                  <a:lnTo>
                    <a:pt x="2" y="208"/>
                  </a:lnTo>
                  <a:lnTo>
                    <a:pt x="2" y="212"/>
                  </a:lnTo>
                  <a:lnTo>
                    <a:pt x="2" y="214"/>
                  </a:lnTo>
                  <a:lnTo>
                    <a:pt x="2" y="218"/>
                  </a:lnTo>
                  <a:lnTo>
                    <a:pt x="2" y="222"/>
                  </a:lnTo>
                  <a:lnTo>
                    <a:pt x="2" y="224"/>
                  </a:lnTo>
                  <a:lnTo>
                    <a:pt x="4" y="228"/>
                  </a:lnTo>
                  <a:lnTo>
                    <a:pt x="4" y="232"/>
                  </a:lnTo>
                  <a:lnTo>
                    <a:pt x="4" y="234"/>
                  </a:lnTo>
                  <a:lnTo>
                    <a:pt x="6" y="238"/>
                  </a:lnTo>
                  <a:lnTo>
                    <a:pt x="6" y="242"/>
                  </a:lnTo>
                  <a:lnTo>
                    <a:pt x="8" y="244"/>
                  </a:lnTo>
                  <a:lnTo>
                    <a:pt x="8" y="246"/>
                  </a:lnTo>
                  <a:lnTo>
                    <a:pt x="10" y="248"/>
                  </a:lnTo>
                  <a:lnTo>
                    <a:pt x="10" y="248"/>
                  </a:lnTo>
                  <a:lnTo>
                    <a:pt x="10" y="250"/>
                  </a:lnTo>
                  <a:lnTo>
                    <a:pt x="12" y="250"/>
                  </a:lnTo>
                  <a:lnTo>
                    <a:pt x="14" y="252"/>
                  </a:lnTo>
                  <a:lnTo>
                    <a:pt x="14" y="252"/>
                  </a:lnTo>
                  <a:lnTo>
                    <a:pt x="16" y="252"/>
                  </a:lnTo>
                  <a:lnTo>
                    <a:pt x="18" y="254"/>
                  </a:lnTo>
                  <a:lnTo>
                    <a:pt x="20" y="254"/>
                  </a:lnTo>
                  <a:lnTo>
                    <a:pt x="20" y="256"/>
                  </a:lnTo>
                  <a:lnTo>
                    <a:pt x="20" y="256"/>
                  </a:lnTo>
                  <a:lnTo>
                    <a:pt x="20" y="256"/>
                  </a:lnTo>
                  <a:lnTo>
                    <a:pt x="20" y="258"/>
                  </a:lnTo>
                  <a:lnTo>
                    <a:pt x="20" y="260"/>
                  </a:lnTo>
                  <a:lnTo>
                    <a:pt x="20" y="262"/>
                  </a:lnTo>
                  <a:lnTo>
                    <a:pt x="20" y="264"/>
                  </a:lnTo>
                  <a:lnTo>
                    <a:pt x="18" y="264"/>
                  </a:lnTo>
                  <a:lnTo>
                    <a:pt x="18" y="266"/>
                  </a:lnTo>
                  <a:lnTo>
                    <a:pt x="18" y="266"/>
                  </a:lnTo>
                  <a:lnTo>
                    <a:pt x="18" y="266"/>
                  </a:lnTo>
                  <a:lnTo>
                    <a:pt x="16" y="266"/>
                  </a:lnTo>
                  <a:lnTo>
                    <a:pt x="16" y="266"/>
                  </a:lnTo>
                  <a:lnTo>
                    <a:pt x="14" y="266"/>
                  </a:lnTo>
                  <a:lnTo>
                    <a:pt x="14" y="264"/>
                  </a:lnTo>
                  <a:lnTo>
                    <a:pt x="12" y="262"/>
                  </a:lnTo>
                  <a:lnTo>
                    <a:pt x="10" y="260"/>
                  </a:lnTo>
                  <a:lnTo>
                    <a:pt x="8" y="258"/>
                  </a:lnTo>
                  <a:lnTo>
                    <a:pt x="6" y="258"/>
                  </a:lnTo>
                  <a:lnTo>
                    <a:pt x="6" y="256"/>
                  </a:lnTo>
                  <a:lnTo>
                    <a:pt x="4" y="256"/>
                  </a:lnTo>
                  <a:lnTo>
                    <a:pt x="4" y="256"/>
                  </a:lnTo>
                  <a:lnTo>
                    <a:pt x="2" y="256"/>
                  </a:lnTo>
                  <a:lnTo>
                    <a:pt x="2" y="256"/>
                  </a:lnTo>
                  <a:lnTo>
                    <a:pt x="2" y="256"/>
                  </a:lnTo>
                  <a:lnTo>
                    <a:pt x="2" y="256"/>
                  </a:lnTo>
                  <a:lnTo>
                    <a:pt x="0" y="258"/>
                  </a:lnTo>
                  <a:lnTo>
                    <a:pt x="0" y="258"/>
                  </a:lnTo>
                  <a:lnTo>
                    <a:pt x="0" y="260"/>
                  </a:lnTo>
                  <a:lnTo>
                    <a:pt x="0" y="262"/>
                  </a:lnTo>
                  <a:lnTo>
                    <a:pt x="0" y="266"/>
                  </a:lnTo>
                  <a:lnTo>
                    <a:pt x="0" y="268"/>
                  </a:lnTo>
                  <a:lnTo>
                    <a:pt x="0" y="270"/>
                  </a:lnTo>
                  <a:lnTo>
                    <a:pt x="2" y="274"/>
                  </a:lnTo>
                  <a:lnTo>
                    <a:pt x="2" y="278"/>
                  </a:lnTo>
                  <a:lnTo>
                    <a:pt x="2" y="280"/>
                  </a:lnTo>
                  <a:lnTo>
                    <a:pt x="4" y="284"/>
                  </a:lnTo>
                  <a:lnTo>
                    <a:pt x="6" y="292"/>
                  </a:lnTo>
                  <a:lnTo>
                    <a:pt x="8" y="298"/>
                  </a:lnTo>
                  <a:lnTo>
                    <a:pt x="10" y="300"/>
                  </a:lnTo>
                  <a:lnTo>
                    <a:pt x="10" y="302"/>
                  </a:lnTo>
                  <a:lnTo>
                    <a:pt x="14" y="306"/>
                  </a:lnTo>
                  <a:lnTo>
                    <a:pt x="14" y="308"/>
                  </a:lnTo>
                  <a:lnTo>
                    <a:pt x="16" y="310"/>
                  </a:lnTo>
                  <a:lnTo>
                    <a:pt x="16" y="312"/>
                  </a:lnTo>
                  <a:lnTo>
                    <a:pt x="18" y="314"/>
                  </a:lnTo>
                  <a:lnTo>
                    <a:pt x="18" y="316"/>
                  </a:lnTo>
                  <a:lnTo>
                    <a:pt x="18" y="318"/>
                  </a:lnTo>
                  <a:lnTo>
                    <a:pt x="18" y="320"/>
                  </a:lnTo>
                  <a:lnTo>
                    <a:pt x="18" y="324"/>
                  </a:lnTo>
                  <a:lnTo>
                    <a:pt x="18" y="328"/>
                  </a:lnTo>
                  <a:lnTo>
                    <a:pt x="18" y="332"/>
                  </a:lnTo>
                  <a:lnTo>
                    <a:pt x="18" y="334"/>
                  </a:lnTo>
                  <a:lnTo>
                    <a:pt x="18" y="336"/>
                  </a:lnTo>
                  <a:lnTo>
                    <a:pt x="16" y="340"/>
                  </a:lnTo>
                  <a:lnTo>
                    <a:pt x="16" y="342"/>
                  </a:lnTo>
                  <a:lnTo>
                    <a:pt x="16" y="344"/>
                  </a:lnTo>
                  <a:lnTo>
                    <a:pt x="16" y="346"/>
                  </a:lnTo>
                  <a:lnTo>
                    <a:pt x="16" y="346"/>
                  </a:lnTo>
                  <a:lnTo>
                    <a:pt x="18" y="346"/>
                  </a:lnTo>
                  <a:lnTo>
                    <a:pt x="18" y="348"/>
                  </a:lnTo>
                  <a:lnTo>
                    <a:pt x="18" y="348"/>
                  </a:lnTo>
                  <a:lnTo>
                    <a:pt x="20" y="348"/>
                  </a:lnTo>
                  <a:lnTo>
                    <a:pt x="24" y="350"/>
                  </a:lnTo>
                  <a:lnTo>
                    <a:pt x="24" y="350"/>
                  </a:lnTo>
                  <a:lnTo>
                    <a:pt x="24" y="350"/>
                  </a:lnTo>
                  <a:lnTo>
                    <a:pt x="26" y="352"/>
                  </a:lnTo>
                  <a:lnTo>
                    <a:pt x="26" y="352"/>
                  </a:lnTo>
                  <a:lnTo>
                    <a:pt x="26" y="354"/>
                  </a:lnTo>
                  <a:lnTo>
                    <a:pt x="28" y="356"/>
                  </a:lnTo>
                  <a:lnTo>
                    <a:pt x="28" y="358"/>
                  </a:lnTo>
                  <a:lnTo>
                    <a:pt x="28" y="360"/>
                  </a:lnTo>
                  <a:lnTo>
                    <a:pt x="28" y="362"/>
                  </a:lnTo>
                  <a:lnTo>
                    <a:pt x="28" y="364"/>
                  </a:lnTo>
                  <a:lnTo>
                    <a:pt x="28" y="368"/>
                  </a:lnTo>
                  <a:lnTo>
                    <a:pt x="28" y="370"/>
                  </a:lnTo>
                  <a:lnTo>
                    <a:pt x="28" y="372"/>
                  </a:lnTo>
                  <a:lnTo>
                    <a:pt x="28" y="374"/>
                  </a:lnTo>
                  <a:lnTo>
                    <a:pt x="28" y="374"/>
                  </a:lnTo>
                  <a:lnTo>
                    <a:pt x="28" y="376"/>
                  </a:lnTo>
                  <a:lnTo>
                    <a:pt x="26" y="378"/>
                  </a:lnTo>
                  <a:lnTo>
                    <a:pt x="26" y="380"/>
                  </a:lnTo>
                  <a:lnTo>
                    <a:pt x="26" y="380"/>
                  </a:lnTo>
                  <a:lnTo>
                    <a:pt x="26" y="380"/>
                  </a:lnTo>
                  <a:lnTo>
                    <a:pt x="24" y="380"/>
                  </a:lnTo>
                  <a:lnTo>
                    <a:pt x="24" y="380"/>
                  </a:lnTo>
                  <a:lnTo>
                    <a:pt x="22" y="380"/>
                  </a:lnTo>
                  <a:lnTo>
                    <a:pt x="20" y="380"/>
                  </a:lnTo>
                  <a:lnTo>
                    <a:pt x="18" y="380"/>
                  </a:lnTo>
                  <a:lnTo>
                    <a:pt x="18" y="380"/>
                  </a:lnTo>
                  <a:lnTo>
                    <a:pt x="18" y="380"/>
                  </a:lnTo>
                  <a:lnTo>
                    <a:pt x="16" y="380"/>
                  </a:lnTo>
                  <a:lnTo>
                    <a:pt x="16" y="382"/>
                  </a:lnTo>
                  <a:lnTo>
                    <a:pt x="16" y="382"/>
                  </a:lnTo>
                  <a:lnTo>
                    <a:pt x="14" y="384"/>
                  </a:lnTo>
                  <a:lnTo>
                    <a:pt x="14" y="386"/>
                  </a:lnTo>
                  <a:lnTo>
                    <a:pt x="14" y="390"/>
                  </a:lnTo>
                  <a:lnTo>
                    <a:pt x="12" y="390"/>
                  </a:lnTo>
                  <a:lnTo>
                    <a:pt x="12" y="392"/>
                  </a:lnTo>
                  <a:lnTo>
                    <a:pt x="12" y="392"/>
                  </a:lnTo>
                  <a:lnTo>
                    <a:pt x="10" y="394"/>
                  </a:lnTo>
                  <a:lnTo>
                    <a:pt x="8" y="396"/>
                  </a:lnTo>
                  <a:lnTo>
                    <a:pt x="8" y="398"/>
                  </a:lnTo>
                  <a:lnTo>
                    <a:pt x="6" y="398"/>
                  </a:lnTo>
                  <a:lnTo>
                    <a:pt x="6" y="400"/>
                  </a:lnTo>
                  <a:lnTo>
                    <a:pt x="6" y="400"/>
                  </a:lnTo>
                  <a:lnTo>
                    <a:pt x="6" y="400"/>
                  </a:lnTo>
                  <a:lnTo>
                    <a:pt x="6" y="402"/>
                  </a:lnTo>
                  <a:lnTo>
                    <a:pt x="6" y="402"/>
                  </a:lnTo>
                  <a:lnTo>
                    <a:pt x="8" y="404"/>
                  </a:lnTo>
                  <a:lnTo>
                    <a:pt x="8" y="406"/>
                  </a:lnTo>
                  <a:lnTo>
                    <a:pt x="10" y="408"/>
                  </a:lnTo>
                  <a:lnTo>
                    <a:pt x="12" y="410"/>
                  </a:lnTo>
                  <a:lnTo>
                    <a:pt x="14" y="412"/>
                  </a:lnTo>
                  <a:lnTo>
                    <a:pt x="16" y="414"/>
                  </a:lnTo>
                  <a:lnTo>
                    <a:pt x="18" y="416"/>
                  </a:lnTo>
                  <a:lnTo>
                    <a:pt x="20" y="418"/>
                  </a:lnTo>
                  <a:lnTo>
                    <a:pt x="22" y="420"/>
                  </a:lnTo>
                  <a:lnTo>
                    <a:pt x="28" y="422"/>
                  </a:lnTo>
                  <a:lnTo>
                    <a:pt x="32" y="426"/>
                  </a:lnTo>
                  <a:lnTo>
                    <a:pt x="36" y="426"/>
                  </a:lnTo>
                  <a:lnTo>
                    <a:pt x="38" y="428"/>
                  </a:lnTo>
                  <a:lnTo>
                    <a:pt x="40" y="428"/>
                  </a:lnTo>
                  <a:lnTo>
                    <a:pt x="42" y="430"/>
                  </a:lnTo>
                  <a:lnTo>
                    <a:pt x="44" y="430"/>
                  </a:lnTo>
                  <a:lnTo>
                    <a:pt x="46" y="430"/>
                  </a:lnTo>
                  <a:lnTo>
                    <a:pt x="48" y="430"/>
                  </a:lnTo>
                  <a:lnTo>
                    <a:pt x="48" y="430"/>
                  </a:lnTo>
                  <a:lnTo>
                    <a:pt x="48" y="430"/>
                  </a:lnTo>
                  <a:lnTo>
                    <a:pt x="50" y="428"/>
                  </a:lnTo>
                  <a:lnTo>
                    <a:pt x="50" y="428"/>
                  </a:lnTo>
                  <a:lnTo>
                    <a:pt x="50" y="428"/>
                  </a:lnTo>
                  <a:lnTo>
                    <a:pt x="52" y="426"/>
                  </a:lnTo>
                  <a:lnTo>
                    <a:pt x="52" y="424"/>
                  </a:lnTo>
                  <a:lnTo>
                    <a:pt x="54" y="422"/>
                  </a:lnTo>
                  <a:lnTo>
                    <a:pt x="54" y="420"/>
                  </a:lnTo>
                  <a:lnTo>
                    <a:pt x="56" y="420"/>
                  </a:lnTo>
                  <a:lnTo>
                    <a:pt x="56" y="416"/>
                  </a:lnTo>
                  <a:lnTo>
                    <a:pt x="58" y="414"/>
                  </a:lnTo>
                  <a:lnTo>
                    <a:pt x="58" y="414"/>
                  </a:lnTo>
                  <a:lnTo>
                    <a:pt x="60" y="412"/>
                  </a:lnTo>
                  <a:lnTo>
                    <a:pt x="60" y="412"/>
                  </a:lnTo>
                  <a:lnTo>
                    <a:pt x="60" y="412"/>
                  </a:lnTo>
                  <a:lnTo>
                    <a:pt x="62" y="412"/>
                  </a:lnTo>
                  <a:lnTo>
                    <a:pt x="62" y="412"/>
                  </a:lnTo>
                  <a:lnTo>
                    <a:pt x="64" y="412"/>
                  </a:lnTo>
                  <a:lnTo>
                    <a:pt x="66" y="412"/>
                  </a:lnTo>
                  <a:lnTo>
                    <a:pt x="68" y="412"/>
                  </a:lnTo>
                  <a:lnTo>
                    <a:pt x="72" y="412"/>
                  </a:lnTo>
                  <a:lnTo>
                    <a:pt x="78" y="414"/>
                  </a:lnTo>
                  <a:lnTo>
                    <a:pt x="82" y="414"/>
                  </a:lnTo>
                  <a:lnTo>
                    <a:pt x="82" y="414"/>
                  </a:lnTo>
                  <a:lnTo>
                    <a:pt x="84" y="414"/>
                  </a:lnTo>
                  <a:lnTo>
                    <a:pt x="90" y="414"/>
                  </a:lnTo>
                  <a:lnTo>
                    <a:pt x="96" y="414"/>
                  </a:lnTo>
                  <a:lnTo>
                    <a:pt x="102" y="414"/>
                  </a:lnTo>
                  <a:lnTo>
                    <a:pt x="110" y="412"/>
                  </a:lnTo>
                  <a:lnTo>
                    <a:pt x="114" y="412"/>
                  </a:lnTo>
                  <a:lnTo>
                    <a:pt x="118" y="412"/>
                  </a:lnTo>
                  <a:lnTo>
                    <a:pt x="120" y="412"/>
                  </a:lnTo>
                  <a:lnTo>
                    <a:pt x="124" y="410"/>
                  </a:lnTo>
                  <a:lnTo>
                    <a:pt x="126" y="410"/>
                  </a:lnTo>
                  <a:lnTo>
                    <a:pt x="130" y="410"/>
                  </a:lnTo>
                  <a:lnTo>
                    <a:pt x="132" y="408"/>
                  </a:lnTo>
                  <a:lnTo>
                    <a:pt x="134" y="406"/>
                  </a:lnTo>
                  <a:lnTo>
                    <a:pt x="136" y="406"/>
                  </a:lnTo>
                  <a:lnTo>
                    <a:pt x="136" y="406"/>
                  </a:lnTo>
                  <a:lnTo>
                    <a:pt x="138" y="404"/>
                  </a:lnTo>
                  <a:lnTo>
                    <a:pt x="138" y="402"/>
                  </a:lnTo>
                  <a:lnTo>
                    <a:pt x="140" y="400"/>
                  </a:lnTo>
                  <a:lnTo>
                    <a:pt x="142" y="396"/>
                  </a:lnTo>
                  <a:lnTo>
                    <a:pt x="144" y="394"/>
                  </a:lnTo>
                  <a:lnTo>
                    <a:pt x="144" y="392"/>
                  </a:lnTo>
                  <a:lnTo>
                    <a:pt x="148" y="390"/>
                  </a:lnTo>
                  <a:lnTo>
                    <a:pt x="152" y="386"/>
                  </a:lnTo>
                  <a:lnTo>
                    <a:pt x="154" y="386"/>
                  </a:lnTo>
                  <a:lnTo>
                    <a:pt x="156" y="384"/>
                  </a:lnTo>
                  <a:lnTo>
                    <a:pt x="158" y="382"/>
                  </a:lnTo>
                  <a:lnTo>
                    <a:pt x="160" y="382"/>
                  </a:lnTo>
                  <a:lnTo>
                    <a:pt x="162" y="382"/>
                  </a:lnTo>
                  <a:lnTo>
                    <a:pt x="164" y="380"/>
                  </a:lnTo>
                  <a:lnTo>
                    <a:pt x="168" y="380"/>
                  </a:lnTo>
                  <a:lnTo>
                    <a:pt x="170" y="380"/>
                  </a:lnTo>
                  <a:lnTo>
                    <a:pt x="176" y="380"/>
                  </a:lnTo>
                  <a:lnTo>
                    <a:pt x="184" y="380"/>
                  </a:lnTo>
                  <a:lnTo>
                    <a:pt x="190" y="380"/>
                  </a:lnTo>
                  <a:lnTo>
                    <a:pt x="194" y="380"/>
                  </a:lnTo>
                  <a:lnTo>
                    <a:pt x="196" y="380"/>
                  </a:lnTo>
                  <a:lnTo>
                    <a:pt x="198" y="378"/>
                  </a:lnTo>
                  <a:lnTo>
                    <a:pt x="202" y="378"/>
                  </a:lnTo>
                  <a:lnTo>
                    <a:pt x="204" y="378"/>
                  </a:lnTo>
                  <a:lnTo>
                    <a:pt x="206" y="376"/>
                  </a:lnTo>
                  <a:lnTo>
                    <a:pt x="208" y="376"/>
                  </a:lnTo>
                  <a:lnTo>
                    <a:pt x="208" y="374"/>
                  </a:lnTo>
                  <a:lnTo>
                    <a:pt x="210" y="372"/>
                  </a:lnTo>
                  <a:lnTo>
                    <a:pt x="212" y="370"/>
                  </a:lnTo>
                  <a:lnTo>
                    <a:pt x="214" y="368"/>
                  </a:lnTo>
                  <a:lnTo>
                    <a:pt x="216" y="368"/>
                  </a:lnTo>
                  <a:lnTo>
                    <a:pt x="216" y="368"/>
                  </a:lnTo>
                  <a:lnTo>
                    <a:pt x="216" y="368"/>
                  </a:lnTo>
                  <a:lnTo>
                    <a:pt x="220" y="366"/>
                  </a:lnTo>
                  <a:lnTo>
                    <a:pt x="222" y="366"/>
                  </a:lnTo>
                  <a:lnTo>
                    <a:pt x="224" y="366"/>
                  </a:lnTo>
                  <a:lnTo>
                    <a:pt x="230" y="366"/>
                  </a:lnTo>
                  <a:lnTo>
                    <a:pt x="232" y="366"/>
                  </a:lnTo>
                  <a:lnTo>
                    <a:pt x="234" y="366"/>
                  </a:lnTo>
                  <a:lnTo>
                    <a:pt x="236" y="366"/>
                  </a:lnTo>
                  <a:lnTo>
                    <a:pt x="236" y="366"/>
                  </a:lnTo>
                  <a:lnTo>
                    <a:pt x="240" y="364"/>
                  </a:lnTo>
                  <a:lnTo>
                    <a:pt x="242" y="364"/>
                  </a:lnTo>
                  <a:lnTo>
                    <a:pt x="244" y="364"/>
                  </a:lnTo>
                  <a:lnTo>
                    <a:pt x="244" y="364"/>
                  </a:lnTo>
                  <a:lnTo>
                    <a:pt x="246" y="364"/>
                  </a:lnTo>
                  <a:lnTo>
                    <a:pt x="246" y="364"/>
                  </a:lnTo>
                  <a:lnTo>
                    <a:pt x="246" y="364"/>
                  </a:lnTo>
                  <a:lnTo>
                    <a:pt x="246" y="364"/>
                  </a:lnTo>
                  <a:lnTo>
                    <a:pt x="248" y="364"/>
                  </a:lnTo>
                  <a:lnTo>
                    <a:pt x="248" y="366"/>
                  </a:lnTo>
                  <a:lnTo>
                    <a:pt x="248" y="366"/>
                  </a:lnTo>
                  <a:lnTo>
                    <a:pt x="248" y="368"/>
                  </a:lnTo>
                  <a:lnTo>
                    <a:pt x="248" y="370"/>
                  </a:lnTo>
                  <a:lnTo>
                    <a:pt x="248" y="370"/>
                  </a:lnTo>
                  <a:lnTo>
                    <a:pt x="248" y="372"/>
                  </a:lnTo>
                  <a:lnTo>
                    <a:pt x="248" y="372"/>
                  </a:lnTo>
                  <a:lnTo>
                    <a:pt x="248" y="372"/>
                  </a:lnTo>
                  <a:lnTo>
                    <a:pt x="250" y="372"/>
                  </a:lnTo>
                  <a:lnTo>
                    <a:pt x="252" y="372"/>
                  </a:lnTo>
                  <a:lnTo>
                    <a:pt x="252" y="374"/>
                  </a:lnTo>
                  <a:lnTo>
                    <a:pt x="256" y="374"/>
                  </a:lnTo>
                  <a:lnTo>
                    <a:pt x="258" y="372"/>
                  </a:lnTo>
                  <a:lnTo>
                    <a:pt x="262" y="372"/>
                  </a:lnTo>
                  <a:lnTo>
                    <a:pt x="264" y="372"/>
                  </a:lnTo>
                  <a:lnTo>
                    <a:pt x="266" y="372"/>
                  </a:lnTo>
                  <a:lnTo>
                    <a:pt x="268" y="372"/>
                  </a:lnTo>
                  <a:lnTo>
                    <a:pt x="268" y="372"/>
                  </a:lnTo>
                  <a:lnTo>
                    <a:pt x="270" y="372"/>
                  </a:lnTo>
                  <a:lnTo>
                    <a:pt x="270" y="374"/>
                  </a:lnTo>
                  <a:lnTo>
                    <a:pt x="272" y="374"/>
                  </a:lnTo>
                  <a:lnTo>
                    <a:pt x="274" y="376"/>
                  </a:lnTo>
                  <a:lnTo>
                    <a:pt x="276" y="378"/>
                  </a:lnTo>
                  <a:lnTo>
                    <a:pt x="278" y="382"/>
                  </a:lnTo>
                  <a:lnTo>
                    <a:pt x="280" y="384"/>
                  </a:lnTo>
                  <a:lnTo>
                    <a:pt x="284" y="388"/>
                  </a:lnTo>
                  <a:lnTo>
                    <a:pt x="288" y="392"/>
                  </a:lnTo>
                  <a:lnTo>
                    <a:pt x="288" y="396"/>
                  </a:lnTo>
                  <a:lnTo>
                    <a:pt x="290" y="398"/>
                  </a:lnTo>
                  <a:lnTo>
                    <a:pt x="292" y="400"/>
                  </a:lnTo>
                  <a:lnTo>
                    <a:pt x="292" y="402"/>
                  </a:lnTo>
                  <a:lnTo>
                    <a:pt x="292" y="402"/>
                  </a:lnTo>
                  <a:lnTo>
                    <a:pt x="292" y="404"/>
                  </a:lnTo>
                  <a:lnTo>
                    <a:pt x="292" y="406"/>
                  </a:lnTo>
                  <a:lnTo>
                    <a:pt x="292" y="412"/>
                  </a:lnTo>
                  <a:lnTo>
                    <a:pt x="292" y="414"/>
                  </a:lnTo>
                  <a:lnTo>
                    <a:pt x="292" y="418"/>
                  </a:lnTo>
                  <a:lnTo>
                    <a:pt x="292" y="418"/>
                  </a:lnTo>
                  <a:lnTo>
                    <a:pt x="292" y="420"/>
                  </a:lnTo>
                  <a:lnTo>
                    <a:pt x="292" y="420"/>
                  </a:lnTo>
                  <a:lnTo>
                    <a:pt x="294" y="420"/>
                  </a:lnTo>
                  <a:lnTo>
                    <a:pt x="294" y="420"/>
                  </a:lnTo>
                  <a:lnTo>
                    <a:pt x="294" y="422"/>
                  </a:lnTo>
                  <a:lnTo>
                    <a:pt x="296" y="422"/>
                  </a:lnTo>
                  <a:lnTo>
                    <a:pt x="296" y="422"/>
                  </a:lnTo>
                  <a:lnTo>
                    <a:pt x="298" y="420"/>
                  </a:lnTo>
                  <a:lnTo>
                    <a:pt x="300" y="420"/>
                  </a:lnTo>
                  <a:lnTo>
                    <a:pt x="302" y="420"/>
                  </a:lnTo>
                  <a:lnTo>
                    <a:pt x="304" y="418"/>
                  </a:lnTo>
                  <a:lnTo>
                    <a:pt x="304" y="418"/>
                  </a:lnTo>
                  <a:lnTo>
                    <a:pt x="308" y="416"/>
                  </a:lnTo>
                  <a:lnTo>
                    <a:pt x="310" y="414"/>
                  </a:lnTo>
                  <a:lnTo>
                    <a:pt x="314" y="412"/>
                  </a:lnTo>
                  <a:lnTo>
                    <a:pt x="316" y="410"/>
                  </a:lnTo>
                  <a:lnTo>
                    <a:pt x="320" y="406"/>
                  </a:lnTo>
                  <a:lnTo>
                    <a:pt x="322" y="402"/>
                  </a:lnTo>
                  <a:lnTo>
                    <a:pt x="324" y="400"/>
                  </a:lnTo>
                  <a:lnTo>
                    <a:pt x="326" y="398"/>
                  </a:lnTo>
                  <a:lnTo>
                    <a:pt x="326" y="398"/>
                  </a:lnTo>
                  <a:lnTo>
                    <a:pt x="326" y="396"/>
                  </a:lnTo>
                  <a:lnTo>
                    <a:pt x="328" y="390"/>
                  </a:lnTo>
                  <a:lnTo>
                    <a:pt x="330" y="388"/>
                  </a:lnTo>
                  <a:lnTo>
                    <a:pt x="330" y="386"/>
                  </a:lnTo>
                  <a:lnTo>
                    <a:pt x="330" y="386"/>
                  </a:lnTo>
                  <a:lnTo>
                    <a:pt x="332" y="386"/>
                  </a:lnTo>
                  <a:lnTo>
                    <a:pt x="332" y="384"/>
                  </a:lnTo>
                  <a:lnTo>
                    <a:pt x="332" y="384"/>
                  </a:lnTo>
                  <a:lnTo>
                    <a:pt x="334" y="384"/>
                  </a:lnTo>
                  <a:lnTo>
                    <a:pt x="334" y="384"/>
                  </a:lnTo>
                  <a:lnTo>
                    <a:pt x="334" y="384"/>
                  </a:lnTo>
                  <a:lnTo>
                    <a:pt x="334" y="386"/>
                  </a:lnTo>
                  <a:lnTo>
                    <a:pt x="336" y="386"/>
                  </a:lnTo>
                  <a:lnTo>
                    <a:pt x="336" y="388"/>
                  </a:lnTo>
                  <a:lnTo>
                    <a:pt x="336" y="390"/>
                  </a:lnTo>
                  <a:lnTo>
                    <a:pt x="336" y="392"/>
                  </a:lnTo>
                  <a:lnTo>
                    <a:pt x="336" y="394"/>
                  </a:lnTo>
                  <a:lnTo>
                    <a:pt x="334" y="396"/>
                  </a:lnTo>
                  <a:lnTo>
                    <a:pt x="334" y="398"/>
                  </a:lnTo>
                  <a:lnTo>
                    <a:pt x="334" y="400"/>
                  </a:lnTo>
                  <a:lnTo>
                    <a:pt x="332" y="404"/>
                  </a:lnTo>
                  <a:lnTo>
                    <a:pt x="332" y="408"/>
                  </a:lnTo>
                  <a:lnTo>
                    <a:pt x="330" y="410"/>
                  </a:lnTo>
                  <a:lnTo>
                    <a:pt x="328" y="412"/>
                  </a:lnTo>
                  <a:lnTo>
                    <a:pt x="328" y="414"/>
                  </a:lnTo>
                  <a:lnTo>
                    <a:pt x="324" y="416"/>
                  </a:lnTo>
                  <a:lnTo>
                    <a:pt x="322" y="418"/>
                  </a:lnTo>
                  <a:lnTo>
                    <a:pt x="322" y="420"/>
                  </a:lnTo>
                  <a:lnTo>
                    <a:pt x="322" y="420"/>
                  </a:lnTo>
                  <a:lnTo>
                    <a:pt x="320" y="420"/>
                  </a:lnTo>
                  <a:lnTo>
                    <a:pt x="320" y="422"/>
                  </a:lnTo>
                  <a:lnTo>
                    <a:pt x="320" y="422"/>
                  </a:lnTo>
                  <a:lnTo>
                    <a:pt x="322" y="422"/>
                  </a:lnTo>
                  <a:lnTo>
                    <a:pt x="322" y="422"/>
                  </a:lnTo>
                  <a:lnTo>
                    <a:pt x="322" y="424"/>
                  </a:lnTo>
                  <a:lnTo>
                    <a:pt x="324" y="424"/>
                  </a:lnTo>
                  <a:lnTo>
                    <a:pt x="326" y="424"/>
                  </a:lnTo>
                  <a:lnTo>
                    <a:pt x="328" y="424"/>
                  </a:lnTo>
                  <a:lnTo>
                    <a:pt x="328" y="424"/>
                  </a:lnTo>
                  <a:lnTo>
                    <a:pt x="330" y="424"/>
                  </a:lnTo>
                  <a:lnTo>
                    <a:pt x="332" y="424"/>
                  </a:lnTo>
                  <a:lnTo>
                    <a:pt x="332" y="424"/>
                  </a:lnTo>
                  <a:lnTo>
                    <a:pt x="332" y="424"/>
                  </a:lnTo>
                  <a:lnTo>
                    <a:pt x="332" y="422"/>
                  </a:lnTo>
                  <a:lnTo>
                    <a:pt x="332" y="422"/>
                  </a:lnTo>
                  <a:lnTo>
                    <a:pt x="334" y="420"/>
                  </a:lnTo>
                  <a:lnTo>
                    <a:pt x="334" y="416"/>
                  </a:lnTo>
                  <a:lnTo>
                    <a:pt x="334" y="416"/>
                  </a:lnTo>
                  <a:lnTo>
                    <a:pt x="334" y="414"/>
                  </a:lnTo>
                  <a:lnTo>
                    <a:pt x="336" y="412"/>
                  </a:lnTo>
                  <a:lnTo>
                    <a:pt x="338" y="410"/>
                  </a:lnTo>
                  <a:lnTo>
                    <a:pt x="338" y="410"/>
                  </a:lnTo>
                  <a:lnTo>
                    <a:pt x="338" y="408"/>
                  </a:lnTo>
                  <a:lnTo>
                    <a:pt x="340" y="408"/>
                  </a:lnTo>
                  <a:lnTo>
                    <a:pt x="340" y="408"/>
                  </a:lnTo>
                  <a:lnTo>
                    <a:pt x="340" y="408"/>
                  </a:lnTo>
                  <a:lnTo>
                    <a:pt x="340" y="408"/>
                  </a:lnTo>
                  <a:lnTo>
                    <a:pt x="340" y="408"/>
                  </a:lnTo>
                  <a:lnTo>
                    <a:pt x="340" y="410"/>
                  </a:lnTo>
                  <a:lnTo>
                    <a:pt x="340" y="410"/>
                  </a:lnTo>
                  <a:lnTo>
                    <a:pt x="340" y="410"/>
                  </a:lnTo>
                  <a:lnTo>
                    <a:pt x="340" y="412"/>
                  </a:lnTo>
                  <a:lnTo>
                    <a:pt x="340" y="414"/>
                  </a:lnTo>
                  <a:lnTo>
                    <a:pt x="340" y="414"/>
                  </a:lnTo>
                  <a:lnTo>
                    <a:pt x="340" y="416"/>
                  </a:lnTo>
                  <a:lnTo>
                    <a:pt x="340" y="420"/>
                  </a:lnTo>
                  <a:lnTo>
                    <a:pt x="342" y="422"/>
                  </a:lnTo>
                  <a:lnTo>
                    <a:pt x="342" y="424"/>
                  </a:lnTo>
                  <a:lnTo>
                    <a:pt x="342" y="424"/>
                  </a:lnTo>
                  <a:lnTo>
                    <a:pt x="344" y="426"/>
                  </a:lnTo>
                  <a:lnTo>
                    <a:pt x="344" y="426"/>
                  </a:lnTo>
                  <a:lnTo>
                    <a:pt x="346" y="428"/>
                  </a:lnTo>
                  <a:lnTo>
                    <a:pt x="350" y="432"/>
                  </a:lnTo>
                  <a:lnTo>
                    <a:pt x="350" y="432"/>
                  </a:lnTo>
                  <a:lnTo>
                    <a:pt x="352" y="434"/>
                  </a:lnTo>
                  <a:lnTo>
                    <a:pt x="352" y="434"/>
                  </a:lnTo>
                  <a:lnTo>
                    <a:pt x="352" y="436"/>
                  </a:lnTo>
                  <a:lnTo>
                    <a:pt x="352" y="438"/>
                  </a:lnTo>
                  <a:lnTo>
                    <a:pt x="352" y="442"/>
                  </a:lnTo>
                  <a:lnTo>
                    <a:pt x="352" y="444"/>
                  </a:lnTo>
                  <a:lnTo>
                    <a:pt x="352" y="446"/>
                  </a:lnTo>
                  <a:lnTo>
                    <a:pt x="352" y="448"/>
                  </a:lnTo>
                  <a:lnTo>
                    <a:pt x="350" y="452"/>
                  </a:lnTo>
                  <a:lnTo>
                    <a:pt x="348" y="454"/>
                  </a:lnTo>
                  <a:lnTo>
                    <a:pt x="348" y="456"/>
                  </a:lnTo>
                  <a:lnTo>
                    <a:pt x="348" y="458"/>
                  </a:lnTo>
                  <a:lnTo>
                    <a:pt x="348" y="458"/>
                  </a:lnTo>
                  <a:lnTo>
                    <a:pt x="348" y="460"/>
                  </a:lnTo>
                  <a:lnTo>
                    <a:pt x="348" y="460"/>
                  </a:lnTo>
                  <a:lnTo>
                    <a:pt x="348" y="462"/>
                  </a:lnTo>
                  <a:lnTo>
                    <a:pt x="348" y="462"/>
                  </a:lnTo>
                  <a:lnTo>
                    <a:pt x="350" y="464"/>
                  </a:lnTo>
                  <a:lnTo>
                    <a:pt x="352" y="466"/>
                  </a:lnTo>
                  <a:lnTo>
                    <a:pt x="354" y="468"/>
                  </a:lnTo>
                  <a:lnTo>
                    <a:pt x="356" y="470"/>
                  </a:lnTo>
                  <a:lnTo>
                    <a:pt x="358" y="470"/>
                  </a:lnTo>
                  <a:lnTo>
                    <a:pt x="362" y="474"/>
                  </a:lnTo>
                  <a:lnTo>
                    <a:pt x="364" y="476"/>
                  </a:lnTo>
                  <a:lnTo>
                    <a:pt x="368" y="478"/>
                  </a:lnTo>
                  <a:lnTo>
                    <a:pt x="372" y="478"/>
                  </a:lnTo>
                  <a:lnTo>
                    <a:pt x="376" y="480"/>
                  </a:lnTo>
                  <a:lnTo>
                    <a:pt x="382" y="482"/>
                  </a:lnTo>
                  <a:lnTo>
                    <a:pt x="386" y="484"/>
                  </a:lnTo>
                  <a:lnTo>
                    <a:pt x="392" y="486"/>
                  </a:lnTo>
                  <a:lnTo>
                    <a:pt x="402" y="488"/>
                  </a:lnTo>
                  <a:lnTo>
                    <a:pt x="406" y="490"/>
                  </a:lnTo>
                  <a:lnTo>
                    <a:pt x="410" y="492"/>
                  </a:lnTo>
                  <a:lnTo>
                    <a:pt x="416" y="492"/>
                  </a:lnTo>
                  <a:lnTo>
                    <a:pt x="422" y="494"/>
                  </a:lnTo>
                  <a:lnTo>
                    <a:pt x="424" y="494"/>
                  </a:lnTo>
                  <a:lnTo>
                    <a:pt x="426" y="494"/>
                  </a:lnTo>
                  <a:lnTo>
                    <a:pt x="428" y="494"/>
                  </a:lnTo>
                  <a:lnTo>
                    <a:pt x="430" y="494"/>
                  </a:lnTo>
                  <a:lnTo>
                    <a:pt x="430" y="494"/>
                  </a:lnTo>
                  <a:lnTo>
                    <a:pt x="432" y="494"/>
                  </a:lnTo>
                  <a:lnTo>
                    <a:pt x="436" y="492"/>
                  </a:lnTo>
                  <a:lnTo>
                    <a:pt x="438" y="492"/>
                  </a:lnTo>
                  <a:lnTo>
                    <a:pt x="442" y="490"/>
                  </a:lnTo>
                  <a:lnTo>
                    <a:pt x="448" y="486"/>
                  </a:lnTo>
                  <a:lnTo>
                    <a:pt x="454" y="484"/>
                  </a:lnTo>
                  <a:lnTo>
                    <a:pt x="460" y="482"/>
                  </a:lnTo>
                  <a:lnTo>
                    <a:pt x="464" y="480"/>
                  </a:lnTo>
                  <a:lnTo>
                    <a:pt x="470" y="478"/>
                  </a:lnTo>
                  <a:lnTo>
                    <a:pt x="476" y="476"/>
                  </a:lnTo>
                  <a:lnTo>
                    <a:pt x="482" y="472"/>
                  </a:lnTo>
                  <a:lnTo>
                    <a:pt x="486" y="472"/>
                  </a:lnTo>
                  <a:lnTo>
                    <a:pt x="488" y="470"/>
                  </a:lnTo>
                  <a:lnTo>
                    <a:pt x="490" y="468"/>
                  </a:lnTo>
                  <a:lnTo>
                    <a:pt x="492" y="466"/>
                  </a:lnTo>
                  <a:lnTo>
                    <a:pt x="494" y="466"/>
                  </a:lnTo>
                  <a:lnTo>
                    <a:pt x="496" y="464"/>
                  </a:lnTo>
                  <a:lnTo>
                    <a:pt x="498" y="462"/>
                  </a:lnTo>
                  <a:lnTo>
                    <a:pt x="498" y="460"/>
                  </a:lnTo>
                  <a:lnTo>
                    <a:pt x="500" y="458"/>
                  </a:lnTo>
                  <a:lnTo>
                    <a:pt x="500" y="456"/>
                  </a:lnTo>
                  <a:lnTo>
                    <a:pt x="500" y="452"/>
                  </a:lnTo>
                  <a:lnTo>
                    <a:pt x="502" y="448"/>
                  </a:lnTo>
                  <a:lnTo>
                    <a:pt x="504" y="444"/>
                  </a:lnTo>
                  <a:lnTo>
                    <a:pt x="504" y="438"/>
                  </a:lnTo>
                  <a:lnTo>
                    <a:pt x="506" y="436"/>
                  </a:lnTo>
                  <a:lnTo>
                    <a:pt x="506" y="436"/>
                  </a:lnTo>
                  <a:lnTo>
                    <a:pt x="506" y="434"/>
                  </a:lnTo>
                  <a:lnTo>
                    <a:pt x="508" y="432"/>
                  </a:lnTo>
                  <a:lnTo>
                    <a:pt x="508" y="432"/>
                  </a:lnTo>
                  <a:lnTo>
                    <a:pt x="510" y="430"/>
                  </a:lnTo>
                  <a:lnTo>
                    <a:pt x="512" y="428"/>
                  </a:lnTo>
                  <a:lnTo>
                    <a:pt x="514" y="426"/>
                  </a:lnTo>
                  <a:lnTo>
                    <a:pt x="516" y="424"/>
                  </a:lnTo>
                  <a:lnTo>
                    <a:pt x="520" y="422"/>
                  </a:lnTo>
                  <a:lnTo>
                    <a:pt x="522" y="420"/>
                  </a:lnTo>
                  <a:lnTo>
                    <a:pt x="524" y="418"/>
                  </a:lnTo>
                  <a:lnTo>
                    <a:pt x="526" y="418"/>
                  </a:lnTo>
                  <a:lnTo>
                    <a:pt x="526" y="416"/>
                  </a:lnTo>
                  <a:lnTo>
                    <a:pt x="528" y="416"/>
                  </a:lnTo>
                  <a:lnTo>
                    <a:pt x="528" y="414"/>
                  </a:lnTo>
                  <a:lnTo>
                    <a:pt x="530" y="412"/>
                  </a:lnTo>
                  <a:lnTo>
                    <a:pt x="532" y="408"/>
                  </a:lnTo>
                  <a:lnTo>
                    <a:pt x="532" y="404"/>
                  </a:lnTo>
                  <a:lnTo>
                    <a:pt x="534" y="400"/>
                  </a:lnTo>
                  <a:lnTo>
                    <a:pt x="536" y="396"/>
                  </a:lnTo>
                  <a:lnTo>
                    <a:pt x="538" y="394"/>
                  </a:lnTo>
                  <a:lnTo>
                    <a:pt x="538" y="392"/>
                  </a:lnTo>
                  <a:lnTo>
                    <a:pt x="540" y="390"/>
                  </a:lnTo>
                  <a:lnTo>
                    <a:pt x="540" y="390"/>
                  </a:lnTo>
                  <a:lnTo>
                    <a:pt x="542" y="388"/>
                  </a:lnTo>
                  <a:lnTo>
                    <a:pt x="544" y="386"/>
                  </a:lnTo>
                  <a:lnTo>
                    <a:pt x="548" y="382"/>
                  </a:lnTo>
                  <a:lnTo>
                    <a:pt x="550" y="380"/>
                  </a:lnTo>
                  <a:lnTo>
                    <a:pt x="558" y="374"/>
                  </a:lnTo>
                  <a:lnTo>
                    <a:pt x="560" y="370"/>
                  </a:lnTo>
                  <a:lnTo>
                    <a:pt x="564" y="368"/>
                  </a:lnTo>
                  <a:lnTo>
                    <a:pt x="564" y="366"/>
                  </a:lnTo>
                  <a:lnTo>
                    <a:pt x="568" y="364"/>
                  </a:lnTo>
                  <a:lnTo>
                    <a:pt x="570" y="360"/>
                  </a:lnTo>
                  <a:lnTo>
                    <a:pt x="570" y="358"/>
                  </a:lnTo>
                  <a:lnTo>
                    <a:pt x="570" y="358"/>
                  </a:lnTo>
                  <a:lnTo>
                    <a:pt x="572" y="356"/>
                  </a:lnTo>
                  <a:lnTo>
                    <a:pt x="572" y="354"/>
                  </a:lnTo>
                  <a:lnTo>
                    <a:pt x="572" y="352"/>
                  </a:lnTo>
                  <a:lnTo>
                    <a:pt x="572" y="348"/>
                  </a:lnTo>
                  <a:lnTo>
                    <a:pt x="572" y="344"/>
                  </a:lnTo>
                  <a:lnTo>
                    <a:pt x="572" y="338"/>
                  </a:lnTo>
                  <a:lnTo>
                    <a:pt x="570" y="326"/>
                  </a:lnTo>
                  <a:lnTo>
                    <a:pt x="570" y="322"/>
                  </a:lnTo>
                  <a:lnTo>
                    <a:pt x="570" y="320"/>
                  </a:lnTo>
                  <a:lnTo>
                    <a:pt x="570" y="318"/>
                  </a:lnTo>
                  <a:lnTo>
                    <a:pt x="570" y="314"/>
                  </a:lnTo>
                  <a:lnTo>
                    <a:pt x="572" y="312"/>
                  </a:lnTo>
                  <a:lnTo>
                    <a:pt x="572" y="306"/>
                  </a:lnTo>
                  <a:lnTo>
                    <a:pt x="576" y="292"/>
                  </a:lnTo>
                  <a:lnTo>
                    <a:pt x="576" y="284"/>
                  </a:lnTo>
                  <a:lnTo>
                    <a:pt x="578" y="276"/>
                  </a:lnTo>
                  <a:lnTo>
                    <a:pt x="578" y="270"/>
                  </a:lnTo>
                  <a:lnTo>
                    <a:pt x="580" y="268"/>
                  </a:lnTo>
                  <a:lnTo>
                    <a:pt x="580" y="264"/>
                  </a:lnTo>
                  <a:lnTo>
                    <a:pt x="580" y="262"/>
                  </a:lnTo>
                  <a:lnTo>
                    <a:pt x="580" y="258"/>
                  </a:lnTo>
                  <a:lnTo>
                    <a:pt x="578" y="254"/>
                  </a:lnTo>
                  <a:lnTo>
                    <a:pt x="578" y="254"/>
                  </a:lnTo>
                  <a:lnTo>
                    <a:pt x="578" y="252"/>
                  </a:lnTo>
                  <a:lnTo>
                    <a:pt x="578" y="250"/>
                  </a:lnTo>
                  <a:lnTo>
                    <a:pt x="576" y="250"/>
                  </a:lnTo>
                  <a:lnTo>
                    <a:pt x="574" y="246"/>
                  </a:lnTo>
                  <a:lnTo>
                    <a:pt x="572" y="244"/>
                  </a:lnTo>
                  <a:lnTo>
                    <a:pt x="570" y="240"/>
                  </a:lnTo>
                  <a:lnTo>
                    <a:pt x="566" y="236"/>
                  </a:lnTo>
                  <a:lnTo>
                    <a:pt x="564" y="234"/>
                  </a:lnTo>
                  <a:lnTo>
                    <a:pt x="562" y="230"/>
                  </a:lnTo>
                  <a:lnTo>
                    <a:pt x="562" y="230"/>
                  </a:lnTo>
                  <a:lnTo>
                    <a:pt x="560" y="228"/>
                  </a:lnTo>
                  <a:lnTo>
                    <a:pt x="560" y="226"/>
                  </a:lnTo>
                  <a:lnTo>
                    <a:pt x="560" y="226"/>
                  </a:lnTo>
                  <a:lnTo>
                    <a:pt x="558" y="222"/>
                  </a:lnTo>
                  <a:lnTo>
                    <a:pt x="556" y="214"/>
                  </a:lnTo>
                  <a:lnTo>
                    <a:pt x="556" y="210"/>
                  </a:lnTo>
                  <a:lnTo>
                    <a:pt x="554" y="206"/>
                  </a:lnTo>
                  <a:lnTo>
                    <a:pt x="554" y="204"/>
                  </a:lnTo>
                  <a:lnTo>
                    <a:pt x="554" y="204"/>
                  </a:lnTo>
                  <a:lnTo>
                    <a:pt x="552" y="202"/>
                  </a:lnTo>
                  <a:lnTo>
                    <a:pt x="552" y="200"/>
                  </a:lnTo>
                  <a:lnTo>
                    <a:pt x="550" y="200"/>
                  </a:lnTo>
                  <a:lnTo>
                    <a:pt x="550" y="200"/>
                  </a:lnTo>
                  <a:lnTo>
                    <a:pt x="550" y="198"/>
                  </a:lnTo>
                  <a:lnTo>
                    <a:pt x="548" y="198"/>
                  </a:lnTo>
                  <a:lnTo>
                    <a:pt x="546" y="198"/>
                  </a:lnTo>
                  <a:lnTo>
                    <a:pt x="542" y="196"/>
                  </a:lnTo>
                  <a:lnTo>
                    <a:pt x="540" y="196"/>
                  </a:lnTo>
                  <a:lnTo>
                    <a:pt x="536" y="194"/>
                  </a:lnTo>
                  <a:lnTo>
                    <a:pt x="536" y="194"/>
                  </a:lnTo>
                  <a:lnTo>
                    <a:pt x="534" y="194"/>
                  </a:lnTo>
                  <a:lnTo>
                    <a:pt x="534" y="192"/>
                  </a:lnTo>
                  <a:lnTo>
                    <a:pt x="532" y="192"/>
                  </a:lnTo>
                  <a:lnTo>
                    <a:pt x="532" y="190"/>
                  </a:lnTo>
                  <a:lnTo>
                    <a:pt x="532" y="190"/>
                  </a:lnTo>
                  <a:lnTo>
                    <a:pt x="532" y="188"/>
                  </a:lnTo>
                  <a:lnTo>
                    <a:pt x="530" y="186"/>
                  </a:lnTo>
                  <a:lnTo>
                    <a:pt x="530" y="182"/>
                  </a:lnTo>
                  <a:lnTo>
                    <a:pt x="530" y="178"/>
                  </a:lnTo>
                  <a:lnTo>
                    <a:pt x="530" y="174"/>
                  </a:lnTo>
                  <a:lnTo>
                    <a:pt x="530" y="172"/>
                  </a:lnTo>
                  <a:lnTo>
                    <a:pt x="530" y="170"/>
                  </a:lnTo>
                  <a:lnTo>
                    <a:pt x="530" y="168"/>
                  </a:lnTo>
                  <a:lnTo>
                    <a:pt x="528" y="166"/>
                  </a:lnTo>
                  <a:lnTo>
                    <a:pt x="528" y="166"/>
                  </a:lnTo>
                  <a:lnTo>
                    <a:pt x="526" y="164"/>
                  </a:lnTo>
                  <a:lnTo>
                    <a:pt x="526" y="162"/>
                  </a:lnTo>
                  <a:lnTo>
                    <a:pt x="524" y="162"/>
                  </a:lnTo>
                  <a:lnTo>
                    <a:pt x="522" y="162"/>
                  </a:lnTo>
                  <a:lnTo>
                    <a:pt x="520" y="160"/>
                  </a:lnTo>
                  <a:lnTo>
                    <a:pt x="518" y="160"/>
                  </a:lnTo>
                  <a:lnTo>
                    <a:pt x="514" y="158"/>
                  </a:lnTo>
                  <a:lnTo>
                    <a:pt x="508" y="156"/>
                  </a:lnTo>
                  <a:lnTo>
                    <a:pt x="506" y="156"/>
                  </a:lnTo>
                  <a:lnTo>
                    <a:pt x="504" y="154"/>
                  </a:lnTo>
                  <a:lnTo>
                    <a:pt x="502" y="154"/>
                  </a:lnTo>
                  <a:lnTo>
                    <a:pt x="500" y="152"/>
                  </a:lnTo>
                  <a:lnTo>
                    <a:pt x="500" y="152"/>
                  </a:lnTo>
                  <a:lnTo>
                    <a:pt x="498" y="150"/>
                  </a:lnTo>
                  <a:lnTo>
                    <a:pt x="498" y="148"/>
                  </a:lnTo>
                  <a:lnTo>
                    <a:pt x="498" y="146"/>
                  </a:lnTo>
                  <a:lnTo>
                    <a:pt x="498" y="146"/>
                  </a:lnTo>
                  <a:lnTo>
                    <a:pt x="496" y="144"/>
                  </a:lnTo>
                  <a:lnTo>
                    <a:pt x="496" y="140"/>
                  </a:lnTo>
                  <a:lnTo>
                    <a:pt x="496" y="138"/>
                  </a:lnTo>
                  <a:lnTo>
                    <a:pt x="496" y="134"/>
                  </a:lnTo>
                  <a:lnTo>
                    <a:pt x="498" y="124"/>
                  </a:lnTo>
                  <a:lnTo>
                    <a:pt x="498" y="120"/>
                  </a:lnTo>
                  <a:lnTo>
                    <a:pt x="498" y="118"/>
                  </a:lnTo>
                  <a:lnTo>
                    <a:pt x="498" y="116"/>
                  </a:lnTo>
                  <a:lnTo>
                    <a:pt x="496" y="112"/>
                  </a:lnTo>
                  <a:lnTo>
                    <a:pt x="496" y="108"/>
                  </a:lnTo>
                  <a:lnTo>
                    <a:pt x="494" y="102"/>
                  </a:lnTo>
                  <a:lnTo>
                    <a:pt x="494" y="98"/>
                  </a:lnTo>
                  <a:lnTo>
                    <a:pt x="492" y="92"/>
                  </a:lnTo>
                  <a:lnTo>
                    <a:pt x="490" y="88"/>
                  </a:lnTo>
                  <a:lnTo>
                    <a:pt x="490" y="84"/>
                  </a:lnTo>
                  <a:lnTo>
                    <a:pt x="488" y="82"/>
                  </a:lnTo>
                  <a:lnTo>
                    <a:pt x="488" y="80"/>
                  </a:lnTo>
                  <a:lnTo>
                    <a:pt x="486" y="78"/>
                  </a:lnTo>
                  <a:lnTo>
                    <a:pt x="486" y="78"/>
                  </a:lnTo>
                  <a:lnTo>
                    <a:pt x="484" y="74"/>
                  </a:lnTo>
                  <a:lnTo>
                    <a:pt x="482" y="72"/>
                  </a:lnTo>
                  <a:lnTo>
                    <a:pt x="478" y="70"/>
                  </a:lnTo>
                  <a:lnTo>
                    <a:pt x="476" y="68"/>
                  </a:lnTo>
                  <a:lnTo>
                    <a:pt x="474" y="64"/>
                  </a:lnTo>
                  <a:lnTo>
                    <a:pt x="472" y="62"/>
                  </a:lnTo>
                  <a:lnTo>
                    <a:pt x="470" y="60"/>
                  </a:lnTo>
                  <a:lnTo>
                    <a:pt x="470" y="60"/>
                  </a:lnTo>
                  <a:lnTo>
                    <a:pt x="468" y="56"/>
                  </a:lnTo>
                  <a:lnTo>
                    <a:pt x="466" y="54"/>
                  </a:lnTo>
                  <a:lnTo>
                    <a:pt x="464" y="50"/>
                  </a:lnTo>
                  <a:lnTo>
                    <a:pt x="464" y="46"/>
                  </a:lnTo>
                  <a:lnTo>
                    <a:pt x="462" y="42"/>
                  </a:lnTo>
                  <a:lnTo>
                    <a:pt x="460" y="38"/>
                  </a:lnTo>
                  <a:lnTo>
                    <a:pt x="460" y="36"/>
                  </a:lnTo>
                  <a:lnTo>
                    <a:pt x="460" y="34"/>
                  </a:lnTo>
                  <a:lnTo>
                    <a:pt x="460" y="34"/>
                  </a:lnTo>
                  <a:lnTo>
                    <a:pt x="460" y="32"/>
                  </a:lnTo>
                  <a:lnTo>
                    <a:pt x="460" y="32"/>
                  </a:lnTo>
                  <a:lnTo>
                    <a:pt x="460" y="30"/>
                  </a:lnTo>
                  <a:lnTo>
                    <a:pt x="460" y="28"/>
                  </a:lnTo>
                  <a:lnTo>
                    <a:pt x="462" y="26"/>
                  </a:lnTo>
                  <a:lnTo>
                    <a:pt x="464" y="24"/>
                  </a:lnTo>
                  <a:lnTo>
                    <a:pt x="466" y="22"/>
                  </a:lnTo>
                  <a:lnTo>
                    <a:pt x="466" y="20"/>
                  </a:lnTo>
                  <a:lnTo>
                    <a:pt x="466" y="20"/>
                  </a:lnTo>
                  <a:lnTo>
                    <a:pt x="468" y="18"/>
                  </a:lnTo>
                  <a:lnTo>
                    <a:pt x="468" y="18"/>
                  </a:lnTo>
                  <a:lnTo>
                    <a:pt x="468" y="16"/>
                  </a:lnTo>
                  <a:lnTo>
                    <a:pt x="466" y="16"/>
                  </a:lnTo>
                  <a:lnTo>
                    <a:pt x="466" y="14"/>
                  </a:lnTo>
                  <a:lnTo>
                    <a:pt x="466" y="12"/>
                  </a:lnTo>
                  <a:lnTo>
                    <a:pt x="466" y="12"/>
                  </a:lnTo>
                  <a:lnTo>
                    <a:pt x="464" y="8"/>
                  </a:lnTo>
                  <a:lnTo>
                    <a:pt x="462" y="6"/>
                  </a:lnTo>
                  <a:lnTo>
                    <a:pt x="460" y="4"/>
                  </a:lnTo>
                  <a:lnTo>
                    <a:pt x="460" y="4"/>
                  </a:lnTo>
                  <a:lnTo>
                    <a:pt x="458" y="2"/>
                  </a:lnTo>
                  <a:lnTo>
                    <a:pt x="456" y="0"/>
                  </a:lnTo>
                  <a:lnTo>
                    <a:pt x="456" y="0"/>
                  </a:lnTo>
                  <a:lnTo>
                    <a:pt x="454" y="0"/>
                  </a:lnTo>
                  <a:lnTo>
                    <a:pt x="454" y="0"/>
                  </a:lnTo>
                  <a:lnTo>
                    <a:pt x="452" y="0"/>
                  </a:lnTo>
                  <a:lnTo>
                    <a:pt x="452" y="0"/>
                  </a:lnTo>
                  <a:lnTo>
                    <a:pt x="450" y="0"/>
                  </a:lnTo>
                  <a:lnTo>
                    <a:pt x="450" y="0"/>
                  </a:lnTo>
                  <a:lnTo>
                    <a:pt x="448" y="2"/>
                  </a:lnTo>
                  <a:lnTo>
                    <a:pt x="448" y="2"/>
                  </a:lnTo>
                  <a:lnTo>
                    <a:pt x="448" y="4"/>
                  </a:lnTo>
                  <a:lnTo>
                    <a:pt x="446" y="6"/>
                  </a:lnTo>
                  <a:lnTo>
                    <a:pt x="444" y="12"/>
                  </a:lnTo>
                  <a:lnTo>
                    <a:pt x="444" y="14"/>
                  </a:lnTo>
                  <a:lnTo>
                    <a:pt x="442" y="16"/>
                  </a:lnTo>
                  <a:lnTo>
                    <a:pt x="442" y="16"/>
                  </a:lnTo>
                  <a:lnTo>
                    <a:pt x="442" y="18"/>
                  </a:lnTo>
                  <a:lnTo>
                    <a:pt x="440" y="20"/>
                  </a:lnTo>
                  <a:lnTo>
                    <a:pt x="438" y="22"/>
                  </a:lnTo>
                  <a:lnTo>
                    <a:pt x="436" y="24"/>
                  </a:lnTo>
                  <a:lnTo>
                    <a:pt x="434" y="26"/>
                  </a:lnTo>
                  <a:lnTo>
                    <a:pt x="434" y="26"/>
                  </a:lnTo>
                  <a:lnTo>
                    <a:pt x="434" y="28"/>
                  </a:lnTo>
                  <a:lnTo>
                    <a:pt x="432" y="30"/>
                  </a:lnTo>
                  <a:lnTo>
                    <a:pt x="432" y="30"/>
                  </a:lnTo>
                  <a:lnTo>
                    <a:pt x="432" y="34"/>
                  </a:lnTo>
                  <a:lnTo>
                    <a:pt x="432" y="38"/>
                  </a:lnTo>
                  <a:lnTo>
                    <a:pt x="432" y="42"/>
                  </a:lnTo>
                  <a:lnTo>
                    <a:pt x="432" y="46"/>
                  </a:lnTo>
                  <a:lnTo>
                    <a:pt x="432" y="50"/>
                  </a:lnTo>
                  <a:lnTo>
                    <a:pt x="434" y="58"/>
                  </a:lnTo>
                  <a:lnTo>
                    <a:pt x="434" y="66"/>
                  </a:lnTo>
                  <a:lnTo>
                    <a:pt x="434" y="70"/>
                  </a:lnTo>
                  <a:lnTo>
                    <a:pt x="436" y="74"/>
                  </a:lnTo>
                  <a:lnTo>
                    <a:pt x="436" y="78"/>
                  </a:lnTo>
                  <a:lnTo>
                    <a:pt x="436" y="82"/>
                  </a:lnTo>
                  <a:lnTo>
                    <a:pt x="436" y="86"/>
                  </a:lnTo>
                  <a:lnTo>
                    <a:pt x="434" y="88"/>
                  </a:lnTo>
                  <a:lnTo>
                    <a:pt x="434" y="90"/>
                  </a:lnTo>
                  <a:lnTo>
                    <a:pt x="432" y="92"/>
                  </a:lnTo>
                  <a:lnTo>
                    <a:pt x="432" y="94"/>
                  </a:lnTo>
                  <a:lnTo>
                    <a:pt x="430" y="96"/>
                  </a:lnTo>
                  <a:lnTo>
                    <a:pt x="428" y="100"/>
                  </a:lnTo>
                  <a:lnTo>
                    <a:pt x="426" y="102"/>
                  </a:lnTo>
                  <a:lnTo>
                    <a:pt x="426" y="104"/>
                  </a:lnTo>
                  <a:lnTo>
                    <a:pt x="426" y="104"/>
                  </a:lnTo>
                  <a:lnTo>
                    <a:pt x="424" y="106"/>
                  </a:lnTo>
                  <a:lnTo>
                    <a:pt x="424" y="110"/>
                  </a:lnTo>
                  <a:lnTo>
                    <a:pt x="422" y="110"/>
                  </a:lnTo>
                  <a:lnTo>
                    <a:pt x="422" y="112"/>
                  </a:lnTo>
                  <a:lnTo>
                    <a:pt x="422" y="112"/>
                  </a:lnTo>
                  <a:lnTo>
                    <a:pt x="420" y="114"/>
                  </a:lnTo>
                  <a:lnTo>
                    <a:pt x="420" y="114"/>
                  </a:lnTo>
                  <a:lnTo>
                    <a:pt x="420" y="114"/>
                  </a:lnTo>
                  <a:lnTo>
                    <a:pt x="416" y="114"/>
                  </a:lnTo>
                  <a:lnTo>
                    <a:pt x="414" y="116"/>
                  </a:lnTo>
                  <a:lnTo>
                    <a:pt x="412" y="116"/>
                  </a:lnTo>
                  <a:lnTo>
                    <a:pt x="410" y="116"/>
                  </a:lnTo>
                  <a:lnTo>
                    <a:pt x="406" y="114"/>
                  </a:lnTo>
                  <a:lnTo>
                    <a:pt x="404" y="114"/>
                  </a:lnTo>
                  <a:lnTo>
                    <a:pt x="402" y="114"/>
                  </a:lnTo>
                  <a:lnTo>
                    <a:pt x="402" y="114"/>
                  </a:lnTo>
                  <a:lnTo>
                    <a:pt x="402" y="112"/>
                  </a:lnTo>
                  <a:lnTo>
                    <a:pt x="400" y="112"/>
                  </a:lnTo>
                  <a:lnTo>
                    <a:pt x="398" y="110"/>
                  </a:lnTo>
                  <a:lnTo>
                    <a:pt x="396" y="106"/>
                  </a:lnTo>
                  <a:lnTo>
                    <a:pt x="392" y="102"/>
                  </a:lnTo>
                  <a:lnTo>
                    <a:pt x="390" y="102"/>
                  </a:lnTo>
                  <a:lnTo>
                    <a:pt x="388" y="100"/>
                  </a:lnTo>
                  <a:lnTo>
                    <a:pt x="386" y="98"/>
                  </a:lnTo>
                  <a:lnTo>
                    <a:pt x="384" y="98"/>
                  </a:lnTo>
                  <a:lnTo>
                    <a:pt x="378" y="96"/>
                  </a:lnTo>
                  <a:lnTo>
                    <a:pt x="374" y="94"/>
                  </a:lnTo>
                  <a:lnTo>
                    <a:pt x="370" y="94"/>
                  </a:lnTo>
                  <a:lnTo>
                    <a:pt x="368" y="92"/>
                  </a:lnTo>
                  <a:lnTo>
                    <a:pt x="368" y="92"/>
                  </a:lnTo>
                  <a:lnTo>
                    <a:pt x="366" y="90"/>
                  </a:lnTo>
                  <a:lnTo>
                    <a:pt x="362" y="86"/>
                  </a:lnTo>
                  <a:lnTo>
                    <a:pt x="360" y="84"/>
                  </a:lnTo>
                  <a:lnTo>
                    <a:pt x="358" y="82"/>
                  </a:lnTo>
                  <a:lnTo>
                    <a:pt x="356" y="80"/>
                  </a:lnTo>
                  <a:lnTo>
                    <a:pt x="356" y="80"/>
                  </a:lnTo>
                  <a:lnTo>
                    <a:pt x="354" y="80"/>
                  </a:lnTo>
                  <a:lnTo>
                    <a:pt x="350" y="78"/>
                  </a:lnTo>
                  <a:lnTo>
                    <a:pt x="348" y="78"/>
                  </a:lnTo>
                  <a:lnTo>
                    <a:pt x="346" y="78"/>
                  </a:lnTo>
                  <a:lnTo>
                    <a:pt x="346" y="76"/>
                  </a:lnTo>
                  <a:lnTo>
                    <a:pt x="346" y="76"/>
                  </a:lnTo>
                  <a:lnTo>
                    <a:pt x="344" y="76"/>
                  </a:lnTo>
                  <a:lnTo>
                    <a:pt x="344" y="76"/>
                  </a:lnTo>
                  <a:lnTo>
                    <a:pt x="344" y="74"/>
                  </a:lnTo>
                  <a:lnTo>
                    <a:pt x="344" y="74"/>
                  </a:lnTo>
                  <a:lnTo>
                    <a:pt x="346" y="72"/>
                  </a:lnTo>
                  <a:lnTo>
                    <a:pt x="346" y="70"/>
                  </a:lnTo>
                  <a:lnTo>
                    <a:pt x="348" y="68"/>
                  </a:lnTo>
                  <a:lnTo>
                    <a:pt x="350" y="64"/>
                  </a:lnTo>
                  <a:lnTo>
                    <a:pt x="350" y="62"/>
                  </a:lnTo>
                  <a:lnTo>
                    <a:pt x="352" y="60"/>
                  </a:lnTo>
                  <a:lnTo>
                    <a:pt x="352" y="60"/>
                  </a:lnTo>
                  <a:lnTo>
                    <a:pt x="352" y="58"/>
                  </a:lnTo>
                  <a:lnTo>
                    <a:pt x="352" y="54"/>
                  </a:lnTo>
                  <a:lnTo>
                    <a:pt x="354" y="52"/>
                  </a:lnTo>
                  <a:lnTo>
                    <a:pt x="354" y="50"/>
                  </a:lnTo>
                  <a:lnTo>
                    <a:pt x="354" y="50"/>
                  </a:lnTo>
                  <a:lnTo>
                    <a:pt x="356" y="48"/>
                  </a:lnTo>
                  <a:lnTo>
                    <a:pt x="356" y="48"/>
                  </a:lnTo>
                  <a:lnTo>
                    <a:pt x="356" y="48"/>
                  </a:lnTo>
                  <a:lnTo>
                    <a:pt x="360" y="46"/>
                  </a:lnTo>
                  <a:lnTo>
                    <a:pt x="362" y="46"/>
                  </a:lnTo>
                  <a:lnTo>
                    <a:pt x="364" y="46"/>
                  </a:lnTo>
                  <a:lnTo>
                    <a:pt x="364" y="44"/>
                  </a:lnTo>
                  <a:lnTo>
                    <a:pt x="366" y="42"/>
                  </a:lnTo>
                  <a:lnTo>
                    <a:pt x="366" y="40"/>
                  </a:lnTo>
                  <a:lnTo>
                    <a:pt x="368" y="38"/>
                  </a:lnTo>
                  <a:lnTo>
                    <a:pt x="370" y="36"/>
                  </a:lnTo>
                  <a:lnTo>
                    <a:pt x="370" y="34"/>
                  </a:lnTo>
                  <a:lnTo>
                    <a:pt x="370" y="32"/>
                  </a:lnTo>
                  <a:lnTo>
                    <a:pt x="370" y="30"/>
                  </a:lnTo>
                  <a:lnTo>
                    <a:pt x="370" y="30"/>
                  </a:lnTo>
                  <a:lnTo>
                    <a:pt x="370" y="28"/>
                  </a:lnTo>
                  <a:lnTo>
                    <a:pt x="370" y="28"/>
                  </a:lnTo>
                  <a:lnTo>
                    <a:pt x="370" y="26"/>
                  </a:lnTo>
                  <a:lnTo>
                    <a:pt x="370" y="26"/>
                  </a:lnTo>
                  <a:lnTo>
                    <a:pt x="368" y="26"/>
                  </a:lnTo>
                  <a:lnTo>
                    <a:pt x="368" y="24"/>
                  </a:lnTo>
                  <a:lnTo>
                    <a:pt x="366" y="24"/>
                  </a:lnTo>
                  <a:lnTo>
                    <a:pt x="366" y="24"/>
                  </a:lnTo>
                  <a:lnTo>
                    <a:pt x="364" y="24"/>
                  </a:lnTo>
                  <a:lnTo>
                    <a:pt x="362" y="24"/>
                  </a:lnTo>
                  <a:lnTo>
                    <a:pt x="358" y="24"/>
                  </a:lnTo>
                  <a:lnTo>
                    <a:pt x="354" y="24"/>
                  </a:lnTo>
                  <a:lnTo>
                    <a:pt x="352" y="24"/>
                  </a:lnTo>
                  <a:lnTo>
                    <a:pt x="350" y="24"/>
                  </a:lnTo>
                  <a:lnTo>
                    <a:pt x="348" y="24"/>
                  </a:lnTo>
                  <a:lnTo>
                    <a:pt x="346" y="22"/>
                  </a:lnTo>
                  <a:lnTo>
                    <a:pt x="340" y="22"/>
                  </a:lnTo>
                  <a:lnTo>
                    <a:pt x="336" y="22"/>
                  </a:lnTo>
                  <a:lnTo>
                    <a:pt x="332" y="22"/>
                  </a:lnTo>
                  <a:lnTo>
                    <a:pt x="332" y="22"/>
                  </a:lnTo>
                  <a:lnTo>
                    <a:pt x="330" y="22"/>
                  </a:lnTo>
                  <a:lnTo>
                    <a:pt x="328" y="20"/>
                  </a:lnTo>
                  <a:lnTo>
                    <a:pt x="326" y="20"/>
                  </a:lnTo>
                  <a:lnTo>
                    <a:pt x="324" y="18"/>
                  </a:lnTo>
                  <a:lnTo>
                    <a:pt x="320" y="16"/>
                  </a:lnTo>
                  <a:lnTo>
                    <a:pt x="318" y="14"/>
                  </a:lnTo>
                  <a:lnTo>
                    <a:pt x="314" y="12"/>
                  </a:lnTo>
                  <a:lnTo>
                    <a:pt x="312" y="12"/>
                  </a:lnTo>
                  <a:lnTo>
                    <a:pt x="310" y="10"/>
                  </a:lnTo>
                  <a:lnTo>
                    <a:pt x="304" y="8"/>
                  </a:lnTo>
                  <a:lnTo>
                    <a:pt x="302" y="8"/>
                  </a:lnTo>
                  <a:lnTo>
                    <a:pt x="298" y="8"/>
                  </a:lnTo>
                  <a:lnTo>
                    <a:pt x="294" y="6"/>
                  </a:lnTo>
                  <a:lnTo>
                    <a:pt x="294" y="6"/>
                  </a:lnTo>
                  <a:lnTo>
                    <a:pt x="292" y="6"/>
                  </a:lnTo>
                  <a:lnTo>
                    <a:pt x="290" y="6"/>
                  </a:lnTo>
                  <a:lnTo>
                    <a:pt x="290" y="8"/>
                  </a:lnTo>
                  <a:lnTo>
                    <a:pt x="288" y="8"/>
                  </a:lnTo>
                  <a:lnTo>
                    <a:pt x="288" y="8"/>
                  </a:lnTo>
                  <a:lnTo>
                    <a:pt x="286" y="8"/>
                  </a:lnTo>
                  <a:lnTo>
                    <a:pt x="286" y="10"/>
                  </a:lnTo>
                  <a:lnTo>
                    <a:pt x="286" y="10"/>
                  </a:lnTo>
                  <a:lnTo>
                    <a:pt x="286" y="10"/>
                  </a:lnTo>
                  <a:lnTo>
                    <a:pt x="286" y="12"/>
                  </a:lnTo>
                  <a:lnTo>
                    <a:pt x="286" y="12"/>
                  </a:lnTo>
                  <a:lnTo>
                    <a:pt x="286" y="14"/>
                  </a:lnTo>
                  <a:lnTo>
                    <a:pt x="286" y="14"/>
                  </a:lnTo>
                  <a:lnTo>
                    <a:pt x="286" y="14"/>
                  </a:lnTo>
                  <a:lnTo>
                    <a:pt x="286" y="16"/>
                  </a:lnTo>
                  <a:lnTo>
                    <a:pt x="288" y="16"/>
                  </a:lnTo>
                  <a:lnTo>
                    <a:pt x="288" y="16"/>
                  </a:lnTo>
                  <a:lnTo>
                    <a:pt x="290" y="18"/>
                  </a:lnTo>
                  <a:lnTo>
                    <a:pt x="294" y="18"/>
                  </a:lnTo>
                  <a:lnTo>
                    <a:pt x="294" y="18"/>
                  </a:lnTo>
                  <a:lnTo>
                    <a:pt x="296" y="18"/>
                  </a:lnTo>
                  <a:lnTo>
                    <a:pt x="296"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2" name="Freeform 18"/>
            <p:cNvSpPr>
              <a:spLocks/>
            </p:cNvSpPr>
            <p:nvPr/>
          </p:nvSpPr>
          <p:spPr bwMode="auto">
            <a:xfrm>
              <a:off x="7761075" y="5865592"/>
              <a:ext cx="96996" cy="90068"/>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3" name="Freeform 19"/>
            <p:cNvSpPr>
              <a:spLocks/>
            </p:cNvSpPr>
            <p:nvPr/>
          </p:nvSpPr>
          <p:spPr bwMode="auto">
            <a:xfrm>
              <a:off x="7761075" y="5865592"/>
              <a:ext cx="96996" cy="90068"/>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4" name="Freeform 20"/>
            <p:cNvSpPr>
              <a:spLocks/>
            </p:cNvSpPr>
            <p:nvPr/>
          </p:nvSpPr>
          <p:spPr bwMode="auto">
            <a:xfrm>
              <a:off x="8502403" y="5661207"/>
              <a:ext cx="114317" cy="232098"/>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5" name="Freeform 21"/>
            <p:cNvSpPr>
              <a:spLocks/>
            </p:cNvSpPr>
            <p:nvPr/>
          </p:nvSpPr>
          <p:spPr bwMode="auto">
            <a:xfrm>
              <a:off x="8502403" y="5661207"/>
              <a:ext cx="114317" cy="232098"/>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6" name="Freeform 22"/>
            <p:cNvSpPr>
              <a:spLocks/>
            </p:cNvSpPr>
            <p:nvPr/>
          </p:nvSpPr>
          <p:spPr bwMode="auto">
            <a:xfrm>
              <a:off x="8270305" y="5848271"/>
              <a:ext cx="218241" cy="221706"/>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7" name="Freeform 23"/>
            <p:cNvSpPr>
              <a:spLocks/>
            </p:cNvSpPr>
            <p:nvPr/>
          </p:nvSpPr>
          <p:spPr bwMode="auto">
            <a:xfrm>
              <a:off x="8270305" y="5848271"/>
              <a:ext cx="218241" cy="221706"/>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8" name="Freeform 24"/>
            <p:cNvSpPr>
              <a:spLocks/>
            </p:cNvSpPr>
            <p:nvPr/>
          </p:nvSpPr>
          <p:spPr bwMode="auto">
            <a:xfrm>
              <a:off x="7248381" y="3911811"/>
              <a:ext cx="41570" cy="83140"/>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49" name="Freeform 25"/>
            <p:cNvSpPr>
              <a:spLocks/>
            </p:cNvSpPr>
            <p:nvPr/>
          </p:nvSpPr>
          <p:spPr bwMode="auto">
            <a:xfrm>
              <a:off x="7248381" y="3911811"/>
              <a:ext cx="41570" cy="83140"/>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0" name="Freeform 26"/>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1" name="Freeform 27"/>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2" name="Freeform 28"/>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3" name="Freeform 29"/>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4" name="Freeform 30"/>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5" name="Freeform 31"/>
            <p:cNvSpPr>
              <a:spLocks/>
            </p:cNvSpPr>
            <p:nvPr/>
          </p:nvSpPr>
          <p:spPr bwMode="auto">
            <a:xfrm>
              <a:off x="6704509" y="4029592"/>
              <a:ext cx="200921" cy="346415"/>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6" name="Freeform 32"/>
            <p:cNvSpPr>
              <a:spLocks/>
            </p:cNvSpPr>
            <p:nvPr/>
          </p:nvSpPr>
          <p:spPr bwMode="auto">
            <a:xfrm>
              <a:off x="6704509" y="4029592"/>
              <a:ext cx="200921" cy="346415"/>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7" name="Freeform 33"/>
            <p:cNvSpPr>
              <a:spLocks/>
            </p:cNvSpPr>
            <p:nvPr/>
          </p:nvSpPr>
          <p:spPr bwMode="auto">
            <a:xfrm>
              <a:off x="5793438" y="3582717"/>
              <a:ext cx="311774" cy="370664"/>
            </a:xfrm>
            <a:custGeom>
              <a:avLst/>
              <a:gdLst>
                <a:gd name="T0" fmla="*/ 132 w 180"/>
                <a:gd name="T1" fmla="*/ 2 h 214"/>
                <a:gd name="T2" fmla="*/ 124 w 180"/>
                <a:gd name="T3" fmla="*/ 6 h 214"/>
                <a:gd name="T4" fmla="*/ 122 w 180"/>
                <a:gd name="T5" fmla="*/ 24 h 214"/>
                <a:gd name="T6" fmla="*/ 114 w 180"/>
                <a:gd name="T7" fmla="*/ 48 h 214"/>
                <a:gd name="T8" fmla="*/ 108 w 180"/>
                <a:gd name="T9" fmla="*/ 56 h 214"/>
                <a:gd name="T10" fmla="*/ 100 w 180"/>
                <a:gd name="T11" fmla="*/ 62 h 214"/>
                <a:gd name="T12" fmla="*/ 98 w 180"/>
                <a:gd name="T13" fmla="*/ 76 h 214"/>
                <a:gd name="T14" fmla="*/ 94 w 180"/>
                <a:gd name="T15" fmla="*/ 80 h 214"/>
                <a:gd name="T16" fmla="*/ 84 w 180"/>
                <a:gd name="T17" fmla="*/ 80 h 214"/>
                <a:gd name="T18" fmla="*/ 66 w 180"/>
                <a:gd name="T19" fmla="*/ 90 h 214"/>
                <a:gd name="T20" fmla="*/ 54 w 180"/>
                <a:gd name="T21" fmla="*/ 100 h 214"/>
                <a:gd name="T22" fmla="*/ 50 w 180"/>
                <a:gd name="T23" fmla="*/ 112 h 214"/>
                <a:gd name="T24" fmla="*/ 46 w 180"/>
                <a:gd name="T25" fmla="*/ 116 h 214"/>
                <a:gd name="T26" fmla="*/ 22 w 180"/>
                <a:gd name="T27" fmla="*/ 116 h 214"/>
                <a:gd name="T28" fmla="*/ 8 w 180"/>
                <a:gd name="T29" fmla="*/ 118 h 214"/>
                <a:gd name="T30" fmla="*/ 4 w 180"/>
                <a:gd name="T31" fmla="*/ 124 h 214"/>
                <a:gd name="T32" fmla="*/ 2 w 180"/>
                <a:gd name="T33" fmla="*/ 140 h 214"/>
                <a:gd name="T34" fmla="*/ 6 w 180"/>
                <a:gd name="T35" fmla="*/ 146 h 214"/>
                <a:gd name="T36" fmla="*/ 14 w 180"/>
                <a:gd name="T37" fmla="*/ 148 h 214"/>
                <a:gd name="T38" fmla="*/ 18 w 180"/>
                <a:gd name="T39" fmla="*/ 150 h 214"/>
                <a:gd name="T40" fmla="*/ 22 w 180"/>
                <a:gd name="T41" fmla="*/ 158 h 214"/>
                <a:gd name="T42" fmla="*/ 16 w 180"/>
                <a:gd name="T43" fmla="*/ 166 h 214"/>
                <a:gd name="T44" fmla="*/ 2 w 180"/>
                <a:gd name="T45" fmla="*/ 172 h 214"/>
                <a:gd name="T46" fmla="*/ 12 w 180"/>
                <a:gd name="T47" fmla="*/ 174 h 214"/>
                <a:gd name="T48" fmla="*/ 16 w 180"/>
                <a:gd name="T49" fmla="*/ 182 h 214"/>
                <a:gd name="T50" fmla="*/ 20 w 180"/>
                <a:gd name="T51" fmla="*/ 188 h 214"/>
                <a:gd name="T52" fmla="*/ 34 w 180"/>
                <a:gd name="T53" fmla="*/ 190 h 214"/>
                <a:gd name="T54" fmla="*/ 52 w 180"/>
                <a:gd name="T55" fmla="*/ 184 h 214"/>
                <a:gd name="T56" fmla="*/ 60 w 180"/>
                <a:gd name="T57" fmla="*/ 182 h 214"/>
                <a:gd name="T58" fmla="*/ 62 w 180"/>
                <a:gd name="T59" fmla="*/ 188 h 214"/>
                <a:gd name="T60" fmla="*/ 64 w 180"/>
                <a:gd name="T61" fmla="*/ 196 h 214"/>
                <a:gd name="T62" fmla="*/ 80 w 180"/>
                <a:gd name="T63" fmla="*/ 206 h 214"/>
                <a:gd name="T64" fmla="*/ 100 w 180"/>
                <a:gd name="T65" fmla="*/ 206 h 214"/>
                <a:gd name="T66" fmla="*/ 112 w 180"/>
                <a:gd name="T67" fmla="*/ 206 h 214"/>
                <a:gd name="T68" fmla="*/ 128 w 180"/>
                <a:gd name="T69" fmla="*/ 208 h 214"/>
                <a:gd name="T70" fmla="*/ 132 w 180"/>
                <a:gd name="T71" fmla="*/ 204 h 214"/>
                <a:gd name="T72" fmla="*/ 132 w 180"/>
                <a:gd name="T73" fmla="*/ 194 h 214"/>
                <a:gd name="T74" fmla="*/ 120 w 180"/>
                <a:gd name="T75" fmla="*/ 178 h 214"/>
                <a:gd name="T76" fmla="*/ 106 w 180"/>
                <a:gd name="T77" fmla="*/ 164 h 214"/>
                <a:gd name="T78" fmla="*/ 104 w 180"/>
                <a:gd name="T79" fmla="*/ 158 h 214"/>
                <a:gd name="T80" fmla="*/ 108 w 180"/>
                <a:gd name="T81" fmla="*/ 146 h 214"/>
                <a:gd name="T82" fmla="*/ 118 w 180"/>
                <a:gd name="T83" fmla="*/ 136 h 214"/>
                <a:gd name="T84" fmla="*/ 130 w 180"/>
                <a:gd name="T85" fmla="*/ 142 h 214"/>
                <a:gd name="T86" fmla="*/ 142 w 180"/>
                <a:gd name="T87" fmla="*/ 146 h 214"/>
                <a:gd name="T88" fmla="*/ 144 w 180"/>
                <a:gd name="T89" fmla="*/ 142 h 214"/>
                <a:gd name="T90" fmla="*/ 148 w 180"/>
                <a:gd name="T91" fmla="*/ 130 h 214"/>
                <a:gd name="T92" fmla="*/ 150 w 180"/>
                <a:gd name="T93" fmla="*/ 120 h 214"/>
                <a:gd name="T94" fmla="*/ 164 w 180"/>
                <a:gd name="T95" fmla="*/ 110 h 214"/>
                <a:gd name="T96" fmla="*/ 168 w 180"/>
                <a:gd name="T97" fmla="*/ 98 h 214"/>
                <a:gd name="T98" fmla="*/ 178 w 180"/>
                <a:gd name="T99" fmla="*/ 88 h 214"/>
                <a:gd name="T100" fmla="*/ 180 w 180"/>
                <a:gd name="T101" fmla="*/ 82 h 214"/>
                <a:gd name="T102" fmla="*/ 176 w 180"/>
                <a:gd name="T103" fmla="*/ 62 h 214"/>
                <a:gd name="T104" fmla="*/ 164 w 180"/>
                <a:gd name="T105" fmla="*/ 54 h 214"/>
                <a:gd name="T106" fmla="*/ 164 w 180"/>
                <a:gd name="T107" fmla="*/ 44 h 214"/>
                <a:gd name="T108" fmla="*/ 166 w 180"/>
                <a:gd name="T109" fmla="*/ 32 h 214"/>
                <a:gd name="T110" fmla="*/ 158 w 180"/>
                <a:gd name="T111" fmla="*/ 24 h 214"/>
                <a:gd name="T112" fmla="*/ 160 w 180"/>
                <a:gd name="T113" fmla="*/ 16 h 214"/>
                <a:gd name="T114" fmla="*/ 146 w 180"/>
                <a:gd name="T115" fmla="*/ 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214">
                  <a:moveTo>
                    <a:pt x="138" y="0"/>
                  </a:moveTo>
                  <a:lnTo>
                    <a:pt x="138" y="0"/>
                  </a:lnTo>
                  <a:lnTo>
                    <a:pt x="138" y="0"/>
                  </a:lnTo>
                  <a:lnTo>
                    <a:pt x="136" y="0"/>
                  </a:lnTo>
                  <a:lnTo>
                    <a:pt x="134" y="2"/>
                  </a:lnTo>
                  <a:lnTo>
                    <a:pt x="132" y="2"/>
                  </a:lnTo>
                  <a:lnTo>
                    <a:pt x="130" y="2"/>
                  </a:lnTo>
                  <a:lnTo>
                    <a:pt x="128" y="4"/>
                  </a:lnTo>
                  <a:lnTo>
                    <a:pt x="126" y="4"/>
                  </a:lnTo>
                  <a:lnTo>
                    <a:pt x="126" y="6"/>
                  </a:lnTo>
                  <a:lnTo>
                    <a:pt x="124" y="6"/>
                  </a:lnTo>
                  <a:lnTo>
                    <a:pt x="124" y="6"/>
                  </a:lnTo>
                  <a:lnTo>
                    <a:pt x="124" y="8"/>
                  </a:lnTo>
                  <a:lnTo>
                    <a:pt x="122" y="12"/>
                  </a:lnTo>
                  <a:lnTo>
                    <a:pt x="122" y="14"/>
                  </a:lnTo>
                  <a:lnTo>
                    <a:pt x="122" y="18"/>
                  </a:lnTo>
                  <a:lnTo>
                    <a:pt x="122" y="22"/>
                  </a:lnTo>
                  <a:lnTo>
                    <a:pt x="122" y="24"/>
                  </a:lnTo>
                  <a:lnTo>
                    <a:pt x="120" y="26"/>
                  </a:lnTo>
                  <a:lnTo>
                    <a:pt x="120" y="30"/>
                  </a:lnTo>
                  <a:lnTo>
                    <a:pt x="118" y="36"/>
                  </a:lnTo>
                  <a:lnTo>
                    <a:pt x="116" y="40"/>
                  </a:lnTo>
                  <a:lnTo>
                    <a:pt x="114" y="44"/>
                  </a:lnTo>
                  <a:lnTo>
                    <a:pt x="114" y="48"/>
                  </a:lnTo>
                  <a:lnTo>
                    <a:pt x="112" y="50"/>
                  </a:lnTo>
                  <a:lnTo>
                    <a:pt x="112" y="52"/>
                  </a:lnTo>
                  <a:lnTo>
                    <a:pt x="110" y="54"/>
                  </a:lnTo>
                  <a:lnTo>
                    <a:pt x="110" y="54"/>
                  </a:lnTo>
                  <a:lnTo>
                    <a:pt x="108" y="56"/>
                  </a:lnTo>
                  <a:lnTo>
                    <a:pt x="108" y="56"/>
                  </a:lnTo>
                  <a:lnTo>
                    <a:pt x="104" y="58"/>
                  </a:lnTo>
                  <a:lnTo>
                    <a:pt x="104" y="58"/>
                  </a:lnTo>
                  <a:lnTo>
                    <a:pt x="102" y="60"/>
                  </a:lnTo>
                  <a:lnTo>
                    <a:pt x="100" y="60"/>
                  </a:lnTo>
                  <a:lnTo>
                    <a:pt x="100" y="60"/>
                  </a:lnTo>
                  <a:lnTo>
                    <a:pt x="100" y="62"/>
                  </a:lnTo>
                  <a:lnTo>
                    <a:pt x="98" y="62"/>
                  </a:lnTo>
                  <a:lnTo>
                    <a:pt x="98" y="64"/>
                  </a:lnTo>
                  <a:lnTo>
                    <a:pt x="98" y="68"/>
                  </a:lnTo>
                  <a:lnTo>
                    <a:pt x="98" y="70"/>
                  </a:lnTo>
                  <a:lnTo>
                    <a:pt x="98" y="72"/>
                  </a:lnTo>
                  <a:lnTo>
                    <a:pt x="98" y="76"/>
                  </a:lnTo>
                  <a:lnTo>
                    <a:pt x="98" y="76"/>
                  </a:lnTo>
                  <a:lnTo>
                    <a:pt x="96" y="78"/>
                  </a:lnTo>
                  <a:lnTo>
                    <a:pt x="96" y="78"/>
                  </a:lnTo>
                  <a:lnTo>
                    <a:pt x="96" y="78"/>
                  </a:lnTo>
                  <a:lnTo>
                    <a:pt x="96" y="78"/>
                  </a:lnTo>
                  <a:lnTo>
                    <a:pt x="94" y="80"/>
                  </a:lnTo>
                  <a:lnTo>
                    <a:pt x="94" y="80"/>
                  </a:lnTo>
                  <a:lnTo>
                    <a:pt x="92" y="80"/>
                  </a:lnTo>
                  <a:lnTo>
                    <a:pt x="90" y="80"/>
                  </a:lnTo>
                  <a:lnTo>
                    <a:pt x="86" y="80"/>
                  </a:lnTo>
                  <a:lnTo>
                    <a:pt x="84" y="80"/>
                  </a:lnTo>
                  <a:lnTo>
                    <a:pt x="84" y="80"/>
                  </a:lnTo>
                  <a:lnTo>
                    <a:pt x="82" y="80"/>
                  </a:lnTo>
                  <a:lnTo>
                    <a:pt x="80" y="82"/>
                  </a:lnTo>
                  <a:lnTo>
                    <a:pt x="78" y="82"/>
                  </a:lnTo>
                  <a:lnTo>
                    <a:pt x="74" y="84"/>
                  </a:lnTo>
                  <a:lnTo>
                    <a:pt x="70" y="88"/>
                  </a:lnTo>
                  <a:lnTo>
                    <a:pt x="66" y="90"/>
                  </a:lnTo>
                  <a:lnTo>
                    <a:pt x="64" y="92"/>
                  </a:lnTo>
                  <a:lnTo>
                    <a:pt x="60" y="94"/>
                  </a:lnTo>
                  <a:lnTo>
                    <a:pt x="58" y="96"/>
                  </a:lnTo>
                  <a:lnTo>
                    <a:pt x="56" y="98"/>
                  </a:lnTo>
                  <a:lnTo>
                    <a:pt x="56" y="98"/>
                  </a:lnTo>
                  <a:lnTo>
                    <a:pt x="54" y="100"/>
                  </a:lnTo>
                  <a:lnTo>
                    <a:pt x="54" y="100"/>
                  </a:lnTo>
                  <a:lnTo>
                    <a:pt x="54" y="102"/>
                  </a:lnTo>
                  <a:lnTo>
                    <a:pt x="52" y="106"/>
                  </a:lnTo>
                  <a:lnTo>
                    <a:pt x="52" y="108"/>
                  </a:lnTo>
                  <a:lnTo>
                    <a:pt x="52" y="110"/>
                  </a:lnTo>
                  <a:lnTo>
                    <a:pt x="50" y="112"/>
                  </a:lnTo>
                  <a:lnTo>
                    <a:pt x="50" y="112"/>
                  </a:lnTo>
                  <a:lnTo>
                    <a:pt x="50" y="114"/>
                  </a:lnTo>
                  <a:lnTo>
                    <a:pt x="50" y="114"/>
                  </a:lnTo>
                  <a:lnTo>
                    <a:pt x="48" y="114"/>
                  </a:lnTo>
                  <a:lnTo>
                    <a:pt x="48" y="114"/>
                  </a:lnTo>
                  <a:lnTo>
                    <a:pt x="46" y="116"/>
                  </a:lnTo>
                  <a:lnTo>
                    <a:pt x="42" y="116"/>
                  </a:lnTo>
                  <a:lnTo>
                    <a:pt x="40" y="116"/>
                  </a:lnTo>
                  <a:lnTo>
                    <a:pt x="38" y="116"/>
                  </a:lnTo>
                  <a:lnTo>
                    <a:pt x="34" y="116"/>
                  </a:lnTo>
                  <a:lnTo>
                    <a:pt x="28" y="116"/>
                  </a:lnTo>
                  <a:lnTo>
                    <a:pt x="22" y="116"/>
                  </a:lnTo>
                  <a:lnTo>
                    <a:pt x="20" y="116"/>
                  </a:lnTo>
                  <a:lnTo>
                    <a:pt x="16" y="116"/>
                  </a:lnTo>
                  <a:lnTo>
                    <a:pt x="14" y="116"/>
                  </a:lnTo>
                  <a:lnTo>
                    <a:pt x="12" y="116"/>
                  </a:lnTo>
                  <a:lnTo>
                    <a:pt x="10" y="116"/>
                  </a:lnTo>
                  <a:lnTo>
                    <a:pt x="8" y="118"/>
                  </a:lnTo>
                  <a:lnTo>
                    <a:pt x="8" y="118"/>
                  </a:lnTo>
                  <a:lnTo>
                    <a:pt x="6" y="118"/>
                  </a:lnTo>
                  <a:lnTo>
                    <a:pt x="6" y="118"/>
                  </a:lnTo>
                  <a:lnTo>
                    <a:pt x="6" y="120"/>
                  </a:lnTo>
                  <a:lnTo>
                    <a:pt x="4" y="122"/>
                  </a:lnTo>
                  <a:lnTo>
                    <a:pt x="4" y="124"/>
                  </a:lnTo>
                  <a:lnTo>
                    <a:pt x="2" y="128"/>
                  </a:lnTo>
                  <a:lnTo>
                    <a:pt x="0" y="130"/>
                  </a:lnTo>
                  <a:lnTo>
                    <a:pt x="2" y="132"/>
                  </a:lnTo>
                  <a:lnTo>
                    <a:pt x="2" y="134"/>
                  </a:lnTo>
                  <a:lnTo>
                    <a:pt x="2" y="138"/>
                  </a:lnTo>
                  <a:lnTo>
                    <a:pt x="2" y="140"/>
                  </a:lnTo>
                  <a:lnTo>
                    <a:pt x="2" y="142"/>
                  </a:lnTo>
                  <a:lnTo>
                    <a:pt x="4" y="144"/>
                  </a:lnTo>
                  <a:lnTo>
                    <a:pt x="4" y="146"/>
                  </a:lnTo>
                  <a:lnTo>
                    <a:pt x="4" y="146"/>
                  </a:lnTo>
                  <a:lnTo>
                    <a:pt x="4" y="146"/>
                  </a:lnTo>
                  <a:lnTo>
                    <a:pt x="6" y="146"/>
                  </a:lnTo>
                  <a:lnTo>
                    <a:pt x="6" y="148"/>
                  </a:lnTo>
                  <a:lnTo>
                    <a:pt x="8" y="148"/>
                  </a:lnTo>
                  <a:lnTo>
                    <a:pt x="8" y="148"/>
                  </a:lnTo>
                  <a:lnTo>
                    <a:pt x="10" y="148"/>
                  </a:lnTo>
                  <a:lnTo>
                    <a:pt x="12" y="148"/>
                  </a:lnTo>
                  <a:lnTo>
                    <a:pt x="14" y="148"/>
                  </a:lnTo>
                  <a:lnTo>
                    <a:pt x="16" y="148"/>
                  </a:lnTo>
                  <a:lnTo>
                    <a:pt x="16" y="148"/>
                  </a:lnTo>
                  <a:lnTo>
                    <a:pt x="16" y="148"/>
                  </a:lnTo>
                  <a:lnTo>
                    <a:pt x="18" y="148"/>
                  </a:lnTo>
                  <a:lnTo>
                    <a:pt x="18" y="150"/>
                  </a:lnTo>
                  <a:lnTo>
                    <a:pt x="18" y="150"/>
                  </a:lnTo>
                  <a:lnTo>
                    <a:pt x="20" y="152"/>
                  </a:lnTo>
                  <a:lnTo>
                    <a:pt x="20" y="154"/>
                  </a:lnTo>
                  <a:lnTo>
                    <a:pt x="20" y="154"/>
                  </a:lnTo>
                  <a:lnTo>
                    <a:pt x="22" y="156"/>
                  </a:lnTo>
                  <a:lnTo>
                    <a:pt x="22" y="156"/>
                  </a:lnTo>
                  <a:lnTo>
                    <a:pt x="22" y="158"/>
                  </a:lnTo>
                  <a:lnTo>
                    <a:pt x="20" y="158"/>
                  </a:lnTo>
                  <a:lnTo>
                    <a:pt x="20" y="160"/>
                  </a:lnTo>
                  <a:lnTo>
                    <a:pt x="20" y="162"/>
                  </a:lnTo>
                  <a:lnTo>
                    <a:pt x="18" y="162"/>
                  </a:lnTo>
                  <a:lnTo>
                    <a:pt x="16" y="164"/>
                  </a:lnTo>
                  <a:lnTo>
                    <a:pt x="16" y="166"/>
                  </a:lnTo>
                  <a:lnTo>
                    <a:pt x="14" y="166"/>
                  </a:lnTo>
                  <a:lnTo>
                    <a:pt x="12" y="168"/>
                  </a:lnTo>
                  <a:lnTo>
                    <a:pt x="12" y="168"/>
                  </a:lnTo>
                  <a:lnTo>
                    <a:pt x="10" y="170"/>
                  </a:lnTo>
                  <a:lnTo>
                    <a:pt x="6" y="170"/>
                  </a:lnTo>
                  <a:lnTo>
                    <a:pt x="2" y="172"/>
                  </a:lnTo>
                  <a:lnTo>
                    <a:pt x="0" y="172"/>
                  </a:lnTo>
                  <a:lnTo>
                    <a:pt x="2" y="172"/>
                  </a:lnTo>
                  <a:lnTo>
                    <a:pt x="6" y="172"/>
                  </a:lnTo>
                  <a:lnTo>
                    <a:pt x="8" y="174"/>
                  </a:lnTo>
                  <a:lnTo>
                    <a:pt x="10" y="174"/>
                  </a:lnTo>
                  <a:lnTo>
                    <a:pt x="12" y="174"/>
                  </a:lnTo>
                  <a:lnTo>
                    <a:pt x="12" y="176"/>
                  </a:lnTo>
                  <a:lnTo>
                    <a:pt x="12" y="176"/>
                  </a:lnTo>
                  <a:lnTo>
                    <a:pt x="14" y="176"/>
                  </a:lnTo>
                  <a:lnTo>
                    <a:pt x="14" y="178"/>
                  </a:lnTo>
                  <a:lnTo>
                    <a:pt x="14" y="180"/>
                  </a:lnTo>
                  <a:lnTo>
                    <a:pt x="16" y="182"/>
                  </a:lnTo>
                  <a:lnTo>
                    <a:pt x="16" y="184"/>
                  </a:lnTo>
                  <a:lnTo>
                    <a:pt x="16" y="186"/>
                  </a:lnTo>
                  <a:lnTo>
                    <a:pt x="18" y="188"/>
                  </a:lnTo>
                  <a:lnTo>
                    <a:pt x="18" y="188"/>
                  </a:lnTo>
                  <a:lnTo>
                    <a:pt x="18" y="188"/>
                  </a:lnTo>
                  <a:lnTo>
                    <a:pt x="20" y="188"/>
                  </a:lnTo>
                  <a:lnTo>
                    <a:pt x="22" y="190"/>
                  </a:lnTo>
                  <a:lnTo>
                    <a:pt x="22" y="190"/>
                  </a:lnTo>
                  <a:lnTo>
                    <a:pt x="24" y="190"/>
                  </a:lnTo>
                  <a:lnTo>
                    <a:pt x="28" y="190"/>
                  </a:lnTo>
                  <a:lnTo>
                    <a:pt x="32" y="190"/>
                  </a:lnTo>
                  <a:lnTo>
                    <a:pt x="34" y="190"/>
                  </a:lnTo>
                  <a:lnTo>
                    <a:pt x="38" y="190"/>
                  </a:lnTo>
                  <a:lnTo>
                    <a:pt x="44" y="188"/>
                  </a:lnTo>
                  <a:lnTo>
                    <a:pt x="44" y="188"/>
                  </a:lnTo>
                  <a:lnTo>
                    <a:pt x="46" y="188"/>
                  </a:lnTo>
                  <a:lnTo>
                    <a:pt x="48" y="186"/>
                  </a:lnTo>
                  <a:lnTo>
                    <a:pt x="52" y="184"/>
                  </a:lnTo>
                  <a:lnTo>
                    <a:pt x="54" y="182"/>
                  </a:lnTo>
                  <a:lnTo>
                    <a:pt x="56" y="182"/>
                  </a:lnTo>
                  <a:lnTo>
                    <a:pt x="58" y="182"/>
                  </a:lnTo>
                  <a:lnTo>
                    <a:pt x="58" y="182"/>
                  </a:lnTo>
                  <a:lnTo>
                    <a:pt x="60" y="182"/>
                  </a:lnTo>
                  <a:lnTo>
                    <a:pt x="60" y="182"/>
                  </a:lnTo>
                  <a:lnTo>
                    <a:pt x="60" y="182"/>
                  </a:lnTo>
                  <a:lnTo>
                    <a:pt x="62" y="182"/>
                  </a:lnTo>
                  <a:lnTo>
                    <a:pt x="62" y="184"/>
                  </a:lnTo>
                  <a:lnTo>
                    <a:pt x="62" y="184"/>
                  </a:lnTo>
                  <a:lnTo>
                    <a:pt x="62" y="186"/>
                  </a:lnTo>
                  <a:lnTo>
                    <a:pt x="62" y="188"/>
                  </a:lnTo>
                  <a:lnTo>
                    <a:pt x="62" y="192"/>
                  </a:lnTo>
                  <a:lnTo>
                    <a:pt x="62" y="194"/>
                  </a:lnTo>
                  <a:lnTo>
                    <a:pt x="62" y="194"/>
                  </a:lnTo>
                  <a:lnTo>
                    <a:pt x="64" y="194"/>
                  </a:lnTo>
                  <a:lnTo>
                    <a:pt x="64" y="196"/>
                  </a:lnTo>
                  <a:lnTo>
                    <a:pt x="64" y="196"/>
                  </a:lnTo>
                  <a:lnTo>
                    <a:pt x="66" y="198"/>
                  </a:lnTo>
                  <a:lnTo>
                    <a:pt x="68" y="200"/>
                  </a:lnTo>
                  <a:lnTo>
                    <a:pt x="70" y="200"/>
                  </a:lnTo>
                  <a:lnTo>
                    <a:pt x="76" y="204"/>
                  </a:lnTo>
                  <a:lnTo>
                    <a:pt x="78" y="204"/>
                  </a:lnTo>
                  <a:lnTo>
                    <a:pt x="80" y="206"/>
                  </a:lnTo>
                  <a:lnTo>
                    <a:pt x="92" y="214"/>
                  </a:lnTo>
                  <a:lnTo>
                    <a:pt x="94" y="214"/>
                  </a:lnTo>
                  <a:lnTo>
                    <a:pt x="96" y="210"/>
                  </a:lnTo>
                  <a:lnTo>
                    <a:pt x="96" y="210"/>
                  </a:lnTo>
                  <a:lnTo>
                    <a:pt x="98" y="208"/>
                  </a:lnTo>
                  <a:lnTo>
                    <a:pt x="100" y="206"/>
                  </a:lnTo>
                  <a:lnTo>
                    <a:pt x="102" y="206"/>
                  </a:lnTo>
                  <a:lnTo>
                    <a:pt x="102" y="206"/>
                  </a:lnTo>
                  <a:lnTo>
                    <a:pt x="104" y="206"/>
                  </a:lnTo>
                  <a:lnTo>
                    <a:pt x="106" y="206"/>
                  </a:lnTo>
                  <a:lnTo>
                    <a:pt x="108" y="206"/>
                  </a:lnTo>
                  <a:lnTo>
                    <a:pt x="112" y="206"/>
                  </a:lnTo>
                  <a:lnTo>
                    <a:pt x="116" y="206"/>
                  </a:lnTo>
                  <a:lnTo>
                    <a:pt x="120" y="208"/>
                  </a:lnTo>
                  <a:lnTo>
                    <a:pt x="122" y="208"/>
                  </a:lnTo>
                  <a:lnTo>
                    <a:pt x="124" y="208"/>
                  </a:lnTo>
                  <a:lnTo>
                    <a:pt x="126" y="208"/>
                  </a:lnTo>
                  <a:lnTo>
                    <a:pt x="128" y="208"/>
                  </a:lnTo>
                  <a:lnTo>
                    <a:pt x="128" y="206"/>
                  </a:lnTo>
                  <a:lnTo>
                    <a:pt x="130" y="206"/>
                  </a:lnTo>
                  <a:lnTo>
                    <a:pt x="130" y="206"/>
                  </a:lnTo>
                  <a:lnTo>
                    <a:pt x="130" y="206"/>
                  </a:lnTo>
                  <a:lnTo>
                    <a:pt x="130" y="204"/>
                  </a:lnTo>
                  <a:lnTo>
                    <a:pt x="132" y="204"/>
                  </a:lnTo>
                  <a:lnTo>
                    <a:pt x="132" y="202"/>
                  </a:lnTo>
                  <a:lnTo>
                    <a:pt x="132" y="200"/>
                  </a:lnTo>
                  <a:lnTo>
                    <a:pt x="132" y="198"/>
                  </a:lnTo>
                  <a:lnTo>
                    <a:pt x="132" y="196"/>
                  </a:lnTo>
                  <a:lnTo>
                    <a:pt x="132" y="194"/>
                  </a:lnTo>
                  <a:lnTo>
                    <a:pt x="132" y="194"/>
                  </a:lnTo>
                  <a:lnTo>
                    <a:pt x="132" y="192"/>
                  </a:lnTo>
                  <a:lnTo>
                    <a:pt x="130" y="190"/>
                  </a:lnTo>
                  <a:lnTo>
                    <a:pt x="128" y="188"/>
                  </a:lnTo>
                  <a:lnTo>
                    <a:pt x="126" y="186"/>
                  </a:lnTo>
                  <a:lnTo>
                    <a:pt x="124" y="182"/>
                  </a:lnTo>
                  <a:lnTo>
                    <a:pt x="120" y="178"/>
                  </a:lnTo>
                  <a:lnTo>
                    <a:pt x="116" y="172"/>
                  </a:lnTo>
                  <a:lnTo>
                    <a:pt x="114" y="172"/>
                  </a:lnTo>
                  <a:lnTo>
                    <a:pt x="114" y="170"/>
                  </a:lnTo>
                  <a:lnTo>
                    <a:pt x="110" y="168"/>
                  </a:lnTo>
                  <a:lnTo>
                    <a:pt x="108" y="166"/>
                  </a:lnTo>
                  <a:lnTo>
                    <a:pt x="106" y="164"/>
                  </a:lnTo>
                  <a:lnTo>
                    <a:pt x="104" y="162"/>
                  </a:lnTo>
                  <a:lnTo>
                    <a:pt x="104" y="162"/>
                  </a:lnTo>
                  <a:lnTo>
                    <a:pt x="104" y="162"/>
                  </a:lnTo>
                  <a:lnTo>
                    <a:pt x="104" y="160"/>
                  </a:lnTo>
                  <a:lnTo>
                    <a:pt x="104" y="160"/>
                  </a:lnTo>
                  <a:lnTo>
                    <a:pt x="104" y="158"/>
                  </a:lnTo>
                  <a:lnTo>
                    <a:pt x="104" y="156"/>
                  </a:lnTo>
                  <a:lnTo>
                    <a:pt x="104" y="154"/>
                  </a:lnTo>
                  <a:lnTo>
                    <a:pt x="104" y="152"/>
                  </a:lnTo>
                  <a:lnTo>
                    <a:pt x="106" y="150"/>
                  </a:lnTo>
                  <a:lnTo>
                    <a:pt x="106" y="148"/>
                  </a:lnTo>
                  <a:lnTo>
                    <a:pt x="108" y="146"/>
                  </a:lnTo>
                  <a:lnTo>
                    <a:pt x="110" y="142"/>
                  </a:lnTo>
                  <a:lnTo>
                    <a:pt x="112" y="140"/>
                  </a:lnTo>
                  <a:lnTo>
                    <a:pt x="114" y="138"/>
                  </a:lnTo>
                  <a:lnTo>
                    <a:pt x="116" y="138"/>
                  </a:lnTo>
                  <a:lnTo>
                    <a:pt x="116" y="138"/>
                  </a:lnTo>
                  <a:lnTo>
                    <a:pt x="118" y="136"/>
                  </a:lnTo>
                  <a:lnTo>
                    <a:pt x="118" y="136"/>
                  </a:lnTo>
                  <a:lnTo>
                    <a:pt x="120" y="136"/>
                  </a:lnTo>
                  <a:lnTo>
                    <a:pt x="122" y="138"/>
                  </a:lnTo>
                  <a:lnTo>
                    <a:pt x="124" y="138"/>
                  </a:lnTo>
                  <a:lnTo>
                    <a:pt x="126" y="140"/>
                  </a:lnTo>
                  <a:lnTo>
                    <a:pt x="130" y="142"/>
                  </a:lnTo>
                  <a:lnTo>
                    <a:pt x="134" y="144"/>
                  </a:lnTo>
                  <a:lnTo>
                    <a:pt x="136" y="144"/>
                  </a:lnTo>
                  <a:lnTo>
                    <a:pt x="138" y="144"/>
                  </a:lnTo>
                  <a:lnTo>
                    <a:pt x="138" y="146"/>
                  </a:lnTo>
                  <a:lnTo>
                    <a:pt x="140" y="146"/>
                  </a:lnTo>
                  <a:lnTo>
                    <a:pt x="142" y="146"/>
                  </a:lnTo>
                  <a:lnTo>
                    <a:pt x="142" y="146"/>
                  </a:lnTo>
                  <a:lnTo>
                    <a:pt x="142" y="146"/>
                  </a:lnTo>
                  <a:lnTo>
                    <a:pt x="144" y="144"/>
                  </a:lnTo>
                  <a:lnTo>
                    <a:pt x="144" y="144"/>
                  </a:lnTo>
                  <a:lnTo>
                    <a:pt x="144" y="144"/>
                  </a:lnTo>
                  <a:lnTo>
                    <a:pt x="144" y="142"/>
                  </a:lnTo>
                  <a:lnTo>
                    <a:pt x="146" y="140"/>
                  </a:lnTo>
                  <a:lnTo>
                    <a:pt x="146" y="138"/>
                  </a:lnTo>
                  <a:lnTo>
                    <a:pt x="146" y="136"/>
                  </a:lnTo>
                  <a:lnTo>
                    <a:pt x="146" y="134"/>
                  </a:lnTo>
                  <a:lnTo>
                    <a:pt x="146" y="132"/>
                  </a:lnTo>
                  <a:lnTo>
                    <a:pt x="148" y="130"/>
                  </a:lnTo>
                  <a:lnTo>
                    <a:pt x="148" y="126"/>
                  </a:lnTo>
                  <a:lnTo>
                    <a:pt x="148" y="126"/>
                  </a:lnTo>
                  <a:lnTo>
                    <a:pt x="148" y="124"/>
                  </a:lnTo>
                  <a:lnTo>
                    <a:pt x="148" y="122"/>
                  </a:lnTo>
                  <a:lnTo>
                    <a:pt x="150" y="122"/>
                  </a:lnTo>
                  <a:lnTo>
                    <a:pt x="150" y="120"/>
                  </a:lnTo>
                  <a:lnTo>
                    <a:pt x="154" y="118"/>
                  </a:lnTo>
                  <a:lnTo>
                    <a:pt x="156" y="116"/>
                  </a:lnTo>
                  <a:lnTo>
                    <a:pt x="158" y="116"/>
                  </a:lnTo>
                  <a:lnTo>
                    <a:pt x="160" y="114"/>
                  </a:lnTo>
                  <a:lnTo>
                    <a:pt x="162" y="112"/>
                  </a:lnTo>
                  <a:lnTo>
                    <a:pt x="164" y="110"/>
                  </a:lnTo>
                  <a:lnTo>
                    <a:pt x="164" y="110"/>
                  </a:lnTo>
                  <a:lnTo>
                    <a:pt x="166" y="108"/>
                  </a:lnTo>
                  <a:lnTo>
                    <a:pt x="166" y="108"/>
                  </a:lnTo>
                  <a:lnTo>
                    <a:pt x="166" y="104"/>
                  </a:lnTo>
                  <a:lnTo>
                    <a:pt x="168" y="100"/>
                  </a:lnTo>
                  <a:lnTo>
                    <a:pt x="168" y="98"/>
                  </a:lnTo>
                  <a:lnTo>
                    <a:pt x="170" y="96"/>
                  </a:lnTo>
                  <a:lnTo>
                    <a:pt x="170" y="94"/>
                  </a:lnTo>
                  <a:lnTo>
                    <a:pt x="172" y="94"/>
                  </a:lnTo>
                  <a:lnTo>
                    <a:pt x="174" y="92"/>
                  </a:lnTo>
                  <a:lnTo>
                    <a:pt x="176" y="90"/>
                  </a:lnTo>
                  <a:lnTo>
                    <a:pt x="178" y="88"/>
                  </a:lnTo>
                  <a:lnTo>
                    <a:pt x="178" y="88"/>
                  </a:lnTo>
                  <a:lnTo>
                    <a:pt x="180" y="86"/>
                  </a:lnTo>
                  <a:lnTo>
                    <a:pt x="180" y="86"/>
                  </a:lnTo>
                  <a:lnTo>
                    <a:pt x="180" y="86"/>
                  </a:lnTo>
                  <a:lnTo>
                    <a:pt x="180" y="84"/>
                  </a:lnTo>
                  <a:lnTo>
                    <a:pt x="180" y="82"/>
                  </a:lnTo>
                  <a:lnTo>
                    <a:pt x="180" y="80"/>
                  </a:lnTo>
                  <a:lnTo>
                    <a:pt x="180" y="76"/>
                  </a:lnTo>
                  <a:lnTo>
                    <a:pt x="180" y="72"/>
                  </a:lnTo>
                  <a:lnTo>
                    <a:pt x="178" y="66"/>
                  </a:lnTo>
                  <a:lnTo>
                    <a:pt x="178" y="64"/>
                  </a:lnTo>
                  <a:lnTo>
                    <a:pt x="176" y="62"/>
                  </a:lnTo>
                  <a:lnTo>
                    <a:pt x="172" y="60"/>
                  </a:lnTo>
                  <a:lnTo>
                    <a:pt x="170" y="58"/>
                  </a:lnTo>
                  <a:lnTo>
                    <a:pt x="168" y="56"/>
                  </a:lnTo>
                  <a:lnTo>
                    <a:pt x="166" y="54"/>
                  </a:lnTo>
                  <a:lnTo>
                    <a:pt x="164" y="54"/>
                  </a:lnTo>
                  <a:lnTo>
                    <a:pt x="164" y="54"/>
                  </a:lnTo>
                  <a:lnTo>
                    <a:pt x="164" y="52"/>
                  </a:lnTo>
                  <a:lnTo>
                    <a:pt x="164" y="52"/>
                  </a:lnTo>
                  <a:lnTo>
                    <a:pt x="164" y="50"/>
                  </a:lnTo>
                  <a:lnTo>
                    <a:pt x="164" y="50"/>
                  </a:lnTo>
                  <a:lnTo>
                    <a:pt x="164" y="46"/>
                  </a:lnTo>
                  <a:lnTo>
                    <a:pt x="164" y="44"/>
                  </a:lnTo>
                  <a:lnTo>
                    <a:pt x="166" y="40"/>
                  </a:lnTo>
                  <a:lnTo>
                    <a:pt x="166" y="38"/>
                  </a:lnTo>
                  <a:lnTo>
                    <a:pt x="166" y="36"/>
                  </a:lnTo>
                  <a:lnTo>
                    <a:pt x="166" y="34"/>
                  </a:lnTo>
                  <a:lnTo>
                    <a:pt x="166" y="34"/>
                  </a:lnTo>
                  <a:lnTo>
                    <a:pt x="166" y="32"/>
                  </a:lnTo>
                  <a:lnTo>
                    <a:pt x="164" y="30"/>
                  </a:lnTo>
                  <a:lnTo>
                    <a:pt x="162" y="28"/>
                  </a:lnTo>
                  <a:lnTo>
                    <a:pt x="160" y="26"/>
                  </a:lnTo>
                  <a:lnTo>
                    <a:pt x="160" y="26"/>
                  </a:lnTo>
                  <a:lnTo>
                    <a:pt x="158" y="24"/>
                  </a:lnTo>
                  <a:lnTo>
                    <a:pt x="158" y="24"/>
                  </a:lnTo>
                  <a:lnTo>
                    <a:pt x="158" y="24"/>
                  </a:lnTo>
                  <a:lnTo>
                    <a:pt x="158" y="22"/>
                  </a:lnTo>
                  <a:lnTo>
                    <a:pt x="158" y="22"/>
                  </a:lnTo>
                  <a:lnTo>
                    <a:pt x="158" y="20"/>
                  </a:lnTo>
                  <a:lnTo>
                    <a:pt x="158" y="18"/>
                  </a:lnTo>
                  <a:lnTo>
                    <a:pt x="160" y="16"/>
                  </a:lnTo>
                  <a:lnTo>
                    <a:pt x="160" y="12"/>
                  </a:lnTo>
                  <a:lnTo>
                    <a:pt x="160" y="10"/>
                  </a:lnTo>
                  <a:lnTo>
                    <a:pt x="156" y="6"/>
                  </a:lnTo>
                  <a:lnTo>
                    <a:pt x="152" y="4"/>
                  </a:lnTo>
                  <a:lnTo>
                    <a:pt x="148" y="2"/>
                  </a:lnTo>
                  <a:lnTo>
                    <a:pt x="146" y="2"/>
                  </a:lnTo>
                  <a:lnTo>
                    <a:pt x="144" y="2"/>
                  </a:lnTo>
                  <a:lnTo>
                    <a:pt x="142" y="0"/>
                  </a:lnTo>
                  <a:lnTo>
                    <a:pt x="140" y="0"/>
                  </a:lnTo>
                  <a:lnTo>
                    <a:pt x="138"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8" name="Freeform 34"/>
            <p:cNvSpPr>
              <a:spLocks/>
            </p:cNvSpPr>
            <p:nvPr/>
          </p:nvSpPr>
          <p:spPr bwMode="auto">
            <a:xfrm>
              <a:off x="5793438" y="3582717"/>
              <a:ext cx="311774" cy="370664"/>
            </a:xfrm>
            <a:custGeom>
              <a:avLst/>
              <a:gdLst>
                <a:gd name="T0" fmla="*/ 132 w 180"/>
                <a:gd name="T1" fmla="*/ 2 h 214"/>
                <a:gd name="T2" fmla="*/ 124 w 180"/>
                <a:gd name="T3" fmla="*/ 6 h 214"/>
                <a:gd name="T4" fmla="*/ 122 w 180"/>
                <a:gd name="T5" fmla="*/ 24 h 214"/>
                <a:gd name="T6" fmla="*/ 114 w 180"/>
                <a:gd name="T7" fmla="*/ 48 h 214"/>
                <a:gd name="T8" fmla="*/ 108 w 180"/>
                <a:gd name="T9" fmla="*/ 56 h 214"/>
                <a:gd name="T10" fmla="*/ 100 w 180"/>
                <a:gd name="T11" fmla="*/ 62 h 214"/>
                <a:gd name="T12" fmla="*/ 98 w 180"/>
                <a:gd name="T13" fmla="*/ 76 h 214"/>
                <a:gd name="T14" fmla="*/ 94 w 180"/>
                <a:gd name="T15" fmla="*/ 80 h 214"/>
                <a:gd name="T16" fmla="*/ 84 w 180"/>
                <a:gd name="T17" fmla="*/ 80 h 214"/>
                <a:gd name="T18" fmla="*/ 66 w 180"/>
                <a:gd name="T19" fmla="*/ 90 h 214"/>
                <a:gd name="T20" fmla="*/ 54 w 180"/>
                <a:gd name="T21" fmla="*/ 100 h 214"/>
                <a:gd name="T22" fmla="*/ 50 w 180"/>
                <a:gd name="T23" fmla="*/ 112 h 214"/>
                <a:gd name="T24" fmla="*/ 46 w 180"/>
                <a:gd name="T25" fmla="*/ 116 h 214"/>
                <a:gd name="T26" fmla="*/ 22 w 180"/>
                <a:gd name="T27" fmla="*/ 116 h 214"/>
                <a:gd name="T28" fmla="*/ 8 w 180"/>
                <a:gd name="T29" fmla="*/ 118 h 214"/>
                <a:gd name="T30" fmla="*/ 4 w 180"/>
                <a:gd name="T31" fmla="*/ 124 h 214"/>
                <a:gd name="T32" fmla="*/ 2 w 180"/>
                <a:gd name="T33" fmla="*/ 140 h 214"/>
                <a:gd name="T34" fmla="*/ 6 w 180"/>
                <a:gd name="T35" fmla="*/ 146 h 214"/>
                <a:gd name="T36" fmla="*/ 14 w 180"/>
                <a:gd name="T37" fmla="*/ 148 h 214"/>
                <a:gd name="T38" fmla="*/ 18 w 180"/>
                <a:gd name="T39" fmla="*/ 150 h 214"/>
                <a:gd name="T40" fmla="*/ 22 w 180"/>
                <a:gd name="T41" fmla="*/ 158 h 214"/>
                <a:gd name="T42" fmla="*/ 16 w 180"/>
                <a:gd name="T43" fmla="*/ 166 h 214"/>
                <a:gd name="T44" fmla="*/ 2 w 180"/>
                <a:gd name="T45" fmla="*/ 172 h 214"/>
                <a:gd name="T46" fmla="*/ 12 w 180"/>
                <a:gd name="T47" fmla="*/ 174 h 214"/>
                <a:gd name="T48" fmla="*/ 16 w 180"/>
                <a:gd name="T49" fmla="*/ 182 h 214"/>
                <a:gd name="T50" fmla="*/ 20 w 180"/>
                <a:gd name="T51" fmla="*/ 188 h 214"/>
                <a:gd name="T52" fmla="*/ 34 w 180"/>
                <a:gd name="T53" fmla="*/ 190 h 214"/>
                <a:gd name="T54" fmla="*/ 52 w 180"/>
                <a:gd name="T55" fmla="*/ 184 h 214"/>
                <a:gd name="T56" fmla="*/ 60 w 180"/>
                <a:gd name="T57" fmla="*/ 182 h 214"/>
                <a:gd name="T58" fmla="*/ 62 w 180"/>
                <a:gd name="T59" fmla="*/ 188 h 214"/>
                <a:gd name="T60" fmla="*/ 64 w 180"/>
                <a:gd name="T61" fmla="*/ 196 h 214"/>
                <a:gd name="T62" fmla="*/ 80 w 180"/>
                <a:gd name="T63" fmla="*/ 206 h 214"/>
                <a:gd name="T64" fmla="*/ 100 w 180"/>
                <a:gd name="T65" fmla="*/ 206 h 214"/>
                <a:gd name="T66" fmla="*/ 112 w 180"/>
                <a:gd name="T67" fmla="*/ 206 h 214"/>
                <a:gd name="T68" fmla="*/ 128 w 180"/>
                <a:gd name="T69" fmla="*/ 208 h 214"/>
                <a:gd name="T70" fmla="*/ 132 w 180"/>
                <a:gd name="T71" fmla="*/ 204 h 214"/>
                <a:gd name="T72" fmla="*/ 132 w 180"/>
                <a:gd name="T73" fmla="*/ 194 h 214"/>
                <a:gd name="T74" fmla="*/ 120 w 180"/>
                <a:gd name="T75" fmla="*/ 178 h 214"/>
                <a:gd name="T76" fmla="*/ 106 w 180"/>
                <a:gd name="T77" fmla="*/ 164 h 214"/>
                <a:gd name="T78" fmla="*/ 104 w 180"/>
                <a:gd name="T79" fmla="*/ 158 h 214"/>
                <a:gd name="T80" fmla="*/ 108 w 180"/>
                <a:gd name="T81" fmla="*/ 146 h 214"/>
                <a:gd name="T82" fmla="*/ 118 w 180"/>
                <a:gd name="T83" fmla="*/ 136 h 214"/>
                <a:gd name="T84" fmla="*/ 130 w 180"/>
                <a:gd name="T85" fmla="*/ 142 h 214"/>
                <a:gd name="T86" fmla="*/ 142 w 180"/>
                <a:gd name="T87" fmla="*/ 146 h 214"/>
                <a:gd name="T88" fmla="*/ 144 w 180"/>
                <a:gd name="T89" fmla="*/ 142 h 214"/>
                <a:gd name="T90" fmla="*/ 148 w 180"/>
                <a:gd name="T91" fmla="*/ 130 h 214"/>
                <a:gd name="T92" fmla="*/ 150 w 180"/>
                <a:gd name="T93" fmla="*/ 120 h 214"/>
                <a:gd name="T94" fmla="*/ 164 w 180"/>
                <a:gd name="T95" fmla="*/ 110 h 214"/>
                <a:gd name="T96" fmla="*/ 168 w 180"/>
                <a:gd name="T97" fmla="*/ 98 h 214"/>
                <a:gd name="T98" fmla="*/ 178 w 180"/>
                <a:gd name="T99" fmla="*/ 88 h 214"/>
                <a:gd name="T100" fmla="*/ 180 w 180"/>
                <a:gd name="T101" fmla="*/ 82 h 214"/>
                <a:gd name="T102" fmla="*/ 176 w 180"/>
                <a:gd name="T103" fmla="*/ 62 h 214"/>
                <a:gd name="T104" fmla="*/ 164 w 180"/>
                <a:gd name="T105" fmla="*/ 54 h 214"/>
                <a:gd name="T106" fmla="*/ 164 w 180"/>
                <a:gd name="T107" fmla="*/ 44 h 214"/>
                <a:gd name="T108" fmla="*/ 166 w 180"/>
                <a:gd name="T109" fmla="*/ 32 h 214"/>
                <a:gd name="T110" fmla="*/ 158 w 180"/>
                <a:gd name="T111" fmla="*/ 24 h 214"/>
                <a:gd name="T112" fmla="*/ 160 w 180"/>
                <a:gd name="T113" fmla="*/ 16 h 214"/>
                <a:gd name="T114" fmla="*/ 146 w 180"/>
                <a:gd name="T115" fmla="*/ 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214">
                  <a:moveTo>
                    <a:pt x="138" y="0"/>
                  </a:moveTo>
                  <a:lnTo>
                    <a:pt x="138" y="0"/>
                  </a:lnTo>
                  <a:lnTo>
                    <a:pt x="138" y="0"/>
                  </a:lnTo>
                  <a:lnTo>
                    <a:pt x="136" y="0"/>
                  </a:lnTo>
                  <a:lnTo>
                    <a:pt x="134" y="2"/>
                  </a:lnTo>
                  <a:lnTo>
                    <a:pt x="132" y="2"/>
                  </a:lnTo>
                  <a:lnTo>
                    <a:pt x="130" y="2"/>
                  </a:lnTo>
                  <a:lnTo>
                    <a:pt x="128" y="4"/>
                  </a:lnTo>
                  <a:lnTo>
                    <a:pt x="126" y="4"/>
                  </a:lnTo>
                  <a:lnTo>
                    <a:pt x="126" y="6"/>
                  </a:lnTo>
                  <a:lnTo>
                    <a:pt x="124" y="6"/>
                  </a:lnTo>
                  <a:lnTo>
                    <a:pt x="124" y="6"/>
                  </a:lnTo>
                  <a:lnTo>
                    <a:pt x="124" y="8"/>
                  </a:lnTo>
                  <a:lnTo>
                    <a:pt x="122" y="12"/>
                  </a:lnTo>
                  <a:lnTo>
                    <a:pt x="122" y="14"/>
                  </a:lnTo>
                  <a:lnTo>
                    <a:pt x="122" y="18"/>
                  </a:lnTo>
                  <a:lnTo>
                    <a:pt x="122" y="22"/>
                  </a:lnTo>
                  <a:lnTo>
                    <a:pt x="122" y="24"/>
                  </a:lnTo>
                  <a:lnTo>
                    <a:pt x="120" y="26"/>
                  </a:lnTo>
                  <a:lnTo>
                    <a:pt x="120" y="30"/>
                  </a:lnTo>
                  <a:lnTo>
                    <a:pt x="118" y="36"/>
                  </a:lnTo>
                  <a:lnTo>
                    <a:pt x="116" y="40"/>
                  </a:lnTo>
                  <a:lnTo>
                    <a:pt x="114" y="44"/>
                  </a:lnTo>
                  <a:lnTo>
                    <a:pt x="114" y="48"/>
                  </a:lnTo>
                  <a:lnTo>
                    <a:pt x="112" y="50"/>
                  </a:lnTo>
                  <a:lnTo>
                    <a:pt x="112" y="52"/>
                  </a:lnTo>
                  <a:lnTo>
                    <a:pt x="110" y="54"/>
                  </a:lnTo>
                  <a:lnTo>
                    <a:pt x="110" y="54"/>
                  </a:lnTo>
                  <a:lnTo>
                    <a:pt x="108" y="56"/>
                  </a:lnTo>
                  <a:lnTo>
                    <a:pt x="108" y="56"/>
                  </a:lnTo>
                  <a:lnTo>
                    <a:pt x="104" y="58"/>
                  </a:lnTo>
                  <a:lnTo>
                    <a:pt x="104" y="58"/>
                  </a:lnTo>
                  <a:lnTo>
                    <a:pt x="102" y="60"/>
                  </a:lnTo>
                  <a:lnTo>
                    <a:pt x="100" y="60"/>
                  </a:lnTo>
                  <a:lnTo>
                    <a:pt x="100" y="60"/>
                  </a:lnTo>
                  <a:lnTo>
                    <a:pt x="100" y="62"/>
                  </a:lnTo>
                  <a:lnTo>
                    <a:pt x="98" y="62"/>
                  </a:lnTo>
                  <a:lnTo>
                    <a:pt x="98" y="64"/>
                  </a:lnTo>
                  <a:lnTo>
                    <a:pt x="98" y="68"/>
                  </a:lnTo>
                  <a:lnTo>
                    <a:pt x="98" y="70"/>
                  </a:lnTo>
                  <a:lnTo>
                    <a:pt x="98" y="72"/>
                  </a:lnTo>
                  <a:lnTo>
                    <a:pt x="98" y="76"/>
                  </a:lnTo>
                  <a:lnTo>
                    <a:pt x="98" y="76"/>
                  </a:lnTo>
                  <a:lnTo>
                    <a:pt x="96" y="78"/>
                  </a:lnTo>
                  <a:lnTo>
                    <a:pt x="96" y="78"/>
                  </a:lnTo>
                  <a:lnTo>
                    <a:pt x="96" y="78"/>
                  </a:lnTo>
                  <a:lnTo>
                    <a:pt x="96" y="78"/>
                  </a:lnTo>
                  <a:lnTo>
                    <a:pt x="94" y="80"/>
                  </a:lnTo>
                  <a:lnTo>
                    <a:pt x="94" y="80"/>
                  </a:lnTo>
                  <a:lnTo>
                    <a:pt x="92" y="80"/>
                  </a:lnTo>
                  <a:lnTo>
                    <a:pt x="90" y="80"/>
                  </a:lnTo>
                  <a:lnTo>
                    <a:pt x="86" y="80"/>
                  </a:lnTo>
                  <a:lnTo>
                    <a:pt x="84" y="80"/>
                  </a:lnTo>
                  <a:lnTo>
                    <a:pt x="84" y="80"/>
                  </a:lnTo>
                  <a:lnTo>
                    <a:pt x="82" y="80"/>
                  </a:lnTo>
                  <a:lnTo>
                    <a:pt x="80" y="82"/>
                  </a:lnTo>
                  <a:lnTo>
                    <a:pt x="78" y="82"/>
                  </a:lnTo>
                  <a:lnTo>
                    <a:pt x="74" y="84"/>
                  </a:lnTo>
                  <a:lnTo>
                    <a:pt x="70" y="88"/>
                  </a:lnTo>
                  <a:lnTo>
                    <a:pt x="66" y="90"/>
                  </a:lnTo>
                  <a:lnTo>
                    <a:pt x="64" y="92"/>
                  </a:lnTo>
                  <a:lnTo>
                    <a:pt x="60" y="94"/>
                  </a:lnTo>
                  <a:lnTo>
                    <a:pt x="58" y="96"/>
                  </a:lnTo>
                  <a:lnTo>
                    <a:pt x="56" y="98"/>
                  </a:lnTo>
                  <a:lnTo>
                    <a:pt x="56" y="98"/>
                  </a:lnTo>
                  <a:lnTo>
                    <a:pt x="54" y="100"/>
                  </a:lnTo>
                  <a:lnTo>
                    <a:pt x="54" y="100"/>
                  </a:lnTo>
                  <a:lnTo>
                    <a:pt x="54" y="102"/>
                  </a:lnTo>
                  <a:lnTo>
                    <a:pt x="52" y="106"/>
                  </a:lnTo>
                  <a:lnTo>
                    <a:pt x="52" y="108"/>
                  </a:lnTo>
                  <a:lnTo>
                    <a:pt x="52" y="110"/>
                  </a:lnTo>
                  <a:lnTo>
                    <a:pt x="50" y="112"/>
                  </a:lnTo>
                  <a:lnTo>
                    <a:pt x="50" y="112"/>
                  </a:lnTo>
                  <a:lnTo>
                    <a:pt x="50" y="114"/>
                  </a:lnTo>
                  <a:lnTo>
                    <a:pt x="50" y="114"/>
                  </a:lnTo>
                  <a:lnTo>
                    <a:pt x="48" y="114"/>
                  </a:lnTo>
                  <a:lnTo>
                    <a:pt x="48" y="114"/>
                  </a:lnTo>
                  <a:lnTo>
                    <a:pt x="46" y="116"/>
                  </a:lnTo>
                  <a:lnTo>
                    <a:pt x="42" y="116"/>
                  </a:lnTo>
                  <a:lnTo>
                    <a:pt x="40" y="116"/>
                  </a:lnTo>
                  <a:lnTo>
                    <a:pt x="38" y="116"/>
                  </a:lnTo>
                  <a:lnTo>
                    <a:pt x="34" y="116"/>
                  </a:lnTo>
                  <a:lnTo>
                    <a:pt x="28" y="116"/>
                  </a:lnTo>
                  <a:lnTo>
                    <a:pt x="22" y="116"/>
                  </a:lnTo>
                  <a:lnTo>
                    <a:pt x="20" y="116"/>
                  </a:lnTo>
                  <a:lnTo>
                    <a:pt x="16" y="116"/>
                  </a:lnTo>
                  <a:lnTo>
                    <a:pt x="14" y="116"/>
                  </a:lnTo>
                  <a:lnTo>
                    <a:pt x="12" y="116"/>
                  </a:lnTo>
                  <a:lnTo>
                    <a:pt x="10" y="116"/>
                  </a:lnTo>
                  <a:lnTo>
                    <a:pt x="8" y="118"/>
                  </a:lnTo>
                  <a:lnTo>
                    <a:pt x="8" y="118"/>
                  </a:lnTo>
                  <a:lnTo>
                    <a:pt x="6" y="118"/>
                  </a:lnTo>
                  <a:lnTo>
                    <a:pt x="6" y="118"/>
                  </a:lnTo>
                  <a:lnTo>
                    <a:pt x="6" y="120"/>
                  </a:lnTo>
                  <a:lnTo>
                    <a:pt x="4" y="122"/>
                  </a:lnTo>
                  <a:lnTo>
                    <a:pt x="4" y="124"/>
                  </a:lnTo>
                  <a:lnTo>
                    <a:pt x="2" y="128"/>
                  </a:lnTo>
                  <a:lnTo>
                    <a:pt x="0" y="130"/>
                  </a:lnTo>
                  <a:lnTo>
                    <a:pt x="2" y="132"/>
                  </a:lnTo>
                  <a:lnTo>
                    <a:pt x="2" y="134"/>
                  </a:lnTo>
                  <a:lnTo>
                    <a:pt x="2" y="138"/>
                  </a:lnTo>
                  <a:lnTo>
                    <a:pt x="2" y="140"/>
                  </a:lnTo>
                  <a:lnTo>
                    <a:pt x="2" y="142"/>
                  </a:lnTo>
                  <a:lnTo>
                    <a:pt x="4" y="144"/>
                  </a:lnTo>
                  <a:lnTo>
                    <a:pt x="4" y="146"/>
                  </a:lnTo>
                  <a:lnTo>
                    <a:pt x="4" y="146"/>
                  </a:lnTo>
                  <a:lnTo>
                    <a:pt x="4" y="146"/>
                  </a:lnTo>
                  <a:lnTo>
                    <a:pt x="6" y="146"/>
                  </a:lnTo>
                  <a:lnTo>
                    <a:pt x="6" y="148"/>
                  </a:lnTo>
                  <a:lnTo>
                    <a:pt x="8" y="148"/>
                  </a:lnTo>
                  <a:lnTo>
                    <a:pt x="8" y="148"/>
                  </a:lnTo>
                  <a:lnTo>
                    <a:pt x="10" y="148"/>
                  </a:lnTo>
                  <a:lnTo>
                    <a:pt x="12" y="148"/>
                  </a:lnTo>
                  <a:lnTo>
                    <a:pt x="14" y="148"/>
                  </a:lnTo>
                  <a:lnTo>
                    <a:pt x="16" y="148"/>
                  </a:lnTo>
                  <a:lnTo>
                    <a:pt x="16" y="148"/>
                  </a:lnTo>
                  <a:lnTo>
                    <a:pt x="16" y="148"/>
                  </a:lnTo>
                  <a:lnTo>
                    <a:pt x="18" y="148"/>
                  </a:lnTo>
                  <a:lnTo>
                    <a:pt x="18" y="150"/>
                  </a:lnTo>
                  <a:lnTo>
                    <a:pt x="18" y="150"/>
                  </a:lnTo>
                  <a:lnTo>
                    <a:pt x="20" y="152"/>
                  </a:lnTo>
                  <a:lnTo>
                    <a:pt x="20" y="154"/>
                  </a:lnTo>
                  <a:lnTo>
                    <a:pt x="20" y="154"/>
                  </a:lnTo>
                  <a:lnTo>
                    <a:pt x="22" y="156"/>
                  </a:lnTo>
                  <a:lnTo>
                    <a:pt x="22" y="156"/>
                  </a:lnTo>
                  <a:lnTo>
                    <a:pt x="22" y="158"/>
                  </a:lnTo>
                  <a:lnTo>
                    <a:pt x="20" y="158"/>
                  </a:lnTo>
                  <a:lnTo>
                    <a:pt x="20" y="160"/>
                  </a:lnTo>
                  <a:lnTo>
                    <a:pt x="20" y="162"/>
                  </a:lnTo>
                  <a:lnTo>
                    <a:pt x="18" y="162"/>
                  </a:lnTo>
                  <a:lnTo>
                    <a:pt x="16" y="164"/>
                  </a:lnTo>
                  <a:lnTo>
                    <a:pt x="16" y="166"/>
                  </a:lnTo>
                  <a:lnTo>
                    <a:pt x="14" y="166"/>
                  </a:lnTo>
                  <a:lnTo>
                    <a:pt x="12" y="168"/>
                  </a:lnTo>
                  <a:lnTo>
                    <a:pt x="12" y="168"/>
                  </a:lnTo>
                  <a:lnTo>
                    <a:pt x="10" y="170"/>
                  </a:lnTo>
                  <a:lnTo>
                    <a:pt x="6" y="170"/>
                  </a:lnTo>
                  <a:lnTo>
                    <a:pt x="2" y="172"/>
                  </a:lnTo>
                  <a:lnTo>
                    <a:pt x="0" y="172"/>
                  </a:lnTo>
                  <a:lnTo>
                    <a:pt x="2" y="172"/>
                  </a:lnTo>
                  <a:lnTo>
                    <a:pt x="6" y="172"/>
                  </a:lnTo>
                  <a:lnTo>
                    <a:pt x="8" y="174"/>
                  </a:lnTo>
                  <a:lnTo>
                    <a:pt x="10" y="174"/>
                  </a:lnTo>
                  <a:lnTo>
                    <a:pt x="12" y="174"/>
                  </a:lnTo>
                  <a:lnTo>
                    <a:pt x="12" y="176"/>
                  </a:lnTo>
                  <a:lnTo>
                    <a:pt x="12" y="176"/>
                  </a:lnTo>
                  <a:lnTo>
                    <a:pt x="14" y="176"/>
                  </a:lnTo>
                  <a:lnTo>
                    <a:pt x="14" y="178"/>
                  </a:lnTo>
                  <a:lnTo>
                    <a:pt x="14" y="180"/>
                  </a:lnTo>
                  <a:lnTo>
                    <a:pt x="16" y="182"/>
                  </a:lnTo>
                  <a:lnTo>
                    <a:pt x="16" y="184"/>
                  </a:lnTo>
                  <a:lnTo>
                    <a:pt x="16" y="186"/>
                  </a:lnTo>
                  <a:lnTo>
                    <a:pt x="18" y="188"/>
                  </a:lnTo>
                  <a:lnTo>
                    <a:pt x="18" y="188"/>
                  </a:lnTo>
                  <a:lnTo>
                    <a:pt x="18" y="188"/>
                  </a:lnTo>
                  <a:lnTo>
                    <a:pt x="20" y="188"/>
                  </a:lnTo>
                  <a:lnTo>
                    <a:pt x="22" y="190"/>
                  </a:lnTo>
                  <a:lnTo>
                    <a:pt x="22" y="190"/>
                  </a:lnTo>
                  <a:lnTo>
                    <a:pt x="24" y="190"/>
                  </a:lnTo>
                  <a:lnTo>
                    <a:pt x="28" y="190"/>
                  </a:lnTo>
                  <a:lnTo>
                    <a:pt x="32" y="190"/>
                  </a:lnTo>
                  <a:lnTo>
                    <a:pt x="34" y="190"/>
                  </a:lnTo>
                  <a:lnTo>
                    <a:pt x="38" y="190"/>
                  </a:lnTo>
                  <a:lnTo>
                    <a:pt x="44" y="188"/>
                  </a:lnTo>
                  <a:lnTo>
                    <a:pt x="44" y="188"/>
                  </a:lnTo>
                  <a:lnTo>
                    <a:pt x="46" y="188"/>
                  </a:lnTo>
                  <a:lnTo>
                    <a:pt x="48" y="186"/>
                  </a:lnTo>
                  <a:lnTo>
                    <a:pt x="52" y="184"/>
                  </a:lnTo>
                  <a:lnTo>
                    <a:pt x="54" y="182"/>
                  </a:lnTo>
                  <a:lnTo>
                    <a:pt x="56" y="182"/>
                  </a:lnTo>
                  <a:lnTo>
                    <a:pt x="58" y="182"/>
                  </a:lnTo>
                  <a:lnTo>
                    <a:pt x="58" y="182"/>
                  </a:lnTo>
                  <a:lnTo>
                    <a:pt x="60" y="182"/>
                  </a:lnTo>
                  <a:lnTo>
                    <a:pt x="60" y="182"/>
                  </a:lnTo>
                  <a:lnTo>
                    <a:pt x="60" y="182"/>
                  </a:lnTo>
                  <a:lnTo>
                    <a:pt x="62" y="182"/>
                  </a:lnTo>
                  <a:lnTo>
                    <a:pt x="62" y="184"/>
                  </a:lnTo>
                  <a:lnTo>
                    <a:pt x="62" y="184"/>
                  </a:lnTo>
                  <a:lnTo>
                    <a:pt x="62" y="186"/>
                  </a:lnTo>
                  <a:lnTo>
                    <a:pt x="62" y="188"/>
                  </a:lnTo>
                  <a:lnTo>
                    <a:pt x="62" y="192"/>
                  </a:lnTo>
                  <a:lnTo>
                    <a:pt x="62" y="194"/>
                  </a:lnTo>
                  <a:lnTo>
                    <a:pt x="62" y="194"/>
                  </a:lnTo>
                  <a:lnTo>
                    <a:pt x="64" y="194"/>
                  </a:lnTo>
                  <a:lnTo>
                    <a:pt x="64" y="196"/>
                  </a:lnTo>
                  <a:lnTo>
                    <a:pt x="64" y="196"/>
                  </a:lnTo>
                  <a:lnTo>
                    <a:pt x="66" y="198"/>
                  </a:lnTo>
                  <a:lnTo>
                    <a:pt x="68" y="200"/>
                  </a:lnTo>
                  <a:lnTo>
                    <a:pt x="70" y="200"/>
                  </a:lnTo>
                  <a:lnTo>
                    <a:pt x="76" y="204"/>
                  </a:lnTo>
                  <a:lnTo>
                    <a:pt x="78" y="204"/>
                  </a:lnTo>
                  <a:lnTo>
                    <a:pt x="80" y="206"/>
                  </a:lnTo>
                  <a:lnTo>
                    <a:pt x="92" y="214"/>
                  </a:lnTo>
                  <a:lnTo>
                    <a:pt x="94" y="214"/>
                  </a:lnTo>
                  <a:lnTo>
                    <a:pt x="96" y="210"/>
                  </a:lnTo>
                  <a:lnTo>
                    <a:pt x="96" y="210"/>
                  </a:lnTo>
                  <a:lnTo>
                    <a:pt x="98" y="208"/>
                  </a:lnTo>
                  <a:lnTo>
                    <a:pt x="100" y="206"/>
                  </a:lnTo>
                  <a:lnTo>
                    <a:pt x="102" y="206"/>
                  </a:lnTo>
                  <a:lnTo>
                    <a:pt x="102" y="206"/>
                  </a:lnTo>
                  <a:lnTo>
                    <a:pt x="104" y="206"/>
                  </a:lnTo>
                  <a:lnTo>
                    <a:pt x="106" y="206"/>
                  </a:lnTo>
                  <a:lnTo>
                    <a:pt x="108" y="206"/>
                  </a:lnTo>
                  <a:lnTo>
                    <a:pt x="112" y="206"/>
                  </a:lnTo>
                  <a:lnTo>
                    <a:pt x="116" y="206"/>
                  </a:lnTo>
                  <a:lnTo>
                    <a:pt x="120" y="208"/>
                  </a:lnTo>
                  <a:lnTo>
                    <a:pt x="122" y="208"/>
                  </a:lnTo>
                  <a:lnTo>
                    <a:pt x="124" y="208"/>
                  </a:lnTo>
                  <a:lnTo>
                    <a:pt x="126" y="208"/>
                  </a:lnTo>
                  <a:lnTo>
                    <a:pt x="128" y="208"/>
                  </a:lnTo>
                  <a:lnTo>
                    <a:pt x="128" y="206"/>
                  </a:lnTo>
                  <a:lnTo>
                    <a:pt x="130" y="206"/>
                  </a:lnTo>
                  <a:lnTo>
                    <a:pt x="130" y="206"/>
                  </a:lnTo>
                  <a:lnTo>
                    <a:pt x="130" y="206"/>
                  </a:lnTo>
                  <a:lnTo>
                    <a:pt x="130" y="204"/>
                  </a:lnTo>
                  <a:lnTo>
                    <a:pt x="132" y="204"/>
                  </a:lnTo>
                  <a:lnTo>
                    <a:pt x="132" y="202"/>
                  </a:lnTo>
                  <a:lnTo>
                    <a:pt x="132" y="200"/>
                  </a:lnTo>
                  <a:lnTo>
                    <a:pt x="132" y="198"/>
                  </a:lnTo>
                  <a:lnTo>
                    <a:pt x="132" y="196"/>
                  </a:lnTo>
                  <a:lnTo>
                    <a:pt x="132" y="194"/>
                  </a:lnTo>
                  <a:lnTo>
                    <a:pt x="132" y="194"/>
                  </a:lnTo>
                  <a:lnTo>
                    <a:pt x="132" y="192"/>
                  </a:lnTo>
                  <a:lnTo>
                    <a:pt x="130" y="190"/>
                  </a:lnTo>
                  <a:lnTo>
                    <a:pt x="128" y="188"/>
                  </a:lnTo>
                  <a:lnTo>
                    <a:pt x="126" y="186"/>
                  </a:lnTo>
                  <a:lnTo>
                    <a:pt x="124" y="182"/>
                  </a:lnTo>
                  <a:lnTo>
                    <a:pt x="120" y="178"/>
                  </a:lnTo>
                  <a:lnTo>
                    <a:pt x="116" y="172"/>
                  </a:lnTo>
                  <a:lnTo>
                    <a:pt x="114" y="172"/>
                  </a:lnTo>
                  <a:lnTo>
                    <a:pt x="114" y="170"/>
                  </a:lnTo>
                  <a:lnTo>
                    <a:pt x="110" y="168"/>
                  </a:lnTo>
                  <a:lnTo>
                    <a:pt x="108" y="166"/>
                  </a:lnTo>
                  <a:lnTo>
                    <a:pt x="106" y="164"/>
                  </a:lnTo>
                  <a:lnTo>
                    <a:pt x="104" y="162"/>
                  </a:lnTo>
                  <a:lnTo>
                    <a:pt x="104" y="162"/>
                  </a:lnTo>
                  <a:lnTo>
                    <a:pt x="104" y="162"/>
                  </a:lnTo>
                  <a:lnTo>
                    <a:pt x="104" y="160"/>
                  </a:lnTo>
                  <a:lnTo>
                    <a:pt x="104" y="160"/>
                  </a:lnTo>
                  <a:lnTo>
                    <a:pt x="104" y="158"/>
                  </a:lnTo>
                  <a:lnTo>
                    <a:pt x="104" y="156"/>
                  </a:lnTo>
                  <a:lnTo>
                    <a:pt x="104" y="154"/>
                  </a:lnTo>
                  <a:lnTo>
                    <a:pt x="104" y="152"/>
                  </a:lnTo>
                  <a:lnTo>
                    <a:pt x="106" y="150"/>
                  </a:lnTo>
                  <a:lnTo>
                    <a:pt x="106" y="148"/>
                  </a:lnTo>
                  <a:lnTo>
                    <a:pt x="108" y="146"/>
                  </a:lnTo>
                  <a:lnTo>
                    <a:pt x="110" y="142"/>
                  </a:lnTo>
                  <a:lnTo>
                    <a:pt x="112" y="140"/>
                  </a:lnTo>
                  <a:lnTo>
                    <a:pt x="114" y="138"/>
                  </a:lnTo>
                  <a:lnTo>
                    <a:pt x="116" y="138"/>
                  </a:lnTo>
                  <a:lnTo>
                    <a:pt x="116" y="138"/>
                  </a:lnTo>
                  <a:lnTo>
                    <a:pt x="118" y="136"/>
                  </a:lnTo>
                  <a:lnTo>
                    <a:pt x="118" y="136"/>
                  </a:lnTo>
                  <a:lnTo>
                    <a:pt x="120" y="136"/>
                  </a:lnTo>
                  <a:lnTo>
                    <a:pt x="122" y="138"/>
                  </a:lnTo>
                  <a:lnTo>
                    <a:pt x="124" y="138"/>
                  </a:lnTo>
                  <a:lnTo>
                    <a:pt x="126" y="140"/>
                  </a:lnTo>
                  <a:lnTo>
                    <a:pt x="130" y="142"/>
                  </a:lnTo>
                  <a:lnTo>
                    <a:pt x="134" y="144"/>
                  </a:lnTo>
                  <a:lnTo>
                    <a:pt x="136" y="144"/>
                  </a:lnTo>
                  <a:lnTo>
                    <a:pt x="138" y="144"/>
                  </a:lnTo>
                  <a:lnTo>
                    <a:pt x="138" y="146"/>
                  </a:lnTo>
                  <a:lnTo>
                    <a:pt x="140" y="146"/>
                  </a:lnTo>
                  <a:lnTo>
                    <a:pt x="142" y="146"/>
                  </a:lnTo>
                  <a:lnTo>
                    <a:pt x="142" y="146"/>
                  </a:lnTo>
                  <a:lnTo>
                    <a:pt x="142" y="146"/>
                  </a:lnTo>
                  <a:lnTo>
                    <a:pt x="144" y="144"/>
                  </a:lnTo>
                  <a:lnTo>
                    <a:pt x="144" y="144"/>
                  </a:lnTo>
                  <a:lnTo>
                    <a:pt x="144" y="144"/>
                  </a:lnTo>
                  <a:lnTo>
                    <a:pt x="144" y="142"/>
                  </a:lnTo>
                  <a:lnTo>
                    <a:pt x="146" y="140"/>
                  </a:lnTo>
                  <a:lnTo>
                    <a:pt x="146" y="138"/>
                  </a:lnTo>
                  <a:lnTo>
                    <a:pt x="146" y="136"/>
                  </a:lnTo>
                  <a:lnTo>
                    <a:pt x="146" y="134"/>
                  </a:lnTo>
                  <a:lnTo>
                    <a:pt x="146" y="132"/>
                  </a:lnTo>
                  <a:lnTo>
                    <a:pt x="148" y="130"/>
                  </a:lnTo>
                  <a:lnTo>
                    <a:pt x="148" y="126"/>
                  </a:lnTo>
                  <a:lnTo>
                    <a:pt x="148" y="126"/>
                  </a:lnTo>
                  <a:lnTo>
                    <a:pt x="148" y="124"/>
                  </a:lnTo>
                  <a:lnTo>
                    <a:pt x="148" y="122"/>
                  </a:lnTo>
                  <a:lnTo>
                    <a:pt x="150" y="122"/>
                  </a:lnTo>
                  <a:lnTo>
                    <a:pt x="150" y="120"/>
                  </a:lnTo>
                  <a:lnTo>
                    <a:pt x="154" y="118"/>
                  </a:lnTo>
                  <a:lnTo>
                    <a:pt x="156" y="116"/>
                  </a:lnTo>
                  <a:lnTo>
                    <a:pt x="158" y="116"/>
                  </a:lnTo>
                  <a:lnTo>
                    <a:pt x="160" y="114"/>
                  </a:lnTo>
                  <a:lnTo>
                    <a:pt x="162" y="112"/>
                  </a:lnTo>
                  <a:lnTo>
                    <a:pt x="164" y="110"/>
                  </a:lnTo>
                  <a:lnTo>
                    <a:pt x="164" y="110"/>
                  </a:lnTo>
                  <a:lnTo>
                    <a:pt x="166" y="108"/>
                  </a:lnTo>
                  <a:lnTo>
                    <a:pt x="166" y="108"/>
                  </a:lnTo>
                  <a:lnTo>
                    <a:pt x="166" y="104"/>
                  </a:lnTo>
                  <a:lnTo>
                    <a:pt x="168" y="100"/>
                  </a:lnTo>
                  <a:lnTo>
                    <a:pt x="168" y="98"/>
                  </a:lnTo>
                  <a:lnTo>
                    <a:pt x="170" y="96"/>
                  </a:lnTo>
                  <a:lnTo>
                    <a:pt x="170" y="94"/>
                  </a:lnTo>
                  <a:lnTo>
                    <a:pt x="172" y="94"/>
                  </a:lnTo>
                  <a:lnTo>
                    <a:pt x="174" y="92"/>
                  </a:lnTo>
                  <a:lnTo>
                    <a:pt x="176" y="90"/>
                  </a:lnTo>
                  <a:lnTo>
                    <a:pt x="178" y="88"/>
                  </a:lnTo>
                  <a:lnTo>
                    <a:pt x="178" y="88"/>
                  </a:lnTo>
                  <a:lnTo>
                    <a:pt x="180" y="86"/>
                  </a:lnTo>
                  <a:lnTo>
                    <a:pt x="180" y="86"/>
                  </a:lnTo>
                  <a:lnTo>
                    <a:pt x="180" y="86"/>
                  </a:lnTo>
                  <a:lnTo>
                    <a:pt x="180" y="84"/>
                  </a:lnTo>
                  <a:lnTo>
                    <a:pt x="180" y="82"/>
                  </a:lnTo>
                  <a:lnTo>
                    <a:pt x="180" y="80"/>
                  </a:lnTo>
                  <a:lnTo>
                    <a:pt x="180" y="76"/>
                  </a:lnTo>
                  <a:lnTo>
                    <a:pt x="180" y="72"/>
                  </a:lnTo>
                  <a:lnTo>
                    <a:pt x="178" y="66"/>
                  </a:lnTo>
                  <a:lnTo>
                    <a:pt x="178" y="64"/>
                  </a:lnTo>
                  <a:lnTo>
                    <a:pt x="176" y="62"/>
                  </a:lnTo>
                  <a:lnTo>
                    <a:pt x="172" y="60"/>
                  </a:lnTo>
                  <a:lnTo>
                    <a:pt x="170" y="58"/>
                  </a:lnTo>
                  <a:lnTo>
                    <a:pt x="168" y="56"/>
                  </a:lnTo>
                  <a:lnTo>
                    <a:pt x="166" y="54"/>
                  </a:lnTo>
                  <a:lnTo>
                    <a:pt x="164" y="54"/>
                  </a:lnTo>
                  <a:lnTo>
                    <a:pt x="164" y="54"/>
                  </a:lnTo>
                  <a:lnTo>
                    <a:pt x="164" y="52"/>
                  </a:lnTo>
                  <a:lnTo>
                    <a:pt x="164" y="52"/>
                  </a:lnTo>
                  <a:lnTo>
                    <a:pt x="164" y="50"/>
                  </a:lnTo>
                  <a:lnTo>
                    <a:pt x="164" y="50"/>
                  </a:lnTo>
                  <a:lnTo>
                    <a:pt x="164" y="46"/>
                  </a:lnTo>
                  <a:lnTo>
                    <a:pt x="164" y="44"/>
                  </a:lnTo>
                  <a:lnTo>
                    <a:pt x="166" y="40"/>
                  </a:lnTo>
                  <a:lnTo>
                    <a:pt x="166" y="38"/>
                  </a:lnTo>
                  <a:lnTo>
                    <a:pt x="166" y="36"/>
                  </a:lnTo>
                  <a:lnTo>
                    <a:pt x="166" y="34"/>
                  </a:lnTo>
                  <a:lnTo>
                    <a:pt x="166" y="34"/>
                  </a:lnTo>
                  <a:lnTo>
                    <a:pt x="166" y="32"/>
                  </a:lnTo>
                  <a:lnTo>
                    <a:pt x="164" y="30"/>
                  </a:lnTo>
                  <a:lnTo>
                    <a:pt x="162" y="28"/>
                  </a:lnTo>
                  <a:lnTo>
                    <a:pt x="160" y="26"/>
                  </a:lnTo>
                  <a:lnTo>
                    <a:pt x="160" y="26"/>
                  </a:lnTo>
                  <a:lnTo>
                    <a:pt x="158" y="24"/>
                  </a:lnTo>
                  <a:lnTo>
                    <a:pt x="158" y="24"/>
                  </a:lnTo>
                  <a:lnTo>
                    <a:pt x="158" y="24"/>
                  </a:lnTo>
                  <a:lnTo>
                    <a:pt x="158" y="22"/>
                  </a:lnTo>
                  <a:lnTo>
                    <a:pt x="158" y="22"/>
                  </a:lnTo>
                  <a:lnTo>
                    <a:pt x="158" y="20"/>
                  </a:lnTo>
                  <a:lnTo>
                    <a:pt x="158" y="18"/>
                  </a:lnTo>
                  <a:lnTo>
                    <a:pt x="160" y="16"/>
                  </a:lnTo>
                  <a:lnTo>
                    <a:pt x="160" y="12"/>
                  </a:lnTo>
                  <a:lnTo>
                    <a:pt x="160" y="10"/>
                  </a:lnTo>
                  <a:lnTo>
                    <a:pt x="156" y="6"/>
                  </a:lnTo>
                  <a:lnTo>
                    <a:pt x="152" y="4"/>
                  </a:lnTo>
                  <a:lnTo>
                    <a:pt x="148" y="2"/>
                  </a:lnTo>
                  <a:lnTo>
                    <a:pt x="146" y="2"/>
                  </a:lnTo>
                  <a:lnTo>
                    <a:pt x="144" y="2"/>
                  </a:lnTo>
                  <a:lnTo>
                    <a:pt x="142" y="0"/>
                  </a:lnTo>
                  <a:lnTo>
                    <a:pt x="140" y="0"/>
                  </a:lnTo>
                  <a:lnTo>
                    <a:pt x="138"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59" name="Freeform 35"/>
            <p:cNvSpPr>
              <a:spLocks/>
            </p:cNvSpPr>
            <p:nvPr/>
          </p:nvSpPr>
          <p:spPr bwMode="auto">
            <a:xfrm>
              <a:off x="7331520" y="3485721"/>
              <a:ext cx="100460" cy="152423"/>
            </a:xfrm>
            <a:custGeom>
              <a:avLst/>
              <a:gdLst>
                <a:gd name="T0" fmla="*/ 22 w 58"/>
                <a:gd name="T1" fmla="*/ 16 h 88"/>
                <a:gd name="T2" fmla="*/ 2 w 58"/>
                <a:gd name="T3" fmla="*/ 24 h 88"/>
                <a:gd name="T4" fmla="*/ 6 w 58"/>
                <a:gd name="T5" fmla="*/ 30 h 88"/>
                <a:gd name="T6" fmla="*/ 8 w 58"/>
                <a:gd name="T7" fmla="*/ 34 h 88"/>
                <a:gd name="T8" fmla="*/ 8 w 58"/>
                <a:gd name="T9" fmla="*/ 36 h 88"/>
                <a:gd name="T10" fmla="*/ 8 w 58"/>
                <a:gd name="T11" fmla="*/ 42 h 88"/>
                <a:gd name="T12" fmla="*/ 8 w 58"/>
                <a:gd name="T13" fmla="*/ 44 h 88"/>
                <a:gd name="T14" fmla="*/ 8 w 58"/>
                <a:gd name="T15" fmla="*/ 46 h 88"/>
                <a:gd name="T16" fmla="*/ 8 w 58"/>
                <a:gd name="T17" fmla="*/ 48 h 88"/>
                <a:gd name="T18" fmla="*/ 10 w 58"/>
                <a:gd name="T19" fmla="*/ 48 h 88"/>
                <a:gd name="T20" fmla="*/ 12 w 58"/>
                <a:gd name="T21" fmla="*/ 50 h 88"/>
                <a:gd name="T22" fmla="*/ 16 w 58"/>
                <a:gd name="T23" fmla="*/ 50 h 88"/>
                <a:gd name="T24" fmla="*/ 18 w 58"/>
                <a:gd name="T25" fmla="*/ 50 h 88"/>
                <a:gd name="T26" fmla="*/ 20 w 58"/>
                <a:gd name="T27" fmla="*/ 52 h 88"/>
                <a:gd name="T28" fmla="*/ 20 w 58"/>
                <a:gd name="T29" fmla="*/ 52 h 88"/>
                <a:gd name="T30" fmla="*/ 22 w 58"/>
                <a:gd name="T31" fmla="*/ 54 h 88"/>
                <a:gd name="T32" fmla="*/ 22 w 58"/>
                <a:gd name="T33" fmla="*/ 58 h 88"/>
                <a:gd name="T34" fmla="*/ 20 w 58"/>
                <a:gd name="T35" fmla="*/ 62 h 88"/>
                <a:gd name="T36" fmla="*/ 18 w 58"/>
                <a:gd name="T37" fmla="*/ 70 h 88"/>
                <a:gd name="T38" fmla="*/ 16 w 58"/>
                <a:gd name="T39" fmla="*/ 74 h 88"/>
                <a:gd name="T40" fmla="*/ 16 w 58"/>
                <a:gd name="T41" fmla="*/ 78 h 88"/>
                <a:gd name="T42" fmla="*/ 18 w 58"/>
                <a:gd name="T43" fmla="*/ 80 h 88"/>
                <a:gd name="T44" fmla="*/ 18 w 58"/>
                <a:gd name="T45" fmla="*/ 82 h 88"/>
                <a:gd name="T46" fmla="*/ 20 w 58"/>
                <a:gd name="T47" fmla="*/ 84 h 88"/>
                <a:gd name="T48" fmla="*/ 24 w 58"/>
                <a:gd name="T49" fmla="*/ 86 h 88"/>
                <a:gd name="T50" fmla="*/ 30 w 58"/>
                <a:gd name="T51" fmla="*/ 88 h 88"/>
                <a:gd name="T52" fmla="*/ 32 w 58"/>
                <a:gd name="T53" fmla="*/ 88 h 88"/>
                <a:gd name="T54" fmla="*/ 36 w 58"/>
                <a:gd name="T55" fmla="*/ 86 h 88"/>
                <a:gd name="T56" fmla="*/ 40 w 58"/>
                <a:gd name="T57" fmla="*/ 86 h 88"/>
                <a:gd name="T58" fmla="*/ 46 w 58"/>
                <a:gd name="T59" fmla="*/ 82 h 88"/>
                <a:gd name="T60" fmla="*/ 52 w 58"/>
                <a:gd name="T61" fmla="*/ 78 h 88"/>
                <a:gd name="T62" fmla="*/ 54 w 58"/>
                <a:gd name="T63" fmla="*/ 76 h 88"/>
                <a:gd name="T64" fmla="*/ 56 w 58"/>
                <a:gd name="T65" fmla="*/ 74 h 88"/>
                <a:gd name="T66" fmla="*/ 58 w 58"/>
                <a:gd name="T67" fmla="*/ 70 h 88"/>
                <a:gd name="T68" fmla="*/ 58 w 58"/>
                <a:gd name="T69" fmla="*/ 66 h 88"/>
                <a:gd name="T70" fmla="*/ 58 w 58"/>
                <a:gd name="T71" fmla="*/ 60 h 88"/>
                <a:gd name="T72" fmla="*/ 58 w 58"/>
                <a:gd name="T73" fmla="*/ 50 h 88"/>
                <a:gd name="T74" fmla="*/ 58 w 58"/>
                <a:gd name="T75" fmla="*/ 42 h 88"/>
                <a:gd name="T76" fmla="*/ 56 w 58"/>
                <a:gd name="T77" fmla="*/ 38 h 88"/>
                <a:gd name="T78" fmla="*/ 54 w 58"/>
                <a:gd name="T79" fmla="*/ 34 h 88"/>
                <a:gd name="T80" fmla="*/ 50 w 58"/>
                <a:gd name="T81" fmla="*/ 28 h 88"/>
                <a:gd name="T82" fmla="*/ 44 w 58"/>
                <a:gd name="T83" fmla="*/ 20 h 88"/>
                <a:gd name="T84" fmla="*/ 34 w 58"/>
                <a:gd name="T85" fmla="*/ 8 h 88"/>
                <a:gd name="T86" fmla="*/ 26 w 58"/>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88">
                  <a:moveTo>
                    <a:pt x="26" y="0"/>
                  </a:moveTo>
                  <a:lnTo>
                    <a:pt x="22" y="16"/>
                  </a:lnTo>
                  <a:lnTo>
                    <a:pt x="0" y="22"/>
                  </a:lnTo>
                  <a:lnTo>
                    <a:pt x="2" y="24"/>
                  </a:lnTo>
                  <a:lnTo>
                    <a:pt x="4" y="28"/>
                  </a:lnTo>
                  <a:lnTo>
                    <a:pt x="6" y="30"/>
                  </a:lnTo>
                  <a:lnTo>
                    <a:pt x="8" y="32"/>
                  </a:lnTo>
                  <a:lnTo>
                    <a:pt x="8" y="34"/>
                  </a:lnTo>
                  <a:lnTo>
                    <a:pt x="8" y="36"/>
                  </a:lnTo>
                  <a:lnTo>
                    <a:pt x="8" y="36"/>
                  </a:lnTo>
                  <a:lnTo>
                    <a:pt x="8" y="38"/>
                  </a:lnTo>
                  <a:lnTo>
                    <a:pt x="8" y="42"/>
                  </a:lnTo>
                  <a:lnTo>
                    <a:pt x="8" y="42"/>
                  </a:lnTo>
                  <a:lnTo>
                    <a:pt x="8" y="44"/>
                  </a:lnTo>
                  <a:lnTo>
                    <a:pt x="8" y="46"/>
                  </a:lnTo>
                  <a:lnTo>
                    <a:pt x="8" y="46"/>
                  </a:lnTo>
                  <a:lnTo>
                    <a:pt x="8" y="46"/>
                  </a:lnTo>
                  <a:lnTo>
                    <a:pt x="8" y="48"/>
                  </a:lnTo>
                  <a:lnTo>
                    <a:pt x="8" y="48"/>
                  </a:lnTo>
                  <a:lnTo>
                    <a:pt x="10" y="48"/>
                  </a:lnTo>
                  <a:lnTo>
                    <a:pt x="10" y="48"/>
                  </a:lnTo>
                  <a:lnTo>
                    <a:pt x="12" y="50"/>
                  </a:lnTo>
                  <a:lnTo>
                    <a:pt x="14" y="50"/>
                  </a:lnTo>
                  <a:lnTo>
                    <a:pt x="16" y="50"/>
                  </a:lnTo>
                  <a:lnTo>
                    <a:pt x="18" y="50"/>
                  </a:lnTo>
                  <a:lnTo>
                    <a:pt x="18" y="50"/>
                  </a:lnTo>
                  <a:lnTo>
                    <a:pt x="20" y="50"/>
                  </a:lnTo>
                  <a:lnTo>
                    <a:pt x="20" y="52"/>
                  </a:lnTo>
                  <a:lnTo>
                    <a:pt x="20" y="52"/>
                  </a:lnTo>
                  <a:lnTo>
                    <a:pt x="20" y="52"/>
                  </a:lnTo>
                  <a:lnTo>
                    <a:pt x="20" y="54"/>
                  </a:lnTo>
                  <a:lnTo>
                    <a:pt x="22" y="54"/>
                  </a:lnTo>
                  <a:lnTo>
                    <a:pt x="22" y="56"/>
                  </a:lnTo>
                  <a:lnTo>
                    <a:pt x="22" y="58"/>
                  </a:lnTo>
                  <a:lnTo>
                    <a:pt x="20" y="60"/>
                  </a:lnTo>
                  <a:lnTo>
                    <a:pt x="20" y="62"/>
                  </a:lnTo>
                  <a:lnTo>
                    <a:pt x="18" y="66"/>
                  </a:lnTo>
                  <a:lnTo>
                    <a:pt x="18" y="70"/>
                  </a:lnTo>
                  <a:lnTo>
                    <a:pt x="18" y="72"/>
                  </a:lnTo>
                  <a:lnTo>
                    <a:pt x="16" y="74"/>
                  </a:lnTo>
                  <a:lnTo>
                    <a:pt x="16" y="76"/>
                  </a:lnTo>
                  <a:lnTo>
                    <a:pt x="16" y="78"/>
                  </a:lnTo>
                  <a:lnTo>
                    <a:pt x="18" y="80"/>
                  </a:lnTo>
                  <a:lnTo>
                    <a:pt x="18" y="80"/>
                  </a:lnTo>
                  <a:lnTo>
                    <a:pt x="18" y="82"/>
                  </a:lnTo>
                  <a:lnTo>
                    <a:pt x="18" y="82"/>
                  </a:lnTo>
                  <a:lnTo>
                    <a:pt x="18" y="82"/>
                  </a:lnTo>
                  <a:lnTo>
                    <a:pt x="20" y="84"/>
                  </a:lnTo>
                  <a:lnTo>
                    <a:pt x="22" y="84"/>
                  </a:lnTo>
                  <a:lnTo>
                    <a:pt x="24" y="86"/>
                  </a:lnTo>
                  <a:lnTo>
                    <a:pt x="26" y="86"/>
                  </a:lnTo>
                  <a:lnTo>
                    <a:pt x="30" y="88"/>
                  </a:lnTo>
                  <a:lnTo>
                    <a:pt x="32" y="88"/>
                  </a:lnTo>
                  <a:lnTo>
                    <a:pt x="32" y="88"/>
                  </a:lnTo>
                  <a:lnTo>
                    <a:pt x="34" y="88"/>
                  </a:lnTo>
                  <a:lnTo>
                    <a:pt x="36" y="86"/>
                  </a:lnTo>
                  <a:lnTo>
                    <a:pt x="38" y="86"/>
                  </a:lnTo>
                  <a:lnTo>
                    <a:pt x="40" y="86"/>
                  </a:lnTo>
                  <a:lnTo>
                    <a:pt x="42" y="84"/>
                  </a:lnTo>
                  <a:lnTo>
                    <a:pt x="46" y="82"/>
                  </a:lnTo>
                  <a:lnTo>
                    <a:pt x="50" y="80"/>
                  </a:lnTo>
                  <a:lnTo>
                    <a:pt x="52" y="78"/>
                  </a:lnTo>
                  <a:lnTo>
                    <a:pt x="54" y="76"/>
                  </a:lnTo>
                  <a:lnTo>
                    <a:pt x="54" y="76"/>
                  </a:lnTo>
                  <a:lnTo>
                    <a:pt x="56" y="74"/>
                  </a:lnTo>
                  <a:lnTo>
                    <a:pt x="56" y="74"/>
                  </a:lnTo>
                  <a:lnTo>
                    <a:pt x="56" y="72"/>
                  </a:lnTo>
                  <a:lnTo>
                    <a:pt x="58" y="70"/>
                  </a:lnTo>
                  <a:lnTo>
                    <a:pt x="58" y="68"/>
                  </a:lnTo>
                  <a:lnTo>
                    <a:pt x="58" y="66"/>
                  </a:lnTo>
                  <a:lnTo>
                    <a:pt x="58" y="64"/>
                  </a:lnTo>
                  <a:lnTo>
                    <a:pt x="58" y="60"/>
                  </a:lnTo>
                  <a:lnTo>
                    <a:pt x="58" y="56"/>
                  </a:lnTo>
                  <a:lnTo>
                    <a:pt x="58" y="50"/>
                  </a:lnTo>
                  <a:lnTo>
                    <a:pt x="58" y="46"/>
                  </a:lnTo>
                  <a:lnTo>
                    <a:pt x="58" y="42"/>
                  </a:lnTo>
                  <a:lnTo>
                    <a:pt x="56" y="40"/>
                  </a:lnTo>
                  <a:lnTo>
                    <a:pt x="56" y="38"/>
                  </a:lnTo>
                  <a:lnTo>
                    <a:pt x="56" y="36"/>
                  </a:lnTo>
                  <a:lnTo>
                    <a:pt x="54" y="34"/>
                  </a:lnTo>
                  <a:lnTo>
                    <a:pt x="52" y="30"/>
                  </a:lnTo>
                  <a:lnTo>
                    <a:pt x="50" y="28"/>
                  </a:lnTo>
                  <a:lnTo>
                    <a:pt x="48" y="24"/>
                  </a:lnTo>
                  <a:lnTo>
                    <a:pt x="44" y="20"/>
                  </a:lnTo>
                  <a:lnTo>
                    <a:pt x="40" y="14"/>
                  </a:lnTo>
                  <a:lnTo>
                    <a:pt x="34" y="8"/>
                  </a:lnTo>
                  <a:lnTo>
                    <a:pt x="30" y="4"/>
                  </a:lnTo>
                  <a:lnTo>
                    <a:pt x="2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0" name="Freeform 36"/>
            <p:cNvSpPr>
              <a:spLocks/>
            </p:cNvSpPr>
            <p:nvPr/>
          </p:nvSpPr>
          <p:spPr bwMode="auto">
            <a:xfrm>
              <a:off x="7331520" y="3485721"/>
              <a:ext cx="100460" cy="152423"/>
            </a:xfrm>
            <a:custGeom>
              <a:avLst/>
              <a:gdLst>
                <a:gd name="T0" fmla="*/ 22 w 58"/>
                <a:gd name="T1" fmla="*/ 16 h 88"/>
                <a:gd name="T2" fmla="*/ 2 w 58"/>
                <a:gd name="T3" fmla="*/ 24 h 88"/>
                <a:gd name="T4" fmla="*/ 6 w 58"/>
                <a:gd name="T5" fmla="*/ 30 h 88"/>
                <a:gd name="T6" fmla="*/ 8 w 58"/>
                <a:gd name="T7" fmla="*/ 34 h 88"/>
                <a:gd name="T8" fmla="*/ 8 w 58"/>
                <a:gd name="T9" fmla="*/ 36 h 88"/>
                <a:gd name="T10" fmla="*/ 8 w 58"/>
                <a:gd name="T11" fmla="*/ 42 h 88"/>
                <a:gd name="T12" fmla="*/ 8 w 58"/>
                <a:gd name="T13" fmla="*/ 44 h 88"/>
                <a:gd name="T14" fmla="*/ 8 w 58"/>
                <a:gd name="T15" fmla="*/ 46 h 88"/>
                <a:gd name="T16" fmla="*/ 8 w 58"/>
                <a:gd name="T17" fmla="*/ 48 h 88"/>
                <a:gd name="T18" fmla="*/ 10 w 58"/>
                <a:gd name="T19" fmla="*/ 48 h 88"/>
                <a:gd name="T20" fmla="*/ 12 w 58"/>
                <a:gd name="T21" fmla="*/ 50 h 88"/>
                <a:gd name="T22" fmla="*/ 16 w 58"/>
                <a:gd name="T23" fmla="*/ 50 h 88"/>
                <a:gd name="T24" fmla="*/ 18 w 58"/>
                <a:gd name="T25" fmla="*/ 50 h 88"/>
                <a:gd name="T26" fmla="*/ 20 w 58"/>
                <a:gd name="T27" fmla="*/ 52 h 88"/>
                <a:gd name="T28" fmla="*/ 20 w 58"/>
                <a:gd name="T29" fmla="*/ 52 h 88"/>
                <a:gd name="T30" fmla="*/ 22 w 58"/>
                <a:gd name="T31" fmla="*/ 54 h 88"/>
                <a:gd name="T32" fmla="*/ 22 w 58"/>
                <a:gd name="T33" fmla="*/ 58 h 88"/>
                <a:gd name="T34" fmla="*/ 20 w 58"/>
                <a:gd name="T35" fmla="*/ 62 h 88"/>
                <a:gd name="T36" fmla="*/ 18 w 58"/>
                <a:gd name="T37" fmla="*/ 70 h 88"/>
                <a:gd name="T38" fmla="*/ 16 w 58"/>
                <a:gd name="T39" fmla="*/ 74 h 88"/>
                <a:gd name="T40" fmla="*/ 16 w 58"/>
                <a:gd name="T41" fmla="*/ 78 h 88"/>
                <a:gd name="T42" fmla="*/ 18 w 58"/>
                <a:gd name="T43" fmla="*/ 80 h 88"/>
                <a:gd name="T44" fmla="*/ 18 w 58"/>
                <a:gd name="T45" fmla="*/ 82 h 88"/>
                <a:gd name="T46" fmla="*/ 20 w 58"/>
                <a:gd name="T47" fmla="*/ 84 h 88"/>
                <a:gd name="T48" fmla="*/ 24 w 58"/>
                <a:gd name="T49" fmla="*/ 86 h 88"/>
                <a:gd name="T50" fmla="*/ 30 w 58"/>
                <a:gd name="T51" fmla="*/ 88 h 88"/>
                <a:gd name="T52" fmla="*/ 32 w 58"/>
                <a:gd name="T53" fmla="*/ 88 h 88"/>
                <a:gd name="T54" fmla="*/ 36 w 58"/>
                <a:gd name="T55" fmla="*/ 86 h 88"/>
                <a:gd name="T56" fmla="*/ 40 w 58"/>
                <a:gd name="T57" fmla="*/ 86 h 88"/>
                <a:gd name="T58" fmla="*/ 46 w 58"/>
                <a:gd name="T59" fmla="*/ 82 h 88"/>
                <a:gd name="T60" fmla="*/ 52 w 58"/>
                <a:gd name="T61" fmla="*/ 78 h 88"/>
                <a:gd name="T62" fmla="*/ 54 w 58"/>
                <a:gd name="T63" fmla="*/ 76 h 88"/>
                <a:gd name="T64" fmla="*/ 56 w 58"/>
                <a:gd name="T65" fmla="*/ 74 h 88"/>
                <a:gd name="T66" fmla="*/ 58 w 58"/>
                <a:gd name="T67" fmla="*/ 70 h 88"/>
                <a:gd name="T68" fmla="*/ 58 w 58"/>
                <a:gd name="T69" fmla="*/ 66 h 88"/>
                <a:gd name="T70" fmla="*/ 58 w 58"/>
                <a:gd name="T71" fmla="*/ 60 h 88"/>
                <a:gd name="T72" fmla="*/ 58 w 58"/>
                <a:gd name="T73" fmla="*/ 50 h 88"/>
                <a:gd name="T74" fmla="*/ 58 w 58"/>
                <a:gd name="T75" fmla="*/ 42 h 88"/>
                <a:gd name="T76" fmla="*/ 56 w 58"/>
                <a:gd name="T77" fmla="*/ 38 h 88"/>
                <a:gd name="T78" fmla="*/ 54 w 58"/>
                <a:gd name="T79" fmla="*/ 34 h 88"/>
                <a:gd name="T80" fmla="*/ 50 w 58"/>
                <a:gd name="T81" fmla="*/ 28 h 88"/>
                <a:gd name="T82" fmla="*/ 44 w 58"/>
                <a:gd name="T83" fmla="*/ 20 h 88"/>
                <a:gd name="T84" fmla="*/ 34 w 58"/>
                <a:gd name="T85" fmla="*/ 8 h 88"/>
                <a:gd name="T86" fmla="*/ 26 w 58"/>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88">
                  <a:moveTo>
                    <a:pt x="26" y="0"/>
                  </a:moveTo>
                  <a:lnTo>
                    <a:pt x="22" y="16"/>
                  </a:lnTo>
                  <a:lnTo>
                    <a:pt x="0" y="22"/>
                  </a:lnTo>
                  <a:lnTo>
                    <a:pt x="2" y="24"/>
                  </a:lnTo>
                  <a:lnTo>
                    <a:pt x="4" y="28"/>
                  </a:lnTo>
                  <a:lnTo>
                    <a:pt x="6" y="30"/>
                  </a:lnTo>
                  <a:lnTo>
                    <a:pt x="8" y="32"/>
                  </a:lnTo>
                  <a:lnTo>
                    <a:pt x="8" y="34"/>
                  </a:lnTo>
                  <a:lnTo>
                    <a:pt x="8" y="36"/>
                  </a:lnTo>
                  <a:lnTo>
                    <a:pt x="8" y="36"/>
                  </a:lnTo>
                  <a:lnTo>
                    <a:pt x="8" y="38"/>
                  </a:lnTo>
                  <a:lnTo>
                    <a:pt x="8" y="42"/>
                  </a:lnTo>
                  <a:lnTo>
                    <a:pt x="8" y="42"/>
                  </a:lnTo>
                  <a:lnTo>
                    <a:pt x="8" y="44"/>
                  </a:lnTo>
                  <a:lnTo>
                    <a:pt x="8" y="46"/>
                  </a:lnTo>
                  <a:lnTo>
                    <a:pt x="8" y="46"/>
                  </a:lnTo>
                  <a:lnTo>
                    <a:pt x="8" y="46"/>
                  </a:lnTo>
                  <a:lnTo>
                    <a:pt x="8" y="48"/>
                  </a:lnTo>
                  <a:lnTo>
                    <a:pt x="8" y="48"/>
                  </a:lnTo>
                  <a:lnTo>
                    <a:pt x="10" y="48"/>
                  </a:lnTo>
                  <a:lnTo>
                    <a:pt x="10" y="48"/>
                  </a:lnTo>
                  <a:lnTo>
                    <a:pt x="12" y="50"/>
                  </a:lnTo>
                  <a:lnTo>
                    <a:pt x="14" y="50"/>
                  </a:lnTo>
                  <a:lnTo>
                    <a:pt x="16" y="50"/>
                  </a:lnTo>
                  <a:lnTo>
                    <a:pt x="18" y="50"/>
                  </a:lnTo>
                  <a:lnTo>
                    <a:pt x="18" y="50"/>
                  </a:lnTo>
                  <a:lnTo>
                    <a:pt x="20" y="50"/>
                  </a:lnTo>
                  <a:lnTo>
                    <a:pt x="20" y="52"/>
                  </a:lnTo>
                  <a:lnTo>
                    <a:pt x="20" y="52"/>
                  </a:lnTo>
                  <a:lnTo>
                    <a:pt x="20" y="52"/>
                  </a:lnTo>
                  <a:lnTo>
                    <a:pt x="20" y="54"/>
                  </a:lnTo>
                  <a:lnTo>
                    <a:pt x="22" y="54"/>
                  </a:lnTo>
                  <a:lnTo>
                    <a:pt x="22" y="56"/>
                  </a:lnTo>
                  <a:lnTo>
                    <a:pt x="22" y="58"/>
                  </a:lnTo>
                  <a:lnTo>
                    <a:pt x="20" y="60"/>
                  </a:lnTo>
                  <a:lnTo>
                    <a:pt x="20" y="62"/>
                  </a:lnTo>
                  <a:lnTo>
                    <a:pt x="18" y="66"/>
                  </a:lnTo>
                  <a:lnTo>
                    <a:pt x="18" y="70"/>
                  </a:lnTo>
                  <a:lnTo>
                    <a:pt x="18" y="72"/>
                  </a:lnTo>
                  <a:lnTo>
                    <a:pt x="16" y="74"/>
                  </a:lnTo>
                  <a:lnTo>
                    <a:pt x="16" y="76"/>
                  </a:lnTo>
                  <a:lnTo>
                    <a:pt x="16" y="78"/>
                  </a:lnTo>
                  <a:lnTo>
                    <a:pt x="18" y="80"/>
                  </a:lnTo>
                  <a:lnTo>
                    <a:pt x="18" y="80"/>
                  </a:lnTo>
                  <a:lnTo>
                    <a:pt x="18" y="82"/>
                  </a:lnTo>
                  <a:lnTo>
                    <a:pt x="18" y="82"/>
                  </a:lnTo>
                  <a:lnTo>
                    <a:pt x="18" y="82"/>
                  </a:lnTo>
                  <a:lnTo>
                    <a:pt x="20" y="84"/>
                  </a:lnTo>
                  <a:lnTo>
                    <a:pt x="22" y="84"/>
                  </a:lnTo>
                  <a:lnTo>
                    <a:pt x="24" y="86"/>
                  </a:lnTo>
                  <a:lnTo>
                    <a:pt x="26" y="86"/>
                  </a:lnTo>
                  <a:lnTo>
                    <a:pt x="30" y="88"/>
                  </a:lnTo>
                  <a:lnTo>
                    <a:pt x="32" y="88"/>
                  </a:lnTo>
                  <a:lnTo>
                    <a:pt x="32" y="88"/>
                  </a:lnTo>
                  <a:lnTo>
                    <a:pt x="34" y="88"/>
                  </a:lnTo>
                  <a:lnTo>
                    <a:pt x="36" y="86"/>
                  </a:lnTo>
                  <a:lnTo>
                    <a:pt x="38" y="86"/>
                  </a:lnTo>
                  <a:lnTo>
                    <a:pt x="40" y="86"/>
                  </a:lnTo>
                  <a:lnTo>
                    <a:pt x="42" y="84"/>
                  </a:lnTo>
                  <a:lnTo>
                    <a:pt x="46" y="82"/>
                  </a:lnTo>
                  <a:lnTo>
                    <a:pt x="50" y="80"/>
                  </a:lnTo>
                  <a:lnTo>
                    <a:pt x="52" y="78"/>
                  </a:lnTo>
                  <a:lnTo>
                    <a:pt x="54" y="76"/>
                  </a:lnTo>
                  <a:lnTo>
                    <a:pt x="54" y="76"/>
                  </a:lnTo>
                  <a:lnTo>
                    <a:pt x="56" y="74"/>
                  </a:lnTo>
                  <a:lnTo>
                    <a:pt x="56" y="74"/>
                  </a:lnTo>
                  <a:lnTo>
                    <a:pt x="56" y="72"/>
                  </a:lnTo>
                  <a:lnTo>
                    <a:pt x="58" y="70"/>
                  </a:lnTo>
                  <a:lnTo>
                    <a:pt x="58" y="68"/>
                  </a:lnTo>
                  <a:lnTo>
                    <a:pt x="58" y="66"/>
                  </a:lnTo>
                  <a:lnTo>
                    <a:pt x="58" y="64"/>
                  </a:lnTo>
                  <a:lnTo>
                    <a:pt x="58" y="60"/>
                  </a:lnTo>
                  <a:lnTo>
                    <a:pt x="58" y="56"/>
                  </a:lnTo>
                  <a:lnTo>
                    <a:pt x="58" y="50"/>
                  </a:lnTo>
                  <a:lnTo>
                    <a:pt x="58" y="46"/>
                  </a:lnTo>
                  <a:lnTo>
                    <a:pt x="58" y="42"/>
                  </a:lnTo>
                  <a:lnTo>
                    <a:pt x="56" y="40"/>
                  </a:lnTo>
                  <a:lnTo>
                    <a:pt x="56" y="38"/>
                  </a:lnTo>
                  <a:lnTo>
                    <a:pt x="56" y="36"/>
                  </a:lnTo>
                  <a:lnTo>
                    <a:pt x="54" y="34"/>
                  </a:lnTo>
                  <a:lnTo>
                    <a:pt x="52" y="30"/>
                  </a:lnTo>
                  <a:lnTo>
                    <a:pt x="50" y="28"/>
                  </a:lnTo>
                  <a:lnTo>
                    <a:pt x="48" y="24"/>
                  </a:lnTo>
                  <a:lnTo>
                    <a:pt x="44" y="20"/>
                  </a:lnTo>
                  <a:lnTo>
                    <a:pt x="40" y="14"/>
                  </a:lnTo>
                  <a:lnTo>
                    <a:pt x="34" y="8"/>
                  </a:lnTo>
                  <a:lnTo>
                    <a:pt x="30" y="4"/>
                  </a:lnTo>
                  <a:lnTo>
                    <a:pt x="2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1" name="Freeform 37"/>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2" name="Freeform 38"/>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3" name="Freeform 39"/>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4" name="Freeform 40"/>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5" name="Freeform 41"/>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6" name="Freeform 42"/>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7" name="Freeform 43"/>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8" name="Freeform 44"/>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69" name="Freeform 45"/>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0" name="Freeform 46"/>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1" name="Freeform 47"/>
            <p:cNvSpPr>
              <a:spLocks/>
            </p:cNvSpPr>
            <p:nvPr/>
          </p:nvSpPr>
          <p:spPr bwMode="auto">
            <a:xfrm>
              <a:off x="5436630" y="2973027"/>
              <a:ext cx="924928" cy="471124"/>
            </a:xfrm>
            <a:custGeom>
              <a:avLst/>
              <a:gdLst>
                <a:gd name="T0" fmla="*/ 518 w 534"/>
                <a:gd name="T1" fmla="*/ 76 h 272"/>
                <a:gd name="T2" fmla="*/ 490 w 534"/>
                <a:gd name="T3" fmla="*/ 60 h 272"/>
                <a:gd name="T4" fmla="*/ 472 w 534"/>
                <a:gd name="T5" fmla="*/ 54 h 272"/>
                <a:gd name="T6" fmla="*/ 452 w 534"/>
                <a:gd name="T7" fmla="*/ 16 h 272"/>
                <a:gd name="T8" fmla="*/ 412 w 534"/>
                <a:gd name="T9" fmla="*/ 26 h 272"/>
                <a:gd name="T10" fmla="*/ 396 w 534"/>
                <a:gd name="T11" fmla="*/ 14 h 272"/>
                <a:gd name="T12" fmla="*/ 376 w 534"/>
                <a:gd name="T13" fmla="*/ 0 h 272"/>
                <a:gd name="T14" fmla="*/ 306 w 534"/>
                <a:gd name="T15" fmla="*/ 8 h 272"/>
                <a:gd name="T16" fmla="*/ 268 w 534"/>
                <a:gd name="T17" fmla="*/ 4 h 272"/>
                <a:gd name="T18" fmla="*/ 270 w 534"/>
                <a:gd name="T19" fmla="*/ 28 h 272"/>
                <a:gd name="T20" fmla="*/ 238 w 534"/>
                <a:gd name="T21" fmla="*/ 38 h 272"/>
                <a:gd name="T22" fmla="*/ 246 w 534"/>
                <a:gd name="T23" fmla="*/ 60 h 272"/>
                <a:gd name="T24" fmla="*/ 226 w 534"/>
                <a:gd name="T25" fmla="*/ 64 h 272"/>
                <a:gd name="T26" fmla="*/ 184 w 534"/>
                <a:gd name="T27" fmla="*/ 50 h 272"/>
                <a:gd name="T28" fmla="*/ 166 w 534"/>
                <a:gd name="T29" fmla="*/ 42 h 272"/>
                <a:gd name="T30" fmla="*/ 146 w 534"/>
                <a:gd name="T31" fmla="*/ 20 h 272"/>
                <a:gd name="T32" fmla="*/ 94 w 534"/>
                <a:gd name="T33" fmla="*/ 10 h 272"/>
                <a:gd name="T34" fmla="*/ 66 w 534"/>
                <a:gd name="T35" fmla="*/ 16 h 272"/>
                <a:gd name="T36" fmla="*/ 56 w 534"/>
                <a:gd name="T37" fmla="*/ 20 h 272"/>
                <a:gd name="T38" fmla="*/ 34 w 534"/>
                <a:gd name="T39" fmla="*/ 10 h 272"/>
                <a:gd name="T40" fmla="*/ 2 w 534"/>
                <a:gd name="T41" fmla="*/ 52 h 272"/>
                <a:gd name="T42" fmla="*/ 10 w 534"/>
                <a:gd name="T43" fmla="*/ 78 h 272"/>
                <a:gd name="T44" fmla="*/ 28 w 534"/>
                <a:gd name="T45" fmla="*/ 98 h 272"/>
                <a:gd name="T46" fmla="*/ 12 w 534"/>
                <a:gd name="T47" fmla="*/ 124 h 272"/>
                <a:gd name="T48" fmla="*/ 30 w 534"/>
                <a:gd name="T49" fmla="*/ 142 h 272"/>
                <a:gd name="T50" fmla="*/ 48 w 534"/>
                <a:gd name="T51" fmla="*/ 142 h 272"/>
                <a:gd name="T52" fmla="*/ 60 w 534"/>
                <a:gd name="T53" fmla="*/ 150 h 272"/>
                <a:gd name="T54" fmla="*/ 60 w 534"/>
                <a:gd name="T55" fmla="*/ 174 h 272"/>
                <a:gd name="T56" fmla="*/ 38 w 534"/>
                <a:gd name="T57" fmla="*/ 174 h 272"/>
                <a:gd name="T58" fmla="*/ 30 w 534"/>
                <a:gd name="T59" fmla="*/ 192 h 272"/>
                <a:gd name="T60" fmla="*/ 22 w 534"/>
                <a:gd name="T61" fmla="*/ 202 h 272"/>
                <a:gd name="T62" fmla="*/ 42 w 534"/>
                <a:gd name="T63" fmla="*/ 216 h 272"/>
                <a:gd name="T64" fmla="*/ 52 w 534"/>
                <a:gd name="T65" fmla="*/ 238 h 272"/>
                <a:gd name="T66" fmla="*/ 58 w 534"/>
                <a:gd name="T67" fmla="*/ 232 h 272"/>
                <a:gd name="T68" fmla="*/ 78 w 534"/>
                <a:gd name="T69" fmla="*/ 230 h 272"/>
                <a:gd name="T70" fmla="*/ 94 w 534"/>
                <a:gd name="T71" fmla="*/ 246 h 272"/>
                <a:gd name="T72" fmla="*/ 106 w 534"/>
                <a:gd name="T73" fmla="*/ 256 h 272"/>
                <a:gd name="T74" fmla="*/ 122 w 534"/>
                <a:gd name="T75" fmla="*/ 228 h 272"/>
                <a:gd name="T76" fmla="*/ 144 w 534"/>
                <a:gd name="T77" fmla="*/ 180 h 272"/>
                <a:gd name="T78" fmla="*/ 178 w 534"/>
                <a:gd name="T79" fmla="*/ 160 h 272"/>
                <a:gd name="T80" fmla="*/ 188 w 534"/>
                <a:gd name="T81" fmla="*/ 144 h 272"/>
                <a:gd name="T82" fmla="*/ 206 w 534"/>
                <a:gd name="T83" fmla="*/ 154 h 272"/>
                <a:gd name="T84" fmla="*/ 212 w 534"/>
                <a:gd name="T85" fmla="*/ 178 h 272"/>
                <a:gd name="T86" fmla="*/ 218 w 534"/>
                <a:gd name="T87" fmla="*/ 210 h 272"/>
                <a:gd name="T88" fmla="*/ 240 w 534"/>
                <a:gd name="T89" fmla="*/ 212 h 272"/>
                <a:gd name="T90" fmla="*/ 272 w 534"/>
                <a:gd name="T91" fmla="*/ 224 h 272"/>
                <a:gd name="T92" fmla="*/ 278 w 534"/>
                <a:gd name="T93" fmla="*/ 256 h 272"/>
                <a:gd name="T94" fmla="*/ 326 w 534"/>
                <a:gd name="T95" fmla="*/ 258 h 272"/>
                <a:gd name="T96" fmla="*/ 362 w 534"/>
                <a:gd name="T97" fmla="*/ 242 h 272"/>
                <a:gd name="T98" fmla="*/ 346 w 534"/>
                <a:gd name="T99" fmla="*/ 228 h 272"/>
                <a:gd name="T100" fmla="*/ 326 w 534"/>
                <a:gd name="T101" fmla="*/ 220 h 272"/>
                <a:gd name="T102" fmla="*/ 332 w 534"/>
                <a:gd name="T103" fmla="*/ 204 h 272"/>
                <a:gd name="T104" fmla="*/ 342 w 534"/>
                <a:gd name="T105" fmla="*/ 188 h 272"/>
                <a:gd name="T106" fmla="*/ 356 w 534"/>
                <a:gd name="T107" fmla="*/ 200 h 272"/>
                <a:gd name="T108" fmla="*/ 378 w 534"/>
                <a:gd name="T109" fmla="*/ 186 h 272"/>
                <a:gd name="T110" fmla="*/ 398 w 534"/>
                <a:gd name="T111" fmla="*/ 196 h 272"/>
                <a:gd name="T112" fmla="*/ 446 w 534"/>
                <a:gd name="T113" fmla="*/ 196 h 272"/>
                <a:gd name="T114" fmla="*/ 462 w 534"/>
                <a:gd name="T115" fmla="*/ 182 h 272"/>
                <a:gd name="T116" fmla="*/ 480 w 534"/>
                <a:gd name="T117" fmla="*/ 170 h 272"/>
                <a:gd name="T118" fmla="*/ 500 w 534"/>
                <a:gd name="T119" fmla="*/ 170 h 272"/>
                <a:gd name="T120" fmla="*/ 510 w 534"/>
                <a:gd name="T121" fmla="*/ 134 h 272"/>
                <a:gd name="T122" fmla="*/ 524 w 534"/>
                <a:gd name="T12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72">
                  <a:moveTo>
                    <a:pt x="534" y="114"/>
                  </a:moveTo>
                  <a:lnTo>
                    <a:pt x="534" y="114"/>
                  </a:lnTo>
                  <a:lnTo>
                    <a:pt x="534" y="110"/>
                  </a:lnTo>
                  <a:lnTo>
                    <a:pt x="532" y="106"/>
                  </a:lnTo>
                  <a:lnTo>
                    <a:pt x="530" y="100"/>
                  </a:lnTo>
                  <a:lnTo>
                    <a:pt x="528" y="94"/>
                  </a:lnTo>
                  <a:lnTo>
                    <a:pt x="528" y="90"/>
                  </a:lnTo>
                  <a:lnTo>
                    <a:pt x="526" y="88"/>
                  </a:lnTo>
                  <a:lnTo>
                    <a:pt x="524" y="86"/>
                  </a:lnTo>
                  <a:lnTo>
                    <a:pt x="524" y="82"/>
                  </a:lnTo>
                  <a:lnTo>
                    <a:pt x="522" y="80"/>
                  </a:lnTo>
                  <a:lnTo>
                    <a:pt x="522" y="80"/>
                  </a:lnTo>
                  <a:lnTo>
                    <a:pt x="520" y="78"/>
                  </a:lnTo>
                  <a:lnTo>
                    <a:pt x="520" y="78"/>
                  </a:lnTo>
                  <a:lnTo>
                    <a:pt x="518" y="76"/>
                  </a:lnTo>
                  <a:lnTo>
                    <a:pt x="516" y="76"/>
                  </a:lnTo>
                  <a:lnTo>
                    <a:pt x="514" y="76"/>
                  </a:lnTo>
                  <a:lnTo>
                    <a:pt x="510" y="74"/>
                  </a:lnTo>
                  <a:lnTo>
                    <a:pt x="506" y="74"/>
                  </a:lnTo>
                  <a:lnTo>
                    <a:pt x="504" y="72"/>
                  </a:lnTo>
                  <a:lnTo>
                    <a:pt x="500" y="70"/>
                  </a:lnTo>
                  <a:lnTo>
                    <a:pt x="500" y="70"/>
                  </a:lnTo>
                  <a:lnTo>
                    <a:pt x="498" y="70"/>
                  </a:lnTo>
                  <a:lnTo>
                    <a:pt x="498" y="68"/>
                  </a:lnTo>
                  <a:lnTo>
                    <a:pt x="496" y="68"/>
                  </a:lnTo>
                  <a:lnTo>
                    <a:pt x="494" y="64"/>
                  </a:lnTo>
                  <a:lnTo>
                    <a:pt x="494" y="62"/>
                  </a:lnTo>
                  <a:lnTo>
                    <a:pt x="492" y="60"/>
                  </a:lnTo>
                  <a:lnTo>
                    <a:pt x="492" y="60"/>
                  </a:lnTo>
                  <a:lnTo>
                    <a:pt x="490" y="60"/>
                  </a:lnTo>
                  <a:lnTo>
                    <a:pt x="490" y="58"/>
                  </a:lnTo>
                  <a:lnTo>
                    <a:pt x="490" y="58"/>
                  </a:lnTo>
                  <a:lnTo>
                    <a:pt x="488" y="58"/>
                  </a:lnTo>
                  <a:lnTo>
                    <a:pt x="486" y="58"/>
                  </a:lnTo>
                  <a:lnTo>
                    <a:pt x="484" y="58"/>
                  </a:lnTo>
                  <a:lnTo>
                    <a:pt x="482" y="58"/>
                  </a:lnTo>
                  <a:lnTo>
                    <a:pt x="480" y="58"/>
                  </a:lnTo>
                  <a:lnTo>
                    <a:pt x="478" y="58"/>
                  </a:lnTo>
                  <a:lnTo>
                    <a:pt x="476" y="58"/>
                  </a:lnTo>
                  <a:lnTo>
                    <a:pt x="476" y="58"/>
                  </a:lnTo>
                  <a:lnTo>
                    <a:pt x="476" y="58"/>
                  </a:lnTo>
                  <a:lnTo>
                    <a:pt x="474" y="58"/>
                  </a:lnTo>
                  <a:lnTo>
                    <a:pt x="474" y="56"/>
                  </a:lnTo>
                  <a:lnTo>
                    <a:pt x="474" y="56"/>
                  </a:lnTo>
                  <a:lnTo>
                    <a:pt x="472" y="54"/>
                  </a:lnTo>
                  <a:lnTo>
                    <a:pt x="470" y="52"/>
                  </a:lnTo>
                  <a:lnTo>
                    <a:pt x="470" y="50"/>
                  </a:lnTo>
                  <a:lnTo>
                    <a:pt x="468" y="46"/>
                  </a:lnTo>
                  <a:lnTo>
                    <a:pt x="468" y="44"/>
                  </a:lnTo>
                  <a:lnTo>
                    <a:pt x="464" y="38"/>
                  </a:lnTo>
                  <a:lnTo>
                    <a:pt x="462" y="30"/>
                  </a:lnTo>
                  <a:lnTo>
                    <a:pt x="462" y="28"/>
                  </a:lnTo>
                  <a:lnTo>
                    <a:pt x="460" y="24"/>
                  </a:lnTo>
                  <a:lnTo>
                    <a:pt x="458" y="22"/>
                  </a:lnTo>
                  <a:lnTo>
                    <a:pt x="458" y="20"/>
                  </a:lnTo>
                  <a:lnTo>
                    <a:pt x="456" y="18"/>
                  </a:lnTo>
                  <a:lnTo>
                    <a:pt x="456" y="18"/>
                  </a:lnTo>
                  <a:lnTo>
                    <a:pt x="454" y="18"/>
                  </a:lnTo>
                  <a:lnTo>
                    <a:pt x="454" y="16"/>
                  </a:lnTo>
                  <a:lnTo>
                    <a:pt x="452" y="16"/>
                  </a:lnTo>
                  <a:lnTo>
                    <a:pt x="452" y="16"/>
                  </a:lnTo>
                  <a:lnTo>
                    <a:pt x="450" y="16"/>
                  </a:lnTo>
                  <a:lnTo>
                    <a:pt x="448" y="16"/>
                  </a:lnTo>
                  <a:lnTo>
                    <a:pt x="444" y="16"/>
                  </a:lnTo>
                  <a:lnTo>
                    <a:pt x="442" y="16"/>
                  </a:lnTo>
                  <a:lnTo>
                    <a:pt x="440" y="16"/>
                  </a:lnTo>
                  <a:lnTo>
                    <a:pt x="434" y="16"/>
                  </a:lnTo>
                  <a:lnTo>
                    <a:pt x="432" y="18"/>
                  </a:lnTo>
                  <a:lnTo>
                    <a:pt x="430" y="18"/>
                  </a:lnTo>
                  <a:lnTo>
                    <a:pt x="424" y="22"/>
                  </a:lnTo>
                  <a:lnTo>
                    <a:pt x="420" y="22"/>
                  </a:lnTo>
                  <a:lnTo>
                    <a:pt x="418" y="24"/>
                  </a:lnTo>
                  <a:lnTo>
                    <a:pt x="414" y="24"/>
                  </a:lnTo>
                  <a:lnTo>
                    <a:pt x="412" y="24"/>
                  </a:lnTo>
                  <a:lnTo>
                    <a:pt x="412" y="26"/>
                  </a:lnTo>
                  <a:lnTo>
                    <a:pt x="408" y="26"/>
                  </a:lnTo>
                  <a:lnTo>
                    <a:pt x="406" y="26"/>
                  </a:lnTo>
                  <a:lnTo>
                    <a:pt x="404" y="26"/>
                  </a:lnTo>
                  <a:lnTo>
                    <a:pt x="402" y="26"/>
                  </a:lnTo>
                  <a:lnTo>
                    <a:pt x="400" y="26"/>
                  </a:lnTo>
                  <a:lnTo>
                    <a:pt x="398" y="26"/>
                  </a:lnTo>
                  <a:lnTo>
                    <a:pt x="398" y="24"/>
                  </a:lnTo>
                  <a:lnTo>
                    <a:pt x="396" y="24"/>
                  </a:lnTo>
                  <a:lnTo>
                    <a:pt x="396" y="24"/>
                  </a:lnTo>
                  <a:lnTo>
                    <a:pt x="396" y="24"/>
                  </a:lnTo>
                  <a:lnTo>
                    <a:pt x="396" y="22"/>
                  </a:lnTo>
                  <a:lnTo>
                    <a:pt x="396" y="22"/>
                  </a:lnTo>
                  <a:lnTo>
                    <a:pt x="396" y="20"/>
                  </a:lnTo>
                  <a:lnTo>
                    <a:pt x="396" y="18"/>
                  </a:lnTo>
                  <a:lnTo>
                    <a:pt x="396" y="14"/>
                  </a:lnTo>
                  <a:lnTo>
                    <a:pt x="396" y="14"/>
                  </a:lnTo>
                  <a:lnTo>
                    <a:pt x="396" y="12"/>
                  </a:lnTo>
                  <a:lnTo>
                    <a:pt x="394" y="12"/>
                  </a:lnTo>
                  <a:lnTo>
                    <a:pt x="394" y="10"/>
                  </a:lnTo>
                  <a:lnTo>
                    <a:pt x="392" y="8"/>
                  </a:lnTo>
                  <a:lnTo>
                    <a:pt x="392" y="8"/>
                  </a:lnTo>
                  <a:lnTo>
                    <a:pt x="390" y="6"/>
                  </a:lnTo>
                  <a:lnTo>
                    <a:pt x="388" y="4"/>
                  </a:lnTo>
                  <a:lnTo>
                    <a:pt x="386" y="2"/>
                  </a:lnTo>
                  <a:lnTo>
                    <a:pt x="384" y="2"/>
                  </a:lnTo>
                  <a:lnTo>
                    <a:pt x="382" y="2"/>
                  </a:lnTo>
                  <a:lnTo>
                    <a:pt x="382" y="0"/>
                  </a:lnTo>
                  <a:lnTo>
                    <a:pt x="380" y="0"/>
                  </a:lnTo>
                  <a:lnTo>
                    <a:pt x="378" y="0"/>
                  </a:lnTo>
                  <a:lnTo>
                    <a:pt x="376" y="0"/>
                  </a:lnTo>
                  <a:lnTo>
                    <a:pt x="372" y="2"/>
                  </a:lnTo>
                  <a:lnTo>
                    <a:pt x="370" y="2"/>
                  </a:lnTo>
                  <a:lnTo>
                    <a:pt x="362" y="4"/>
                  </a:lnTo>
                  <a:lnTo>
                    <a:pt x="358" y="6"/>
                  </a:lnTo>
                  <a:lnTo>
                    <a:pt x="356" y="6"/>
                  </a:lnTo>
                  <a:lnTo>
                    <a:pt x="350" y="8"/>
                  </a:lnTo>
                  <a:lnTo>
                    <a:pt x="344" y="8"/>
                  </a:lnTo>
                  <a:lnTo>
                    <a:pt x="338" y="10"/>
                  </a:lnTo>
                  <a:lnTo>
                    <a:pt x="336" y="10"/>
                  </a:lnTo>
                  <a:lnTo>
                    <a:pt x="334" y="10"/>
                  </a:lnTo>
                  <a:lnTo>
                    <a:pt x="330" y="10"/>
                  </a:lnTo>
                  <a:lnTo>
                    <a:pt x="326" y="10"/>
                  </a:lnTo>
                  <a:lnTo>
                    <a:pt x="320" y="10"/>
                  </a:lnTo>
                  <a:lnTo>
                    <a:pt x="316" y="10"/>
                  </a:lnTo>
                  <a:lnTo>
                    <a:pt x="306" y="8"/>
                  </a:lnTo>
                  <a:lnTo>
                    <a:pt x="298" y="8"/>
                  </a:lnTo>
                  <a:lnTo>
                    <a:pt x="296" y="6"/>
                  </a:lnTo>
                  <a:lnTo>
                    <a:pt x="294" y="6"/>
                  </a:lnTo>
                  <a:lnTo>
                    <a:pt x="288" y="4"/>
                  </a:lnTo>
                  <a:lnTo>
                    <a:pt x="286" y="4"/>
                  </a:lnTo>
                  <a:lnTo>
                    <a:pt x="282" y="2"/>
                  </a:lnTo>
                  <a:lnTo>
                    <a:pt x="280" y="2"/>
                  </a:lnTo>
                  <a:lnTo>
                    <a:pt x="278" y="2"/>
                  </a:lnTo>
                  <a:lnTo>
                    <a:pt x="276" y="2"/>
                  </a:lnTo>
                  <a:lnTo>
                    <a:pt x="272" y="2"/>
                  </a:lnTo>
                  <a:lnTo>
                    <a:pt x="272" y="4"/>
                  </a:lnTo>
                  <a:lnTo>
                    <a:pt x="270" y="4"/>
                  </a:lnTo>
                  <a:lnTo>
                    <a:pt x="270" y="4"/>
                  </a:lnTo>
                  <a:lnTo>
                    <a:pt x="268" y="4"/>
                  </a:lnTo>
                  <a:lnTo>
                    <a:pt x="268" y="4"/>
                  </a:lnTo>
                  <a:lnTo>
                    <a:pt x="268" y="6"/>
                  </a:lnTo>
                  <a:lnTo>
                    <a:pt x="268" y="6"/>
                  </a:lnTo>
                  <a:lnTo>
                    <a:pt x="268" y="8"/>
                  </a:lnTo>
                  <a:lnTo>
                    <a:pt x="268" y="10"/>
                  </a:lnTo>
                  <a:lnTo>
                    <a:pt x="268" y="12"/>
                  </a:lnTo>
                  <a:lnTo>
                    <a:pt x="270" y="14"/>
                  </a:lnTo>
                  <a:lnTo>
                    <a:pt x="272" y="18"/>
                  </a:lnTo>
                  <a:lnTo>
                    <a:pt x="272" y="20"/>
                  </a:lnTo>
                  <a:lnTo>
                    <a:pt x="272" y="22"/>
                  </a:lnTo>
                  <a:lnTo>
                    <a:pt x="272" y="24"/>
                  </a:lnTo>
                  <a:lnTo>
                    <a:pt x="272" y="24"/>
                  </a:lnTo>
                  <a:lnTo>
                    <a:pt x="272" y="26"/>
                  </a:lnTo>
                  <a:lnTo>
                    <a:pt x="272" y="26"/>
                  </a:lnTo>
                  <a:lnTo>
                    <a:pt x="270" y="26"/>
                  </a:lnTo>
                  <a:lnTo>
                    <a:pt x="270" y="28"/>
                  </a:lnTo>
                  <a:lnTo>
                    <a:pt x="270" y="28"/>
                  </a:lnTo>
                  <a:lnTo>
                    <a:pt x="266" y="30"/>
                  </a:lnTo>
                  <a:lnTo>
                    <a:pt x="264" y="30"/>
                  </a:lnTo>
                  <a:lnTo>
                    <a:pt x="260" y="32"/>
                  </a:lnTo>
                  <a:lnTo>
                    <a:pt x="258" y="32"/>
                  </a:lnTo>
                  <a:lnTo>
                    <a:pt x="256" y="34"/>
                  </a:lnTo>
                  <a:lnTo>
                    <a:pt x="254" y="34"/>
                  </a:lnTo>
                  <a:lnTo>
                    <a:pt x="254" y="34"/>
                  </a:lnTo>
                  <a:lnTo>
                    <a:pt x="252" y="34"/>
                  </a:lnTo>
                  <a:lnTo>
                    <a:pt x="248" y="36"/>
                  </a:lnTo>
                  <a:lnTo>
                    <a:pt x="246" y="36"/>
                  </a:lnTo>
                  <a:lnTo>
                    <a:pt x="242" y="36"/>
                  </a:lnTo>
                  <a:lnTo>
                    <a:pt x="242" y="38"/>
                  </a:lnTo>
                  <a:lnTo>
                    <a:pt x="240" y="38"/>
                  </a:lnTo>
                  <a:lnTo>
                    <a:pt x="238" y="38"/>
                  </a:lnTo>
                  <a:lnTo>
                    <a:pt x="238" y="40"/>
                  </a:lnTo>
                  <a:lnTo>
                    <a:pt x="236" y="40"/>
                  </a:lnTo>
                  <a:lnTo>
                    <a:pt x="236" y="42"/>
                  </a:lnTo>
                  <a:lnTo>
                    <a:pt x="236" y="42"/>
                  </a:lnTo>
                  <a:lnTo>
                    <a:pt x="236" y="44"/>
                  </a:lnTo>
                  <a:lnTo>
                    <a:pt x="236" y="44"/>
                  </a:lnTo>
                  <a:lnTo>
                    <a:pt x="236" y="46"/>
                  </a:lnTo>
                  <a:lnTo>
                    <a:pt x="238" y="48"/>
                  </a:lnTo>
                  <a:lnTo>
                    <a:pt x="242" y="50"/>
                  </a:lnTo>
                  <a:lnTo>
                    <a:pt x="244" y="52"/>
                  </a:lnTo>
                  <a:lnTo>
                    <a:pt x="246" y="56"/>
                  </a:lnTo>
                  <a:lnTo>
                    <a:pt x="246" y="56"/>
                  </a:lnTo>
                  <a:lnTo>
                    <a:pt x="246" y="58"/>
                  </a:lnTo>
                  <a:lnTo>
                    <a:pt x="246" y="60"/>
                  </a:lnTo>
                  <a:lnTo>
                    <a:pt x="246" y="60"/>
                  </a:lnTo>
                  <a:lnTo>
                    <a:pt x="246" y="62"/>
                  </a:lnTo>
                  <a:lnTo>
                    <a:pt x="246" y="62"/>
                  </a:lnTo>
                  <a:lnTo>
                    <a:pt x="244" y="64"/>
                  </a:lnTo>
                  <a:lnTo>
                    <a:pt x="244" y="64"/>
                  </a:lnTo>
                  <a:lnTo>
                    <a:pt x="242" y="66"/>
                  </a:lnTo>
                  <a:lnTo>
                    <a:pt x="240" y="68"/>
                  </a:lnTo>
                  <a:lnTo>
                    <a:pt x="240" y="68"/>
                  </a:lnTo>
                  <a:lnTo>
                    <a:pt x="238" y="68"/>
                  </a:lnTo>
                  <a:lnTo>
                    <a:pt x="238" y="68"/>
                  </a:lnTo>
                  <a:lnTo>
                    <a:pt x="236" y="68"/>
                  </a:lnTo>
                  <a:lnTo>
                    <a:pt x="236" y="68"/>
                  </a:lnTo>
                  <a:lnTo>
                    <a:pt x="234" y="68"/>
                  </a:lnTo>
                  <a:lnTo>
                    <a:pt x="232" y="66"/>
                  </a:lnTo>
                  <a:lnTo>
                    <a:pt x="228" y="66"/>
                  </a:lnTo>
                  <a:lnTo>
                    <a:pt x="226" y="64"/>
                  </a:lnTo>
                  <a:lnTo>
                    <a:pt x="222" y="62"/>
                  </a:lnTo>
                  <a:lnTo>
                    <a:pt x="220" y="60"/>
                  </a:lnTo>
                  <a:lnTo>
                    <a:pt x="212" y="56"/>
                  </a:lnTo>
                  <a:lnTo>
                    <a:pt x="208" y="52"/>
                  </a:lnTo>
                  <a:lnTo>
                    <a:pt x="204" y="50"/>
                  </a:lnTo>
                  <a:lnTo>
                    <a:pt x="204" y="50"/>
                  </a:lnTo>
                  <a:lnTo>
                    <a:pt x="202" y="48"/>
                  </a:lnTo>
                  <a:lnTo>
                    <a:pt x="200" y="48"/>
                  </a:lnTo>
                  <a:lnTo>
                    <a:pt x="198" y="48"/>
                  </a:lnTo>
                  <a:lnTo>
                    <a:pt x="198" y="48"/>
                  </a:lnTo>
                  <a:lnTo>
                    <a:pt x="196" y="48"/>
                  </a:lnTo>
                  <a:lnTo>
                    <a:pt x="194" y="48"/>
                  </a:lnTo>
                  <a:lnTo>
                    <a:pt x="192" y="48"/>
                  </a:lnTo>
                  <a:lnTo>
                    <a:pt x="188" y="48"/>
                  </a:lnTo>
                  <a:lnTo>
                    <a:pt x="184" y="50"/>
                  </a:lnTo>
                  <a:lnTo>
                    <a:pt x="182" y="50"/>
                  </a:lnTo>
                  <a:lnTo>
                    <a:pt x="180" y="50"/>
                  </a:lnTo>
                  <a:lnTo>
                    <a:pt x="180" y="50"/>
                  </a:lnTo>
                  <a:lnTo>
                    <a:pt x="176" y="50"/>
                  </a:lnTo>
                  <a:lnTo>
                    <a:pt x="174" y="50"/>
                  </a:lnTo>
                  <a:lnTo>
                    <a:pt x="172" y="48"/>
                  </a:lnTo>
                  <a:lnTo>
                    <a:pt x="170" y="48"/>
                  </a:lnTo>
                  <a:lnTo>
                    <a:pt x="168" y="48"/>
                  </a:lnTo>
                  <a:lnTo>
                    <a:pt x="168" y="46"/>
                  </a:lnTo>
                  <a:lnTo>
                    <a:pt x="166" y="46"/>
                  </a:lnTo>
                  <a:lnTo>
                    <a:pt x="166" y="46"/>
                  </a:lnTo>
                  <a:lnTo>
                    <a:pt x="166" y="46"/>
                  </a:lnTo>
                  <a:lnTo>
                    <a:pt x="166" y="44"/>
                  </a:lnTo>
                  <a:lnTo>
                    <a:pt x="166" y="44"/>
                  </a:lnTo>
                  <a:lnTo>
                    <a:pt x="166" y="42"/>
                  </a:lnTo>
                  <a:lnTo>
                    <a:pt x="166" y="40"/>
                  </a:lnTo>
                  <a:lnTo>
                    <a:pt x="168" y="40"/>
                  </a:lnTo>
                  <a:lnTo>
                    <a:pt x="168" y="38"/>
                  </a:lnTo>
                  <a:lnTo>
                    <a:pt x="168" y="36"/>
                  </a:lnTo>
                  <a:lnTo>
                    <a:pt x="168" y="36"/>
                  </a:lnTo>
                  <a:lnTo>
                    <a:pt x="168" y="36"/>
                  </a:lnTo>
                  <a:lnTo>
                    <a:pt x="166" y="34"/>
                  </a:lnTo>
                  <a:lnTo>
                    <a:pt x="166" y="32"/>
                  </a:lnTo>
                  <a:lnTo>
                    <a:pt x="164" y="30"/>
                  </a:lnTo>
                  <a:lnTo>
                    <a:pt x="162" y="28"/>
                  </a:lnTo>
                  <a:lnTo>
                    <a:pt x="160" y="26"/>
                  </a:lnTo>
                  <a:lnTo>
                    <a:pt x="156" y="26"/>
                  </a:lnTo>
                  <a:lnTo>
                    <a:pt x="154" y="24"/>
                  </a:lnTo>
                  <a:lnTo>
                    <a:pt x="152" y="22"/>
                  </a:lnTo>
                  <a:lnTo>
                    <a:pt x="146" y="20"/>
                  </a:lnTo>
                  <a:lnTo>
                    <a:pt x="140" y="16"/>
                  </a:lnTo>
                  <a:lnTo>
                    <a:pt x="136" y="14"/>
                  </a:lnTo>
                  <a:lnTo>
                    <a:pt x="132" y="14"/>
                  </a:lnTo>
                  <a:lnTo>
                    <a:pt x="130" y="12"/>
                  </a:lnTo>
                  <a:lnTo>
                    <a:pt x="128" y="12"/>
                  </a:lnTo>
                  <a:lnTo>
                    <a:pt x="126" y="12"/>
                  </a:lnTo>
                  <a:lnTo>
                    <a:pt x="122" y="12"/>
                  </a:lnTo>
                  <a:lnTo>
                    <a:pt x="118" y="12"/>
                  </a:lnTo>
                  <a:lnTo>
                    <a:pt x="110" y="12"/>
                  </a:lnTo>
                  <a:lnTo>
                    <a:pt x="106" y="12"/>
                  </a:lnTo>
                  <a:lnTo>
                    <a:pt x="104" y="12"/>
                  </a:lnTo>
                  <a:lnTo>
                    <a:pt x="102" y="10"/>
                  </a:lnTo>
                  <a:lnTo>
                    <a:pt x="100" y="10"/>
                  </a:lnTo>
                  <a:lnTo>
                    <a:pt x="96" y="10"/>
                  </a:lnTo>
                  <a:lnTo>
                    <a:pt x="94" y="10"/>
                  </a:lnTo>
                  <a:lnTo>
                    <a:pt x="90" y="8"/>
                  </a:lnTo>
                  <a:lnTo>
                    <a:pt x="88" y="8"/>
                  </a:lnTo>
                  <a:lnTo>
                    <a:pt x="86" y="8"/>
                  </a:lnTo>
                  <a:lnTo>
                    <a:pt x="84" y="8"/>
                  </a:lnTo>
                  <a:lnTo>
                    <a:pt x="82" y="8"/>
                  </a:lnTo>
                  <a:lnTo>
                    <a:pt x="80" y="10"/>
                  </a:lnTo>
                  <a:lnTo>
                    <a:pt x="76" y="10"/>
                  </a:lnTo>
                  <a:lnTo>
                    <a:pt x="74" y="10"/>
                  </a:lnTo>
                  <a:lnTo>
                    <a:pt x="72" y="10"/>
                  </a:lnTo>
                  <a:lnTo>
                    <a:pt x="70" y="12"/>
                  </a:lnTo>
                  <a:lnTo>
                    <a:pt x="68" y="12"/>
                  </a:lnTo>
                  <a:lnTo>
                    <a:pt x="68" y="14"/>
                  </a:lnTo>
                  <a:lnTo>
                    <a:pt x="66" y="14"/>
                  </a:lnTo>
                  <a:lnTo>
                    <a:pt x="66" y="14"/>
                  </a:lnTo>
                  <a:lnTo>
                    <a:pt x="66" y="16"/>
                  </a:lnTo>
                  <a:lnTo>
                    <a:pt x="66" y="18"/>
                  </a:lnTo>
                  <a:lnTo>
                    <a:pt x="64" y="20"/>
                  </a:lnTo>
                  <a:lnTo>
                    <a:pt x="64" y="22"/>
                  </a:lnTo>
                  <a:lnTo>
                    <a:pt x="64" y="24"/>
                  </a:lnTo>
                  <a:lnTo>
                    <a:pt x="64" y="24"/>
                  </a:lnTo>
                  <a:lnTo>
                    <a:pt x="62" y="24"/>
                  </a:lnTo>
                  <a:lnTo>
                    <a:pt x="62" y="26"/>
                  </a:lnTo>
                  <a:lnTo>
                    <a:pt x="62" y="26"/>
                  </a:lnTo>
                  <a:lnTo>
                    <a:pt x="60" y="26"/>
                  </a:lnTo>
                  <a:lnTo>
                    <a:pt x="60" y="26"/>
                  </a:lnTo>
                  <a:lnTo>
                    <a:pt x="60" y="24"/>
                  </a:lnTo>
                  <a:lnTo>
                    <a:pt x="58" y="24"/>
                  </a:lnTo>
                  <a:lnTo>
                    <a:pt x="58" y="22"/>
                  </a:lnTo>
                  <a:lnTo>
                    <a:pt x="56" y="22"/>
                  </a:lnTo>
                  <a:lnTo>
                    <a:pt x="56" y="20"/>
                  </a:lnTo>
                  <a:lnTo>
                    <a:pt x="54" y="16"/>
                  </a:lnTo>
                  <a:lnTo>
                    <a:pt x="52" y="14"/>
                  </a:lnTo>
                  <a:lnTo>
                    <a:pt x="50" y="12"/>
                  </a:lnTo>
                  <a:lnTo>
                    <a:pt x="50" y="10"/>
                  </a:lnTo>
                  <a:lnTo>
                    <a:pt x="48" y="10"/>
                  </a:lnTo>
                  <a:lnTo>
                    <a:pt x="48" y="8"/>
                  </a:lnTo>
                  <a:lnTo>
                    <a:pt x="46" y="8"/>
                  </a:lnTo>
                  <a:lnTo>
                    <a:pt x="46" y="8"/>
                  </a:lnTo>
                  <a:lnTo>
                    <a:pt x="46" y="8"/>
                  </a:lnTo>
                  <a:lnTo>
                    <a:pt x="44" y="6"/>
                  </a:lnTo>
                  <a:lnTo>
                    <a:pt x="42" y="8"/>
                  </a:lnTo>
                  <a:lnTo>
                    <a:pt x="40" y="8"/>
                  </a:lnTo>
                  <a:lnTo>
                    <a:pt x="38" y="8"/>
                  </a:lnTo>
                  <a:lnTo>
                    <a:pt x="36" y="8"/>
                  </a:lnTo>
                  <a:lnTo>
                    <a:pt x="34" y="10"/>
                  </a:lnTo>
                  <a:lnTo>
                    <a:pt x="32" y="10"/>
                  </a:lnTo>
                  <a:lnTo>
                    <a:pt x="30" y="12"/>
                  </a:lnTo>
                  <a:lnTo>
                    <a:pt x="28" y="14"/>
                  </a:lnTo>
                  <a:lnTo>
                    <a:pt x="26" y="14"/>
                  </a:lnTo>
                  <a:lnTo>
                    <a:pt x="24" y="16"/>
                  </a:lnTo>
                  <a:lnTo>
                    <a:pt x="22" y="18"/>
                  </a:lnTo>
                  <a:lnTo>
                    <a:pt x="20" y="20"/>
                  </a:lnTo>
                  <a:lnTo>
                    <a:pt x="20" y="22"/>
                  </a:lnTo>
                  <a:lnTo>
                    <a:pt x="16" y="26"/>
                  </a:lnTo>
                  <a:lnTo>
                    <a:pt x="12" y="30"/>
                  </a:lnTo>
                  <a:lnTo>
                    <a:pt x="10" y="36"/>
                  </a:lnTo>
                  <a:lnTo>
                    <a:pt x="8" y="40"/>
                  </a:lnTo>
                  <a:lnTo>
                    <a:pt x="6" y="44"/>
                  </a:lnTo>
                  <a:lnTo>
                    <a:pt x="4" y="48"/>
                  </a:lnTo>
                  <a:lnTo>
                    <a:pt x="2" y="52"/>
                  </a:lnTo>
                  <a:lnTo>
                    <a:pt x="2" y="54"/>
                  </a:lnTo>
                  <a:lnTo>
                    <a:pt x="2" y="56"/>
                  </a:lnTo>
                  <a:lnTo>
                    <a:pt x="0" y="58"/>
                  </a:lnTo>
                  <a:lnTo>
                    <a:pt x="0" y="60"/>
                  </a:lnTo>
                  <a:lnTo>
                    <a:pt x="0" y="60"/>
                  </a:lnTo>
                  <a:lnTo>
                    <a:pt x="0" y="62"/>
                  </a:lnTo>
                  <a:lnTo>
                    <a:pt x="2" y="64"/>
                  </a:lnTo>
                  <a:lnTo>
                    <a:pt x="2" y="66"/>
                  </a:lnTo>
                  <a:lnTo>
                    <a:pt x="4" y="68"/>
                  </a:lnTo>
                  <a:lnTo>
                    <a:pt x="4" y="70"/>
                  </a:lnTo>
                  <a:lnTo>
                    <a:pt x="6" y="72"/>
                  </a:lnTo>
                  <a:lnTo>
                    <a:pt x="8" y="74"/>
                  </a:lnTo>
                  <a:lnTo>
                    <a:pt x="8" y="76"/>
                  </a:lnTo>
                  <a:lnTo>
                    <a:pt x="10" y="76"/>
                  </a:lnTo>
                  <a:lnTo>
                    <a:pt x="10" y="78"/>
                  </a:lnTo>
                  <a:lnTo>
                    <a:pt x="12" y="78"/>
                  </a:lnTo>
                  <a:lnTo>
                    <a:pt x="14" y="80"/>
                  </a:lnTo>
                  <a:lnTo>
                    <a:pt x="18" y="80"/>
                  </a:lnTo>
                  <a:lnTo>
                    <a:pt x="20" y="82"/>
                  </a:lnTo>
                  <a:lnTo>
                    <a:pt x="22" y="84"/>
                  </a:lnTo>
                  <a:lnTo>
                    <a:pt x="24" y="84"/>
                  </a:lnTo>
                  <a:lnTo>
                    <a:pt x="24" y="84"/>
                  </a:lnTo>
                  <a:lnTo>
                    <a:pt x="24" y="86"/>
                  </a:lnTo>
                  <a:lnTo>
                    <a:pt x="26" y="86"/>
                  </a:lnTo>
                  <a:lnTo>
                    <a:pt x="26" y="88"/>
                  </a:lnTo>
                  <a:lnTo>
                    <a:pt x="26" y="88"/>
                  </a:lnTo>
                  <a:lnTo>
                    <a:pt x="26" y="90"/>
                  </a:lnTo>
                  <a:lnTo>
                    <a:pt x="28" y="94"/>
                  </a:lnTo>
                  <a:lnTo>
                    <a:pt x="28" y="96"/>
                  </a:lnTo>
                  <a:lnTo>
                    <a:pt x="28" y="98"/>
                  </a:lnTo>
                  <a:lnTo>
                    <a:pt x="28" y="102"/>
                  </a:lnTo>
                  <a:lnTo>
                    <a:pt x="26" y="104"/>
                  </a:lnTo>
                  <a:lnTo>
                    <a:pt x="26" y="106"/>
                  </a:lnTo>
                  <a:lnTo>
                    <a:pt x="26" y="106"/>
                  </a:lnTo>
                  <a:lnTo>
                    <a:pt x="26" y="108"/>
                  </a:lnTo>
                  <a:lnTo>
                    <a:pt x="24" y="110"/>
                  </a:lnTo>
                  <a:lnTo>
                    <a:pt x="22" y="112"/>
                  </a:lnTo>
                  <a:lnTo>
                    <a:pt x="20" y="114"/>
                  </a:lnTo>
                  <a:lnTo>
                    <a:pt x="18" y="114"/>
                  </a:lnTo>
                  <a:lnTo>
                    <a:pt x="16" y="116"/>
                  </a:lnTo>
                  <a:lnTo>
                    <a:pt x="14" y="118"/>
                  </a:lnTo>
                  <a:lnTo>
                    <a:pt x="14" y="120"/>
                  </a:lnTo>
                  <a:lnTo>
                    <a:pt x="14" y="120"/>
                  </a:lnTo>
                  <a:lnTo>
                    <a:pt x="12" y="122"/>
                  </a:lnTo>
                  <a:lnTo>
                    <a:pt x="12" y="124"/>
                  </a:lnTo>
                  <a:lnTo>
                    <a:pt x="10" y="126"/>
                  </a:lnTo>
                  <a:lnTo>
                    <a:pt x="10" y="132"/>
                  </a:lnTo>
                  <a:lnTo>
                    <a:pt x="10" y="136"/>
                  </a:lnTo>
                  <a:lnTo>
                    <a:pt x="8" y="144"/>
                  </a:lnTo>
                  <a:lnTo>
                    <a:pt x="8" y="146"/>
                  </a:lnTo>
                  <a:lnTo>
                    <a:pt x="10" y="146"/>
                  </a:lnTo>
                  <a:lnTo>
                    <a:pt x="14" y="144"/>
                  </a:lnTo>
                  <a:lnTo>
                    <a:pt x="18" y="144"/>
                  </a:lnTo>
                  <a:lnTo>
                    <a:pt x="20" y="142"/>
                  </a:lnTo>
                  <a:lnTo>
                    <a:pt x="24" y="142"/>
                  </a:lnTo>
                  <a:lnTo>
                    <a:pt x="26" y="142"/>
                  </a:lnTo>
                  <a:lnTo>
                    <a:pt x="26" y="142"/>
                  </a:lnTo>
                  <a:lnTo>
                    <a:pt x="26" y="142"/>
                  </a:lnTo>
                  <a:lnTo>
                    <a:pt x="28" y="142"/>
                  </a:lnTo>
                  <a:lnTo>
                    <a:pt x="30" y="142"/>
                  </a:lnTo>
                  <a:lnTo>
                    <a:pt x="32" y="144"/>
                  </a:lnTo>
                  <a:lnTo>
                    <a:pt x="36" y="146"/>
                  </a:lnTo>
                  <a:lnTo>
                    <a:pt x="38" y="146"/>
                  </a:lnTo>
                  <a:lnTo>
                    <a:pt x="40" y="148"/>
                  </a:lnTo>
                  <a:lnTo>
                    <a:pt x="42" y="148"/>
                  </a:lnTo>
                  <a:lnTo>
                    <a:pt x="42" y="148"/>
                  </a:lnTo>
                  <a:lnTo>
                    <a:pt x="44" y="148"/>
                  </a:lnTo>
                  <a:lnTo>
                    <a:pt x="44" y="148"/>
                  </a:lnTo>
                  <a:lnTo>
                    <a:pt x="46" y="148"/>
                  </a:lnTo>
                  <a:lnTo>
                    <a:pt x="46" y="148"/>
                  </a:lnTo>
                  <a:lnTo>
                    <a:pt x="46" y="146"/>
                  </a:lnTo>
                  <a:lnTo>
                    <a:pt x="46" y="146"/>
                  </a:lnTo>
                  <a:lnTo>
                    <a:pt x="48" y="144"/>
                  </a:lnTo>
                  <a:lnTo>
                    <a:pt x="48" y="142"/>
                  </a:lnTo>
                  <a:lnTo>
                    <a:pt x="48" y="142"/>
                  </a:lnTo>
                  <a:lnTo>
                    <a:pt x="50" y="140"/>
                  </a:lnTo>
                  <a:lnTo>
                    <a:pt x="50" y="140"/>
                  </a:lnTo>
                  <a:lnTo>
                    <a:pt x="50" y="140"/>
                  </a:lnTo>
                  <a:lnTo>
                    <a:pt x="52" y="140"/>
                  </a:lnTo>
                  <a:lnTo>
                    <a:pt x="52" y="140"/>
                  </a:lnTo>
                  <a:lnTo>
                    <a:pt x="54" y="142"/>
                  </a:lnTo>
                  <a:lnTo>
                    <a:pt x="56" y="142"/>
                  </a:lnTo>
                  <a:lnTo>
                    <a:pt x="58" y="142"/>
                  </a:lnTo>
                  <a:lnTo>
                    <a:pt x="58" y="144"/>
                  </a:lnTo>
                  <a:lnTo>
                    <a:pt x="60" y="144"/>
                  </a:lnTo>
                  <a:lnTo>
                    <a:pt x="60" y="146"/>
                  </a:lnTo>
                  <a:lnTo>
                    <a:pt x="60" y="146"/>
                  </a:lnTo>
                  <a:lnTo>
                    <a:pt x="60" y="148"/>
                  </a:lnTo>
                  <a:lnTo>
                    <a:pt x="60" y="148"/>
                  </a:lnTo>
                  <a:lnTo>
                    <a:pt x="60" y="150"/>
                  </a:lnTo>
                  <a:lnTo>
                    <a:pt x="60" y="152"/>
                  </a:lnTo>
                  <a:lnTo>
                    <a:pt x="58" y="154"/>
                  </a:lnTo>
                  <a:lnTo>
                    <a:pt x="58" y="158"/>
                  </a:lnTo>
                  <a:lnTo>
                    <a:pt x="58" y="160"/>
                  </a:lnTo>
                  <a:lnTo>
                    <a:pt x="56" y="162"/>
                  </a:lnTo>
                  <a:lnTo>
                    <a:pt x="56" y="164"/>
                  </a:lnTo>
                  <a:lnTo>
                    <a:pt x="56" y="164"/>
                  </a:lnTo>
                  <a:lnTo>
                    <a:pt x="56" y="166"/>
                  </a:lnTo>
                  <a:lnTo>
                    <a:pt x="58" y="166"/>
                  </a:lnTo>
                  <a:lnTo>
                    <a:pt x="58" y="168"/>
                  </a:lnTo>
                  <a:lnTo>
                    <a:pt x="60" y="170"/>
                  </a:lnTo>
                  <a:lnTo>
                    <a:pt x="60" y="172"/>
                  </a:lnTo>
                  <a:lnTo>
                    <a:pt x="60" y="172"/>
                  </a:lnTo>
                  <a:lnTo>
                    <a:pt x="60" y="172"/>
                  </a:lnTo>
                  <a:lnTo>
                    <a:pt x="60" y="174"/>
                  </a:lnTo>
                  <a:lnTo>
                    <a:pt x="60" y="174"/>
                  </a:lnTo>
                  <a:lnTo>
                    <a:pt x="58" y="174"/>
                  </a:lnTo>
                  <a:lnTo>
                    <a:pt x="58" y="174"/>
                  </a:lnTo>
                  <a:lnTo>
                    <a:pt x="56" y="174"/>
                  </a:lnTo>
                  <a:lnTo>
                    <a:pt x="56" y="174"/>
                  </a:lnTo>
                  <a:lnTo>
                    <a:pt x="54" y="174"/>
                  </a:lnTo>
                  <a:lnTo>
                    <a:pt x="50" y="174"/>
                  </a:lnTo>
                  <a:lnTo>
                    <a:pt x="48" y="174"/>
                  </a:lnTo>
                  <a:lnTo>
                    <a:pt x="44" y="172"/>
                  </a:lnTo>
                  <a:lnTo>
                    <a:pt x="44" y="172"/>
                  </a:lnTo>
                  <a:lnTo>
                    <a:pt x="42" y="172"/>
                  </a:lnTo>
                  <a:lnTo>
                    <a:pt x="40" y="172"/>
                  </a:lnTo>
                  <a:lnTo>
                    <a:pt x="40" y="174"/>
                  </a:lnTo>
                  <a:lnTo>
                    <a:pt x="38" y="174"/>
                  </a:lnTo>
                  <a:lnTo>
                    <a:pt x="38" y="174"/>
                  </a:lnTo>
                  <a:lnTo>
                    <a:pt x="36" y="176"/>
                  </a:lnTo>
                  <a:lnTo>
                    <a:pt x="36" y="176"/>
                  </a:lnTo>
                  <a:lnTo>
                    <a:pt x="34" y="178"/>
                  </a:lnTo>
                  <a:lnTo>
                    <a:pt x="32" y="180"/>
                  </a:lnTo>
                  <a:lnTo>
                    <a:pt x="32" y="180"/>
                  </a:lnTo>
                  <a:lnTo>
                    <a:pt x="32" y="182"/>
                  </a:lnTo>
                  <a:lnTo>
                    <a:pt x="32" y="184"/>
                  </a:lnTo>
                  <a:lnTo>
                    <a:pt x="32" y="186"/>
                  </a:lnTo>
                  <a:lnTo>
                    <a:pt x="32" y="188"/>
                  </a:lnTo>
                  <a:lnTo>
                    <a:pt x="32" y="190"/>
                  </a:lnTo>
                  <a:lnTo>
                    <a:pt x="32" y="192"/>
                  </a:lnTo>
                  <a:lnTo>
                    <a:pt x="32" y="192"/>
                  </a:lnTo>
                  <a:lnTo>
                    <a:pt x="32" y="192"/>
                  </a:lnTo>
                  <a:lnTo>
                    <a:pt x="30" y="192"/>
                  </a:lnTo>
                  <a:lnTo>
                    <a:pt x="30" y="192"/>
                  </a:lnTo>
                  <a:lnTo>
                    <a:pt x="28" y="192"/>
                  </a:lnTo>
                  <a:lnTo>
                    <a:pt x="28" y="192"/>
                  </a:lnTo>
                  <a:lnTo>
                    <a:pt x="26" y="192"/>
                  </a:lnTo>
                  <a:lnTo>
                    <a:pt x="24" y="192"/>
                  </a:lnTo>
                  <a:lnTo>
                    <a:pt x="22" y="192"/>
                  </a:lnTo>
                  <a:lnTo>
                    <a:pt x="22" y="192"/>
                  </a:lnTo>
                  <a:lnTo>
                    <a:pt x="20" y="192"/>
                  </a:lnTo>
                  <a:lnTo>
                    <a:pt x="20" y="192"/>
                  </a:lnTo>
                  <a:lnTo>
                    <a:pt x="20" y="194"/>
                  </a:lnTo>
                  <a:lnTo>
                    <a:pt x="20" y="194"/>
                  </a:lnTo>
                  <a:lnTo>
                    <a:pt x="20" y="194"/>
                  </a:lnTo>
                  <a:lnTo>
                    <a:pt x="20" y="196"/>
                  </a:lnTo>
                  <a:lnTo>
                    <a:pt x="20" y="196"/>
                  </a:lnTo>
                  <a:lnTo>
                    <a:pt x="20" y="198"/>
                  </a:lnTo>
                  <a:lnTo>
                    <a:pt x="22" y="202"/>
                  </a:lnTo>
                  <a:lnTo>
                    <a:pt x="22" y="204"/>
                  </a:lnTo>
                  <a:lnTo>
                    <a:pt x="24" y="206"/>
                  </a:lnTo>
                  <a:lnTo>
                    <a:pt x="24" y="210"/>
                  </a:lnTo>
                  <a:lnTo>
                    <a:pt x="24" y="212"/>
                  </a:lnTo>
                  <a:lnTo>
                    <a:pt x="26" y="214"/>
                  </a:lnTo>
                  <a:lnTo>
                    <a:pt x="26" y="216"/>
                  </a:lnTo>
                  <a:lnTo>
                    <a:pt x="26" y="216"/>
                  </a:lnTo>
                  <a:lnTo>
                    <a:pt x="28" y="218"/>
                  </a:lnTo>
                  <a:lnTo>
                    <a:pt x="28" y="218"/>
                  </a:lnTo>
                  <a:lnTo>
                    <a:pt x="30" y="218"/>
                  </a:lnTo>
                  <a:lnTo>
                    <a:pt x="30" y="218"/>
                  </a:lnTo>
                  <a:lnTo>
                    <a:pt x="32" y="218"/>
                  </a:lnTo>
                  <a:lnTo>
                    <a:pt x="36" y="218"/>
                  </a:lnTo>
                  <a:lnTo>
                    <a:pt x="38" y="218"/>
                  </a:lnTo>
                  <a:lnTo>
                    <a:pt x="42" y="216"/>
                  </a:lnTo>
                  <a:lnTo>
                    <a:pt x="46" y="216"/>
                  </a:lnTo>
                  <a:lnTo>
                    <a:pt x="46" y="216"/>
                  </a:lnTo>
                  <a:lnTo>
                    <a:pt x="48" y="216"/>
                  </a:lnTo>
                  <a:lnTo>
                    <a:pt x="48" y="216"/>
                  </a:lnTo>
                  <a:lnTo>
                    <a:pt x="50" y="218"/>
                  </a:lnTo>
                  <a:lnTo>
                    <a:pt x="50" y="218"/>
                  </a:lnTo>
                  <a:lnTo>
                    <a:pt x="50" y="218"/>
                  </a:lnTo>
                  <a:lnTo>
                    <a:pt x="52" y="220"/>
                  </a:lnTo>
                  <a:lnTo>
                    <a:pt x="52" y="220"/>
                  </a:lnTo>
                  <a:lnTo>
                    <a:pt x="52" y="222"/>
                  </a:lnTo>
                  <a:lnTo>
                    <a:pt x="52" y="224"/>
                  </a:lnTo>
                  <a:lnTo>
                    <a:pt x="52" y="226"/>
                  </a:lnTo>
                  <a:lnTo>
                    <a:pt x="52" y="232"/>
                  </a:lnTo>
                  <a:lnTo>
                    <a:pt x="52" y="236"/>
                  </a:lnTo>
                  <a:lnTo>
                    <a:pt x="52" y="238"/>
                  </a:lnTo>
                  <a:lnTo>
                    <a:pt x="54" y="238"/>
                  </a:lnTo>
                  <a:lnTo>
                    <a:pt x="54" y="240"/>
                  </a:lnTo>
                  <a:lnTo>
                    <a:pt x="54" y="242"/>
                  </a:lnTo>
                  <a:lnTo>
                    <a:pt x="54" y="242"/>
                  </a:lnTo>
                  <a:lnTo>
                    <a:pt x="56" y="242"/>
                  </a:lnTo>
                  <a:lnTo>
                    <a:pt x="56" y="242"/>
                  </a:lnTo>
                  <a:lnTo>
                    <a:pt x="56" y="242"/>
                  </a:lnTo>
                  <a:lnTo>
                    <a:pt x="56" y="242"/>
                  </a:lnTo>
                  <a:lnTo>
                    <a:pt x="58" y="242"/>
                  </a:lnTo>
                  <a:lnTo>
                    <a:pt x="58" y="242"/>
                  </a:lnTo>
                  <a:lnTo>
                    <a:pt x="58" y="240"/>
                  </a:lnTo>
                  <a:lnTo>
                    <a:pt x="58" y="238"/>
                  </a:lnTo>
                  <a:lnTo>
                    <a:pt x="58" y="236"/>
                  </a:lnTo>
                  <a:lnTo>
                    <a:pt x="58" y="234"/>
                  </a:lnTo>
                  <a:lnTo>
                    <a:pt x="58" y="232"/>
                  </a:lnTo>
                  <a:lnTo>
                    <a:pt x="58" y="230"/>
                  </a:lnTo>
                  <a:lnTo>
                    <a:pt x="58" y="230"/>
                  </a:lnTo>
                  <a:lnTo>
                    <a:pt x="60" y="230"/>
                  </a:lnTo>
                  <a:lnTo>
                    <a:pt x="60" y="228"/>
                  </a:lnTo>
                  <a:lnTo>
                    <a:pt x="60" y="228"/>
                  </a:lnTo>
                  <a:lnTo>
                    <a:pt x="62" y="228"/>
                  </a:lnTo>
                  <a:lnTo>
                    <a:pt x="62" y="228"/>
                  </a:lnTo>
                  <a:lnTo>
                    <a:pt x="64" y="228"/>
                  </a:lnTo>
                  <a:lnTo>
                    <a:pt x="66" y="228"/>
                  </a:lnTo>
                  <a:lnTo>
                    <a:pt x="68" y="228"/>
                  </a:lnTo>
                  <a:lnTo>
                    <a:pt x="72" y="228"/>
                  </a:lnTo>
                  <a:lnTo>
                    <a:pt x="74" y="228"/>
                  </a:lnTo>
                  <a:lnTo>
                    <a:pt x="76" y="230"/>
                  </a:lnTo>
                  <a:lnTo>
                    <a:pt x="76" y="230"/>
                  </a:lnTo>
                  <a:lnTo>
                    <a:pt x="78" y="230"/>
                  </a:lnTo>
                  <a:lnTo>
                    <a:pt x="78" y="232"/>
                  </a:lnTo>
                  <a:lnTo>
                    <a:pt x="78" y="232"/>
                  </a:lnTo>
                  <a:lnTo>
                    <a:pt x="80" y="234"/>
                  </a:lnTo>
                  <a:lnTo>
                    <a:pt x="80" y="236"/>
                  </a:lnTo>
                  <a:lnTo>
                    <a:pt x="80" y="238"/>
                  </a:lnTo>
                  <a:lnTo>
                    <a:pt x="80" y="242"/>
                  </a:lnTo>
                  <a:lnTo>
                    <a:pt x="82" y="246"/>
                  </a:lnTo>
                  <a:lnTo>
                    <a:pt x="82" y="248"/>
                  </a:lnTo>
                  <a:lnTo>
                    <a:pt x="82" y="250"/>
                  </a:lnTo>
                  <a:lnTo>
                    <a:pt x="84" y="250"/>
                  </a:lnTo>
                  <a:lnTo>
                    <a:pt x="88" y="248"/>
                  </a:lnTo>
                  <a:lnTo>
                    <a:pt x="90" y="246"/>
                  </a:lnTo>
                  <a:lnTo>
                    <a:pt x="92" y="246"/>
                  </a:lnTo>
                  <a:lnTo>
                    <a:pt x="94" y="246"/>
                  </a:lnTo>
                  <a:lnTo>
                    <a:pt x="94" y="246"/>
                  </a:lnTo>
                  <a:lnTo>
                    <a:pt x="96" y="246"/>
                  </a:lnTo>
                  <a:lnTo>
                    <a:pt x="98" y="246"/>
                  </a:lnTo>
                  <a:lnTo>
                    <a:pt x="98" y="246"/>
                  </a:lnTo>
                  <a:lnTo>
                    <a:pt x="100" y="246"/>
                  </a:lnTo>
                  <a:lnTo>
                    <a:pt x="102" y="246"/>
                  </a:lnTo>
                  <a:lnTo>
                    <a:pt x="104" y="248"/>
                  </a:lnTo>
                  <a:lnTo>
                    <a:pt x="106" y="248"/>
                  </a:lnTo>
                  <a:lnTo>
                    <a:pt x="106" y="248"/>
                  </a:lnTo>
                  <a:lnTo>
                    <a:pt x="108" y="250"/>
                  </a:lnTo>
                  <a:lnTo>
                    <a:pt x="108" y="250"/>
                  </a:lnTo>
                  <a:lnTo>
                    <a:pt x="108" y="250"/>
                  </a:lnTo>
                  <a:lnTo>
                    <a:pt x="108" y="252"/>
                  </a:lnTo>
                  <a:lnTo>
                    <a:pt x="108" y="254"/>
                  </a:lnTo>
                  <a:lnTo>
                    <a:pt x="108" y="254"/>
                  </a:lnTo>
                  <a:lnTo>
                    <a:pt x="106" y="256"/>
                  </a:lnTo>
                  <a:lnTo>
                    <a:pt x="106" y="258"/>
                  </a:lnTo>
                  <a:lnTo>
                    <a:pt x="106" y="258"/>
                  </a:lnTo>
                  <a:lnTo>
                    <a:pt x="106" y="260"/>
                  </a:lnTo>
                  <a:lnTo>
                    <a:pt x="108" y="260"/>
                  </a:lnTo>
                  <a:lnTo>
                    <a:pt x="108" y="260"/>
                  </a:lnTo>
                  <a:lnTo>
                    <a:pt x="108" y="260"/>
                  </a:lnTo>
                  <a:lnTo>
                    <a:pt x="110" y="262"/>
                  </a:lnTo>
                  <a:lnTo>
                    <a:pt x="112" y="262"/>
                  </a:lnTo>
                  <a:lnTo>
                    <a:pt x="114" y="262"/>
                  </a:lnTo>
                  <a:lnTo>
                    <a:pt x="118" y="264"/>
                  </a:lnTo>
                  <a:lnTo>
                    <a:pt x="120" y="264"/>
                  </a:lnTo>
                  <a:lnTo>
                    <a:pt x="120" y="254"/>
                  </a:lnTo>
                  <a:lnTo>
                    <a:pt x="122" y="244"/>
                  </a:lnTo>
                  <a:lnTo>
                    <a:pt x="122" y="234"/>
                  </a:lnTo>
                  <a:lnTo>
                    <a:pt x="122" y="228"/>
                  </a:lnTo>
                  <a:lnTo>
                    <a:pt x="124" y="220"/>
                  </a:lnTo>
                  <a:lnTo>
                    <a:pt x="124" y="214"/>
                  </a:lnTo>
                  <a:lnTo>
                    <a:pt x="126" y="208"/>
                  </a:lnTo>
                  <a:lnTo>
                    <a:pt x="126" y="204"/>
                  </a:lnTo>
                  <a:lnTo>
                    <a:pt x="128" y="198"/>
                  </a:lnTo>
                  <a:lnTo>
                    <a:pt x="128" y="196"/>
                  </a:lnTo>
                  <a:lnTo>
                    <a:pt x="130" y="194"/>
                  </a:lnTo>
                  <a:lnTo>
                    <a:pt x="130" y="192"/>
                  </a:lnTo>
                  <a:lnTo>
                    <a:pt x="132" y="192"/>
                  </a:lnTo>
                  <a:lnTo>
                    <a:pt x="132" y="190"/>
                  </a:lnTo>
                  <a:lnTo>
                    <a:pt x="134" y="188"/>
                  </a:lnTo>
                  <a:lnTo>
                    <a:pt x="136" y="186"/>
                  </a:lnTo>
                  <a:lnTo>
                    <a:pt x="138" y="184"/>
                  </a:lnTo>
                  <a:lnTo>
                    <a:pt x="140" y="182"/>
                  </a:lnTo>
                  <a:lnTo>
                    <a:pt x="144" y="180"/>
                  </a:lnTo>
                  <a:lnTo>
                    <a:pt x="148" y="176"/>
                  </a:lnTo>
                  <a:lnTo>
                    <a:pt x="154" y="172"/>
                  </a:lnTo>
                  <a:lnTo>
                    <a:pt x="158" y="170"/>
                  </a:lnTo>
                  <a:lnTo>
                    <a:pt x="162" y="166"/>
                  </a:lnTo>
                  <a:lnTo>
                    <a:pt x="164" y="166"/>
                  </a:lnTo>
                  <a:lnTo>
                    <a:pt x="168" y="166"/>
                  </a:lnTo>
                  <a:lnTo>
                    <a:pt x="172" y="166"/>
                  </a:lnTo>
                  <a:lnTo>
                    <a:pt x="174" y="164"/>
                  </a:lnTo>
                  <a:lnTo>
                    <a:pt x="176" y="164"/>
                  </a:lnTo>
                  <a:lnTo>
                    <a:pt x="176" y="164"/>
                  </a:lnTo>
                  <a:lnTo>
                    <a:pt x="176" y="164"/>
                  </a:lnTo>
                  <a:lnTo>
                    <a:pt x="176" y="162"/>
                  </a:lnTo>
                  <a:lnTo>
                    <a:pt x="178" y="162"/>
                  </a:lnTo>
                  <a:lnTo>
                    <a:pt x="178" y="160"/>
                  </a:lnTo>
                  <a:lnTo>
                    <a:pt x="178" y="160"/>
                  </a:lnTo>
                  <a:lnTo>
                    <a:pt x="176" y="158"/>
                  </a:lnTo>
                  <a:lnTo>
                    <a:pt x="176" y="154"/>
                  </a:lnTo>
                  <a:lnTo>
                    <a:pt x="176" y="152"/>
                  </a:lnTo>
                  <a:lnTo>
                    <a:pt x="176" y="150"/>
                  </a:lnTo>
                  <a:lnTo>
                    <a:pt x="176" y="150"/>
                  </a:lnTo>
                  <a:lnTo>
                    <a:pt x="176" y="148"/>
                  </a:lnTo>
                  <a:lnTo>
                    <a:pt x="176" y="148"/>
                  </a:lnTo>
                  <a:lnTo>
                    <a:pt x="176" y="146"/>
                  </a:lnTo>
                  <a:lnTo>
                    <a:pt x="178" y="146"/>
                  </a:lnTo>
                  <a:lnTo>
                    <a:pt x="180" y="146"/>
                  </a:lnTo>
                  <a:lnTo>
                    <a:pt x="180" y="144"/>
                  </a:lnTo>
                  <a:lnTo>
                    <a:pt x="182" y="144"/>
                  </a:lnTo>
                  <a:lnTo>
                    <a:pt x="184" y="144"/>
                  </a:lnTo>
                  <a:lnTo>
                    <a:pt x="186" y="144"/>
                  </a:lnTo>
                  <a:lnTo>
                    <a:pt x="188" y="144"/>
                  </a:lnTo>
                  <a:lnTo>
                    <a:pt x="190" y="144"/>
                  </a:lnTo>
                  <a:lnTo>
                    <a:pt x="192" y="144"/>
                  </a:lnTo>
                  <a:lnTo>
                    <a:pt x="194" y="144"/>
                  </a:lnTo>
                  <a:lnTo>
                    <a:pt x="196" y="144"/>
                  </a:lnTo>
                  <a:lnTo>
                    <a:pt x="198" y="144"/>
                  </a:lnTo>
                  <a:lnTo>
                    <a:pt x="200" y="144"/>
                  </a:lnTo>
                  <a:lnTo>
                    <a:pt x="202" y="146"/>
                  </a:lnTo>
                  <a:lnTo>
                    <a:pt x="204" y="146"/>
                  </a:lnTo>
                  <a:lnTo>
                    <a:pt x="204" y="146"/>
                  </a:lnTo>
                  <a:lnTo>
                    <a:pt x="204" y="148"/>
                  </a:lnTo>
                  <a:lnTo>
                    <a:pt x="206" y="148"/>
                  </a:lnTo>
                  <a:lnTo>
                    <a:pt x="206" y="150"/>
                  </a:lnTo>
                  <a:lnTo>
                    <a:pt x="206" y="152"/>
                  </a:lnTo>
                  <a:lnTo>
                    <a:pt x="206" y="152"/>
                  </a:lnTo>
                  <a:lnTo>
                    <a:pt x="206" y="154"/>
                  </a:lnTo>
                  <a:lnTo>
                    <a:pt x="206" y="158"/>
                  </a:lnTo>
                  <a:lnTo>
                    <a:pt x="204" y="160"/>
                  </a:lnTo>
                  <a:lnTo>
                    <a:pt x="204" y="164"/>
                  </a:lnTo>
                  <a:lnTo>
                    <a:pt x="204" y="166"/>
                  </a:lnTo>
                  <a:lnTo>
                    <a:pt x="204" y="166"/>
                  </a:lnTo>
                  <a:lnTo>
                    <a:pt x="204" y="168"/>
                  </a:lnTo>
                  <a:lnTo>
                    <a:pt x="204" y="170"/>
                  </a:lnTo>
                  <a:lnTo>
                    <a:pt x="204" y="170"/>
                  </a:lnTo>
                  <a:lnTo>
                    <a:pt x="204" y="170"/>
                  </a:lnTo>
                  <a:lnTo>
                    <a:pt x="206" y="172"/>
                  </a:lnTo>
                  <a:lnTo>
                    <a:pt x="210" y="174"/>
                  </a:lnTo>
                  <a:lnTo>
                    <a:pt x="210" y="176"/>
                  </a:lnTo>
                  <a:lnTo>
                    <a:pt x="212" y="176"/>
                  </a:lnTo>
                  <a:lnTo>
                    <a:pt x="212" y="178"/>
                  </a:lnTo>
                  <a:lnTo>
                    <a:pt x="212" y="178"/>
                  </a:lnTo>
                  <a:lnTo>
                    <a:pt x="214" y="178"/>
                  </a:lnTo>
                  <a:lnTo>
                    <a:pt x="214" y="180"/>
                  </a:lnTo>
                  <a:lnTo>
                    <a:pt x="214" y="180"/>
                  </a:lnTo>
                  <a:lnTo>
                    <a:pt x="212" y="180"/>
                  </a:lnTo>
                  <a:lnTo>
                    <a:pt x="212" y="182"/>
                  </a:lnTo>
                  <a:lnTo>
                    <a:pt x="212" y="182"/>
                  </a:lnTo>
                  <a:lnTo>
                    <a:pt x="210" y="184"/>
                  </a:lnTo>
                  <a:lnTo>
                    <a:pt x="208" y="186"/>
                  </a:lnTo>
                  <a:lnTo>
                    <a:pt x="206" y="186"/>
                  </a:lnTo>
                  <a:lnTo>
                    <a:pt x="210" y="194"/>
                  </a:lnTo>
                  <a:lnTo>
                    <a:pt x="214" y="200"/>
                  </a:lnTo>
                  <a:lnTo>
                    <a:pt x="216" y="204"/>
                  </a:lnTo>
                  <a:lnTo>
                    <a:pt x="218" y="206"/>
                  </a:lnTo>
                  <a:lnTo>
                    <a:pt x="218" y="208"/>
                  </a:lnTo>
                  <a:lnTo>
                    <a:pt x="218" y="210"/>
                  </a:lnTo>
                  <a:lnTo>
                    <a:pt x="220" y="212"/>
                  </a:lnTo>
                  <a:lnTo>
                    <a:pt x="220" y="214"/>
                  </a:lnTo>
                  <a:lnTo>
                    <a:pt x="220" y="216"/>
                  </a:lnTo>
                  <a:lnTo>
                    <a:pt x="222" y="216"/>
                  </a:lnTo>
                  <a:lnTo>
                    <a:pt x="222" y="216"/>
                  </a:lnTo>
                  <a:lnTo>
                    <a:pt x="222" y="216"/>
                  </a:lnTo>
                  <a:lnTo>
                    <a:pt x="224" y="216"/>
                  </a:lnTo>
                  <a:lnTo>
                    <a:pt x="224" y="216"/>
                  </a:lnTo>
                  <a:lnTo>
                    <a:pt x="226" y="216"/>
                  </a:lnTo>
                  <a:lnTo>
                    <a:pt x="228" y="216"/>
                  </a:lnTo>
                  <a:lnTo>
                    <a:pt x="230" y="214"/>
                  </a:lnTo>
                  <a:lnTo>
                    <a:pt x="236" y="212"/>
                  </a:lnTo>
                  <a:lnTo>
                    <a:pt x="238" y="212"/>
                  </a:lnTo>
                  <a:lnTo>
                    <a:pt x="238" y="212"/>
                  </a:lnTo>
                  <a:lnTo>
                    <a:pt x="240" y="212"/>
                  </a:lnTo>
                  <a:lnTo>
                    <a:pt x="242" y="212"/>
                  </a:lnTo>
                  <a:lnTo>
                    <a:pt x="244" y="212"/>
                  </a:lnTo>
                  <a:lnTo>
                    <a:pt x="248" y="212"/>
                  </a:lnTo>
                  <a:lnTo>
                    <a:pt x="252" y="212"/>
                  </a:lnTo>
                  <a:lnTo>
                    <a:pt x="256" y="214"/>
                  </a:lnTo>
                  <a:lnTo>
                    <a:pt x="260" y="214"/>
                  </a:lnTo>
                  <a:lnTo>
                    <a:pt x="262" y="216"/>
                  </a:lnTo>
                  <a:lnTo>
                    <a:pt x="264" y="216"/>
                  </a:lnTo>
                  <a:lnTo>
                    <a:pt x="268" y="218"/>
                  </a:lnTo>
                  <a:lnTo>
                    <a:pt x="270" y="218"/>
                  </a:lnTo>
                  <a:lnTo>
                    <a:pt x="270" y="220"/>
                  </a:lnTo>
                  <a:lnTo>
                    <a:pt x="272" y="220"/>
                  </a:lnTo>
                  <a:lnTo>
                    <a:pt x="272" y="222"/>
                  </a:lnTo>
                  <a:lnTo>
                    <a:pt x="272" y="222"/>
                  </a:lnTo>
                  <a:lnTo>
                    <a:pt x="272" y="224"/>
                  </a:lnTo>
                  <a:lnTo>
                    <a:pt x="274" y="224"/>
                  </a:lnTo>
                  <a:lnTo>
                    <a:pt x="274" y="226"/>
                  </a:lnTo>
                  <a:lnTo>
                    <a:pt x="274" y="228"/>
                  </a:lnTo>
                  <a:lnTo>
                    <a:pt x="274" y="232"/>
                  </a:lnTo>
                  <a:lnTo>
                    <a:pt x="274" y="238"/>
                  </a:lnTo>
                  <a:lnTo>
                    <a:pt x="274" y="240"/>
                  </a:lnTo>
                  <a:lnTo>
                    <a:pt x="274" y="242"/>
                  </a:lnTo>
                  <a:lnTo>
                    <a:pt x="274" y="242"/>
                  </a:lnTo>
                  <a:lnTo>
                    <a:pt x="274" y="246"/>
                  </a:lnTo>
                  <a:lnTo>
                    <a:pt x="276" y="250"/>
                  </a:lnTo>
                  <a:lnTo>
                    <a:pt x="276" y="252"/>
                  </a:lnTo>
                  <a:lnTo>
                    <a:pt x="276" y="254"/>
                  </a:lnTo>
                  <a:lnTo>
                    <a:pt x="278" y="254"/>
                  </a:lnTo>
                  <a:lnTo>
                    <a:pt x="278" y="256"/>
                  </a:lnTo>
                  <a:lnTo>
                    <a:pt x="278" y="256"/>
                  </a:lnTo>
                  <a:lnTo>
                    <a:pt x="280" y="258"/>
                  </a:lnTo>
                  <a:lnTo>
                    <a:pt x="282" y="258"/>
                  </a:lnTo>
                  <a:lnTo>
                    <a:pt x="284" y="260"/>
                  </a:lnTo>
                  <a:lnTo>
                    <a:pt x="288" y="262"/>
                  </a:lnTo>
                  <a:lnTo>
                    <a:pt x="294" y="264"/>
                  </a:lnTo>
                  <a:lnTo>
                    <a:pt x="296" y="264"/>
                  </a:lnTo>
                  <a:lnTo>
                    <a:pt x="298" y="266"/>
                  </a:lnTo>
                  <a:lnTo>
                    <a:pt x="302" y="270"/>
                  </a:lnTo>
                  <a:lnTo>
                    <a:pt x="306" y="272"/>
                  </a:lnTo>
                  <a:lnTo>
                    <a:pt x="312" y="266"/>
                  </a:lnTo>
                  <a:lnTo>
                    <a:pt x="318" y="262"/>
                  </a:lnTo>
                  <a:lnTo>
                    <a:pt x="320" y="260"/>
                  </a:lnTo>
                  <a:lnTo>
                    <a:pt x="322" y="260"/>
                  </a:lnTo>
                  <a:lnTo>
                    <a:pt x="324" y="258"/>
                  </a:lnTo>
                  <a:lnTo>
                    <a:pt x="326" y="258"/>
                  </a:lnTo>
                  <a:lnTo>
                    <a:pt x="330" y="256"/>
                  </a:lnTo>
                  <a:lnTo>
                    <a:pt x="336" y="256"/>
                  </a:lnTo>
                  <a:lnTo>
                    <a:pt x="340" y="254"/>
                  </a:lnTo>
                  <a:lnTo>
                    <a:pt x="346" y="252"/>
                  </a:lnTo>
                  <a:lnTo>
                    <a:pt x="350" y="252"/>
                  </a:lnTo>
                  <a:lnTo>
                    <a:pt x="352" y="250"/>
                  </a:lnTo>
                  <a:lnTo>
                    <a:pt x="354" y="250"/>
                  </a:lnTo>
                  <a:lnTo>
                    <a:pt x="356" y="248"/>
                  </a:lnTo>
                  <a:lnTo>
                    <a:pt x="358" y="248"/>
                  </a:lnTo>
                  <a:lnTo>
                    <a:pt x="358" y="246"/>
                  </a:lnTo>
                  <a:lnTo>
                    <a:pt x="360" y="246"/>
                  </a:lnTo>
                  <a:lnTo>
                    <a:pt x="360" y="244"/>
                  </a:lnTo>
                  <a:lnTo>
                    <a:pt x="360" y="244"/>
                  </a:lnTo>
                  <a:lnTo>
                    <a:pt x="362" y="242"/>
                  </a:lnTo>
                  <a:lnTo>
                    <a:pt x="362" y="242"/>
                  </a:lnTo>
                  <a:lnTo>
                    <a:pt x="362" y="240"/>
                  </a:lnTo>
                  <a:lnTo>
                    <a:pt x="362" y="240"/>
                  </a:lnTo>
                  <a:lnTo>
                    <a:pt x="362" y="238"/>
                  </a:lnTo>
                  <a:lnTo>
                    <a:pt x="362" y="238"/>
                  </a:lnTo>
                  <a:lnTo>
                    <a:pt x="360" y="236"/>
                  </a:lnTo>
                  <a:lnTo>
                    <a:pt x="360" y="234"/>
                  </a:lnTo>
                  <a:lnTo>
                    <a:pt x="358" y="232"/>
                  </a:lnTo>
                  <a:lnTo>
                    <a:pt x="356" y="232"/>
                  </a:lnTo>
                  <a:lnTo>
                    <a:pt x="354" y="230"/>
                  </a:lnTo>
                  <a:lnTo>
                    <a:pt x="352" y="228"/>
                  </a:lnTo>
                  <a:lnTo>
                    <a:pt x="350" y="228"/>
                  </a:lnTo>
                  <a:lnTo>
                    <a:pt x="350" y="228"/>
                  </a:lnTo>
                  <a:lnTo>
                    <a:pt x="350" y="228"/>
                  </a:lnTo>
                  <a:lnTo>
                    <a:pt x="348" y="228"/>
                  </a:lnTo>
                  <a:lnTo>
                    <a:pt x="346" y="228"/>
                  </a:lnTo>
                  <a:lnTo>
                    <a:pt x="344" y="230"/>
                  </a:lnTo>
                  <a:lnTo>
                    <a:pt x="342" y="230"/>
                  </a:lnTo>
                  <a:lnTo>
                    <a:pt x="340" y="230"/>
                  </a:lnTo>
                  <a:lnTo>
                    <a:pt x="340" y="230"/>
                  </a:lnTo>
                  <a:lnTo>
                    <a:pt x="338" y="230"/>
                  </a:lnTo>
                  <a:lnTo>
                    <a:pt x="338" y="230"/>
                  </a:lnTo>
                  <a:lnTo>
                    <a:pt x="336" y="230"/>
                  </a:lnTo>
                  <a:lnTo>
                    <a:pt x="334" y="230"/>
                  </a:lnTo>
                  <a:lnTo>
                    <a:pt x="334" y="228"/>
                  </a:lnTo>
                  <a:lnTo>
                    <a:pt x="330" y="226"/>
                  </a:lnTo>
                  <a:lnTo>
                    <a:pt x="330" y="224"/>
                  </a:lnTo>
                  <a:lnTo>
                    <a:pt x="328" y="224"/>
                  </a:lnTo>
                  <a:lnTo>
                    <a:pt x="328" y="222"/>
                  </a:lnTo>
                  <a:lnTo>
                    <a:pt x="326" y="222"/>
                  </a:lnTo>
                  <a:lnTo>
                    <a:pt x="326" y="220"/>
                  </a:lnTo>
                  <a:lnTo>
                    <a:pt x="326" y="220"/>
                  </a:lnTo>
                  <a:lnTo>
                    <a:pt x="326" y="220"/>
                  </a:lnTo>
                  <a:lnTo>
                    <a:pt x="326" y="218"/>
                  </a:lnTo>
                  <a:lnTo>
                    <a:pt x="328" y="218"/>
                  </a:lnTo>
                  <a:lnTo>
                    <a:pt x="328" y="216"/>
                  </a:lnTo>
                  <a:lnTo>
                    <a:pt x="330" y="214"/>
                  </a:lnTo>
                  <a:lnTo>
                    <a:pt x="330" y="214"/>
                  </a:lnTo>
                  <a:lnTo>
                    <a:pt x="332" y="212"/>
                  </a:lnTo>
                  <a:lnTo>
                    <a:pt x="334" y="212"/>
                  </a:lnTo>
                  <a:lnTo>
                    <a:pt x="334" y="210"/>
                  </a:lnTo>
                  <a:lnTo>
                    <a:pt x="334" y="210"/>
                  </a:lnTo>
                  <a:lnTo>
                    <a:pt x="334" y="210"/>
                  </a:lnTo>
                  <a:lnTo>
                    <a:pt x="334" y="208"/>
                  </a:lnTo>
                  <a:lnTo>
                    <a:pt x="332" y="206"/>
                  </a:lnTo>
                  <a:lnTo>
                    <a:pt x="332" y="204"/>
                  </a:lnTo>
                  <a:lnTo>
                    <a:pt x="332" y="202"/>
                  </a:lnTo>
                  <a:lnTo>
                    <a:pt x="332" y="200"/>
                  </a:lnTo>
                  <a:lnTo>
                    <a:pt x="330" y="198"/>
                  </a:lnTo>
                  <a:lnTo>
                    <a:pt x="330" y="198"/>
                  </a:lnTo>
                  <a:lnTo>
                    <a:pt x="332" y="198"/>
                  </a:lnTo>
                  <a:lnTo>
                    <a:pt x="332" y="196"/>
                  </a:lnTo>
                  <a:lnTo>
                    <a:pt x="334" y="194"/>
                  </a:lnTo>
                  <a:lnTo>
                    <a:pt x="334" y="192"/>
                  </a:lnTo>
                  <a:lnTo>
                    <a:pt x="336" y="192"/>
                  </a:lnTo>
                  <a:lnTo>
                    <a:pt x="338" y="190"/>
                  </a:lnTo>
                  <a:lnTo>
                    <a:pt x="338" y="190"/>
                  </a:lnTo>
                  <a:lnTo>
                    <a:pt x="340" y="188"/>
                  </a:lnTo>
                  <a:lnTo>
                    <a:pt x="342" y="188"/>
                  </a:lnTo>
                  <a:lnTo>
                    <a:pt x="342" y="188"/>
                  </a:lnTo>
                  <a:lnTo>
                    <a:pt x="342" y="188"/>
                  </a:lnTo>
                  <a:lnTo>
                    <a:pt x="344" y="190"/>
                  </a:lnTo>
                  <a:lnTo>
                    <a:pt x="344" y="190"/>
                  </a:lnTo>
                  <a:lnTo>
                    <a:pt x="346" y="192"/>
                  </a:lnTo>
                  <a:lnTo>
                    <a:pt x="346" y="194"/>
                  </a:lnTo>
                  <a:lnTo>
                    <a:pt x="348" y="196"/>
                  </a:lnTo>
                  <a:lnTo>
                    <a:pt x="350" y="198"/>
                  </a:lnTo>
                  <a:lnTo>
                    <a:pt x="350" y="200"/>
                  </a:lnTo>
                  <a:lnTo>
                    <a:pt x="352" y="200"/>
                  </a:lnTo>
                  <a:lnTo>
                    <a:pt x="352" y="200"/>
                  </a:lnTo>
                  <a:lnTo>
                    <a:pt x="354" y="202"/>
                  </a:lnTo>
                  <a:lnTo>
                    <a:pt x="354" y="202"/>
                  </a:lnTo>
                  <a:lnTo>
                    <a:pt x="356" y="202"/>
                  </a:lnTo>
                  <a:lnTo>
                    <a:pt x="356" y="202"/>
                  </a:lnTo>
                  <a:lnTo>
                    <a:pt x="356" y="202"/>
                  </a:lnTo>
                  <a:lnTo>
                    <a:pt x="356" y="200"/>
                  </a:lnTo>
                  <a:lnTo>
                    <a:pt x="356" y="200"/>
                  </a:lnTo>
                  <a:lnTo>
                    <a:pt x="358" y="198"/>
                  </a:lnTo>
                  <a:lnTo>
                    <a:pt x="358" y="196"/>
                  </a:lnTo>
                  <a:lnTo>
                    <a:pt x="360" y="194"/>
                  </a:lnTo>
                  <a:lnTo>
                    <a:pt x="360" y="192"/>
                  </a:lnTo>
                  <a:lnTo>
                    <a:pt x="360" y="192"/>
                  </a:lnTo>
                  <a:lnTo>
                    <a:pt x="362" y="192"/>
                  </a:lnTo>
                  <a:lnTo>
                    <a:pt x="362" y="190"/>
                  </a:lnTo>
                  <a:lnTo>
                    <a:pt x="364" y="188"/>
                  </a:lnTo>
                  <a:lnTo>
                    <a:pt x="368" y="188"/>
                  </a:lnTo>
                  <a:lnTo>
                    <a:pt x="370" y="188"/>
                  </a:lnTo>
                  <a:lnTo>
                    <a:pt x="372" y="186"/>
                  </a:lnTo>
                  <a:lnTo>
                    <a:pt x="376" y="186"/>
                  </a:lnTo>
                  <a:lnTo>
                    <a:pt x="378" y="186"/>
                  </a:lnTo>
                  <a:lnTo>
                    <a:pt x="378" y="186"/>
                  </a:lnTo>
                  <a:lnTo>
                    <a:pt x="380" y="186"/>
                  </a:lnTo>
                  <a:lnTo>
                    <a:pt x="380" y="186"/>
                  </a:lnTo>
                  <a:lnTo>
                    <a:pt x="380" y="186"/>
                  </a:lnTo>
                  <a:lnTo>
                    <a:pt x="382" y="188"/>
                  </a:lnTo>
                  <a:lnTo>
                    <a:pt x="384" y="190"/>
                  </a:lnTo>
                  <a:lnTo>
                    <a:pt x="384" y="192"/>
                  </a:lnTo>
                  <a:lnTo>
                    <a:pt x="386" y="192"/>
                  </a:lnTo>
                  <a:lnTo>
                    <a:pt x="388" y="194"/>
                  </a:lnTo>
                  <a:lnTo>
                    <a:pt x="388" y="196"/>
                  </a:lnTo>
                  <a:lnTo>
                    <a:pt x="390" y="196"/>
                  </a:lnTo>
                  <a:lnTo>
                    <a:pt x="390" y="196"/>
                  </a:lnTo>
                  <a:lnTo>
                    <a:pt x="392" y="196"/>
                  </a:lnTo>
                  <a:lnTo>
                    <a:pt x="394" y="196"/>
                  </a:lnTo>
                  <a:lnTo>
                    <a:pt x="396" y="196"/>
                  </a:lnTo>
                  <a:lnTo>
                    <a:pt x="398" y="196"/>
                  </a:lnTo>
                  <a:lnTo>
                    <a:pt x="402" y="196"/>
                  </a:lnTo>
                  <a:lnTo>
                    <a:pt x="406" y="194"/>
                  </a:lnTo>
                  <a:lnTo>
                    <a:pt x="414" y="192"/>
                  </a:lnTo>
                  <a:lnTo>
                    <a:pt x="418" y="192"/>
                  </a:lnTo>
                  <a:lnTo>
                    <a:pt x="420" y="192"/>
                  </a:lnTo>
                  <a:lnTo>
                    <a:pt x="422" y="192"/>
                  </a:lnTo>
                  <a:lnTo>
                    <a:pt x="426" y="190"/>
                  </a:lnTo>
                  <a:lnTo>
                    <a:pt x="432" y="192"/>
                  </a:lnTo>
                  <a:lnTo>
                    <a:pt x="434" y="192"/>
                  </a:lnTo>
                  <a:lnTo>
                    <a:pt x="436" y="192"/>
                  </a:lnTo>
                  <a:lnTo>
                    <a:pt x="438" y="192"/>
                  </a:lnTo>
                  <a:lnTo>
                    <a:pt x="440" y="192"/>
                  </a:lnTo>
                  <a:lnTo>
                    <a:pt x="442" y="192"/>
                  </a:lnTo>
                  <a:lnTo>
                    <a:pt x="442" y="194"/>
                  </a:lnTo>
                  <a:lnTo>
                    <a:pt x="446" y="196"/>
                  </a:lnTo>
                  <a:lnTo>
                    <a:pt x="448" y="198"/>
                  </a:lnTo>
                  <a:lnTo>
                    <a:pt x="450" y="200"/>
                  </a:lnTo>
                  <a:lnTo>
                    <a:pt x="456" y="204"/>
                  </a:lnTo>
                  <a:lnTo>
                    <a:pt x="458" y="206"/>
                  </a:lnTo>
                  <a:lnTo>
                    <a:pt x="460" y="202"/>
                  </a:lnTo>
                  <a:lnTo>
                    <a:pt x="462" y="200"/>
                  </a:lnTo>
                  <a:lnTo>
                    <a:pt x="462" y="198"/>
                  </a:lnTo>
                  <a:lnTo>
                    <a:pt x="462" y="198"/>
                  </a:lnTo>
                  <a:lnTo>
                    <a:pt x="462" y="196"/>
                  </a:lnTo>
                  <a:lnTo>
                    <a:pt x="464" y="196"/>
                  </a:lnTo>
                  <a:lnTo>
                    <a:pt x="464" y="192"/>
                  </a:lnTo>
                  <a:lnTo>
                    <a:pt x="464" y="190"/>
                  </a:lnTo>
                  <a:lnTo>
                    <a:pt x="462" y="188"/>
                  </a:lnTo>
                  <a:lnTo>
                    <a:pt x="462" y="184"/>
                  </a:lnTo>
                  <a:lnTo>
                    <a:pt x="462" y="182"/>
                  </a:lnTo>
                  <a:lnTo>
                    <a:pt x="462" y="180"/>
                  </a:lnTo>
                  <a:lnTo>
                    <a:pt x="464" y="180"/>
                  </a:lnTo>
                  <a:lnTo>
                    <a:pt x="464" y="178"/>
                  </a:lnTo>
                  <a:lnTo>
                    <a:pt x="464" y="178"/>
                  </a:lnTo>
                  <a:lnTo>
                    <a:pt x="464" y="176"/>
                  </a:lnTo>
                  <a:lnTo>
                    <a:pt x="466" y="176"/>
                  </a:lnTo>
                  <a:lnTo>
                    <a:pt x="466" y="174"/>
                  </a:lnTo>
                  <a:lnTo>
                    <a:pt x="468" y="174"/>
                  </a:lnTo>
                  <a:lnTo>
                    <a:pt x="470" y="172"/>
                  </a:lnTo>
                  <a:lnTo>
                    <a:pt x="474" y="172"/>
                  </a:lnTo>
                  <a:lnTo>
                    <a:pt x="476" y="170"/>
                  </a:lnTo>
                  <a:lnTo>
                    <a:pt x="478" y="170"/>
                  </a:lnTo>
                  <a:lnTo>
                    <a:pt x="480" y="170"/>
                  </a:lnTo>
                  <a:lnTo>
                    <a:pt x="480" y="170"/>
                  </a:lnTo>
                  <a:lnTo>
                    <a:pt x="480" y="170"/>
                  </a:lnTo>
                  <a:lnTo>
                    <a:pt x="484" y="170"/>
                  </a:lnTo>
                  <a:lnTo>
                    <a:pt x="486" y="172"/>
                  </a:lnTo>
                  <a:lnTo>
                    <a:pt x="488" y="174"/>
                  </a:lnTo>
                  <a:lnTo>
                    <a:pt x="490" y="174"/>
                  </a:lnTo>
                  <a:lnTo>
                    <a:pt x="492" y="176"/>
                  </a:lnTo>
                  <a:lnTo>
                    <a:pt x="494" y="176"/>
                  </a:lnTo>
                  <a:lnTo>
                    <a:pt x="496" y="176"/>
                  </a:lnTo>
                  <a:lnTo>
                    <a:pt x="496" y="176"/>
                  </a:lnTo>
                  <a:lnTo>
                    <a:pt x="496" y="174"/>
                  </a:lnTo>
                  <a:lnTo>
                    <a:pt x="498" y="174"/>
                  </a:lnTo>
                  <a:lnTo>
                    <a:pt x="498" y="174"/>
                  </a:lnTo>
                  <a:lnTo>
                    <a:pt x="498" y="174"/>
                  </a:lnTo>
                  <a:lnTo>
                    <a:pt x="498" y="172"/>
                  </a:lnTo>
                  <a:lnTo>
                    <a:pt x="500" y="170"/>
                  </a:lnTo>
                  <a:lnTo>
                    <a:pt x="500" y="170"/>
                  </a:lnTo>
                  <a:lnTo>
                    <a:pt x="500" y="166"/>
                  </a:lnTo>
                  <a:lnTo>
                    <a:pt x="500" y="164"/>
                  </a:lnTo>
                  <a:lnTo>
                    <a:pt x="502" y="160"/>
                  </a:lnTo>
                  <a:lnTo>
                    <a:pt x="502" y="154"/>
                  </a:lnTo>
                  <a:lnTo>
                    <a:pt x="502" y="150"/>
                  </a:lnTo>
                  <a:lnTo>
                    <a:pt x="502" y="148"/>
                  </a:lnTo>
                  <a:lnTo>
                    <a:pt x="502" y="146"/>
                  </a:lnTo>
                  <a:lnTo>
                    <a:pt x="502" y="144"/>
                  </a:lnTo>
                  <a:lnTo>
                    <a:pt x="502" y="142"/>
                  </a:lnTo>
                  <a:lnTo>
                    <a:pt x="504" y="142"/>
                  </a:lnTo>
                  <a:lnTo>
                    <a:pt x="504" y="140"/>
                  </a:lnTo>
                  <a:lnTo>
                    <a:pt x="506" y="138"/>
                  </a:lnTo>
                  <a:lnTo>
                    <a:pt x="508" y="136"/>
                  </a:lnTo>
                  <a:lnTo>
                    <a:pt x="510" y="136"/>
                  </a:lnTo>
                  <a:lnTo>
                    <a:pt x="510" y="134"/>
                  </a:lnTo>
                  <a:lnTo>
                    <a:pt x="512" y="134"/>
                  </a:lnTo>
                  <a:lnTo>
                    <a:pt x="512" y="134"/>
                  </a:lnTo>
                  <a:lnTo>
                    <a:pt x="516" y="134"/>
                  </a:lnTo>
                  <a:lnTo>
                    <a:pt x="518" y="134"/>
                  </a:lnTo>
                  <a:lnTo>
                    <a:pt x="520" y="134"/>
                  </a:lnTo>
                  <a:lnTo>
                    <a:pt x="520" y="132"/>
                  </a:lnTo>
                  <a:lnTo>
                    <a:pt x="522" y="132"/>
                  </a:lnTo>
                  <a:lnTo>
                    <a:pt x="522" y="132"/>
                  </a:lnTo>
                  <a:lnTo>
                    <a:pt x="522" y="132"/>
                  </a:lnTo>
                  <a:lnTo>
                    <a:pt x="522" y="132"/>
                  </a:lnTo>
                  <a:lnTo>
                    <a:pt x="524" y="130"/>
                  </a:lnTo>
                  <a:lnTo>
                    <a:pt x="524" y="128"/>
                  </a:lnTo>
                  <a:lnTo>
                    <a:pt x="524" y="126"/>
                  </a:lnTo>
                  <a:lnTo>
                    <a:pt x="524" y="124"/>
                  </a:lnTo>
                  <a:lnTo>
                    <a:pt x="524" y="122"/>
                  </a:lnTo>
                  <a:lnTo>
                    <a:pt x="526" y="120"/>
                  </a:lnTo>
                  <a:lnTo>
                    <a:pt x="526" y="120"/>
                  </a:lnTo>
                  <a:lnTo>
                    <a:pt x="528" y="120"/>
                  </a:lnTo>
                  <a:lnTo>
                    <a:pt x="530" y="116"/>
                  </a:lnTo>
                  <a:lnTo>
                    <a:pt x="534" y="116"/>
                  </a:lnTo>
                  <a:lnTo>
                    <a:pt x="534" y="11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2" name="Freeform 48"/>
            <p:cNvSpPr>
              <a:spLocks/>
            </p:cNvSpPr>
            <p:nvPr/>
          </p:nvSpPr>
          <p:spPr bwMode="auto">
            <a:xfrm>
              <a:off x="5436630" y="2973027"/>
              <a:ext cx="924928" cy="471124"/>
            </a:xfrm>
            <a:custGeom>
              <a:avLst/>
              <a:gdLst>
                <a:gd name="T0" fmla="*/ 518 w 534"/>
                <a:gd name="T1" fmla="*/ 76 h 272"/>
                <a:gd name="T2" fmla="*/ 490 w 534"/>
                <a:gd name="T3" fmla="*/ 60 h 272"/>
                <a:gd name="T4" fmla="*/ 472 w 534"/>
                <a:gd name="T5" fmla="*/ 54 h 272"/>
                <a:gd name="T6" fmla="*/ 452 w 534"/>
                <a:gd name="T7" fmla="*/ 16 h 272"/>
                <a:gd name="T8" fmla="*/ 412 w 534"/>
                <a:gd name="T9" fmla="*/ 26 h 272"/>
                <a:gd name="T10" fmla="*/ 396 w 534"/>
                <a:gd name="T11" fmla="*/ 14 h 272"/>
                <a:gd name="T12" fmla="*/ 376 w 534"/>
                <a:gd name="T13" fmla="*/ 0 h 272"/>
                <a:gd name="T14" fmla="*/ 306 w 534"/>
                <a:gd name="T15" fmla="*/ 8 h 272"/>
                <a:gd name="T16" fmla="*/ 268 w 534"/>
                <a:gd name="T17" fmla="*/ 4 h 272"/>
                <a:gd name="T18" fmla="*/ 270 w 534"/>
                <a:gd name="T19" fmla="*/ 28 h 272"/>
                <a:gd name="T20" fmla="*/ 238 w 534"/>
                <a:gd name="T21" fmla="*/ 38 h 272"/>
                <a:gd name="T22" fmla="*/ 246 w 534"/>
                <a:gd name="T23" fmla="*/ 60 h 272"/>
                <a:gd name="T24" fmla="*/ 226 w 534"/>
                <a:gd name="T25" fmla="*/ 64 h 272"/>
                <a:gd name="T26" fmla="*/ 184 w 534"/>
                <a:gd name="T27" fmla="*/ 50 h 272"/>
                <a:gd name="T28" fmla="*/ 166 w 534"/>
                <a:gd name="T29" fmla="*/ 42 h 272"/>
                <a:gd name="T30" fmla="*/ 146 w 534"/>
                <a:gd name="T31" fmla="*/ 20 h 272"/>
                <a:gd name="T32" fmla="*/ 94 w 534"/>
                <a:gd name="T33" fmla="*/ 10 h 272"/>
                <a:gd name="T34" fmla="*/ 66 w 534"/>
                <a:gd name="T35" fmla="*/ 16 h 272"/>
                <a:gd name="T36" fmla="*/ 56 w 534"/>
                <a:gd name="T37" fmla="*/ 20 h 272"/>
                <a:gd name="T38" fmla="*/ 34 w 534"/>
                <a:gd name="T39" fmla="*/ 10 h 272"/>
                <a:gd name="T40" fmla="*/ 2 w 534"/>
                <a:gd name="T41" fmla="*/ 52 h 272"/>
                <a:gd name="T42" fmla="*/ 10 w 534"/>
                <a:gd name="T43" fmla="*/ 78 h 272"/>
                <a:gd name="T44" fmla="*/ 28 w 534"/>
                <a:gd name="T45" fmla="*/ 98 h 272"/>
                <a:gd name="T46" fmla="*/ 12 w 534"/>
                <a:gd name="T47" fmla="*/ 124 h 272"/>
                <a:gd name="T48" fmla="*/ 30 w 534"/>
                <a:gd name="T49" fmla="*/ 142 h 272"/>
                <a:gd name="T50" fmla="*/ 48 w 534"/>
                <a:gd name="T51" fmla="*/ 142 h 272"/>
                <a:gd name="T52" fmla="*/ 60 w 534"/>
                <a:gd name="T53" fmla="*/ 150 h 272"/>
                <a:gd name="T54" fmla="*/ 60 w 534"/>
                <a:gd name="T55" fmla="*/ 174 h 272"/>
                <a:gd name="T56" fmla="*/ 38 w 534"/>
                <a:gd name="T57" fmla="*/ 174 h 272"/>
                <a:gd name="T58" fmla="*/ 30 w 534"/>
                <a:gd name="T59" fmla="*/ 192 h 272"/>
                <a:gd name="T60" fmla="*/ 22 w 534"/>
                <a:gd name="T61" fmla="*/ 202 h 272"/>
                <a:gd name="T62" fmla="*/ 42 w 534"/>
                <a:gd name="T63" fmla="*/ 216 h 272"/>
                <a:gd name="T64" fmla="*/ 52 w 534"/>
                <a:gd name="T65" fmla="*/ 238 h 272"/>
                <a:gd name="T66" fmla="*/ 58 w 534"/>
                <a:gd name="T67" fmla="*/ 232 h 272"/>
                <a:gd name="T68" fmla="*/ 78 w 534"/>
                <a:gd name="T69" fmla="*/ 230 h 272"/>
                <a:gd name="T70" fmla="*/ 94 w 534"/>
                <a:gd name="T71" fmla="*/ 246 h 272"/>
                <a:gd name="T72" fmla="*/ 106 w 534"/>
                <a:gd name="T73" fmla="*/ 256 h 272"/>
                <a:gd name="T74" fmla="*/ 122 w 534"/>
                <a:gd name="T75" fmla="*/ 228 h 272"/>
                <a:gd name="T76" fmla="*/ 144 w 534"/>
                <a:gd name="T77" fmla="*/ 180 h 272"/>
                <a:gd name="T78" fmla="*/ 178 w 534"/>
                <a:gd name="T79" fmla="*/ 160 h 272"/>
                <a:gd name="T80" fmla="*/ 188 w 534"/>
                <a:gd name="T81" fmla="*/ 144 h 272"/>
                <a:gd name="T82" fmla="*/ 206 w 534"/>
                <a:gd name="T83" fmla="*/ 154 h 272"/>
                <a:gd name="T84" fmla="*/ 212 w 534"/>
                <a:gd name="T85" fmla="*/ 178 h 272"/>
                <a:gd name="T86" fmla="*/ 218 w 534"/>
                <a:gd name="T87" fmla="*/ 210 h 272"/>
                <a:gd name="T88" fmla="*/ 240 w 534"/>
                <a:gd name="T89" fmla="*/ 212 h 272"/>
                <a:gd name="T90" fmla="*/ 272 w 534"/>
                <a:gd name="T91" fmla="*/ 224 h 272"/>
                <a:gd name="T92" fmla="*/ 278 w 534"/>
                <a:gd name="T93" fmla="*/ 256 h 272"/>
                <a:gd name="T94" fmla="*/ 326 w 534"/>
                <a:gd name="T95" fmla="*/ 258 h 272"/>
                <a:gd name="T96" fmla="*/ 362 w 534"/>
                <a:gd name="T97" fmla="*/ 242 h 272"/>
                <a:gd name="T98" fmla="*/ 346 w 534"/>
                <a:gd name="T99" fmla="*/ 228 h 272"/>
                <a:gd name="T100" fmla="*/ 326 w 534"/>
                <a:gd name="T101" fmla="*/ 220 h 272"/>
                <a:gd name="T102" fmla="*/ 332 w 534"/>
                <a:gd name="T103" fmla="*/ 204 h 272"/>
                <a:gd name="T104" fmla="*/ 342 w 534"/>
                <a:gd name="T105" fmla="*/ 188 h 272"/>
                <a:gd name="T106" fmla="*/ 356 w 534"/>
                <a:gd name="T107" fmla="*/ 200 h 272"/>
                <a:gd name="T108" fmla="*/ 378 w 534"/>
                <a:gd name="T109" fmla="*/ 186 h 272"/>
                <a:gd name="T110" fmla="*/ 398 w 534"/>
                <a:gd name="T111" fmla="*/ 196 h 272"/>
                <a:gd name="T112" fmla="*/ 446 w 534"/>
                <a:gd name="T113" fmla="*/ 196 h 272"/>
                <a:gd name="T114" fmla="*/ 462 w 534"/>
                <a:gd name="T115" fmla="*/ 182 h 272"/>
                <a:gd name="T116" fmla="*/ 480 w 534"/>
                <a:gd name="T117" fmla="*/ 170 h 272"/>
                <a:gd name="T118" fmla="*/ 500 w 534"/>
                <a:gd name="T119" fmla="*/ 170 h 272"/>
                <a:gd name="T120" fmla="*/ 510 w 534"/>
                <a:gd name="T121" fmla="*/ 134 h 272"/>
                <a:gd name="T122" fmla="*/ 524 w 534"/>
                <a:gd name="T12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72">
                  <a:moveTo>
                    <a:pt x="534" y="114"/>
                  </a:moveTo>
                  <a:lnTo>
                    <a:pt x="534" y="114"/>
                  </a:lnTo>
                  <a:lnTo>
                    <a:pt x="534" y="110"/>
                  </a:lnTo>
                  <a:lnTo>
                    <a:pt x="532" y="106"/>
                  </a:lnTo>
                  <a:lnTo>
                    <a:pt x="530" y="100"/>
                  </a:lnTo>
                  <a:lnTo>
                    <a:pt x="528" y="94"/>
                  </a:lnTo>
                  <a:lnTo>
                    <a:pt x="528" y="90"/>
                  </a:lnTo>
                  <a:lnTo>
                    <a:pt x="526" y="88"/>
                  </a:lnTo>
                  <a:lnTo>
                    <a:pt x="524" y="86"/>
                  </a:lnTo>
                  <a:lnTo>
                    <a:pt x="524" y="82"/>
                  </a:lnTo>
                  <a:lnTo>
                    <a:pt x="522" y="80"/>
                  </a:lnTo>
                  <a:lnTo>
                    <a:pt x="522" y="80"/>
                  </a:lnTo>
                  <a:lnTo>
                    <a:pt x="520" y="78"/>
                  </a:lnTo>
                  <a:lnTo>
                    <a:pt x="520" y="78"/>
                  </a:lnTo>
                  <a:lnTo>
                    <a:pt x="518" y="76"/>
                  </a:lnTo>
                  <a:lnTo>
                    <a:pt x="516" y="76"/>
                  </a:lnTo>
                  <a:lnTo>
                    <a:pt x="514" y="76"/>
                  </a:lnTo>
                  <a:lnTo>
                    <a:pt x="510" y="74"/>
                  </a:lnTo>
                  <a:lnTo>
                    <a:pt x="506" y="74"/>
                  </a:lnTo>
                  <a:lnTo>
                    <a:pt x="504" y="72"/>
                  </a:lnTo>
                  <a:lnTo>
                    <a:pt x="500" y="70"/>
                  </a:lnTo>
                  <a:lnTo>
                    <a:pt x="500" y="70"/>
                  </a:lnTo>
                  <a:lnTo>
                    <a:pt x="498" y="70"/>
                  </a:lnTo>
                  <a:lnTo>
                    <a:pt x="498" y="68"/>
                  </a:lnTo>
                  <a:lnTo>
                    <a:pt x="496" y="68"/>
                  </a:lnTo>
                  <a:lnTo>
                    <a:pt x="494" y="64"/>
                  </a:lnTo>
                  <a:lnTo>
                    <a:pt x="494" y="62"/>
                  </a:lnTo>
                  <a:lnTo>
                    <a:pt x="492" y="60"/>
                  </a:lnTo>
                  <a:lnTo>
                    <a:pt x="492" y="60"/>
                  </a:lnTo>
                  <a:lnTo>
                    <a:pt x="490" y="60"/>
                  </a:lnTo>
                  <a:lnTo>
                    <a:pt x="490" y="58"/>
                  </a:lnTo>
                  <a:lnTo>
                    <a:pt x="490" y="58"/>
                  </a:lnTo>
                  <a:lnTo>
                    <a:pt x="488" y="58"/>
                  </a:lnTo>
                  <a:lnTo>
                    <a:pt x="486" y="58"/>
                  </a:lnTo>
                  <a:lnTo>
                    <a:pt x="484" y="58"/>
                  </a:lnTo>
                  <a:lnTo>
                    <a:pt x="482" y="58"/>
                  </a:lnTo>
                  <a:lnTo>
                    <a:pt x="480" y="58"/>
                  </a:lnTo>
                  <a:lnTo>
                    <a:pt x="478" y="58"/>
                  </a:lnTo>
                  <a:lnTo>
                    <a:pt x="476" y="58"/>
                  </a:lnTo>
                  <a:lnTo>
                    <a:pt x="476" y="58"/>
                  </a:lnTo>
                  <a:lnTo>
                    <a:pt x="476" y="58"/>
                  </a:lnTo>
                  <a:lnTo>
                    <a:pt x="474" y="58"/>
                  </a:lnTo>
                  <a:lnTo>
                    <a:pt x="474" y="56"/>
                  </a:lnTo>
                  <a:lnTo>
                    <a:pt x="474" y="56"/>
                  </a:lnTo>
                  <a:lnTo>
                    <a:pt x="472" y="54"/>
                  </a:lnTo>
                  <a:lnTo>
                    <a:pt x="470" y="52"/>
                  </a:lnTo>
                  <a:lnTo>
                    <a:pt x="470" y="50"/>
                  </a:lnTo>
                  <a:lnTo>
                    <a:pt x="468" y="46"/>
                  </a:lnTo>
                  <a:lnTo>
                    <a:pt x="468" y="44"/>
                  </a:lnTo>
                  <a:lnTo>
                    <a:pt x="464" y="38"/>
                  </a:lnTo>
                  <a:lnTo>
                    <a:pt x="462" y="30"/>
                  </a:lnTo>
                  <a:lnTo>
                    <a:pt x="462" y="28"/>
                  </a:lnTo>
                  <a:lnTo>
                    <a:pt x="460" y="24"/>
                  </a:lnTo>
                  <a:lnTo>
                    <a:pt x="458" y="22"/>
                  </a:lnTo>
                  <a:lnTo>
                    <a:pt x="458" y="20"/>
                  </a:lnTo>
                  <a:lnTo>
                    <a:pt x="456" y="18"/>
                  </a:lnTo>
                  <a:lnTo>
                    <a:pt x="456" y="18"/>
                  </a:lnTo>
                  <a:lnTo>
                    <a:pt x="454" y="18"/>
                  </a:lnTo>
                  <a:lnTo>
                    <a:pt x="454" y="16"/>
                  </a:lnTo>
                  <a:lnTo>
                    <a:pt x="452" y="16"/>
                  </a:lnTo>
                  <a:lnTo>
                    <a:pt x="452" y="16"/>
                  </a:lnTo>
                  <a:lnTo>
                    <a:pt x="450" y="16"/>
                  </a:lnTo>
                  <a:lnTo>
                    <a:pt x="448" y="16"/>
                  </a:lnTo>
                  <a:lnTo>
                    <a:pt x="444" y="16"/>
                  </a:lnTo>
                  <a:lnTo>
                    <a:pt x="442" y="16"/>
                  </a:lnTo>
                  <a:lnTo>
                    <a:pt x="440" y="16"/>
                  </a:lnTo>
                  <a:lnTo>
                    <a:pt x="434" y="16"/>
                  </a:lnTo>
                  <a:lnTo>
                    <a:pt x="432" y="18"/>
                  </a:lnTo>
                  <a:lnTo>
                    <a:pt x="430" y="18"/>
                  </a:lnTo>
                  <a:lnTo>
                    <a:pt x="424" y="22"/>
                  </a:lnTo>
                  <a:lnTo>
                    <a:pt x="420" y="22"/>
                  </a:lnTo>
                  <a:lnTo>
                    <a:pt x="418" y="24"/>
                  </a:lnTo>
                  <a:lnTo>
                    <a:pt x="414" y="24"/>
                  </a:lnTo>
                  <a:lnTo>
                    <a:pt x="412" y="24"/>
                  </a:lnTo>
                  <a:lnTo>
                    <a:pt x="412" y="26"/>
                  </a:lnTo>
                  <a:lnTo>
                    <a:pt x="408" y="26"/>
                  </a:lnTo>
                  <a:lnTo>
                    <a:pt x="406" y="26"/>
                  </a:lnTo>
                  <a:lnTo>
                    <a:pt x="404" y="26"/>
                  </a:lnTo>
                  <a:lnTo>
                    <a:pt x="402" y="26"/>
                  </a:lnTo>
                  <a:lnTo>
                    <a:pt x="400" y="26"/>
                  </a:lnTo>
                  <a:lnTo>
                    <a:pt x="398" y="26"/>
                  </a:lnTo>
                  <a:lnTo>
                    <a:pt x="398" y="24"/>
                  </a:lnTo>
                  <a:lnTo>
                    <a:pt x="396" y="24"/>
                  </a:lnTo>
                  <a:lnTo>
                    <a:pt x="396" y="24"/>
                  </a:lnTo>
                  <a:lnTo>
                    <a:pt x="396" y="24"/>
                  </a:lnTo>
                  <a:lnTo>
                    <a:pt x="396" y="22"/>
                  </a:lnTo>
                  <a:lnTo>
                    <a:pt x="396" y="22"/>
                  </a:lnTo>
                  <a:lnTo>
                    <a:pt x="396" y="20"/>
                  </a:lnTo>
                  <a:lnTo>
                    <a:pt x="396" y="18"/>
                  </a:lnTo>
                  <a:lnTo>
                    <a:pt x="396" y="14"/>
                  </a:lnTo>
                  <a:lnTo>
                    <a:pt x="396" y="14"/>
                  </a:lnTo>
                  <a:lnTo>
                    <a:pt x="396" y="12"/>
                  </a:lnTo>
                  <a:lnTo>
                    <a:pt x="394" y="12"/>
                  </a:lnTo>
                  <a:lnTo>
                    <a:pt x="394" y="10"/>
                  </a:lnTo>
                  <a:lnTo>
                    <a:pt x="392" y="8"/>
                  </a:lnTo>
                  <a:lnTo>
                    <a:pt x="392" y="8"/>
                  </a:lnTo>
                  <a:lnTo>
                    <a:pt x="390" y="6"/>
                  </a:lnTo>
                  <a:lnTo>
                    <a:pt x="388" y="4"/>
                  </a:lnTo>
                  <a:lnTo>
                    <a:pt x="386" y="2"/>
                  </a:lnTo>
                  <a:lnTo>
                    <a:pt x="384" y="2"/>
                  </a:lnTo>
                  <a:lnTo>
                    <a:pt x="382" y="2"/>
                  </a:lnTo>
                  <a:lnTo>
                    <a:pt x="382" y="0"/>
                  </a:lnTo>
                  <a:lnTo>
                    <a:pt x="380" y="0"/>
                  </a:lnTo>
                  <a:lnTo>
                    <a:pt x="378" y="0"/>
                  </a:lnTo>
                  <a:lnTo>
                    <a:pt x="376" y="0"/>
                  </a:lnTo>
                  <a:lnTo>
                    <a:pt x="372" y="2"/>
                  </a:lnTo>
                  <a:lnTo>
                    <a:pt x="370" y="2"/>
                  </a:lnTo>
                  <a:lnTo>
                    <a:pt x="362" y="4"/>
                  </a:lnTo>
                  <a:lnTo>
                    <a:pt x="358" y="6"/>
                  </a:lnTo>
                  <a:lnTo>
                    <a:pt x="356" y="6"/>
                  </a:lnTo>
                  <a:lnTo>
                    <a:pt x="350" y="8"/>
                  </a:lnTo>
                  <a:lnTo>
                    <a:pt x="344" y="8"/>
                  </a:lnTo>
                  <a:lnTo>
                    <a:pt x="338" y="10"/>
                  </a:lnTo>
                  <a:lnTo>
                    <a:pt x="336" y="10"/>
                  </a:lnTo>
                  <a:lnTo>
                    <a:pt x="334" y="10"/>
                  </a:lnTo>
                  <a:lnTo>
                    <a:pt x="330" y="10"/>
                  </a:lnTo>
                  <a:lnTo>
                    <a:pt x="326" y="10"/>
                  </a:lnTo>
                  <a:lnTo>
                    <a:pt x="320" y="10"/>
                  </a:lnTo>
                  <a:lnTo>
                    <a:pt x="316" y="10"/>
                  </a:lnTo>
                  <a:lnTo>
                    <a:pt x="306" y="8"/>
                  </a:lnTo>
                  <a:lnTo>
                    <a:pt x="298" y="8"/>
                  </a:lnTo>
                  <a:lnTo>
                    <a:pt x="296" y="6"/>
                  </a:lnTo>
                  <a:lnTo>
                    <a:pt x="294" y="6"/>
                  </a:lnTo>
                  <a:lnTo>
                    <a:pt x="288" y="4"/>
                  </a:lnTo>
                  <a:lnTo>
                    <a:pt x="286" y="4"/>
                  </a:lnTo>
                  <a:lnTo>
                    <a:pt x="282" y="2"/>
                  </a:lnTo>
                  <a:lnTo>
                    <a:pt x="280" y="2"/>
                  </a:lnTo>
                  <a:lnTo>
                    <a:pt x="278" y="2"/>
                  </a:lnTo>
                  <a:lnTo>
                    <a:pt x="276" y="2"/>
                  </a:lnTo>
                  <a:lnTo>
                    <a:pt x="272" y="2"/>
                  </a:lnTo>
                  <a:lnTo>
                    <a:pt x="272" y="4"/>
                  </a:lnTo>
                  <a:lnTo>
                    <a:pt x="270" y="4"/>
                  </a:lnTo>
                  <a:lnTo>
                    <a:pt x="270" y="4"/>
                  </a:lnTo>
                  <a:lnTo>
                    <a:pt x="268" y="4"/>
                  </a:lnTo>
                  <a:lnTo>
                    <a:pt x="268" y="4"/>
                  </a:lnTo>
                  <a:lnTo>
                    <a:pt x="268" y="6"/>
                  </a:lnTo>
                  <a:lnTo>
                    <a:pt x="268" y="6"/>
                  </a:lnTo>
                  <a:lnTo>
                    <a:pt x="268" y="8"/>
                  </a:lnTo>
                  <a:lnTo>
                    <a:pt x="268" y="10"/>
                  </a:lnTo>
                  <a:lnTo>
                    <a:pt x="268" y="12"/>
                  </a:lnTo>
                  <a:lnTo>
                    <a:pt x="270" y="14"/>
                  </a:lnTo>
                  <a:lnTo>
                    <a:pt x="272" y="18"/>
                  </a:lnTo>
                  <a:lnTo>
                    <a:pt x="272" y="20"/>
                  </a:lnTo>
                  <a:lnTo>
                    <a:pt x="272" y="22"/>
                  </a:lnTo>
                  <a:lnTo>
                    <a:pt x="272" y="24"/>
                  </a:lnTo>
                  <a:lnTo>
                    <a:pt x="272" y="24"/>
                  </a:lnTo>
                  <a:lnTo>
                    <a:pt x="272" y="26"/>
                  </a:lnTo>
                  <a:lnTo>
                    <a:pt x="272" y="26"/>
                  </a:lnTo>
                  <a:lnTo>
                    <a:pt x="270" y="26"/>
                  </a:lnTo>
                  <a:lnTo>
                    <a:pt x="270" y="28"/>
                  </a:lnTo>
                  <a:lnTo>
                    <a:pt x="270" y="28"/>
                  </a:lnTo>
                  <a:lnTo>
                    <a:pt x="266" y="30"/>
                  </a:lnTo>
                  <a:lnTo>
                    <a:pt x="264" y="30"/>
                  </a:lnTo>
                  <a:lnTo>
                    <a:pt x="260" y="32"/>
                  </a:lnTo>
                  <a:lnTo>
                    <a:pt x="258" y="32"/>
                  </a:lnTo>
                  <a:lnTo>
                    <a:pt x="256" y="34"/>
                  </a:lnTo>
                  <a:lnTo>
                    <a:pt x="254" y="34"/>
                  </a:lnTo>
                  <a:lnTo>
                    <a:pt x="254" y="34"/>
                  </a:lnTo>
                  <a:lnTo>
                    <a:pt x="252" y="34"/>
                  </a:lnTo>
                  <a:lnTo>
                    <a:pt x="248" y="36"/>
                  </a:lnTo>
                  <a:lnTo>
                    <a:pt x="246" y="36"/>
                  </a:lnTo>
                  <a:lnTo>
                    <a:pt x="242" y="36"/>
                  </a:lnTo>
                  <a:lnTo>
                    <a:pt x="242" y="38"/>
                  </a:lnTo>
                  <a:lnTo>
                    <a:pt x="240" y="38"/>
                  </a:lnTo>
                  <a:lnTo>
                    <a:pt x="238" y="38"/>
                  </a:lnTo>
                  <a:lnTo>
                    <a:pt x="238" y="40"/>
                  </a:lnTo>
                  <a:lnTo>
                    <a:pt x="236" y="40"/>
                  </a:lnTo>
                  <a:lnTo>
                    <a:pt x="236" y="42"/>
                  </a:lnTo>
                  <a:lnTo>
                    <a:pt x="236" y="42"/>
                  </a:lnTo>
                  <a:lnTo>
                    <a:pt x="236" y="44"/>
                  </a:lnTo>
                  <a:lnTo>
                    <a:pt x="236" y="44"/>
                  </a:lnTo>
                  <a:lnTo>
                    <a:pt x="236" y="46"/>
                  </a:lnTo>
                  <a:lnTo>
                    <a:pt x="238" y="48"/>
                  </a:lnTo>
                  <a:lnTo>
                    <a:pt x="242" y="50"/>
                  </a:lnTo>
                  <a:lnTo>
                    <a:pt x="244" y="52"/>
                  </a:lnTo>
                  <a:lnTo>
                    <a:pt x="246" y="56"/>
                  </a:lnTo>
                  <a:lnTo>
                    <a:pt x="246" y="56"/>
                  </a:lnTo>
                  <a:lnTo>
                    <a:pt x="246" y="58"/>
                  </a:lnTo>
                  <a:lnTo>
                    <a:pt x="246" y="60"/>
                  </a:lnTo>
                  <a:lnTo>
                    <a:pt x="246" y="60"/>
                  </a:lnTo>
                  <a:lnTo>
                    <a:pt x="246" y="62"/>
                  </a:lnTo>
                  <a:lnTo>
                    <a:pt x="246" y="62"/>
                  </a:lnTo>
                  <a:lnTo>
                    <a:pt x="244" y="64"/>
                  </a:lnTo>
                  <a:lnTo>
                    <a:pt x="244" y="64"/>
                  </a:lnTo>
                  <a:lnTo>
                    <a:pt x="242" y="66"/>
                  </a:lnTo>
                  <a:lnTo>
                    <a:pt x="240" y="68"/>
                  </a:lnTo>
                  <a:lnTo>
                    <a:pt x="240" y="68"/>
                  </a:lnTo>
                  <a:lnTo>
                    <a:pt x="238" y="68"/>
                  </a:lnTo>
                  <a:lnTo>
                    <a:pt x="238" y="68"/>
                  </a:lnTo>
                  <a:lnTo>
                    <a:pt x="236" y="68"/>
                  </a:lnTo>
                  <a:lnTo>
                    <a:pt x="236" y="68"/>
                  </a:lnTo>
                  <a:lnTo>
                    <a:pt x="234" y="68"/>
                  </a:lnTo>
                  <a:lnTo>
                    <a:pt x="232" y="66"/>
                  </a:lnTo>
                  <a:lnTo>
                    <a:pt x="228" y="66"/>
                  </a:lnTo>
                  <a:lnTo>
                    <a:pt x="226" y="64"/>
                  </a:lnTo>
                  <a:lnTo>
                    <a:pt x="222" y="62"/>
                  </a:lnTo>
                  <a:lnTo>
                    <a:pt x="220" y="60"/>
                  </a:lnTo>
                  <a:lnTo>
                    <a:pt x="212" y="56"/>
                  </a:lnTo>
                  <a:lnTo>
                    <a:pt x="208" y="52"/>
                  </a:lnTo>
                  <a:lnTo>
                    <a:pt x="204" y="50"/>
                  </a:lnTo>
                  <a:lnTo>
                    <a:pt x="204" y="50"/>
                  </a:lnTo>
                  <a:lnTo>
                    <a:pt x="202" y="48"/>
                  </a:lnTo>
                  <a:lnTo>
                    <a:pt x="200" y="48"/>
                  </a:lnTo>
                  <a:lnTo>
                    <a:pt x="198" y="48"/>
                  </a:lnTo>
                  <a:lnTo>
                    <a:pt x="198" y="48"/>
                  </a:lnTo>
                  <a:lnTo>
                    <a:pt x="196" y="48"/>
                  </a:lnTo>
                  <a:lnTo>
                    <a:pt x="194" y="48"/>
                  </a:lnTo>
                  <a:lnTo>
                    <a:pt x="192" y="48"/>
                  </a:lnTo>
                  <a:lnTo>
                    <a:pt x="188" y="48"/>
                  </a:lnTo>
                  <a:lnTo>
                    <a:pt x="184" y="50"/>
                  </a:lnTo>
                  <a:lnTo>
                    <a:pt x="182" y="50"/>
                  </a:lnTo>
                  <a:lnTo>
                    <a:pt x="180" y="50"/>
                  </a:lnTo>
                  <a:lnTo>
                    <a:pt x="180" y="50"/>
                  </a:lnTo>
                  <a:lnTo>
                    <a:pt x="176" y="50"/>
                  </a:lnTo>
                  <a:lnTo>
                    <a:pt x="174" y="50"/>
                  </a:lnTo>
                  <a:lnTo>
                    <a:pt x="172" y="48"/>
                  </a:lnTo>
                  <a:lnTo>
                    <a:pt x="170" y="48"/>
                  </a:lnTo>
                  <a:lnTo>
                    <a:pt x="168" y="48"/>
                  </a:lnTo>
                  <a:lnTo>
                    <a:pt x="168" y="46"/>
                  </a:lnTo>
                  <a:lnTo>
                    <a:pt x="166" y="46"/>
                  </a:lnTo>
                  <a:lnTo>
                    <a:pt x="166" y="46"/>
                  </a:lnTo>
                  <a:lnTo>
                    <a:pt x="166" y="46"/>
                  </a:lnTo>
                  <a:lnTo>
                    <a:pt x="166" y="44"/>
                  </a:lnTo>
                  <a:lnTo>
                    <a:pt x="166" y="44"/>
                  </a:lnTo>
                  <a:lnTo>
                    <a:pt x="166" y="42"/>
                  </a:lnTo>
                  <a:lnTo>
                    <a:pt x="166" y="40"/>
                  </a:lnTo>
                  <a:lnTo>
                    <a:pt x="168" y="40"/>
                  </a:lnTo>
                  <a:lnTo>
                    <a:pt x="168" y="38"/>
                  </a:lnTo>
                  <a:lnTo>
                    <a:pt x="168" y="36"/>
                  </a:lnTo>
                  <a:lnTo>
                    <a:pt x="168" y="36"/>
                  </a:lnTo>
                  <a:lnTo>
                    <a:pt x="168" y="36"/>
                  </a:lnTo>
                  <a:lnTo>
                    <a:pt x="166" y="34"/>
                  </a:lnTo>
                  <a:lnTo>
                    <a:pt x="166" y="32"/>
                  </a:lnTo>
                  <a:lnTo>
                    <a:pt x="164" y="30"/>
                  </a:lnTo>
                  <a:lnTo>
                    <a:pt x="162" y="28"/>
                  </a:lnTo>
                  <a:lnTo>
                    <a:pt x="160" y="26"/>
                  </a:lnTo>
                  <a:lnTo>
                    <a:pt x="156" y="26"/>
                  </a:lnTo>
                  <a:lnTo>
                    <a:pt x="154" y="24"/>
                  </a:lnTo>
                  <a:lnTo>
                    <a:pt x="152" y="22"/>
                  </a:lnTo>
                  <a:lnTo>
                    <a:pt x="146" y="20"/>
                  </a:lnTo>
                  <a:lnTo>
                    <a:pt x="140" y="16"/>
                  </a:lnTo>
                  <a:lnTo>
                    <a:pt x="136" y="14"/>
                  </a:lnTo>
                  <a:lnTo>
                    <a:pt x="132" y="14"/>
                  </a:lnTo>
                  <a:lnTo>
                    <a:pt x="130" y="12"/>
                  </a:lnTo>
                  <a:lnTo>
                    <a:pt x="128" y="12"/>
                  </a:lnTo>
                  <a:lnTo>
                    <a:pt x="126" y="12"/>
                  </a:lnTo>
                  <a:lnTo>
                    <a:pt x="122" y="12"/>
                  </a:lnTo>
                  <a:lnTo>
                    <a:pt x="118" y="12"/>
                  </a:lnTo>
                  <a:lnTo>
                    <a:pt x="110" y="12"/>
                  </a:lnTo>
                  <a:lnTo>
                    <a:pt x="106" y="12"/>
                  </a:lnTo>
                  <a:lnTo>
                    <a:pt x="104" y="12"/>
                  </a:lnTo>
                  <a:lnTo>
                    <a:pt x="102" y="10"/>
                  </a:lnTo>
                  <a:lnTo>
                    <a:pt x="100" y="10"/>
                  </a:lnTo>
                  <a:lnTo>
                    <a:pt x="96" y="10"/>
                  </a:lnTo>
                  <a:lnTo>
                    <a:pt x="94" y="10"/>
                  </a:lnTo>
                  <a:lnTo>
                    <a:pt x="90" y="8"/>
                  </a:lnTo>
                  <a:lnTo>
                    <a:pt x="88" y="8"/>
                  </a:lnTo>
                  <a:lnTo>
                    <a:pt x="86" y="8"/>
                  </a:lnTo>
                  <a:lnTo>
                    <a:pt x="84" y="8"/>
                  </a:lnTo>
                  <a:lnTo>
                    <a:pt x="82" y="8"/>
                  </a:lnTo>
                  <a:lnTo>
                    <a:pt x="80" y="10"/>
                  </a:lnTo>
                  <a:lnTo>
                    <a:pt x="76" y="10"/>
                  </a:lnTo>
                  <a:lnTo>
                    <a:pt x="74" y="10"/>
                  </a:lnTo>
                  <a:lnTo>
                    <a:pt x="72" y="10"/>
                  </a:lnTo>
                  <a:lnTo>
                    <a:pt x="70" y="12"/>
                  </a:lnTo>
                  <a:lnTo>
                    <a:pt x="68" y="12"/>
                  </a:lnTo>
                  <a:lnTo>
                    <a:pt x="68" y="14"/>
                  </a:lnTo>
                  <a:lnTo>
                    <a:pt x="66" y="14"/>
                  </a:lnTo>
                  <a:lnTo>
                    <a:pt x="66" y="14"/>
                  </a:lnTo>
                  <a:lnTo>
                    <a:pt x="66" y="16"/>
                  </a:lnTo>
                  <a:lnTo>
                    <a:pt x="66" y="18"/>
                  </a:lnTo>
                  <a:lnTo>
                    <a:pt x="64" y="20"/>
                  </a:lnTo>
                  <a:lnTo>
                    <a:pt x="64" y="22"/>
                  </a:lnTo>
                  <a:lnTo>
                    <a:pt x="64" y="24"/>
                  </a:lnTo>
                  <a:lnTo>
                    <a:pt x="64" y="24"/>
                  </a:lnTo>
                  <a:lnTo>
                    <a:pt x="62" y="24"/>
                  </a:lnTo>
                  <a:lnTo>
                    <a:pt x="62" y="26"/>
                  </a:lnTo>
                  <a:lnTo>
                    <a:pt x="62" y="26"/>
                  </a:lnTo>
                  <a:lnTo>
                    <a:pt x="60" y="26"/>
                  </a:lnTo>
                  <a:lnTo>
                    <a:pt x="60" y="26"/>
                  </a:lnTo>
                  <a:lnTo>
                    <a:pt x="60" y="24"/>
                  </a:lnTo>
                  <a:lnTo>
                    <a:pt x="58" y="24"/>
                  </a:lnTo>
                  <a:lnTo>
                    <a:pt x="58" y="22"/>
                  </a:lnTo>
                  <a:lnTo>
                    <a:pt x="56" y="22"/>
                  </a:lnTo>
                  <a:lnTo>
                    <a:pt x="56" y="20"/>
                  </a:lnTo>
                  <a:lnTo>
                    <a:pt x="54" y="16"/>
                  </a:lnTo>
                  <a:lnTo>
                    <a:pt x="52" y="14"/>
                  </a:lnTo>
                  <a:lnTo>
                    <a:pt x="50" y="12"/>
                  </a:lnTo>
                  <a:lnTo>
                    <a:pt x="50" y="10"/>
                  </a:lnTo>
                  <a:lnTo>
                    <a:pt x="48" y="10"/>
                  </a:lnTo>
                  <a:lnTo>
                    <a:pt x="48" y="8"/>
                  </a:lnTo>
                  <a:lnTo>
                    <a:pt x="46" y="8"/>
                  </a:lnTo>
                  <a:lnTo>
                    <a:pt x="46" y="8"/>
                  </a:lnTo>
                  <a:lnTo>
                    <a:pt x="46" y="8"/>
                  </a:lnTo>
                  <a:lnTo>
                    <a:pt x="44" y="6"/>
                  </a:lnTo>
                  <a:lnTo>
                    <a:pt x="42" y="8"/>
                  </a:lnTo>
                  <a:lnTo>
                    <a:pt x="40" y="8"/>
                  </a:lnTo>
                  <a:lnTo>
                    <a:pt x="38" y="8"/>
                  </a:lnTo>
                  <a:lnTo>
                    <a:pt x="36" y="8"/>
                  </a:lnTo>
                  <a:lnTo>
                    <a:pt x="34" y="10"/>
                  </a:lnTo>
                  <a:lnTo>
                    <a:pt x="32" y="10"/>
                  </a:lnTo>
                  <a:lnTo>
                    <a:pt x="30" y="12"/>
                  </a:lnTo>
                  <a:lnTo>
                    <a:pt x="28" y="14"/>
                  </a:lnTo>
                  <a:lnTo>
                    <a:pt x="26" y="14"/>
                  </a:lnTo>
                  <a:lnTo>
                    <a:pt x="24" y="16"/>
                  </a:lnTo>
                  <a:lnTo>
                    <a:pt x="22" y="18"/>
                  </a:lnTo>
                  <a:lnTo>
                    <a:pt x="20" y="20"/>
                  </a:lnTo>
                  <a:lnTo>
                    <a:pt x="20" y="22"/>
                  </a:lnTo>
                  <a:lnTo>
                    <a:pt x="16" y="26"/>
                  </a:lnTo>
                  <a:lnTo>
                    <a:pt x="12" y="30"/>
                  </a:lnTo>
                  <a:lnTo>
                    <a:pt x="10" y="36"/>
                  </a:lnTo>
                  <a:lnTo>
                    <a:pt x="8" y="40"/>
                  </a:lnTo>
                  <a:lnTo>
                    <a:pt x="6" y="44"/>
                  </a:lnTo>
                  <a:lnTo>
                    <a:pt x="4" y="48"/>
                  </a:lnTo>
                  <a:lnTo>
                    <a:pt x="2" y="52"/>
                  </a:lnTo>
                  <a:lnTo>
                    <a:pt x="2" y="54"/>
                  </a:lnTo>
                  <a:lnTo>
                    <a:pt x="2" y="56"/>
                  </a:lnTo>
                  <a:lnTo>
                    <a:pt x="0" y="58"/>
                  </a:lnTo>
                  <a:lnTo>
                    <a:pt x="0" y="60"/>
                  </a:lnTo>
                  <a:lnTo>
                    <a:pt x="0" y="60"/>
                  </a:lnTo>
                  <a:lnTo>
                    <a:pt x="0" y="62"/>
                  </a:lnTo>
                  <a:lnTo>
                    <a:pt x="2" y="64"/>
                  </a:lnTo>
                  <a:lnTo>
                    <a:pt x="2" y="66"/>
                  </a:lnTo>
                  <a:lnTo>
                    <a:pt x="4" y="68"/>
                  </a:lnTo>
                  <a:lnTo>
                    <a:pt x="4" y="70"/>
                  </a:lnTo>
                  <a:lnTo>
                    <a:pt x="6" y="72"/>
                  </a:lnTo>
                  <a:lnTo>
                    <a:pt x="8" y="74"/>
                  </a:lnTo>
                  <a:lnTo>
                    <a:pt x="8" y="76"/>
                  </a:lnTo>
                  <a:lnTo>
                    <a:pt x="10" y="76"/>
                  </a:lnTo>
                  <a:lnTo>
                    <a:pt x="10" y="78"/>
                  </a:lnTo>
                  <a:lnTo>
                    <a:pt x="12" y="78"/>
                  </a:lnTo>
                  <a:lnTo>
                    <a:pt x="14" y="80"/>
                  </a:lnTo>
                  <a:lnTo>
                    <a:pt x="18" y="80"/>
                  </a:lnTo>
                  <a:lnTo>
                    <a:pt x="20" y="82"/>
                  </a:lnTo>
                  <a:lnTo>
                    <a:pt x="22" y="84"/>
                  </a:lnTo>
                  <a:lnTo>
                    <a:pt x="24" y="84"/>
                  </a:lnTo>
                  <a:lnTo>
                    <a:pt x="24" y="84"/>
                  </a:lnTo>
                  <a:lnTo>
                    <a:pt x="24" y="86"/>
                  </a:lnTo>
                  <a:lnTo>
                    <a:pt x="26" y="86"/>
                  </a:lnTo>
                  <a:lnTo>
                    <a:pt x="26" y="88"/>
                  </a:lnTo>
                  <a:lnTo>
                    <a:pt x="26" y="88"/>
                  </a:lnTo>
                  <a:lnTo>
                    <a:pt x="26" y="90"/>
                  </a:lnTo>
                  <a:lnTo>
                    <a:pt x="28" y="94"/>
                  </a:lnTo>
                  <a:lnTo>
                    <a:pt x="28" y="96"/>
                  </a:lnTo>
                  <a:lnTo>
                    <a:pt x="28" y="98"/>
                  </a:lnTo>
                  <a:lnTo>
                    <a:pt x="28" y="102"/>
                  </a:lnTo>
                  <a:lnTo>
                    <a:pt x="26" y="104"/>
                  </a:lnTo>
                  <a:lnTo>
                    <a:pt x="26" y="106"/>
                  </a:lnTo>
                  <a:lnTo>
                    <a:pt x="26" y="106"/>
                  </a:lnTo>
                  <a:lnTo>
                    <a:pt x="26" y="108"/>
                  </a:lnTo>
                  <a:lnTo>
                    <a:pt x="24" y="110"/>
                  </a:lnTo>
                  <a:lnTo>
                    <a:pt x="22" y="112"/>
                  </a:lnTo>
                  <a:lnTo>
                    <a:pt x="20" y="114"/>
                  </a:lnTo>
                  <a:lnTo>
                    <a:pt x="18" y="114"/>
                  </a:lnTo>
                  <a:lnTo>
                    <a:pt x="16" y="116"/>
                  </a:lnTo>
                  <a:lnTo>
                    <a:pt x="14" y="118"/>
                  </a:lnTo>
                  <a:lnTo>
                    <a:pt x="14" y="120"/>
                  </a:lnTo>
                  <a:lnTo>
                    <a:pt x="14" y="120"/>
                  </a:lnTo>
                  <a:lnTo>
                    <a:pt x="12" y="122"/>
                  </a:lnTo>
                  <a:lnTo>
                    <a:pt x="12" y="124"/>
                  </a:lnTo>
                  <a:lnTo>
                    <a:pt x="10" y="126"/>
                  </a:lnTo>
                  <a:lnTo>
                    <a:pt x="10" y="132"/>
                  </a:lnTo>
                  <a:lnTo>
                    <a:pt x="10" y="136"/>
                  </a:lnTo>
                  <a:lnTo>
                    <a:pt x="8" y="144"/>
                  </a:lnTo>
                  <a:lnTo>
                    <a:pt x="8" y="146"/>
                  </a:lnTo>
                  <a:lnTo>
                    <a:pt x="10" y="146"/>
                  </a:lnTo>
                  <a:lnTo>
                    <a:pt x="14" y="144"/>
                  </a:lnTo>
                  <a:lnTo>
                    <a:pt x="18" y="144"/>
                  </a:lnTo>
                  <a:lnTo>
                    <a:pt x="20" y="142"/>
                  </a:lnTo>
                  <a:lnTo>
                    <a:pt x="24" y="142"/>
                  </a:lnTo>
                  <a:lnTo>
                    <a:pt x="26" y="142"/>
                  </a:lnTo>
                  <a:lnTo>
                    <a:pt x="26" y="142"/>
                  </a:lnTo>
                  <a:lnTo>
                    <a:pt x="26" y="142"/>
                  </a:lnTo>
                  <a:lnTo>
                    <a:pt x="28" y="142"/>
                  </a:lnTo>
                  <a:lnTo>
                    <a:pt x="30" y="142"/>
                  </a:lnTo>
                  <a:lnTo>
                    <a:pt x="32" y="144"/>
                  </a:lnTo>
                  <a:lnTo>
                    <a:pt x="36" y="146"/>
                  </a:lnTo>
                  <a:lnTo>
                    <a:pt x="38" y="146"/>
                  </a:lnTo>
                  <a:lnTo>
                    <a:pt x="40" y="148"/>
                  </a:lnTo>
                  <a:lnTo>
                    <a:pt x="42" y="148"/>
                  </a:lnTo>
                  <a:lnTo>
                    <a:pt x="42" y="148"/>
                  </a:lnTo>
                  <a:lnTo>
                    <a:pt x="44" y="148"/>
                  </a:lnTo>
                  <a:lnTo>
                    <a:pt x="44" y="148"/>
                  </a:lnTo>
                  <a:lnTo>
                    <a:pt x="46" y="148"/>
                  </a:lnTo>
                  <a:lnTo>
                    <a:pt x="46" y="148"/>
                  </a:lnTo>
                  <a:lnTo>
                    <a:pt x="46" y="146"/>
                  </a:lnTo>
                  <a:lnTo>
                    <a:pt x="46" y="146"/>
                  </a:lnTo>
                  <a:lnTo>
                    <a:pt x="48" y="144"/>
                  </a:lnTo>
                  <a:lnTo>
                    <a:pt x="48" y="142"/>
                  </a:lnTo>
                  <a:lnTo>
                    <a:pt x="48" y="142"/>
                  </a:lnTo>
                  <a:lnTo>
                    <a:pt x="50" y="140"/>
                  </a:lnTo>
                  <a:lnTo>
                    <a:pt x="50" y="140"/>
                  </a:lnTo>
                  <a:lnTo>
                    <a:pt x="50" y="140"/>
                  </a:lnTo>
                  <a:lnTo>
                    <a:pt x="52" y="140"/>
                  </a:lnTo>
                  <a:lnTo>
                    <a:pt x="52" y="140"/>
                  </a:lnTo>
                  <a:lnTo>
                    <a:pt x="54" y="142"/>
                  </a:lnTo>
                  <a:lnTo>
                    <a:pt x="56" y="142"/>
                  </a:lnTo>
                  <a:lnTo>
                    <a:pt x="58" y="142"/>
                  </a:lnTo>
                  <a:lnTo>
                    <a:pt x="58" y="144"/>
                  </a:lnTo>
                  <a:lnTo>
                    <a:pt x="60" y="144"/>
                  </a:lnTo>
                  <a:lnTo>
                    <a:pt x="60" y="146"/>
                  </a:lnTo>
                  <a:lnTo>
                    <a:pt x="60" y="146"/>
                  </a:lnTo>
                  <a:lnTo>
                    <a:pt x="60" y="148"/>
                  </a:lnTo>
                  <a:lnTo>
                    <a:pt x="60" y="148"/>
                  </a:lnTo>
                  <a:lnTo>
                    <a:pt x="60" y="150"/>
                  </a:lnTo>
                  <a:lnTo>
                    <a:pt x="60" y="152"/>
                  </a:lnTo>
                  <a:lnTo>
                    <a:pt x="58" y="154"/>
                  </a:lnTo>
                  <a:lnTo>
                    <a:pt x="58" y="158"/>
                  </a:lnTo>
                  <a:lnTo>
                    <a:pt x="58" y="160"/>
                  </a:lnTo>
                  <a:lnTo>
                    <a:pt x="56" y="162"/>
                  </a:lnTo>
                  <a:lnTo>
                    <a:pt x="56" y="164"/>
                  </a:lnTo>
                  <a:lnTo>
                    <a:pt x="56" y="164"/>
                  </a:lnTo>
                  <a:lnTo>
                    <a:pt x="56" y="166"/>
                  </a:lnTo>
                  <a:lnTo>
                    <a:pt x="58" y="166"/>
                  </a:lnTo>
                  <a:lnTo>
                    <a:pt x="58" y="168"/>
                  </a:lnTo>
                  <a:lnTo>
                    <a:pt x="60" y="170"/>
                  </a:lnTo>
                  <a:lnTo>
                    <a:pt x="60" y="172"/>
                  </a:lnTo>
                  <a:lnTo>
                    <a:pt x="60" y="172"/>
                  </a:lnTo>
                  <a:lnTo>
                    <a:pt x="60" y="172"/>
                  </a:lnTo>
                  <a:lnTo>
                    <a:pt x="60" y="174"/>
                  </a:lnTo>
                  <a:lnTo>
                    <a:pt x="60" y="174"/>
                  </a:lnTo>
                  <a:lnTo>
                    <a:pt x="58" y="174"/>
                  </a:lnTo>
                  <a:lnTo>
                    <a:pt x="58" y="174"/>
                  </a:lnTo>
                  <a:lnTo>
                    <a:pt x="56" y="174"/>
                  </a:lnTo>
                  <a:lnTo>
                    <a:pt x="56" y="174"/>
                  </a:lnTo>
                  <a:lnTo>
                    <a:pt x="54" y="174"/>
                  </a:lnTo>
                  <a:lnTo>
                    <a:pt x="50" y="174"/>
                  </a:lnTo>
                  <a:lnTo>
                    <a:pt x="48" y="174"/>
                  </a:lnTo>
                  <a:lnTo>
                    <a:pt x="44" y="172"/>
                  </a:lnTo>
                  <a:lnTo>
                    <a:pt x="44" y="172"/>
                  </a:lnTo>
                  <a:lnTo>
                    <a:pt x="42" y="172"/>
                  </a:lnTo>
                  <a:lnTo>
                    <a:pt x="40" y="172"/>
                  </a:lnTo>
                  <a:lnTo>
                    <a:pt x="40" y="174"/>
                  </a:lnTo>
                  <a:lnTo>
                    <a:pt x="38" y="174"/>
                  </a:lnTo>
                  <a:lnTo>
                    <a:pt x="38" y="174"/>
                  </a:lnTo>
                  <a:lnTo>
                    <a:pt x="36" y="176"/>
                  </a:lnTo>
                  <a:lnTo>
                    <a:pt x="36" y="176"/>
                  </a:lnTo>
                  <a:lnTo>
                    <a:pt x="34" y="178"/>
                  </a:lnTo>
                  <a:lnTo>
                    <a:pt x="32" y="180"/>
                  </a:lnTo>
                  <a:lnTo>
                    <a:pt x="32" y="180"/>
                  </a:lnTo>
                  <a:lnTo>
                    <a:pt x="32" y="182"/>
                  </a:lnTo>
                  <a:lnTo>
                    <a:pt x="32" y="184"/>
                  </a:lnTo>
                  <a:lnTo>
                    <a:pt x="32" y="186"/>
                  </a:lnTo>
                  <a:lnTo>
                    <a:pt x="32" y="188"/>
                  </a:lnTo>
                  <a:lnTo>
                    <a:pt x="32" y="190"/>
                  </a:lnTo>
                  <a:lnTo>
                    <a:pt x="32" y="192"/>
                  </a:lnTo>
                  <a:lnTo>
                    <a:pt x="32" y="192"/>
                  </a:lnTo>
                  <a:lnTo>
                    <a:pt x="32" y="192"/>
                  </a:lnTo>
                  <a:lnTo>
                    <a:pt x="30" y="192"/>
                  </a:lnTo>
                  <a:lnTo>
                    <a:pt x="30" y="192"/>
                  </a:lnTo>
                  <a:lnTo>
                    <a:pt x="28" y="192"/>
                  </a:lnTo>
                  <a:lnTo>
                    <a:pt x="28" y="192"/>
                  </a:lnTo>
                  <a:lnTo>
                    <a:pt x="26" y="192"/>
                  </a:lnTo>
                  <a:lnTo>
                    <a:pt x="24" y="192"/>
                  </a:lnTo>
                  <a:lnTo>
                    <a:pt x="22" y="192"/>
                  </a:lnTo>
                  <a:lnTo>
                    <a:pt x="22" y="192"/>
                  </a:lnTo>
                  <a:lnTo>
                    <a:pt x="20" y="192"/>
                  </a:lnTo>
                  <a:lnTo>
                    <a:pt x="20" y="192"/>
                  </a:lnTo>
                  <a:lnTo>
                    <a:pt x="20" y="194"/>
                  </a:lnTo>
                  <a:lnTo>
                    <a:pt x="20" y="194"/>
                  </a:lnTo>
                  <a:lnTo>
                    <a:pt x="20" y="194"/>
                  </a:lnTo>
                  <a:lnTo>
                    <a:pt x="20" y="196"/>
                  </a:lnTo>
                  <a:lnTo>
                    <a:pt x="20" y="196"/>
                  </a:lnTo>
                  <a:lnTo>
                    <a:pt x="20" y="198"/>
                  </a:lnTo>
                  <a:lnTo>
                    <a:pt x="22" y="202"/>
                  </a:lnTo>
                  <a:lnTo>
                    <a:pt x="22" y="204"/>
                  </a:lnTo>
                  <a:lnTo>
                    <a:pt x="24" y="206"/>
                  </a:lnTo>
                  <a:lnTo>
                    <a:pt x="24" y="210"/>
                  </a:lnTo>
                  <a:lnTo>
                    <a:pt x="24" y="212"/>
                  </a:lnTo>
                  <a:lnTo>
                    <a:pt x="26" y="214"/>
                  </a:lnTo>
                  <a:lnTo>
                    <a:pt x="26" y="216"/>
                  </a:lnTo>
                  <a:lnTo>
                    <a:pt x="26" y="216"/>
                  </a:lnTo>
                  <a:lnTo>
                    <a:pt x="28" y="218"/>
                  </a:lnTo>
                  <a:lnTo>
                    <a:pt x="28" y="218"/>
                  </a:lnTo>
                  <a:lnTo>
                    <a:pt x="30" y="218"/>
                  </a:lnTo>
                  <a:lnTo>
                    <a:pt x="30" y="218"/>
                  </a:lnTo>
                  <a:lnTo>
                    <a:pt x="32" y="218"/>
                  </a:lnTo>
                  <a:lnTo>
                    <a:pt x="36" y="218"/>
                  </a:lnTo>
                  <a:lnTo>
                    <a:pt x="38" y="218"/>
                  </a:lnTo>
                  <a:lnTo>
                    <a:pt x="42" y="216"/>
                  </a:lnTo>
                  <a:lnTo>
                    <a:pt x="46" y="216"/>
                  </a:lnTo>
                  <a:lnTo>
                    <a:pt x="46" y="216"/>
                  </a:lnTo>
                  <a:lnTo>
                    <a:pt x="48" y="216"/>
                  </a:lnTo>
                  <a:lnTo>
                    <a:pt x="48" y="216"/>
                  </a:lnTo>
                  <a:lnTo>
                    <a:pt x="50" y="218"/>
                  </a:lnTo>
                  <a:lnTo>
                    <a:pt x="50" y="218"/>
                  </a:lnTo>
                  <a:lnTo>
                    <a:pt x="50" y="218"/>
                  </a:lnTo>
                  <a:lnTo>
                    <a:pt x="52" y="220"/>
                  </a:lnTo>
                  <a:lnTo>
                    <a:pt x="52" y="220"/>
                  </a:lnTo>
                  <a:lnTo>
                    <a:pt x="52" y="222"/>
                  </a:lnTo>
                  <a:lnTo>
                    <a:pt x="52" y="224"/>
                  </a:lnTo>
                  <a:lnTo>
                    <a:pt x="52" y="226"/>
                  </a:lnTo>
                  <a:lnTo>
                    <a:pt x="52" y="232"/>
                  </a:lnTo>
                  <a:lnTo>
                    <a:pt x="52" y="236"/>
                  </a:lnTo>
                  <a:lnTo>
                    <a:pt x="52" y="238"/>
                  </a:lnTo>
                  <a:lnTo>
                    <a:pt x="54" y="238"/>
                  </a:lnTo>
                  <a:lnTo>
                    <a:pt x="54" y="240"/>
                  </a:lnTo>
                  <a:lnTo>
                    <a:pt x="54" y="242"/>
                  </a:lnTo>
                  <a:lnTo>
                    <a:pt x="54" y="242"/>
                  </a:lnTo>
                  <a:lnTo>
                    <a:pt x="56" y="242"/>
                  </a:lnTo>
                  <a:lnTo>
                    <a:pt x="56" y="242"/>
                  </a:lnTo>
                  <a:lnTo>
                    <a:pt x="56" y="242"/>
                  </a:lnTo>
                  <a:lnTo>
                    <a:pt x="56" y="242"/>
                  </a:lnTo>
                  <a:lnTo>
                    <a:pt x="58" y="242"/>
                  </a:lnTo>
                  <a:lnTo>
                    <a:pt x="58" y="242"/>
                  </a:lnTo>
                  <a:lnTo>
                    <a:pt x="58" y="240"/>
                  </a:lnTo>
                  <a:lnTo>
                    <a:pt x="58" y="238"/>
                  </a:lnTo>
                  <a:lnTo>
                    <a:pt x="58" y="236"/>
                  </a:lnTo>
                  <a:lnTo>
                    <a:pt x="58" y="234"/>
                  </a:lnTo>
                  <a:lnTo>
                    <a:pt x="58" y="232"/>
                  </a:lnTo>
                  <a:lnTo>
                    <a:pt x="58" y="230"/>
                  </a:lnTo>
                  <a:lnTo>
                    <a:pt x="58" y="230"/>
                  </a:lnTo>
                  <a:lnTo>
                    <a:pt x="60" y="230"/>
                  </a:lnTo>
                  <a:lnTo>
                    <a:pt x="60" y="228"/>
                  </a:lnTo>
                  <a:lnTo>
                    <a:pt x="60" y="228"/>
                  </a:lnTo>
                  <a:lnTo>
                    <a:pt x="62" y="228"/>
                  </a:lnTo>
                  <a:lnTo>
                    <a:pt x="62" y="228"/>
                  </a:lnTo>
                  <a:lnTo>
                    <a:pt x="64" y="228"/>
                  </a:lnTo>
                  <a:lnTo>
                    <a:pt x="66" y="228"/>
                  </a:lnTo>
                  <a:lnTo>
                    <a:pt x="68" y="228"/>
                  </a:lnTo>
                  <a:lnTo>
                    <a:pt x="72" y="228"/>
                  </a:lnTo>
                  <a:lnTo>
                    <a:pt x="74" y="228"/>
                  </a:lnTo>
                  <a:lnTo>
                    <a:pt x="76" y="230"/>
                  </a:lnTo>
                  <a:lnTo>
                    <a:pt x="76" y="230"/>
                  </a:lnTo>
                  <a:lnTo>
                    <a:pt x="78" y="230"/>
                  </a:lnTo>
                  <a:lnTo>
                    <a:pt x="78" y="232"/>
                  </a:lnTo>
                  <a:lnTo>
                    <a:pt x="78" y="232"/>
                  </a:lnTo>
                  <a:lnTo>
                    <a:pt x="80" y="234"/>
                  </a:lnTo>
                  <a:lnTo>
                    <a:pt x="80" y="236"/>
                  </a:lnTo>
                  <a:lnTo>
                    <a:pt x="80" y="238"/>
                  </a:lnTo>
                  <a:lnTo>
                    <a:pt x="80" y="242"/>
                  </a:lnTo>
                  <a:lnTo>
                    <a:pt x="82" y="246"/>
                  </a:lnTo>
                  <a:lnTo>
                    <a:pt x="82" y="248"/>
                  </a:lnTo>
                  <a:lnTo>
                    <a:pt x="82" y="250"/>
                  </a:lnTo>
                  <a:lnTo>
                    <a:pt x="84" y="250"/>
                  </a:lnTo>
                  <a:lnTo>
                    <a:pt x="88" y="248"/>
                  </a:lnTo>
                  <a:lnTo>
                    <a:pt x="90" y="246"/>
                  </a:lnTo>
                  <a:lnTo>
                    <a:pt x="92" y="246"/>
                  </a:lnTo>
                  <a:lnTo>
                    <a:pt x="94" y="246"/>
                  </a:lnTo>
                  <a:lnTo>
                    <a:pt x="94" y="246"/>
                  </a:lnTo>
                  <a:lnTo>
                    <a:pt x="96" y="246"/>
                  </a:lnTo>
                  <a:lnTo>
                    <a:pt x="98" y="246"/>
                  </a:lnTo>
                  <a:lnTo>
                    <a:pt x="98" y="246"/>
                  </a:lnTo>
                  <a:lnTo>
                    <a:pt x="100" y="246"/>
                  </a:lnTo>
                  <a:lnTo>
                    <a:pt x="102" y="246"/>
                  </a:lnTo>
                  <a:lnTo>
                    <a:pt x="104" y="248"/>
                  </a:lnTo>
                  <a:lnTo>
                    <a:pt x="106" y="248"/>
                  </a:lnTo>
                  <a:lnTo>
                    <a:pt x="106" y="248"/>
                  </a:lnTo>
                  <a:lnTo>
                    <a:pt x="108" y="250"/>
                  </a:lnTo>
                  <a:lnTo>
                    <a:pt x="108" y="250"/>
                  </a:lnTo>
                  <a:lnTo>
                    <a:pt x="108" y="250"/>
                  </a:lnTo>
                  <a:lnTo>
                    <a:pt x="108" y="252"/>
                  </a:lnTo>
                  <a:lnTo>
                    <a:pt x="108" y="254"/>
                  </a:lnTo>
                  <a:lnTo>
                    <a:pt x="108" y="254"/>
                  </a:lnTo>
                  <a:lnTo>
                    <a:pt x="106" y="256"/>
                  </a:lnTo>
                  <a:lnTo>
                    <a:pt x="106" y="258"/>
                  </a:lnTo>
                  <a:lnTo>
                    <a:pt x="106" y="258"/>
                  </a:lnTo>
                  <a:lnTo>
                    <a:pt x="106" y="260"/>
                  </a:lnTo>
                  <a:lnTo>
                    <a:pt x="108" y="260"/>
                  </a:lnTo>
                  <a:lnTo>
                    <a:pt x="108" y="260"/>
                  </a:lnTo>
                  <a:lnTo>
                    <a:pt x="108" y="260"/>
                  </a:lnTo>
                  <a:lnTo>
                    <a:pt x="110" y="262"/>
                  </a:lnTo>
                  <a:lnTo>
                    <a:pt x="112" y="262"/>
                  </a:lnTo>
                  <a:lnTo>
                    <a:pt x="114" y="262"/>
                  </a:lnTo>
                  <a:lnTo>
                    <a:pt x="118" y="264"/>
                  </a:lnTo>
                  <a:lnTo>
                    <a:pt x="120" y="264"/>
                  </a:lnTo>
                  <a:lnTo>
                    <a:pt x="120" y="254"/>
                  </a:lnTo>
                  <a:lnTo>
                    <a:pt x="122" y="244"/>
                  </a:lnTo>
                  <a:lnTo>
                    <a:pt x="122" y="234"/>
                  </a:lnTo>
                  <a:lnTo>
                    <a:pt x="122" y="228"/>
                  </a:lnTo>
                  <a:lnTo>
                    <a:pt x="124" y="220"/>
                  </a:lnTo>
                  <a:lnTo>
                    <a:pt x="124" y="214"/>
                  </a:lnTo>
                  <a:lnTo>
                    <a:pt x="126" y="208"/>
                  </a:lnTo>
                  <a:lnTo>
                    <a:pt x="126" y="204"/>
                  </a:lnTo>
                  <a:lnTo>
                    <a:pt x="128" y="198"/>
                  </a:lnTo>
                  <a:lnTo>
                    <a:pt x="128" y="196"/>
                  </a:lnTo>
                  <a:lnTo>
                    <a:pt x="130" y="194"/>
                  </a:lnTo>
                  <a:lnTo>
                    <a:pt x="130" y="192"/>
                  </a:lnTo>
                  <a:lnTo>
                    <a:pt x="132" y="192"/>
                  </a:lnTo>
                  <a:lnTo>
                    <a:pt x="132" y="190"/>
                  </a:lnTo>
                  <a:lnTo>
                    <a:pt x="134" y="188"/>
                  </a:lnTo>
                  <a:lnTo>
                    <a:pt x="136" y="186"/>
                  </a:lnTo>
                  <a:lnTo>
                    <a:pt x="138" y="184"/>
                  </a:lnTo>
                  <a:lnTo>
                    <a:pt x="140" y="182"/>
                  </a:lnTo>
                  <a:lnTo>
                    <a:pt x="144" y="180"/>
                  </a:lnTo>
                  <a:lnTo>
                    <a:pt x="148" y="176"/>
                  </a:lnTo>
                  <a:lnTo>
                    <a:pt x="154" y="172"/>
                  </a:lnTo>
                  <a:lnTo>
                    <a:pt x="158" y="170"/>
                  </a:lnTo>
                  <a:lnTo>
                    <a:pt x="162" y="166"/>
                  </a:lnTo>
                  <a:lnTo>
                    <a:pt x="164" y="166"/>
                  </a:lnTo>
                  <a:lnTo>
                    <a:pt x="168" y="166"/>
                  </a:lnTo>
                  <a:lnTo>
                    <a:pt x="172" y="166"/>
                  </a:lnTo>
                  <a:lnTo>
                    <a:pt x="174" y="164"/>
                  </a:lnTo>
                  <a:lnTo>
                    <a:pt x="176" y="164"/>
                  </a:lnTo>
                  <a:lnTo>
                    <a:pt x="176" y="164"/>
                  </a:lnTo>
                  <a:lnTo>
                    <a:pt x="176" y="164"/>
                  </a:lnTo>
                  <a:lnTo>
                    <a:pt x="176" y="162"/>
                  </a:lnTo>
                  <a:lnTo>
                    <a:pt x="178" y="162"/>
                  </a:lnTo>
                  <a:lnTo>
                    <a:pt x="178" y="160"/>
                  </a:lnTo>
                  <a:lnTo>
                    <a:pt x="178" y="160"/>
                  </a:lnTo>
                  <a:lnTo>
                    <a:pt x="176" y="158"/>
                  </a:lnTo>
                  <a:lnTo>
                    <a:pt x="176" y="154"/>
                  </a:lnTo>
                  <a:lnTo>
                    <a:pt x="176" y="152"/>
                  </a:lnTo>
                  <a:lnTo>
                    <a:pt x="176" y="150"/>
                  </a:lnTo>
                  <a:lnTo>
                    <a:pt x="176" y="150"/>
                  </a:lnTo>
                  <a:lnTo>
                    <a:pt x="176" y="148"/>
                  </a:lnTo>
                  <a:lnTo>
                    <a:pt x="176" y="148"/>
                  </a:lnTo>
                  <a:lnTo>
                    <a:pt x="176" y="146"/>
                  </a:lnTo>
                  <a:lnTo>
                    <a:pt x="178" y="146"/>
                  </a:lnTo>
                  <a:lnTo>
                    <a:pt x="180" y="146"/>
                  </a:lnTo>
                  <a:lnTo>
                    <a:pt x="180" y="144"/>
                  </a:lnTo>
                  <a:lnTo>
                    <a:pt x="182" y="144"/>
                  </a:lnTo>
                  <a:lnTo>
                    <a:pt x="184" y="144"/>
                  </a:lnTo>
                  <a:lnTo>
                    <a:pt x="186" y="144"/>
                  </a:lnTo>
                  <a:lnTo>
                    <a:pt x="188" y="144"/>
                  </a:lnTo>
                  <a:lnTo>
                    <a:pt x="190" y="144"/>
                  </a:lnTo>
                  <a:lnTo>
                    <a:pt x="192" y="144"/>
                  </a:lnTo>
                  <a:lnTo>
                    <a:pt x="194" y="144"/>
                  </a:lnTo>
                  <a:lnTo>
                    <a:pt x="196" y="144"/>
                  </a:lnTo>
                  <a:lnTo>
                    <a:pt x="198" y="144"/>
                  </a:lnTo>
                  <a:lnTo>
                    <a:pt x="200" y="144"/>
                  </a:lnTo>
                  <a:lnTo>
                    <a:pt x="202" y="146"/>
                  </a:lnTo>
                  <a:lnTo>
                    <a:pt x="204" y="146"/>
                  </a:lnTo>
                  <a:lnTo>
                    <a:pt x="204" y="146"/>
                  </a:lnTo>
                  <a:lnTo>
                    <a:pt x="204" y="148"/>
                  </a:lnTo>
                  <a:lnTo>
                    <a:pt x="206" y="148"/>
                  </a:lnTo>
                  <a:lnTo>
                    <a:pt x="206" y="150"/>
                  </a:lnTo>
                  <a:lnTo>
                    <a:pt x="206" y="152"/>
                  </a:lnTo>
                  <a:lnTo>
                    <a:pt x="206" y="152"/>
                  </a:lnTo>
                  <a:lnTo>
                    <a:pt x="206" y="154"/>
                  </a:lnTo>
                  <a:lnTo>
                    <a:pt x="206" y="158"/>
                  </a:lnTo>
                  <a:lnTo>
                    <a:pt x="204" y="160"/>
                  </a:lnTo>
                  <a:lnTo>
                    <a:pt x="204" y="164"/>
                  </a:lnTo>
                  <a:lnTo>
                    <a:pt x="204" y="166"/>
                  </a:lnTo>
                  <a:lnTo>
                    <a:pt x="204" y="166"/>
                  </a:lnTo>
                  <a:lnTo>
                    <a:pt x="204" y="168"/>
                  </a:lnTo>
                  <a:lnTo>
                    <a:pt x="204" y="170"/>
                  </a:lnTo>
                  <a:lnTo>
                    <a:pt x="204" y="170"/>
                  </a:lnTo>
                  <a:lnTo>
                    <a:pt x="204" y="170"/>
                  </a:lnTo>
                  <a:lnTo>
                    <a:pt x="206" y="172"/>
                  </a:lnTo>
                  <a:lnTo>
                    <a:pt x="210" y="174"/>
                  </a:lnTo>
                  <a:lnTo>
                    <a:pt x="210" y="176"/>
                  </a:lnTo>
                  <a:lnTo>
                    <a:pt x="212" y="176"/>
                  </a:lnTo>
                  <a:lnTo>
                    <a:pt x="212" y="178"/>
                  </a:lnTo>
                  <a:lnTo>
                    <a:pt x="212" y="178"/>
                  </a:lnTo>
                  <a:lnTo>
                    <a:pt x="214" y="178"/>
                  </a:lnTo>
                  <a:lnTo>
                    <a:pt x="214" y="180"/>
                  </a:lnTo>
                  <a:lnTo>
                    <a:pt x="214" y="180"/>
                  </a:lnTo>
                  <a:lnTo>
                    <a:pt x="212" y="180"/>
                  </a:lnTo>
                  <a:lnTo>
                    <a:pt x="212" y="182"/>
                  </a:lnTo>
                  <a:lnTo>
                    <a:pt x="212" y="182"/>
                  </a:lnTo>
                  <a:lnTo>
                    <a:pt x="210" y="184"/>
                  </a:lnTo>
                  <a:lnTo>
                    <a:pt x="208" y="186"/>
                  </a:lnTo>
                  <a:lnTo>
                    <a:pt x="206" y="186"/>
                  </a:lnTo>
                  <a:lnTo>
                    <a:pt x="210" y="194"/>
                  </a:lnTo>
                  <a:lnTo>
                    <a:pt x="214" y="200"/>
                  </a:lnTo>
                  <a:lnTo>
                    <a:pt x="216" y="204"/>
                  </a:lnTo>
                  <a:lnTo>
                    <a:pt x="218" y="206"/>
                  </a:lnTo>
                  <a:lnTo>
                    <a:pt x="218" y="208"/>
                  </a:lnTo>
                  <a:lnTo>
                    <a:pt x="218" y="210"/>
                  </a:lnTo>
                  <a:lnTo>
                    <a:pt x="220" y="212"/>
                  </a:lnTo>
                  <a:lnTo>
                    <a:pt x="220" y="214"/>
                  </a:lnTo>
                  <a:lnTo>
                    <a:pt x="220" y="216"/>
                  </a:lnTo>
                  <a:lnTo>
                    <a:pt x="222" y="216"/>
                  </a:lnTo>
                  <a:lnTo>
                    <a:pt x="222" y="216"/>
                  </a:lnTo>
                  <a:lnTo>
                    <a:pt x="222" y="216"/>
                  </a:lnTo>
                  <a:lnTo>
                    <a:pt x="224" y="216"/>
                  </a:lnTo>
                  <a:lnTo>
                    <a:pt x="224" y="216"/>
                  </a:lnTo>
                  <a:lnTo>
                    <a:pt x="226" y="216"/>
                  </a:lnTo>
                  <a:lnTo>
                    <a:pt x="228" y="216"/>
                  </a:lnTo>
                  <a:lnTo>
                    <a:pt x="230" y="214"/>
                  </a:lnTo>
                  <a:lnTo>
                    <a:pt x="236" y="212"/>
                  </a:lnTo>
                  <a:lnTo>
                    <a:pt x="238" y="212"/>
                  </a:lnTo>
                  <a:lnTo>
                    <a:pt x="238" y="212"/>
                  </a:lnTo>
                  <a:lnTo>
                    <a:pt x="240" y="212"/>
                  </a:lnTo>
                  <a:lnTo>
                    <a:pt x="242" y="212"/>
                  </a:lnTo>
                  <a:lnTo>
                    <a:pt x="244" y="212"/>
                  </a:lnTo>
                  <a:lnTo>
                    <a:pt x="248" y="212"/>
                  </a:lnTo>
                  <a:lnTo>
                    <a:pt x="252" y="212"/>
                  </a:lnTo>
                  <a:lnTo>
                    <a:pt x="256" y="214"/>
                  </a:lnTo>
                  <a:lnTo>
                    <a:pt x="260" y="214"/>
                  </a:lnTo>
                  <a:lnTo>
                    <a:pt x="262" y="216"/>
                  </a:lnTo>
                  <a:lnTo>
                    <a:pt x="264" y="216"/>
                  </a:lnTo>
                  <a:lnTo>
                    <a:pt x="268" y="218"/>
                  </a:lnTo>
                  <a:lnTo>
                    <a:pt x="270" y="218"/>
                  </a:lnTo>
                  <a:lnTo>
                    <a:pt x="270" y="220"/>
                  </a:lnTo>
                  <a:lnTo>
                    <a:pt x="272" y="220"/>
                  </a:lnTo>
                  <a:lnTo>
                    <a:pt x="272" y="222"/>
                  </a:lnTo>
                  <a:lnTo>
                    <a:pt x="272" y="222"/>
                  </a:lnTo>
                  <a:lnTo>
                    <a:pt x="272" y="224"/>
                  </a:lnTo>
                  <a:lnTo>
                    <a:pt x="274" y="224"/>
                  </a:lnTo>
                  <a:lnTo>
                    <a:pt x="274" y="226"/>
                  </a:lnTo>
                  <a:lnTo>
                    <a:pt x="274" y="228"/>
                  </a:lnTo>
                  <a:lnTo>
                    <a:pt x="274" y="232"/>
                  </a:lnTo>
                  <a:lnTo>
                    <a:pt x="274" y="238"/>
                  </a:lnTo>
                  <a:lnTo>
                    <a:pt x="274" y="240"/>
                  </a:lnTo>
                  <a:lnTo>
                    <a:pt x="274" y="242"/>
                  </a:lnTo>
                  <a:lnTo>
                    <a:pt x="274" y="242"/>
                  </a:lnTo>
                  <a:lnTo>
                    <a:pt x="274" y="246"/>
                  </a:lnTo>
                  <a:lnTo>
                    <a:pt x="276" y="250"/>
                  </a:lnTo>
                  <a:lnTo>
                    <a:pt x="276" y="252"/>
                  </a:lnTo>
                  <a:lnTo>
                    <a:pt x="276" y="254"/>
                  </a:lnTo>
                  <a:lnTo>
                    <a:pt x="278" y="254"/>
                  </a:lnTo>
                  <a:lnTo>
                    <a:pt x="278" y="256"/>
                  </a:lnTo>
                  <a:lnTo>
                    <a:pt x="278" y="256"/>
                  </a:lnTo>
                  <a:lnTo>
                    <a:pt x="280" y="258"/>
                  </a:lnTo>
                  <a:lnTo>
                    <a:pt x="282" y="258"/>
                  </a:lnTo>
                  <a:lnTo>
                    <a:pt x="284" y="260"/>
                  </a:lnTo>
                  <a:lnTo>
                    <a:pt x="288" y="262"/>
                  </a:lnTo>
                  <a:lnTo>
                    <a:pt x="294" y="264"/>
                  </a:lnTo>
                  <a:lnTo>
                    <a:pt x="296" y="264"/>
                  </a:lnTo>
                  <a:lnTo>
                    <a:pt x="298" y="266"/>
                  </a:lnTo>
                  <a:lnTo>
                    <a:pt x="302" y="270"/>
                  </a:lnTo>
                  <a:lnTo>
                    <a:pt x="306" y="272"/>
                  </a:lnTo>
                  <a:lnTo>
                    <a:pt x="312" y="266"/>
                  </a:lnTo>
                  <a:lnTo>
                    <a:pt x="318" y="262"/>
                  </a:lnTo>
                  <a:lnTo>
                    <a:pt x="320" y="260"/>
                  </a:lnTo>
                  <a:lnTo>
                    <a:pt x="322" y="260"/>
                  </a:lnTo>
                  <a:lnTo>
                    <a:pt x="324" y="258"/>
                  </a:lnTo>
                  <a:lnTo>
                    <a:pt x="326" y="258"/>
                  </a:lnTo>
                  <a:lnTo>
                    <a:pt x="330" y="256"/>
                  </a:lnTo>
                  <a:lnTo>
                    <a:pt x="336" y="256"/>
                  </a:lnTo>
                  <a:lnTo>
                    <a:pt x="340" y="254"/>
                  </a:lnTo>
                  <a:lnTo>
                    <a:pt x="346" y="252"/>
                  </a:lnTo>
                  <a:lnTo>
                    <a:pt x="350" y="252"/>
                  </a:lnTo>
                  <a:lnTo>
                    <a:pt x="352" y="250"/>
                  </a:lnTo>
                  <a:lnTo>
                    <a:pt x="354" y="250"/>
                  </a:lnTo>
                  <a:lnTo>
                    <a:pt x="356" y="248"/>
                  </a:lnTo>
                  <a:lnTo>
                    <a:pt x="358" y="248"/>
                  </a:lnTo>
                  <a:lnTo>
                    <a:pt x="358" y="246"/>
                  </a:lnTo>
                  <a:lnTo>
                    <a:pt x="360" y="246"/>
                  </a:lnTo>
                  <a:lnTo>
                    <a:pt x="360" y="244"/>
                  </a:lnTo>
                  <a:lnTo>
                    <a:pt x="360" y="244"/>
                  </a:lnTo>
                  <a:lnTo>
                    <a:pt x="362" y="242"/>
                  </a:lnTo>
                  <a:lnTo>
                    <a:pt x="362" y="242"/>
                  </a:lnTo>
                  <a:lnTo>
                    <a:pt x="362" y="240"/>
                  </a:lnTo>
                  <a:lnTo>
                    <a:pt x="362" y="240"/>
                  </a:lnTo>
                  <a:lnTo>
                    <a:pt x="362" y="238"/>
                  </a:lnTo>
                  <a:lnTo>
                    <a:pt x="362" y="238"/>
                  </a:lnTo>
                  <a:lnTo>
                    <a:pt x="360" y="236"/>
                  </a:lnTo>
                  <a:lnTo>
                    <a:pt x="360" y="234"/>
                  </a:lnTo>
                  <a:lnTo>
                    <a:pt x="358" y="232"/>
                  </a:lnTo>
                  <a:lnTo>
                    <a:pt x="356" y="232"/>
                  </a:lnTo>
                  <a:lnTo>
                    <a:pt x="354" y="230"/>
                  </a:lnTo>
                  <a:lnTo>
                    <a:pt x="352" y="228"/>
                  </a:lnTo>
                  <a:lnTo>
                    <a:pt x="350" y="228"/>
                  </a:lnTo>
                  <a:lnTo>
                    <a:pt x="350" y="228"/>
                  </a:lnTo>
                  <a:lnTo>
                    <a:pt x="350" y="228"/>
                  </a:lnTo>
                  <a:lnTo>
                    <a:pt x="348" y="228"/>
                  </a:lnTo>
                  <a:lnTo>
                    <a:pt x="346" y="228"/>
                  </a:lnTo>
                  <a:lnTo>
                    <a:pt x="344" y="230"/>
                  </a:lnTo>
                  <a:lnTo>
                    <a:pt x="342" y="230"/>
                  </a:lnTo>
                  <a:lnTo>
                    <a:pt x="340" y="230"/>
                  </a:lnTo>
                  <a:lnTo>
                    <a:pt x="340" y="230"/>
                  </a:lnTo>
                  <a:lnTo>
                    <a:pt x="338" y="230"/>
                  </a:lnTo>
                  <a:lnTo>
                    <a:pt x="338" y="230"/>
                  </a:lnTo>
                  <a:lnTo>
                    <a:pt x="336" y="230"/>
                  </a:lnTo>
                  <a:lnTo>
                    <a:pt x="334" y="230"/>
                  </a:lnTo>
                  <a:lnTo>
                    <a:pt x="334" y="228"/>
                  </a:lnTo>
                  <a:lnTo>
                    <a:pt x="330" y="226"/>
                  </a:lnTo>
                  <a:lnTo>
                    <a:pt x="330" y="224"/>
                  </a:lnTo>
                  <a:lnTo>
                    <a:pt x="328" y="224"/>
                  </a:lnTo>
                  <a:lnTo>
                    <a:pt x="328" y="222"/>
                  </a:lnTo>
                  <a:lnTo>
                    <a:pt x="326" y="222"/>
                  </a:lnTo>
                  <a:lnTo>
                    <a:pt x="326" y="220"/>
                  </a:lnTo>
                  <a:lnTo>
                    <a:pt x="326" y="220"/>
                  </a:lnTo>
                  <a:lnTo>
                    <a:pt x="326" y="220"/>
                  </a:lnTo>
                  <a:lnTo>
                    <a:pt x="326" y="218"/>
                  </a:lnTo>
                  <a:lnTo>
                    <a:pt x="328" y="218"/>
                  </a:lnTo>
                  <a:lnTo>
                    <a:pt x="328" y="216"/>
                  </a:lnTo>
                  <a:lnTo>
                    <a:pt x="330" y="214"/>
                  </a:lnTo>
                  <a:lnTo>
                    <a:pt x="330" y="214"/>
                  </a:lnTo>
                  <a:lnTo>
                    <a:pt x="332" y="212"/>
                  </a:lnTo>
                  <a:lnTo>
                    <a:pt x="334" y="212"/>
                  </a:lnTo>
                  <a:lnTo>
                    <a:pt x="334" y="210"/>
                  </a:lnTo>
                  <a:lnTo>
                    <a:pt x="334" y="210"/>
                  </a:lnTo>
                  <a:lnTo>
                    <a:pt x="334" y="210"/>
                  </a:lnTo>
                  <a:lnTo>
                    <a:pt x="334" y="208"/>
                  </a:lnTo>
                  <a:lnTo>
                    <a:pt x="332" y="206"/>
                  </a:lnTo>
                  <a:lnTo>
                    <a:pt x="332" y="204"/>
                  </a:lnTo>
                  <a:lnTo>
                    <a:pt x="332" y="202"/>
                  </a:lnTo>
                  <a:lnTo>
                    <a:pt x="332" y="200"/>
                  </a:lnTo>
                  <a:lnTo>
                    <a:pt x="330" y="198"/>
                  </a:lnTo>
                  <a:lnTo>
                    <a:pt x="330" y="198"/>
                  </a:lnTo>
                  <a:lnTo>
                    <a:pt x="332" y="198"/>
                  </a:lnTo>
                  <a:lnTo>
                    <a:pt x="332" y="196"/>
                  </a:lnTo>
                  <a:lnTo>
                    <a:pt x="334" y="194"/>
                  </a:lnTo>
                  <a:lnTo>
                    <a:pt x="334" y="192"/>
                  </a:lnTo>
                  <a:lnTo>
                    <a:pt x="336" y="192"/>
                  </a:lnTo>
                  <a:lnTo>
                    <a:pt x="338" y="190"/>
                  </a:lnTo>
                  <a:lnTo>
                    <a:pt x="338" y="190"/>
                  </a:lnTo>
                  <a:lnTo>
                    <a:pt x="340" y="188"/>
                  </a:lnTo>
                  <a:lnTo>
                    <a:pt x="342" y="188"/>
                  </a:lnTo>
                  <a:lnTo>
                    <a:pt x="342" y="188"/>
                  </a:lnTo>
                  <a:lnTo>
                    <a:pt x="342" y="188"/>
                  </a:lnTo>
                  <a:lnTo>
                    <a:pt x="344" y="190"/>
                  </a:lnTo>
                  <a:lnTo>
                    <a:pt x="344" y="190"/>
                  </a:lnTo>
                  <a:lnTo>
                    <a:pt x="346" y="192"/>
                  </a:lnTo>
                  <a:lnTo>
                    <a:pt x="346" y="194"/>
                  </a:lnTo>
                  <a:lnTo>
                    <a:pt x="348" y="196"/>
                  </a:lnTo>
                  <a:lnTo>
                    <a:pt x="350" y="198"/>
                  </a:lnTo>
                  <a:lnTo>
                    <a:pt x="350" y="200"/>
                  </a:lnTo>
                  <a:lnTo>
                    <a:pt x="352" y="200"/>
                  </a:lnTo>
                  <a:lnTo>
                    <a:pt x="352" y="200"/>
                  </a:lnTo>
                  <a:lnTo>
                    <a:pt x="354" y="202"/>
                  </a:lnTo>
                  <a:lnTo>
                    <a:pt x="354" y="202"/>
                  </a:lnTo>
                  <a:lnTo>
                    <a:pt x="356" y="202"/>
                  </a:lnTo>
                  <a:lnTo>
                    <a:pt x="356" y="202"/>
                  </a:lnTo>
                  <a:lnTo>
                    <a:pt x="356" y="202"/>
                  </a:lnTo>
                  <a:lnTo>
                    <a:pt x="356" y="200"/>
                  </a:lnTo>
                  <a:lnTo>
                    <a:pt x="356" y="200"/>
                  </a:lnTo>
                  <a:lnTo>
                    <a:pt x="358" y="198"/>
                  </a:lnTo>
                  <a:lnTo>
                    <a:pt x="358" y="196"/>
                  </a:lnTo>
                  <a:lnTo>
                    <a:pt x="360" y="194"/>
                  </a:lnTo>
                  <a:lnTo>
                    <a:pt x="360" y="192"/>
                  </a:lnTo>
                  <a:lnTo>
                    <a:pt x="360" y="192"/>
                  </a:lnTo>
                  <a:lnTo>
                    <a:pt x="362" y="192"/>
                  </a:lnTo>
                  <a:lnTo>
                    <a:pt x="362" y="190"/>
                  </a:lnTo>
                  <a:lnTo>
                    <a:pt x="364" y="188"/>
                  </a:lnTo>
                  <a:lnTo>
                    <a:pt x="368" y="188"/>
                  </a:lnTo>
                  <a:lnTo>
                    <a:pt x="370" y="188"/>
                  </a:lnTo>
                  <a:lnTo>
                    <a:pt x="372" y="186"/>
                  </a:lnTo>
                  <a:lnTo>
                    <a:pt x="376" y="186"/>
                  </a:lnTo>
                  <a:lnTo>
                    <a:pt x="378" y="186"/>
                  </a:lnTo>
                  <a:lnTo>
                    <a:pt x="378" y="186"/>
                  </a:lnTo>
                  <a:lnTo>
                    <a:pt x="380" y="186"/>
                  </a:lnTo>
                  <a:lnTo>
                    <a:pt x="380" y="186"/>
                  </a:lnTo>
                  <a:lnTo>
                    <a:pt x="380" y="186"/>
                  </a:lnTo>
                  <a:lnTo>
                    <a:pt x="382" y="188"/>
                  </a:lnTo>
                  <a:lnTo>
                    <a:pt x="384" y="190"/>
                  </a:lnTo>
                  <a:lnTo>
                    <a:pt x="384" y="192"/>
                  </a:lnTo>
                  <a:lnTo>
                    <a:pt x="386" y="192"/>
                  </a:lnTo>
                  <a:lnTo>
                    <a:pt x="388" y="194"/>
                  </a:lnTo>
                  <a:lnTo>
                    <a:pt x="388" y="196"/>
                  </a:lnTo>
                  <a:lnTo>
                    <a:pt x="390" y="196"/>
                  </a:lnTo>
                  <a:lnTo>
                    <a:pt x="390" y="196"/>
                  </a:lnTo>
                  <a:lnTo>
                    <a:pt x="392" y="196"/>
                  </a:lnTo>
                  <a:lnTo>
                    <a:pt x="394" y="196"/>
                  </a:lnTo>
                  <a:lnTo>
                    <a:pt x="396" y="196"/>
                  </a:lnTo>
                  <a:lnTo>
                    <a:pt x="398" y="196"/>
                  </a:lnTo>
                  <a:lnTo>
                    <a:pt x="402" y="196"/>
                  </a:lnTo>
                  <a:lnTo>
                    <a:pt x="406" y="194"/>
                  </a:lnTo>
                  <a:lnTo>
                    <a:pt x="414" y="192"/>
                  </a:lnTo>
                  <a:lnTo>
                    <a:pt x="418" y="192"/>
                  </a:lnTo>
                  <a:lnTo>
                    <a:pt x="420" y="192"/>
                  </a:lnTo>
                  <a:lnTo>
                    <a:pt x="422" y="192"/>
                  </a:lnTo>
                  <a:lnTo>
                    <a:pt x="426" y="190"/>
                  </a:lnTo>
                  <a:lnTo>
                    <a:pt x="432" y="192"/>
                  </a:lnTo>
                  <a:lnTo>
                    <a:pt x="434" y="192"/>
                  </a:lnTo>
                  <a:lnTo>
                    <a:pt x="436" y="192"/>
                  </a:lnTo>
                  <a:lnTo>
                    <a:pt x="438" y="192"/>
                  </a:lnTo>
                  <a:lnTo>
                    <a:pt x="440" y="192"/>
                  </a:lnTo>
                  <a:lnTo>
                    <a:pt x="442" y="192"/>
                  </a:lnTo>
                  <a:lnTo>
                    <a:pt x="442" y="194"/>
                  </a:lnTo>
                  <a:lnTo>
                    <a:pt x="446" y="196"/>
                  </a:lnTo>
                  <a:lnTo>
                    <a:pt x="448" y="198"/>
                  </a:lnTo>
                  <a:lnTo>
                    <a:pt x="450" y="200"/>
                  </a:lnTo>
                  <a:lnTo>
                    <a:pt x="456" y="204"/>
                  </a:lnTo>
                  <a:lnTo>
                    <a:pt x="458" y="206"/>
                  </a:lnTo>
                  <a:lnTo>
                    <a:pt x="460" y="202"/>
                  </a:lnTo>
                  <a:lnTo>
                    <a:pt x="462" y="200"/>
                  </a:lnTo>
                  <a:lnTo>
                    <a:pt x="462" y="198"/>
                  </a:lnTo>
                  <a:lnTo>
                    <a:pt x="462" y="198"/>
                  </a:lnTo>
                  <a:lnTo>
                    <a:pt x="462" y="196"/>
                  </a:lnTo>
                  <a:lnTo>
                    <a:pt x="464" y="196"/>
                  </a:lnTo>
                  <a:lnTo>
                    <a:pt x="464" y="192"/>
                  </a:lnTo>
                  <a:lnTo>
                    <a:pt x="464" y="190"/>
                  </a:lnTo>
                  <a:lnTo>
                    <a:pt x="462" y="188"/>
                  </a:lnTo>
                  <a:lnTo>
                    <a:pt x="462" y="184"/>
                  </a:lnTo>
                  <a:lnTo>
                    <a:pt x="462" y="182"/>
                  </a:lnTo>
                  <a:lnTo>
                    <a:pt x="462" y="180"/>
                  </a:lnTo>
                  <a:lnTo>
                    <a:pt x="464" y="180"/>
                  </a:lnTo>
                  <a:lnTo>
                    <a:pt x="464" y="178"/>
                  </a:lnTo>
                  <a:lnTo>
                    <a:pt x="464" y="178"/>
                  </a:lnTo>
                  <a:lnTo>
                    <a:pt x="464" y="176"/>
                  </a:lnTo>
                  <a:lnTo>
                    <a:pt x="466" y="176"/>
                  </a:lnTo>
                  <a:lnTo>
                    <a:pt x="466" y="174"/>
                  </a:lnTo>
                  <a:lnTo>
                    <a:pt x="468" y="174"/>
                  </a:lnTo>
                  <a:lnTo>
                    <a:pt x="470" y="172"/>
                  </a:lnTo>
                  <a:lnTo>
                    <a:pt x="474" y="172"/>
                  </a:lnTo>
                  <a:lnTo>
                    <a:pt x="476" y="170"/>
                  </a:lnTo>
                  <a:lnTo>
                    <a:pt x="478" y="170"/>
                  </a:lnTo>
                  <a:lnTo>
                    <a:pt x="480" y="170"/>
                  </a:lnTo>
                  <a:lnTo>
                    <a:pt x="480" y="170"/>
                  </a:lnTo>
                  <a:lnTo>
                    <a:pt x="480" y="170"/>
                  </a:lnTo>
                  <a:lnTo>
                    <a:pt x="484" y="170"/>
                  </a:lnTo>
                  <a:lnTo>
                    <a:pt x="486" y="172"/>
                  </a:lnTo>
                  <a:lnTo>
                    <a:pt x="488" y="174"/>
                  </a:lnTo>
                  <a:lnTo>
                    <a:pt x="490" y="174"/>
                  </a:lnTo>
                  <a:lnTo>
                    <a:pt x="492" y="176"/>
                  </a:lnTo>
                  <a:lnTo>
                    <a:pt x="494" y="176"/>
                  </a:lnTo>
                  <a:lnTo>
                    <a:pt x="496" y="176"/>
                  </a:lnTo>
                  <a:lnTo>
                    <a:pt x="496" y="176"/>
                  </a:lnTo>
                  <a:lnTo>
                    <a:pt x="496" y="174"/>
                  </a:lnTo>
                  <a:lnTo>
                    <a:pt x="498" y="174"/>
                  </a:lnTo>
                  <a:lnTo>
                    <a:pt x="498" y="174"/>
                  </a:lnTo>
                  <a:lnTo>
                    <a:pt x="498" y="174"/>
                  </a:lnTo>
                  <a:lnTo>
                    <a:pt x="498" y="172"/>
                  </a:lnTo>
                  <a:lnTo>
                    <a:pt x="500" y="170"/>
                  </a:lnTo>
                  <a:lnTo>
                    <a:pt x="500" y="170"/>
                  </a:lnTo>
                  <a:lnTo>
                    <a:pt x="500" y="166"/>
                  </a:lnTo>
                  <a:lnTo>
                    <a:pt x="500" y="164"/>
                  </a:lnTo>
                  <a:lnTo>
                    <a:pt x="502" y="160"/>
                  </a:lnTo>
                  <a:lnTo>
                    <a:pt x="502" y="154"/>
                  </a:lnTo>
                  <a:lnTo>
                    <a:pt x="502" y="150"/>
                  </a:lnTo>
                  <a:lnTo>
                    <a:pt x="502" y="148"/>
                  </a:lnTo>
                  <a:lnTo>
                    <a:pt x="502" y="146"/>
                  </a:lnTo>
                  <a:lnTo>
                    <a:pt x="502" y="144"/>
                  </a:lnTo>
                  <a:lnTo>
                    <a:pt x="502" y="142"/>
                  </a:lnTo>
                  <a:lnTo>
                    <a:pt x="504" y="142"/>
                  </a:lnTo>
                  <a:lnTo>
                    <a:pt x="504" y="140"/>
                  </a:lnTo>
                  <a:lnTo>
                    <a:pt x="506" y="138"/>
                  </a:lnTo>
                  <a:lnTo>
                    <a:pt x="508" y="136"/>
                  </a:lnTo>
                  <a:lnTo>
                    <a:pt x="510" y="136"/>
                  </a:lnTo>
                  <a:lnTo>
                    <a:pt x="510" y="134"/>
                  </a:lnTo>
                  <a:lnTo>
                    <a:pt x="512" y="134"/>
                  </a:lnTo>
                  <a:lnTo>
                    <a:pt x="512" y="134"/>
                  </a:lnTo>
                  <a:lnTo>
                    <a:pt x="516" y="134"/>
                  </a:lnTo>
                  <a:lnTo>
                    <a:pt x="518" y="134"/>
                  </a:lnTo>
                  <a:lnTo>
                    <a:pt x="520" y="134"/>
                  </a:lnTo>
                  <a:lnTo>
                    <a:pt x="520" y="132"/>
                  </a:lnTo>
                  <a:lnTo>
                    <a:pt x="522" y="132"/>
                  </a:lnTo>
                  <a:lnTo>
                    <a:pt x="522" y="132"/>
                  </a:lnTo>
                  <a:lnTo>
                    <a:pt x="522" y="132"/>
                  </a:lnTo>
                  <a:lnTo>
                    <a:pt x="522" y="132"/>
                  </a:lnTo>
                  <a:lnTo>
                    <a:pt x="524" y="130"/>
                  </a:lnTo>
                  <a:lnTo>
                    <a:pt x="524" y="128"/>
                  </a:lnTo>
                  <a:lnTo>
                    <a:pt x="524" y="126"/>
                  </a:lnTo>
                  <a:lnTo>
                    <a:pt x="524" y="124"/>
                  </a:lnTo>
                  <a:lnTo>
                    <a:pt x="524" y="122"/>
                  </a:lnTo>
                  <a:lnTo>
                    <a:pt x="526" y="120"/>
                  </a:lnTo>
                  <a:lnTo>
                    <a:pt x="526" y="120"/>
                  </a:lnTo>
                  <a:lnTo>
                    <a:pt x="528" y="120"/>
                  </a:lnTo>
                  <a:lnTo>
                    <a:pt x="530" y="116"/>
                  </a:lnTo>
                  <a:lnTo>
                    <a:pt x="534" y="116"/>
                  </a:lnTo>
                  <a:lnTo>
                    <a:pt x="534" y="11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3" name="Freeform 49"/>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4" name="Freeform 50"/>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5" name="Freeform 51"/>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6" name="Freeform 52"/>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7" name="Freeform 53"/>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8" name="Freeform 65"/>
            <p:cNvSpPr>
              <a:spLocks/>
            </p:cNvSpPr>
            <p:nvPr/>
          </p:nvSpPr>
          <p:spPr bwMode="auto">
            <a:xfrm>
              <a:off x="7283022" y="3367940"/>
              <a:ext cx="121245" cy="155887"/>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79" name="Freeform 66"/>
            <p:cNvSpPr>
              <a:spLocks/>
            </p:cNvSpPr>
            <p:nvPr/>
          </p:nvSpPr>
          <p:spPr bwMode="auto">
            <a:xfrm>
              <a:off x="7283022" y="3367940"/>
              <a:ext cx="121245" cy="155887"/>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0" name="Freeform 67"/>
            <p:cNvSpPr>
              <a:spLocks/>
            </p:cNvSpPr>
            <p:nvPr/>
          </p:nvSpPr>
          <p:spPr bwMode="auto">
            <a:xfrm>
              <a:off x="6565943" y="3835600"/>
              <a:ext cx="193992" cy="502302"/>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1" name="Freeform 68"/>
            <p:cNvSpPr>
              <a:spLocks/>
            </p:cNvSpPr>
            <p:nvPr/>
          </p:nvSpPr>
          <p:spPr bwMode="auto">
            <a:xfrm>
              <a:off x="6565943" y="3835600"/>
              <a:ext cx="193992" cy="502302"/>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2" name="Freeform 69"/>
            <p:cNvSpPr>
              <a:spLocks/>
            </p:cNvSpPr>
            <p:nvPr/>
          </p:nvSpPr>
          <p:spPr bwMode="auto">
            <a:xfrm>
              <a:off x="6818826" y="4220120"/>
              <a:ext cx="142030" cy="128174"/>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3" name="Freeform 70"/>
            <p:cNvSpPr>
              <a:spLocks/>
            </p:cNvSpPr>
            <p:nvPr/>
          </p:nvSpPr>
          <p:spPr bwMode="auto">
            <a:xfrm>
              <a:off x="6818826" y="4220120"/>
              <a:ext cx="142030" cy="128174"/>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4" name="Freeform 71"/>
            <p:cNvSpPr>
              <a:spLocks/>
            </p:cNvSpPr>
            <p:nvPr/>
          </p:nvSpPr>
          <p:spPr bwMode="auto">
            <a:xfrm>
              <a:off x="6759936" y="3988022"/>
              <a:ext cx="187064" cy="263275"/>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5" name="Freeform 72"/>
            <p:cNvSpPr>
              <a:spLocks/>
            </p:cNvSpPr>
            <p:nvPr/>
          </p:nvSpPr>
          <p:spPr bwMode="auto">
            <a:xfrm>
              <a:off x="6759936" y="3988022"/>
              <a:ext cx="187064" cy="263275"/>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6" name="Freeform 73"/>
            <p:cNvSpPr>
              <a:spLocks/>
            </p:cNvSpPr>
            <p:nvPr/>
          </p:nvSpPr>
          <p:spPr bwMode="auto">
            <a:xfrm>
              <a:off x="6811898" y="3967238"/>
              <a:ext cx="190528" cy="436483"/>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7" name="Freeform 74"/>
            <p:cNvSpPr>
              <a:spLocks/>
            </p:cNvSpPr>
            <p:nvPr/>
          </p:nvSpPr>
          <p:spPr bwMode="auto">
            <a:xfrm>
              <a:off x="6811898" y="3967238"/>
              <a:ext cx="190528" cy="436483"/>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8" name="Freeform 75"/>
            <p:cNvSpPr>
              <a:spLocks/>
            </p:cNvSpPr>
            <p:nvPr/>
          </p:nvSpPr>
          <p:spPr bwMode="auto">
            <a:xfrm>
              <a:off x="5336170" y="3451079"/>
              <a:ext cx="495373" cy="453804"/>
            </a:xfrm>
            <a:custGeom>
              <a:avLst/>
              <a:gdLst>
                <a:gd name="T0" fmla="*/ 0 w 286"/>
                <a:gd name="T1" fmla="*/ 8 h 262"/>
                <a:gd name="T2" fmla="*/ 10 w 286"/>
                <a:gd name="T3" fmla="*/ 34 h 262"/>
                <a:gd name="T4" fmla="*/ 18 w 286"/>
                <a:gd name="T5" fmla="*/ 68 h 262"/>
                <a:gd name="T6" fmla="*/ 22 w 286"/>
                <a:gd name="T7" fmla="*/ 76 h 262"/>
                <a:gd name="T8" fmla="*/ 34 w 286"/>
                <a:gd name="T9" fmla="*/ 78 h 262"/>
                <a:gd name="T10" fmla="*/ 32 w 286"/>
                <a:gd name="T11" fmla="*/ 92 h 262"/>
                <a:gd name="T12" fmla="*/ 22 w 286"/>
                <a:gd name="T13" fmla="*/ 98 h 262"/>
                <a:gd name="T14" fmla="*/ 22 w 286"/>
                <a:gd name="T15" fmla="*/ 114 h 262"/>
                <a:gd name="T16" fmla="*/ 32 w 286"/>
                <a:gd name="T17" fmla="*/ 118 h 262"/>
                <a:gd name="T18" fmla="*/ 36 w 286"/>
                <a:gd name="T19" fmla="*/ 128 h 262"/>
                <a:gd name="T20" fmla="*/ 46 w 286"/>
                <a:gd name="T21" fmla="*/ 136 h 262"/>
                <a:gd name="T22" fmla="*/ 58 w 286"/>
                <a:gd name="T23" fmla="*/ 134 h 262"/>
                <a:gd name="T24" fmla="*/ 60 w 286"/>
                <a:gd name="T25" fmla="*/ 146 h 262"/>
                <a:gd name="T26" fmla="*/ 56 w 286"/>
                <a:gd name="T27" fmla="*/ 160 h 262"/>
                <a:gd name="T28" fmla="*/ 64 w 286"/>
                <a:gd name="T29" fmla="*/ 164 h 262"/>
                <a:gd name="T30" fmla="*/ 66 w 286"/>
                <a:gd name="T31" fmla="*/ 178 h 262"/>
                <a:gd name="T32" fmla="*/ 78 w 286"/>
                <a:gd name="T33" fmla="*/ 184 h 262"/>
                <a:gd name="T34" fmla="*/ 86 w 286"/>
                <a:gd name="T35" fmla="*/ 176 h 262"/>
                <a:gd name="T36" fmla="*/ 90 w 286"/>
                <a:gd name="T37" fmla="*/ 176 h 262"/>
                <a:gd name="T38" fmla="*/ 96 w 286"/>
                <a:gd name="T39" fmla="*/ 200 h 262"/>
                <a:gd name="T40" fmla="*/ 100 w 286"/>
                <a:gd name="T41" fmla="*/ 210 h 262"/>
                <a:gd name="T42" fmla="*/ 110 w 286"/>
                <a:gd name="T43" fmla="*/ 214 h 262"/>
                <a:gd name="T44" fmla="*/ 110 w 286"/>
                <a:gd name="T45" fmla="*/ 222 h 262"/>
                <a:gd name="T46" fmla="*/ 120 w 286"/>
                <a:gd name="T47" fmla="*/ 222 h 262"/>
                <a:gd name="T48" fmla="*/ 128 w 286"/>
                <a:gd name="T49" fmla="*/ 232 h 262"/>
                <a:gd name="T50" fmla="*/ 146 w 286"/>
                <a:gd name="T51" fmla="*/ 238 h 262"/>
                <a:gd name="T52" fmla="*/ 172 w 286"/>
                <a:gd name="T53" fmla="*/ 238 h 262"/>
                <a:gd name="T54" fmla="*/ 178 w 286"/>
                <a:gd name="T55" fmla="*/ 226 h 262"/>
                <a:gd name="T56" fmla="*/ 186 w 286"/>
                <a:gd name="T57" fmla="*/ 228 h 262"/>
                <a:gd name="T58" fmla="*/ 192 w 286"/>
                <a:gd name="T59" fmla="*/ 244 h 262"/>
                <a:gd name="T60" fmla="*/ 200 w 286"/>
                <a:gd name="T61" fmla="*/ 258 h 262"/>
                <a:gd name="T62" fmla="*/ 224 w 286"/>
                <a:gd name="T63" fmla="*/ 262 h 262"/>
                <a:gd name="T64" fmla="*/ 254 w 286"/>
                <a:gd name="T65" fmla="*/ 260 h 262"/>
                <a:gd name="T66" fmla="*/ 262 w 286"/>
                <a:gd name="T67" fmla="*/ 260 h 262"/>
                <a:gd name="T68" fmla="*/ 274 w 286"/>
                <a:gd name="T69" fmla="*/ 246 h 262"/>
                <a:gd name="T70" fmla="*/ 284 w 286"/>
                <a:gd name="T71" fmla="*/ 234 h 262"/>
                <a:gd name="T72" fmla="*/ 280 w 286"/>
                <a:gd name="T73" fmla="*/ 224 h 262"/>
                <a:gd name="T74" fmla="*/ 270 w 286"/>
                <a:gd name="T75" fmla="*/ 224 h 262"/>
                <a:gd name="T76" fmla="*/ 266 w 286"/>
                <a:gd name="T77" fmla="*/ 210 h 262"/>
                <a:gd name="T78" fmla="*/ 250 w 286"/>
                <a:gd name="T79" fmla="*/ 200 h 262"/>
                <a:gd name="T80" fmla="*/ 250 w 286"/>
                <a:gd name="T81" fmla="*/ 188 h 262"/>
                <a:gd name="T82" fmla="*/ 258 w 286"/>
                <a:gd name="T83" fmla="*/ 174 h 262"/>
                <a:gd name="T84" fmla="*/ 254 w 286"/>
                <a:gd name="T85" fmla="*/ 158 h 262"/>
                <a:gd name="T86" fmla="*/ 238 w 286"/>
                <a:gd name="T87" fmla="*/ 158 h 262"/>
                <a:gd name="T88" fmla="*/ 234 w 286"/>
                <a:gd name="T89" fmla="*/ 152 h 262"/>
                <a:gd name="T90" fmla="*/ 238 w 286"/>
                <a:gd name="T91" fmla="*/ 124 h 262"/>
                <a:gd name="T92" fmla="*/ 240 w 286"/>
                <a:gd name="T93" fmla="*/ 80 h 262"/>
                <a:gd name="T94" fmla="*/ 238 w 286"/>
                <a:gd name="T95" fmla="*/ 64 h 262"/>
                <a:gd name="T96" fmla="*/ 214 w 286"/>
                <a:gd name="T97" fmla="*/ 52 h 262"/>
                <a:gd name="T98" fmla="*/ 192 w 286"/>
                <a:gd name="T99" fmla="*/ 40 h 262"/>
                <a:gd name="T100" fmla="*/ 162 w 286"/>
                <a:gd name="T101" fmla="*/ 34 h 262"/>
                <a:gd name="T102" fmla="*/ 154 w 286"/>
                <a:gd name="T103" fmla="*/ 36 h 262"/>
                <a:gd name="T104" fmla="*/ 146 w 286"/>
                <a:gd name="T105" fmla="*/ 48 h 262"/>
                <a:gd name="T106" fmla="*/ 120 w 286"/>
                <a:gd name="T107" fmla="*/ 58 h 262"/>
                <a:gd name="T108" fmla="*/ 110 w 286"/>
                <a:gd name="T109" fmla="*/ 66 h 262"/>
                <a:gd name="T110" fmla="*/ 90 w 286"/>
                <a:gd name="T111" fmla="*/ 60 h 262"/>
                <a:gd name="T112" fmla="*/ 66 w 286"/>
                <a:gd name="T113" fmla="*/ 42 h 262"/>
                <a:gd name="T114" fmla="*/ 60 w 286"/>
                <a:gd name="T115" fmla="*/ 18 h 262"/>
                <a:gd name="T116" fmla="*/ 54 w 286"/>
                <a:gd name="T117" fmla="*/ 2 h 262"/>
                <a:gd name="T118" fmla="*/ 46 w 286"/>
                <a:gd name="T119" fmla="*/ 8 h 262"/>
                <a:gd name="T120" fmla="*/ 42 w 286"/>
                <a:gd name="T121" fmla="*/ 20 h 262"/>
                <a:gd name="T122" fmla="*/ 26 w 286"/>
                <a:gd name="T123" fmla="*/ 20 h 262"/>
                <a:gd name="T124" fmla="*/ 10 w 286"/>
                <a:gd name="T125"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62">
                  <a:moveTo>
                    <a:pt x="4" y="0"/>
                  </a:moveTo>
                  <a:lnTo>
                    <a:pt x="4" y="0"/>
                  </a:lnTo>
                  <a:lnTo>
                    <a:pt x="4" y="0"/>
                  </a:lnTo>
                  <a:lnTo>
                    <a:pt x="2" y="2"/>
                  </a:lnTo>
                  <a:lnTo>
                    <a:pt x="0" y="4"/>
                  </a:lnTo>
                  <a:lnTo>
                    <a:pt x="0" y="4"/>
                  </a:lnTo>
                  <a:lnTo>
                    <a:pt x="0" y="6"/>
                  </a:lnTo>
                  <a:lnTo>
                    <a:pt x="0" y="6"/>
                  </a:lnTo>
                  <a:lnTo>
                    <a:pt x="0" y="8"/>
                  </a:lnTo>
                  <a:lnTo>
                    <a:pt x="0" y="10"/>
                  </a:lnTo>
                  <a:lnTo>
                    <a:pt x="0" y="10"/>
                  </a:lnTo>
                  <a:lnTo>
                    <a:pt x="0" y="12"/>
                  </a:lnTo>
                  <a:lnTo>
                    <a:pt x="2" y="16"/>
                  </a:lnTo>
                  <a:lnTo>
                    <a:pt x="4" y="20"/>
                  </a:lnTo>
                  <a:lnTo>
                    <a:pt x="4" y="22"/>
                  </a:lnTo>
                  <a:lnTo>
                    <a:pt x="6" y="24"/>
                  </a:lnTo>
                  <a:lnTo>
                    <a:pt x="8" y="28"/>
                  </a:lnTo>
                  <a:lnTo>
                    <a:pt x="10" y="34"/>
                  </a:lnTo>
                  <a:lnTo>
                    <a:pt x="12" y="40"/>
                  </a:lnTo>
                  <a:lnTo>
                    <a:pt x="12" y="42"/>
                  </a:lnTo>
                  <a:lnTo>
                    <a:pt x="14" y="44"/>
                  </a:lnTo>
                  <a:lnTo>
                    <a:pt x="14" y="46"/>
                  </a:lnTo>
                  <a:lnTo>
                    <a:pt x="14" y="48"/>
                  </a:lnTo>
                  <a:lnTo>
                    <a:pt x="16" y="54"/>
                  </a:lnTo>
                  <a:lnTo>
                    <a:pt x="16" y="62"/>
                  </a:lnTo>
                  <a:lnTo>
                    <a:pt x="16" y="64"/>
                  </a:lnTo>
                  <a:lnTo>
                    <a:pt x="18" y="68"/>
                  </a:lnTo>
                  <a:lnTo>
                    <a:pt x="18" y="70"/>
                  </a:lnTo>
                  <a:lnTo>
                    <a:pt x="18" y="72"/>
                  </a:lnTo>
                  <a:lnTo>
                    <a:pt x="18" y="72"/>
                  </a:lnTo>
                  <a:lnTo>
                    <a:pt x="18" y="74"/>
                  </a:lnTo>
                  <a:lnTo>
                    <a:pt x="20" y="74"/>
                  </a:lnTo>
                  <a:lnTo>
                    <a:pt x="20" y="74"/>
                  </a:lnTo>
                  <a:lnTo>
                    <a:pt x="20" y="74"/>
                  </a:lnTo>
                  <a:lnTo>
                    <a:pt x="22" y="76"/>
                  </a:lnTo>
                  <a:lnTo>
                    <a:pt x="22" y="76"/>
                  </a:lnTo>
                  <a:lnTo>
                    <a:pt x="24" y="76"/>
                  </a:lnTo>
                  <a:lnTo>
                    <a:pt x="26" y="76"/>
                  </a:lnTo>
                  <a:lnTo>
                    <a:pt x="30" y="76"/>
                  </a:lnTo>
                  <a:lnTo>
                    <a:pt x="32" y="76"/>
                  </a:lnTo>
                  <a:lnTo>
                    <a:pt x="32" y="76"/>
                  </a:lnTo>
                  <a:lnTo>
                    <a:pt x="32" y="76"/>
                  </a:lnTo>
                  <a:lnTo>
                    <a:pt x="34" y="76"/>
                  </a:lnTo>
                  <a:lnTo>
                    <a:pt x="34" y="76"/>
                  </a:lnTo>
                  <a:lnTo>
                    <a:pt x="34" y="78"/>
                  </a:lnTo>
                  <a:lnTo>
                    <a:pt x="34" y="78"/>
                  </a:lnTo>
                  <a:lnTo>
                    <a:pt x="34" y="78"/>
                  </a:lnTo>
                  <a:lnTo>
                    <a:pt x="34" y="80"/>
                  </a:lnTo>
                  <a:lnTo>
                    <a:pt x="34" y="82"/>
                  </a:lnTo>
                  <a:lnTo>
                    <a:pt x="34" y="84"/>
                  </a:lnTo>
                  <a:lnTo>
                    <a:pt x="34" y="86"/>
                  </a:lnTo>
                  <a:lnTo>
                    <a:pt x="34" y="88"/>
                  </a:lnTo>
                  <a:lnTo>
                    <a:pt x="32" y="90"/>
                  </a:lnTo>
                  <a:lnTo>
                    <a:pt x="32" y="92"/>
                  </a:lnTo>
                  <a:lnTo>
                    <a:pt x="32" y="92"/>
                  </a:lnTo>
                  <a:lnTo>
                    <a:pt x="30" y="92"/>
                  </a:lnTo>
                  <a:lnTo>
                    <a:pt x="30" y="94"/>
                  </a:lnTo>
                  <a:lnTo>
                    <a:pt x="28" y="94"/>
                  </a:lnTo>
                  <a:lnTo>
                    <a:pt x="26" y="96"/>
                  </a:lnTo>
                  <a:lnTo>
                    <a:pt x="24" y="96"/>
                  </a:lnTo>
                  <a:lnTo>
                    <a:pt x="24" y="98"/>
                  </a:lnTo>
                  <a:lnTo>
                    <a:pt x="22" y="98"/>
                  </a:lnTo>
                  <a:lnTo>
                    <a:pt x="22" y="98"/>
                  </a:lnTo>
                  <a:lnTo>
                    <a:pt x="22" y="100"/>
                  </a:lnTo>
                  <a:lnTo>
                    <a:pt x="22" y="100"/>
                  </a:lnTo>
                  <a:lnTo>
                    <a:pt x="20" y="102"/>
                  </a:lnTo>
                  <a:lnTo>
                    <a:pt x="20" y="104"/>
                  </a:lnTo>
                  <a:lnTo>
                    <a:pt x="20" y="106"/>
                  </a:lnTo>
                  <a:lnTo>
                    <a:pt x="20" y="110"/>
                  </a:lnTo>
                  <a:lnTo>
                    <a:pt x="20" y="112"/>
                  </a:lnTo>
                  <a:lnTo>
                    <a:pt x="22" y="114"/>
                  </a:lnTo>
                  <a:lnTo>
                    <a:pt x="22" y="114"/>
                  </a:lnTo>
                  <a:lnTo>
                    <a:pt x="22" y="114"/>
                  </a:lnTo>
                  <a:lnTo>
                    <a:pt x="22" y="114"/>
                  </a:lnTo>
                  <a:lnTo>
                    <a:pt x="22" y="116"/>
                  </a:lnTo>
                  <a:lnTo>
                    <a:pt x="24" y="116"/>
                  </a:lnTo>
                  <a:lnTo>
                    <a:pt x="24" y="116"/>
                  </a:lnTo>
                  <a:lnTo>
                    <a:pt x="26" y="116"/>
                  </a:lnTo>
                  <a:lnTo>
                    <a:pt x="28" y="118"/>
                  </a:lnTo>
                  <a:lnTo>
                    <a:pt x="30" y="118"/>
                  </a:lnTo>
                  <a:lnTo>
                    <a:pt x="32" y="118"/>
                  </a:lnTo>
                  <a:lnTo>
                    <a:pt x="34" y="120"/>
                  </a:lnTo>
                  <a:lnTo>
                    <a:pt x="34" y="120"/>
                  </a:lnTo>
                  <a:lnTo>
                    <a:pt x="36" y="120"/>
                  </a:lnTo>
                  <a:lnTo>
                    <a:pt x="36" y="122"/>
                  </a:lnTo>
                  <a:lnTo>
                    <a:pt x="36" y="122"/>
                  </a:lnTo>
                  <a:lnTo>
                    <a:pt x="36" y="124"/>
                  </a:lnTo>
                  <a:lnTo>
                    <a:pt x="36" y="126"/>
                  </a:lnTo>
                  <a:lnTo>
                    <a:pt x="36" y="126"/>
                  </a:lnTo>
                  <a:lnTo>
                    <a:pt x="36" y="128"/>
                  </a:lnTo>
                  <a:lnTo>
                    <a:pt x="36" y="130"/>
                  </a:lnTo>
                  <a:lnTo>
                    <a:pt x="38" y="132"/>
                  </a:lnTo>
                  <a:lnTo>
                    <a:pt x="38" y="132"/>
                  </a:lnTo>
                  <a:lnTo>
                    <a:pt x="38" y="134"/>
                  </a:lnTo>
                  <a:lnTo>
                    <a:pt x="38" y="134"/>
                  </a:lnTo>
                  <a:lnTo>
                    <a:pt x="40" y="134"/>
                  </a:lnTo>
                  <a:lnTo>
                    <a:pt x="42" y="134"/>
                  </a:lnTo>
                  <a:lnTo>
                    <a:pt x="42" y="136"/>
                  </a:lnTo>
                  <a:lnTo>
                    <a:pt x="46" y="136"/>
                  </a:lnTo>
                  <a:lnTo>
                    <a:pt x="48" y="136"/>
                  </a:lnTo>
                  <a:lnTo>
                    <a:pt x="50" y="136"/>
                  </a:lnTo>
                  <a:lnTo>
                    <a:pt x="50" y="136"/>
                  </a:lnTo>
                  <a:lnTo>
                    <a:pt x="54" y="134"/>
                  </a:lnTo>
                  <a:lnTo>
                    <a:pt x="54" y="134"/>
                  </a:lnTo>
                  <a:lnTo>
                    <a:pt x="56" y="134"/>
                  </a:lnTo>
                  <a:lnTo>
                    <a:pt x="58" y="132"/>
                  </a:lnTo>
                  <a:lnTo>
                    <a:pt x="58" y="132"/>
                  </a:lnTo>
                  <a:lnTo>
                    <a:pt x="58" y="134"/>
                  </a:lnTo>
                  <a:lnTo>
                    <a:pt x="58" y="134"/>
                  </a:lnTo>
                  <a:lnTo>
                    <a:pt x="60" y="134"/>
                  </a:lnTo>
                  <a:lnTo>
                    <a:pt x="60" y="136"/>
                  </a:lnTo>
                  <a:lnTo>
                    <a:pt x="60" y="138"/>
                  </a:lnTo>
                  <a:lnTo>
                    <a:pt x="60" y="138"/>
                  </a:lnTo>
                  <a:lnTo>
                    <a:pt x="60" y="140"/>
                  </a:lnTo>
                  <a:lnTo>
                    <a:pt x="60" y="142"/>
                  </a:lnTo>
                  <a:lnTo>
                    <a:pt x="60" y="146"/>
                  </a:lnTo>
                  <a:lnTo>
                    <a:pt x="60" y="146"/>
                  </a:lnTo>
                  <a:lnTo>
                    <a:pt x="60" y="148"/>
                  </a:lnTo>
                  <a:lnTo>
                    <a:pt x="60" y="148"/>
                  </a:lnTo>
                  <a:lnTo>
                    <a:pt x="58" y="152"/>
                  </a:lnTo>
                  <a:lnTo>
                    <a:pt x="56" y="154"/>
                  </a:lnTo>
                  <a:lnTo>
                    <a:pt x="56" y="156"/>
                  </a:lnTo>
                  <a:lnTo>
                    <a:pt x="56" y="158"/>
                  </a:lnTo>
                  <a:lnTo>
                    <a:pt x="56" y="158"/>
                  </a:lnTo>
                  <a:lnTo>
                    <a:pt x="56" y="160"/>
                  </a:lnTo>
                  <a:lnTo>
                    <a:pt x="56" y="160"/>
                  </a:lnTo>
                  <a:lnTo>
                    <a:pt x="56" y="160"/>
                  </a:lnTo>
                  <a:lnTo>
                    <a:pt x="56" y="160"/>
                  </a:lnTo>
                  <a:lnTo>
                    <a:pt x="58" y="160"/>
                  </a:lnTo>
                  <a:lnTo>
                    <a:pt x="58" y="162"/>
                  </a:lnTo>
                  <a:lnTo>
                    <a:pt x="60" y="162"/>
                  </a:lnTo>
                  <a:lnTo>
                    <a:pt x="62" y="162"/>
                  </a:lnTo>
                  <a:lnTo>
                    <a:pt x="62" y="162"/>
                  </a:lnTo>
                  <a:lnTo>
                    <a:pt x="64" y="162"/>
                  </a:lnTo>
                  <a:lnTo>
                    <a:pt x="64" y="164"/>
                  </a:lnTo>
                  <a:lnTo>
                    <a:pt x="64" y="164"/>
                  </a:lnTo>
                  <a:lnTo>
                    <a:pt x="64" y="164"/>
                  </a:lnTo>
                  <a:lnTo>
                    <a:pt x="64" y="164"/>
                  </a:lnTo>
                  <a:lnTo>
                    <a:pt x="66" y="166"/>
                  </a:lnTo>
                  <a:lnTo>
                    <a:pt x="66" y="170"/>
                  </a:lnTo>
                  <a:lnTo>
                    <a:pt x="66" y="172"/>
                  </a:lnTo>
                  <a:lnTo>
                    <a:pt x="66" y="176"/>
                  </a:lnTo>
                  <a:lnTo>
                    <a:pt x="66" y="178"/>
                  </a:lnTo>
                  <a:lnTo>
                    <a:pt x="66" y="178"/>
                  </a:lnTo>
                  <a:lnTo>
                    <a:pt x="68" y="180"/>
                  </a:lnTo>
                  <a:lnTo>
                    <a:pt x="68" y="182"/>
                  </a:lnTo>
                  <a:lnTo>
                    <a:pt x="70" y="182"/>
                  </a:lnTo>
                  <a:lnTo>
                    <a:pt x="72" y="184"/>
                  </a:lnTo>
                  <a:lnTo>
                    <a:pt x="72" y="184"/>
                  </a:lnTo>
                  <a:lnTo>
                    <a:pt x="74" y="184"/>
                  </a:lnTo>
                  <a:lnTo>
                    <a:pt x="76" y="184"/>
                  </a:lnTo>
                  <a:lnTo>
                    <a:pt x="78" y="184"/>
                  </a:lnTo>
                  <a:lnTo>
                    <a:pt x="78" y="184"/>
                  </a:lnTo>
                  <a:lnTo>
                    <a:pt x="82" y="184"/>
                  </a:lnTo>
                  <a:lnTo>
                    <a:pt x="84" y="182"/>
                  </a:lnTo>
                  <a:lnTo>
                    <a:pt x="84" y="182"/>
                  </a:lnTo>
                  <a:lnTo>
                    <a:pt x="86" y="182"/>
                  </a:lnTo>
                  <a:lnTo>
                    <a:pt x="86" y="182"/>
                  </a:lnTo>
                  <a:lnTo>
                    <a:pt x="86" y="180"/>
                  </a:lnTo>
                  <a:lnTo>
                    <a:pt x="86" y="180"/>
                  </a:lnTo>
                  <a:lnTo>
                    <a:pt x="86" y="178"/>
                  </a:lnTo>
                  <a:lnTo>
                    <a:pt x="86" y="176"/>
                  </a:lnTo>
                  <a:lnTo>
                    <a:pt x="86" y="176"/>
                  </a:lnTo>
                  <a:lnTo>
                    <a:pt x="86" y="176"/>
                  </a:lnTo>
                  <a:lnTo>
                    <a:pt x="86" y="174"/>
                  </a:lnTo>
                  <a:lnTo>
                    <a:pt x="86" y="174"/>
                  </a:lnTo>
                  <a:lnTo>
                    <a:pt x="88" y="174"/>
                  </a:lnTo>
                  <a:lnTo>
                    <a:pt x="88" y="176"/>
                  </a:lnTo>
                  <a:lnTo>
                    <a:pt x="88" y="176"/>
                  </a:lnTo>
                  <a:lnTo>
                    <a:pt x="90" y="176"/>
                  </a:lnTo>
                  <a:lnTo>
                    <a:pt x="90" y="176"/>
                  </a:lnTo>
                  <a:lnTo>
                    <a:pt x="90" y="178"/>
                  </a:lnTo>
                  <a:lnTo>
                    <a:pt x="92" y="180"/>
                  </a:lnTo>
                  <a:lnTo>
                    <a:pt x="92" y="182"/>
                  </a:lnTo>
                  <a:lnTo>
                    <a:pt x="94" y="184"/>
                  </a:lnTo>
                  <a:lnTo>
                    <a:pt x="94" y="188"/>
                  </a:lnTo>
                  <a:lnTo>
                    <a:pt x="94" y="190"/>
                  </a:lnTo>
                  <a:lnTo>
                    <a:pt x="94" y="190"/>
                  </a:lnTo>
                  <a:lnTo>
                    <a:pt x="96" y="194"/>
                  </a:lnTo>
                  <a:lnTo>
                    <a:pt x="96" y="200"/>
                  </a:lnTo>
                  <a:lnTo>
                    <a:pt x="96" y="202"/>
                  </a:lnTo>
                  <a:lnTo>
                    <a:pt x="96" y="204"/>
                  </a:lnTo>
                  <a:lnTo>
                    <a:pt x="96" y="206"/>
                  </a:lnTo>
                  <a:lnTo>
                    <a:pt x="98" y="208"/>
                  </a:lnTo>
                  <a:lnTo>
                    <a:pt x="98" y="208"/>
                  </a:lnTo>
                  <a:lnTo>
                    <a:pt x="98" y="208"/>
                  </a:lnTo>
                  <a:lnTo>
                    <a:pt x="98" y="210"/>
                  </a:lnTo>
                  <a:lnTo>
                    <a:pt x="100" y="210"/>
                  </a:lnTo>
                  <a:lnTo>
                    <a:pt x="100" y="210"/>
                  </a:lnTo>
                  <a:lnTo>
                    <a:pt x="102" y="210"/>
                  </a:lnTo>
                  <a:lnTo>
                    <a:pt x="104" y="210"/>
                  </a:lnTo>
                  <a:lnTo>
                    <a:pt x="106" y="210"/>
                  </a:lnTo>
                  <a:lnTo>
                    <a:pt x="108" y="212"/>
                  </a:lnTo>
                  <a:lnTo>
                    <a:pt x="110" y="212"/>
                  </a:lnTo>
                  <a:lnTo>
                    <a:pt x="110" y="212"/>
                  </a:lnTo>
                  <a:lnTo>
                    <a:pt x="110" y="212"/>
                  </a:lnTo>
                  <a:lnTo>
                    <a:pt x="110" y="212"/>
                  </a:lnTo>
                  <a:lnTo>
                    <a:pt x="110" y="214"/>
                  </a:lnTo>
                  <a:lnTo>
                    <a:pt x="112" y="214"/>
                  </a:lnTo>
                  <a:lnTo>
                    <a:pt x="110" y="214"/>
                  </a:lnTo>
                  <a:lnTo>
                    <a:pt x="110" y="216"/>
                  </a:lnTo>
                  <a:lnTo>
                    <a:pt x="110" y="218"/>
                  </a:lnTo>
                  <a:lnTo>
                    <a:pt x="110" y="218"/>
                  </a:lnTo>
                  <a:lnTo>
                    <a:pt x="110" y="220"/>
                  </a:lnTo>
                  <a:lnTo>
                    <a:pt x="110" y="220"/>
                  </a:lnTo>
                  <a:lnTo>
                    <a:pt x="110" y="222"/>
                  </a:lnTo>
                  <a:lnTo>
                    <a:pt x="110" y="222"/>
                  </a:lnTo>
                  <a:lnTo>
                    <a:pt x="110" y="222"/>
                  </a:lnTo>
                  <a:lnTo>
                    <a:pt x="110" y="222"/>
                  </a:lnTo>
                  <a:lnTo>
                    <a:pt x="112" y="222"/>
                  </a:lnTo>
                  <a:lnTo>
                    <a:pt x="112" y="222"/>
                  </a:lnTo>
                  <a:lnTo>
                    <a:pt x="114" y="222"/>
                  </a:lnTo>
                  <a:lnTo>
                    <a:pt x="116" y="222"/>
                  </a:lnTo>
                  <a:lnTo>
                    <a:pt x="118" y="222"/>
                  </a:lnTo>
                  <a:lnTo>
                    <a:pt x="120" y="222"/>
                  </a:lnTo>
                  <a:lnTo>
                    <a:pt x="120" y="222"/>
                  </a:lnTo>
                  <a:lnTo>
                    <a:pt x="122" y="222"/>
                  </a:lnTo>
                  <a:lnTo>
                    <a:pt x="122" y="222"/>
                  </a:lnTo>
                  <a:lnTo>
                    <a:pt x="122" y="224"/>
                  </a:lnTo>
                  <a:lnTo>
                    <a:pt x="122" y="224"/>
                  </a:lnTo>
                  <a:lnTo>
                    <a:pt x="124" y="224"/>
                  </a:lnTo>
                  <a:lnTo>
                    <a:pt x="124" y="226"/>
                  </a:lnTo>
                  <a:lnTo>
                    <a:pt x="126" y="228"/>
                  </a:lnTo>
                  <a:lnTo>
                    <a:pt x="126" y="230"/>
                  </a:lnTo>
                  <a:lnTo>
                    <a:pt x="128" y="232"/>
                  </a:lnTo>
                  <a:lnTo>
                    <a:pt x="128" y="234"/>
                  </a:lnTo>
                  <a:lnTo>
                    <a:pt x="128" y="234"/>
                  </a:lnTo>
                  <a:lnTo>
                    <a:pt x="130" y="234"/>
                  </a:lnTo>
                  <a:lnTo>
                    <a:pt x="132" y="236"/>
                  </a:lnTo>
                  <a:lnTo>
                    <a:pt x="134" y="236"/>
                  </a:lnTo>
                  <a:lnTo>
                    <a:pt x="136" y="236"/>
                  </a:lnTo>
                  <a:lnTo>
                    <a:pt x="140" y="238"/>
                  </a:lnTo>
                  <a:lnTo>
                    <a:pt x="142" y="238"/>
                  </a:lnTo>
                  <a:lnTo>
                    <a:pt x="146" y="238"/>
                  </a:lnTo>
                  <a:lnTo>
                    <a:pt x="148" y="238"/>
                  </a:lnTo>
                  <a:lnTo>
                    <a:pt x="152" y="240"/>
                  </a:lnTo>
                  <a:lnTo>
                    <a:pt x="154" y="240"/>
                  </a:lnTo>
                  <a:lnTo>
                    <a:pt x="158" y="240"/>
                  </a:lnTo>
                  <a:lnTo>
                    <a:pt x="162" y="240"/>
                  </a:lnTo>
                  <a:lnTo>
                    <a:pt x="164" y="240"/>
                  </a:lnTo>
                  <a:lnTo>
                    <a:pt x="166" y="238"/>
                  </a:lnTo>
                  <a:lnTo>
                    <a:pt x="170" y="238"/>
                  </a:lnTo>
                  <a:lnTo>
                    <a:pt x="172" y="238"/>
                  </a:lnTo>
                  <a:lnTo>
                    <a:pt x="174" y="236"/>
                  </a:lnTo>
                  <a:lnTo>
                    <a:pt x="174" y="236"/>
                  </a:lnTo>
                  <a:lnTo>
                    <a:pt x="174" y="236"/>
                  </a:lnTo>
                  <a:lnTo>
                    <a:pt x="176" y="234"/>
                  </a:lnTo>
                  <a:lnTo>
                    <a:pt x="176" y="232"/>
                  </a:lnTo>
                  <a:lnTo>
                    <a:pt x="176" y="230"/>
                  </a:lnTo>
                  <a:lnTo>
                    <a:pt x="178" y="228"/>
                  </a:lnTo>
                  <a:lnTo>
                    <a:pt x="178" y="228"/>
                  </a:lnTo>
                  <a:lnTo>
                    <a:pt x="178" y="226"/>
                  </a:lnTo>
                  <a:lnTo>
                    <a:pt x="178" y="226"/>
                  </a:lnTo>
                  <a:lnTo>
                    <a:pt x="180" y="226"/>
                  </a:lnTo>
                  <a:lnTo>
                    <a:pt x="180" y="226"/>
                  </a:lnTo>
                  <a:lnTo>
                    <a:pt x="180" y="224"/>
                  </a:lnTo>
                  <a:lnTo>
                    <a:pt x="182" y="226"/>
                  </a:lnTo>
                  <a:lnTo>
                    <a:pt x="184" y="226"/>
                  </a:lnTo>
                  <a:lnTo>
                    <a:pt x="184" y="226"/>
                  </a:lnTo>
                  <a:lnTo>
                    <a:pt x="186" y="226"/>
                  </a:lnTo>
                  <a:lnTo>
                    <a:pt x="186" y="228"/>
                  </a:lnTo>
                  <a:lnTo>
                    <a:pt x="188" y="228"/>
                  </a:lnTo>
                  <a:lnTo>
                    <a:pt x="188" y="228"/>
                  </a:lnTo>
                  <a:lnTo>
                    <a:pt x="190" y="230"/>
                  </a:lnTo>
                  <a:lnTo>
                    <a:pt x="190" y="230"/>
                  </a:lnTo>
                  <a:lnTo>
                    <a:pt x="190" y="232"/>
                  </a:lnTo>
                  <a:lnTo>
                    <a:pt x="190" y="234"/>
                  </a:lnTo>
                  <a:lnTo>
                    <a:pt x="190" y="236"/>
                  </a:lnTo>
                  <a:lnTo>
                    <a:pt x="192" y="240"/>
                  </a:lnTo>
                  <a:lnTo>
                    <a:pt x="192" y="244"/>
                  </a:lnTo>
                  <a:lnTo>
                    <a:pt x="192" y="246"/>
                  </a:lnTo>
                  <a:lnTo>
                    <a:pt x="192" y="248"/>
                  </a:lnTo>
                  <a:lnTo>
                    <a:pt x="192" y="250"/>
                  </a:lnTo>
                  <a:lnTo>
                    <a:pt x="192" y="250"/>
                  </a:lnTo>
                  <a:lnTo>
                    <a:pt x="194" y="252"/>
                  </a:lnTo>
                  <a:lnTo>
                    <a:pt x="194" y="254"/>
                  </a:lnTo>
                  <a:lnTo>
                    <a:pt x="196" y="254"/>
                  </a:lnTo>
                  <a:lnTo>
                    <a:pt x="198" y="256"/>
                  </a:lnTo>
                  <a:lnTo>
                    <a:pt x="200" y="258"/>
                  </a:lnTo>
                  <a:lnTo>
                    <a:pt x="202" y="258"/>
                  </a:lnTo>
                  <a:lnTo>
                    <a:pt x="204" y="260"/>
                  </a:lnTo>
                  <a:lnTo>
                    <a:pt x="206" y="262"/>
                  </a:lnTo>
                  <a:lnTo>
                    <a:pt x="208" y="262"/>
                  </a:lnTo>
                  <a:lnTo>
                    <a:pt x="210" y="262"/>
                  </a:lnTo>
                  <a:lnTo>
                    <a:pt x="214" y="262"/>
                  </a:lnTo>
                  <a:lnTo>
                    <a:pt x="216" y="262"/>
                  </a:lnTo>
                  <a:lnTo>
                    <a:pt x="218" y="262"/>
                  </a:lnTo>
                  <a:lnTo>
                    <a:pt x="224" y="262"/>
                  </a:lnTo>
                  <a:lnTo>
                    <a:pt x="230" y="262"/>
                  </a:lnTo>
                  <a:lnTo>
                    <a:pt x="236" y="260"/>
                  </a:lnTo>
                  <a:lnTo>
                    <a:pt x="242" y="260"/>
                  </a:lnTo>
                  <a:lnTo>
                    <a:pt x="246" y="260"/>
                  </a:lnTo>
                  <a:lnTo>
                    <a:pt x="248" y="260"/>
                  </a:lnTo>
                  <a:lnTo>
                    <a:pt x="250" y="260"/>
                  </a:lnTo>
                  <a:lnTo>
                    <a:pt x="252" y="260"/>
                  </a:lnTo>
                  <a:lnTo>
                    <a:pt x="254" y="260"/>
                  </a:lnTo>
                  <a:lnTo>
                    <a:pt x="254" y="260"/>
                  </a:lnTo>
                  <a:lnTo>
                    <a:pt x="258" y="260"/>
                  </a:lnTo>
                  <a:lnTo>
                    <a:pt x="258" y="262"/>
                  </a:lnTo>
                  <a:lnTo>
                    <a:pt x="260" y="262"/>
                  </a:lnTo>
                  <a:lnTo>
                    <a:pt x="260" y="262"/>
                  </a:lnTo>
                  <a:lnTo>
                    <a:pt x="260" y="262"/>
                  </a:lnTo>
                  <a:lnTo>
                    <a:pt x="262" y="262"/>
                  </a:lnTo>
                  <a:lnTo>
                    <a:pt x="262" y="262"/>
                  </a:lnTo>
                  <a:lnTo>
                    <a:pt x="262" y="260"/>
                  </a:lnTo>
                  <a:lnTo>
                    <a:pt x="262" y="260"/>
                  </a:lnTo>
                  <a:lnTo>
                    <a:pt x="264" y="258"/>
                  </a:lnTo>
                  <a:lnTo>
                    <a:pt x="264" y="256"/>
                  </a:lnTo>
                  <a:lnTo>
                    <a:pt x="264" y="254"/>
                  </a:lnTo>
                  <a:lnTo>
                    <a:pt x="264" y="252"/>
                  </a:lnTo>
                  <a:lnTo>
                    <a:pt x="264" y="250"/>
                  </a:lnTo>
                  <a:lnTo>
                    <a:pt x="266" y="248"/>
                  </a:lnTo>
                  <a:lnTo>
                    <a:pt x="266" y="248"/>
                  </a:lnTo>
                  <a:lnTo>
                    <a:pt x="270" y="246"/>
                  </a:lnTo>
                  <a:lnTo>
                    <a:pt x="274" y="246"/>
                  </a:lnTo>
                  <a:lnTo>
                    <a:pt x="276" y="244"/>
                  </a:lnTo>
                  <a:lnTo>
                    <a:pt x="276" y="244"/>
                  </a:lnTo>
                  <a:lnTo>
                    <a:pt x="278" y="244"/>
                  </a:lnTo>
                  <a:lnTo>
                    <a:pt x="280" y="242"/>
                  </a:lnTo>
                  <a:lnTo>
                    <a:pt x="280" y="240"/>
                  </a:lnTo>
                  <a:lnTo>
                    <a:pt x="282" y="238"/>
                  </a:lnTo>
                  <a:lnTo>
                    <a:pt x="284" y="238"/>
                  </a:lnTo>
                  <a:lnTo>
                    <a:pt x="284" y="236"/>
                  </a:lnTo>
                  <a:lnTo>
                    <a:pt x="284" y="234"/>
                  </a:lnTo>
                  <a:lnTo>
                    <a:pt x="286" y="234"/>
                  </a:lnTo>
                  <a:lnTo>
                    <a:pt x="286" y="232"/>
                  </a:lnTo>
                  <a:lnTo>
                    <a:pt x="286" y="232"/>
                  </a:lnTo>
                  <a:lnTo>
                    <a:pt x="284" y="230"/>
                  </a:lnTo>
                  <a:lnTo>
                    <a:pt x="284" y="230"/>
                  </a:lnTo>
                  <a:lnTo>
                    <a:pt x="284" y="228"/>
                  </a:lnTo>
                  <a:lnTo>
                    <a:pt x="282" y="226"/>
                  </a:lnTo>
                  <a:lnTo>
                    <a:pt x="282" y="226"/>
                  </a:lnTo>
                  <a:lnTo>
                    <a:pt x="280" y="224"/>
                  </a:lnTo>
                  <a:lnTo>
                    <a:pt x="280" y="224"/>
                  </a:lnTo>
                  <a:lnTo>
                    <a:pt x="280" y="224"/>
                  </a:lnTo>
                  <a:lnTo>
                    <a:pt x="280" y="224"/>
                  </a:lnTo>
                  <a:lnTo>
                    <a:pt x="278" y="224"/>
                  </a:lnTo>
                  <a:lnTo>
                    <a:pt x="276" y="224"/>
                  </a:lnTo>
                  <a:lnTo>
                    <a:pt x="274" y="224"/>
                  </a:lnTo>
                  <a:lnTo>
                    <a:pt x="272" y="224"/>
                  </a:lnTo>
                  <a:lnTo>
                    <a:pt x="272" y="224"/>
                  </a:lnTo>
                  <a:lnTo>
                    <a:pt x="270" y="224"/>
                  </a:lnTo>
                  <a:lnTo>
                    <a:pt x="270" y="222"/>
                  </a:lnTo>
                  <a:lnTo>
                    <a:pt x="268" y="222"/>
                  </a:lnTo>
                  <a:lnTo>
                    <a:pt x="268" y="222"/>
                  </a:lnTo>
                  <a:lnTo>
                    <a:pt x="268" y="222"/>
                  </a:lnTo>
                  <a:lnTo>
                    <a:pt x="268" y="220"/>
                  </a:lnTo>
                  <a:lnTo>
                    <a:pt x="266" y="218"/>
                  </a:lnTo>
                  <a:lnTo>
                    <a:pt x="266" y="216"/>
                  </a:lnTo>
                  <a:lnTo>
                    <a:pt x="266" y="214"/>
                  </a:lnTo>
                  <a:lnTo>
                    <a:pt x="266" y="210"/>
                  </a:lnTo>
                  <a:lnTo>
                    <a:pt x="266" y="208"/>
                  </a:lnTo>
                  <a:lnTo>
                    <a:pt x="266" y="206"/>
                  </a:lnTo>
                  <a:lnTo>
                    <a:pt x="262" y="206"/>
                  </a:lnTo>
                  <a:lnTo>
                    <a:pt x="260" y="204"/>
                  </a:lnTo>
                  <a:lnTo>
                    <a:pt x="258" y="204"/>
                  </a:lnTo>
                  <a:lnTo>
                    <a:pt x="254" y="202"/>
                  </a:lnTo>
                  <a:lnTo>
                    <a:pt x="252" y="202"/>
                  </a:lnTo>
                  <a:lnTo>
                    <a:pt x="252" y="200"/>
                  </a:lnTo>
                  <a:lnTo>
                    <a:pt x="250" y="200"/>
                  </a:lnTo>
                  <a:lnTo>
                    <a:pt x="250" y="200"/>
                  </a:lnTo>
                  <a:lnTo>
                    <a:pt x="248" y="198"/>
                  </a:lnTo>
                  <a:lnTo>
                    <a:pt x="248" y="198"/>
                  </a:lnTo>
                  <a:lnTo>
                    <a:pt x="248" y="198"/>
                  </a:lnTo>
                  <a:lnTo>
                    <a:pt x="248" y="196"/>
                  </a:lnTo>
                  <a:lnTo>
                    <a:pt x="248" y="194"/>
                  </a:lnTo>
                  <a:lnTo>
                    <a:pt x="248" y="192"/>
                  </a:lnTo>
                  <a:lnTo>
                    <a:pt x="248" y="190"/>
                  </a:lnTo>
                  <a:lnTo>
                    <a:pt x="250" y="188"/>
                  </a:lnTo>
                  <a:lnTo>
                    <a:pt x="250" y="184"/>
                  </a:lnTo>
                  <a:lnTo>
                    <a:pt x="250" y="184"/>
                  </a:lnTo>
                  <a:lnTo>
                    <a:pt x="252" y="182"/>
                  </a:lnTo>
                  <a:lnTo>
                    <a:pt x="254" y="180"/>
                  </a:lnTo>
                  <a:lnTo>
                    <a:pt x="256" y="178"/>
                  </a:lnTo>
                  <a:lnTo>
                    <a:pt x="256" y="178"/>
                  </a:lnTo>
                  <a:lnTo>
                    <a:pt x="258" y="176"/>
                  </a:lnTo>
                  <a:lnTo>
                    <a:pt x="258" y="176"/>
                  </a:lnTo>
                  <a:lnTo>
                    <a:pt x="258" y="174"/>
                  </a:lnTo>
                  <a:lnTo>
                    <a:pt x="258" y="172"/>
                  </a:lnTo>
                  <a:lnTo>
                    <a:pt x="258" y="170"/>
                  </a:lnTo>
                  <a:lnTo>
                    <a:pt x="258" y="168"/>
                  </a:lnTo>
                  <a:lnTo>
                    <a:pt x="256" y="166"/>
                  </a:lnTo>
                  <a:lnTo>
                    <a:pt x="256" y="162"/>
                  </a:lnTo>
                  <a:lnTo>
                    <a:pt x="256" y="160"/>
                  </a:lnTo>
                  <a:lnTo>
                    <a:pt x="254" y="160"/>
                  </a:lnTo>
                  <a:lnTo>
                    <a:pt x="254" y="158"/>
                  </a:lnTo>
                  <a:lnTo>
                    <a:pt x="254" y="158"/>
                  </a:lnTo>
                  <a:lnTo>
                    <a:pt x="252" y="158"/>
                  </a:lnTo>
                  <a:lnTo>
                    <a:pt x="252" y="156"/>
                  </a:lnTo>
                  <a:lnTo>
                    <a:pt x="250" y="156"/>
                  </a:lnTo>
                  <a:lnTo>
                    <a:pt x="250" y="156"/>
                  </a:lnTo>
                  <a:lnTo>
                    <a:pt x="248" y="156"/>
                  </a:lnTo>
                  <a:lnTo>
                    <a:pt x="246" y="156"/>
                  </a:lnTo>
                  <a:lnTo>
                    <a:pt x="244" y="158"/>
                  </a:lnTo>
                  <a:lnTo>
                    <a:pt x="240" y="158"/>
                  </a:lnTo>
                  <a:lnTo>
                    <a:pt x="238" y="158"/>
                  </a:lnTo>
                  <a:lnTo>
                    <a:pt x="238" y="158"/>
                  </a:lnTo>
                  <a:lnTo>
                    <a:pt x="236" y="158"/>
                  </a:lnTo>
                  <a:lnTo>
                    <a:pt x="236" y="158"/>
                  </a:lnTo>
                  <a:lnTo>
                    <a:pt x="234" y="158"/>
                  </a:lnTo>
                  <a:lnTo>
                    <a:pt x="234" y="156"/>
                  </a:lnTo>
                  <a:lnTo>
                    <a:pt x="234" y="156"/>
                  </a:lnTo>
                  <a:lnTo>
                    <a:pt x="234" y="154"/>
                  </a:lnTo>
                  <a:lnTo>
                    <a:pt x="234" y="154"/>
                  </a:lnTo>
                  <a:lnTo>
                    <a:pt x="234" y="152"/>
                  </a:lnTo>
                  <a:lnTo>
                    <a:pt x="234" y="150"/>
                  </a:lnTo>
                  <a:lnTo>
                    <a:pt x="234" y="148"/>
                  </a:lnTo>
                  <a:lnTo>
                    <a:pt x="234" y="146"/>
                  </a:lnTo>
                  <a:lnTo>
                    <a:pt x="234" y="144"/>
                  </a:lnTo>
                  <a:lnTo>
                    <a:pt x="234" y="140"/>
                  </a:lnTo>
                  <a:lnTo>
                    <a:pt x="238" y="130"/>
                  </a:lnTo>
                  <a:lnTo>
                    <a:pt x="238" y="128"/>
                  </a:lnTo>
                  <a:lnTo>
                    <a:pt x="238" y="126"/>
                  </a:lnTo>
                  <a:lnTo>
                    <a:pt x="238" y="124"/>
                  </a:lnTo>
                  <a:lnTo>
                    <a:pt x="238" y="122"/>
                  </a:lnTo>
                  <a:lnTo>
                    <a:pt x="238" y="120"/>
                  </a:lnTo>
                  <a:lnTo>
                    <a:pt x="238" y="116"/>
                  </a:lnTo>
                  <a:lnTo>
                    <a:pt x="236" y="108"/>
                  </a:lnTo>
                  <a:lnTo>
                    <a:pt x="234" y="100"/>
                  </a:lnTo>
                  <a:lnTo>
                    <a:pt x="236" y="96"/>
                  </a:lnTo>
                  <a:lnTo>
                    <a:pt x="238" y="90"/>
                  </a:lnTo>
                  <a:lnTo>
                    <a:pt x="238" y="86"/>
                  </a:lnTo>
                  <a:lnTo>
                    <a:pt x="240" y="80"/>
                  </a:lnTo>
                  <a:lnTo>
                    <a:pt x="240" y="78"/>
                  </a:lnTo>
                  <a:lnTo>
                    <a:pt x="240" y="74"/>
                  </a:lnTo>
                  <a:lnTo>
                    <a:pt x="240" y="72"/>
                  </a:lnTo>
                  <a:lnTo>
                    <a:pt x="240" y="70"/>
                  </a:lnTo>
                  <a:lnTo>
                    <a:pt x="240" y="68"/>
                  </a:lnTo>
                  <a:lnTo>
                    <a:pt x="240" y="68"/>
                  </a:lnTo>
                  <a:lnTo>
                    <a:pt x="240" y="66"/>
                  </a:lnTo>
                  <a:lnTo>
                    <a:pt x="240" y="66"/>
                  </a:lnTo>
                  <a:lnTo>
                    <a:pt x="238" y="64"/>
                  </a:lnTo>
                  <a:lnTo>
                    <a:pt x="238" y="64"/>
                  </a:lnTo>
                  <a:lnTo>
                    <a:pt x="236" y="64"/>
                  </a:lnTo>
                  <a:lnTo>
                    <a:pt x="234" y="62"/>
                  </a:lnTo>
                  <a:lnTo>
                    <a:pt x="230" y="60"/>
                  </a:lnTo>
                  <a:lnTo>
                    <a:pt x="224" y="58"/>
                  </a:lnTo>
                  <a:lnTo>
                    <a:pt x="222" y="58"/>
                  </a:lnTo>
                  <a:lnTo>
                    <a:pt x="220" y="56"/>
                  </a:lnTo>
                  <a:lnTo>
                    <a:pt x="218" y="54"/>
                  </a:lnTo>
                  <a:lnTo>
                    <a:pt x="214" y="52"/>
                  </a:lnTo>
                  <a:lnTo>
                    <a:pt x="208" y="48"/>
                  </a:lnTo>
                  <a:lnTo>
                    <a:pt x="206" y="46"/>
                  </a:lnTo>
                  <a:lnTo>
                    <a:pt x="202" y="44"/>
                  </a:lnTo>
                  <a:lnTo>
                    <a:pt x="200" y="42"/>
                  </a:lnTo>
                  <a:lnTo>
                    <a:pt x="198" y="40"/>
                  </a:lnTo>
                  <a:lnTo>
                    <a:pt x="198" y="40"/>
                  </a:lnTo>
                  <a:lnTo>
                    <a:pt x="196" y="40"/>
                  </a:lnTo>
                  <a:lnTo>
                    <a:pt x="194" y="40"/>
                  </a:lnTo>
                  <a:lnTo>
                    <a:pt x="192" y="40"/>
                  </a:lnTo>
                  <a:lnTo>
                    <a:pt x="190" y="40"/>
                  </a:lnTo>
                  <a:lnTo>
                    <a:pt x="184" y="40"/>
                  </a:lnTo>
                  <a:lnTo>
                    <a:pt x="182" y="38"/>
                  </a:lnTo>
                  <a:lnTo>
                    <a:pt x="182" y="38"/>
                  </a:lnTo>
                  <a:lnTo>
                    <a:pt x="178" y="38"/>
                  </a:lnTo>
                  <a:lnTo>
                    <a:pt x="176" y="38"/>
                  </a:lnTo>
                  <a:lnTo>
                    <a:pt x="168" y="34"/>
                  </a:lnTo>
                  <a:lnTo>
                    <a:pt x="164" y="34"/>
                  </a:lnTo>
                  <a:lnTo>
                    <a:pt x="162" y="34"/>
                  </a:lnTo>
                  <a:lnTo>
                    <a:pt x="162" y="34"/>
                  </a:lnTo>
                  <a:lnTo>
                    <a:pt x="160" y="34"/>
                  </a:lnTo>
                  <a:lnTo>
                    <a:pt x="158" y="34"/>
                  </a:lnTo>
                  <a:lnTo>
                    <a:pt x="158" y="34"/>
                  </a:lnTo>
                  <a:lnTo>
                    <a:pt x="156" y="34"/>
                  </a:lnTo>
                  <a:lnTo>
                    <a:pt x="156" y="34"/>
                  </a:lnTo>
                  <a:lnTo>
                    <a:pt x="154" y="34"/>
                  </a:lnTo>
                  <a:lnTo>
                    <a:pt x="154" y="36"/>
                  </a:lnTo>
                  <a:lnTo>
                    <a:pt x="154" y="36"/>
                  </a:lnTo>
                  <a:lnTo>
                    <a:pt x="154" y="38"/>
                  </a:lnTo>
                  <a:lnTo>
                    <a:pt x="152" y="40"/>
                  </a:lnTo>
                  <a:lnTo>
                    <a:pt x="152" y="42"/>
                  </a:lnTo>
                  <a:lnTo>
                    <a:pt x="152" y="44"/>
                  </a:lnTo>
                  <a:lnTo>
                    <a:pt x="150" y="46"/>
                  </a:lnTo>
                  <a:lnTo>
                    <a:pt x="150" y="46"/>
                  </a:lnTo>
                  <a:lnTo>
                    <a:pt x="150" y="46"/>
                  </a:lnTo>
                  <a:lnTo>
                    <a:pt x="148" y="48"/>
                  </a:lnTo>
                  <a:lnTo>
                    <a:pt x="146" y="48"/>
                  </a:lnTo>
                  <a:lnTo>
                    <a:pt x="144" y="50"/>
                  </a:lnTo>
                  <a:lnTo>
                    <a:pt x="142" y="50"/>
                  </a:lnTo>
                  <a:lnTo>
                    <a:pt x="138" y="52"/>
                  </a:lnTo>
                  <a:lnTo>
                    <a:pt x="134" y="52"/>
                  </a:lnTo>
                  <a:lnTo>
                    <a:pt x="132" y="54"/>
                  </a:lnTo>
                  <a:lnTo>
                    <a:pt x="128" y="54"/>
                  </a:lnTo>
                  <a:lnTo>
                    <a:pt x="122" y="56"/>
                  </a:lnTo>
                  <a:lnTo>
                    <a:pt x="122" y="56"/>
                  </a:lnTo>
                  <a:lnTo>
                    <a:pt x="120" y="58"/>
                  </a:lnTo>
                  <a:lnTo>
                    <a:pt x="118" y="58"/>
                  </a:lnTo>
                  <a:lnTo>
                    <a:pt x="118" y="60"/>
                  </a:lnTo>
                  <a:lnTo>
                    <a:pt x="116" y="62"/>
                  </a:lnTo>
                  <a:lnTo>
                    <a:pt x="114" y="62"/>
                  </a:lnTo>
                  <a:lnTo>
                    <a:pt x="114" y="64"/>
                  </a:lnTo>
                  <a:lnTo>
                    <a:pt x="112" y="64"/>
                  </a:lnTo>
                  <a:lnTo>
                    <a:pt x="112" y="66"/>
                  </a:lnTo>
                  <a:lnTo>
                    <a:pt x="112" y="66"/>
                  </a:lnTo>
                  <a:lnTo>
                    <a:pt x="110" y="66"/>
                  </a:lnTo>
                  <a:lnTo>
                    <a:pt x="108" y="66"/>
                  </a:lnTo>
                  <a:lnTo>
                    <a:pt x="106" y="66"/>
                  </a:lnTo>
                  <a:lnTo>
                    <a:pt x="104" y="66"/>
                  </a:lnTo>
                  <a:lnTo>
                    <a:pt x="100" y="64"/>
                  </a:lnTo>
                  <a:lnTo>
                    <a:pt x="98" y="64"/>
                  </a:lnTo>
                  <a:lnTo>
                    <a:pt x="96" y="64"/>
                  </a:lnTo>
                  <a:lnTo>
                    <a:pt x="94" y="62"/>
                  </a:lnTo>
                  <a:lnTo>
                    <a:pt x="92" y="62"/>
                  </a:lnTo>
                  <a:lnTo>
                    <a:pt x="90" y="60"/>
                  </a:lnTo>
                  <a:lnTo>
                    <a:pt x="88" y="58"/>
                  </a:lnTo>
                  <a:lnTo>
                    <a:pt x="86" y="56"/>
                  </a:lnTo>
                  <a:lnTo>
                    <a:pt x="82" y="54"/>
                  </a:lnTo>
                  <a:lnTo>
                    <a:pt x="78" y="50"/>
                  </a:lnTo>
                  <a:lnTo>
                    <a:pt x="74" y="48"/>
                  </a:lnTo>
                  <a:lnTo>
                    <a:pt x="70" y="46"/>
                  </a:lnTo>
                  <a:lnTo>
                    <a:pt x="68" y="44"/>
                  </a:lnTo>
                  <a:lnTo>
                    <a:pt x="66" y="42"/>
                  </a:lnTo>
                  <a:lnTo>
                    <a:pt x="66" y="42"/>
                  </a:lnTo>
                  <a:lnTo>
                    <a:pt x="64" y="40"/>
                  </a:lnTo>
                  <a:lnTo>
                    <a:pt x="64" y="40"/>
                  </a:lnTo>
                  <a:lnTo>
                    <a:pt x="64" y="38"/>
                  </a:lnTo>
                  <a:lnTo>
                    <a:pt x="62" y="36"/>
                  </a:lnTo>
                  <a:lnTo>
                    <a:pt x="62" y="32"/>
                  </a:lnTo>
                  <a:lnTo>
                    <a:pt x="60" y="30"/>
                  </a:lnTo>
                  <a:lnTo>
                    <a:pt x="60" y="24"/>
                  </a:lnTo>
                  <a:lnTo>
                    <a:pt x="60" y="22"/>
                  </a:lnTo>
                  <a:lnTo>
                    <a:pt x="60" y="18"/>
                  </a:lnTo>
                  <a:lnTo>
                    <a:pt x="60" y="16"/>
                  </a:lnTo>
                  <a:lnTo>
                    <a:pt x="58" y="12"/>
                  </a:lnTo>
                  <a:lnTo>
                    <a:pt x="58" y="10"/>
                  </a:lnTo>
                  <a:lnTo>
                    <a:pt x="58" y="8"/>
                  </a:lnTo>
                  <a:lnTo>
                    <a:pt x="56" y="6"/>
                  </a:lnTo>
                  <a:lnTo>
                    <a:pt x="56" y="4"/>
                  </a:lnTo>
                  <a:lnTo>
                    <a:pt x="56" y="4"/>
                  </a:lnTo>
                  <a:lnTo>
                    <a:pt x="56" y="2"/>
                  </a:lnTo>
                  <a:lnTo>
                    <a:pt x="54" y="2"/>
                  </a:lnTo>
                  <a:lnTo>
                    <a:pt x="54" y="2"/>
                  </a:lnTo>
                  <a:lnTo>
                    <a:pt x="54" y="2"/>
                  </a:lnTo>
                  <a:lnTo>
                    <a:pt x="52" y="2"/>
                  </a:lnTo>
                  <a:lnTo>
                    <a:pt x="50" y="4"/>
                  </a:lnTo>
                  <a:lnTo>
                    <a:pt x="50" y="4"/>
                  </a:lnTo>
                  <a:lnTo>
                    <a:pt x="48" y="4"/>
                  </a:lnTo>
                  <a:lnTo>
                    <a:pt x="48" y="6"/>
                  </a:lnTo>
                  <a:lnTo>
                    <a:pt x="46" y="6"/>
                  </a:lnTo>
                  <a:lnTo>
                    <a:pt x="46" y="8"/>
                  </a:lnTo>
                  <a:lnTo>
                    <a:pt x="46" y="8"/>
                  </a:lnTo>
                  <a:lnTo>
                    <a:pt x="44" y="8"/>
                  </a:lnTo>
                  <a:lnTo>
                    <a:pt x="44" y="10"/>
                  </a:lnTo>
                  <a:lnTo>
                    <a:pt x="44" y="12"/>
                  </a:lnTo>
                  <a:lnTo>
                    <a:pt x="44" y="14"/>
                  </a:lnTo>
                  <a:lnTo>
                    <a:pt x="44" y="16"/>
                  </a:lnTo>
                  <a:lnTo>
                    <a:pt x="44" y="18"/>
                  </a:lnTo>
                  <a:lnTo>
                    <a:pt x="42" y="20"/>
                  </a:lnTo>
                  <a:lnTo>
                    <a:pt x="42" y="20"/>
                  </a:lnTo>
                  <a:lnTo>
                    <a:pt x="42" y="20"/>
                  </a:lnTo>
                  <a:lnTo>
                    <a:pt x="40" y="20"/>
                  </a:lnTo>
                  <a:lnTo>
                    <a:pt x="40" y="20"/>
                  </a:lnTo>
                  <a:lnTo>
                    <a:pt x="38" y="22"/>
                  </a:lnTo>
                  <a:lnTo>
                    <a:pt x="38" y="22"/>
                  </a:lnTo>
                  <a:lnTo>
                    <a:pt x="34" y="22"/>
                  </a:lnTo>
                  <a:lnTo>
                    <a:pt x="30" y="22"/>
                  </a:lnTo>
                  <a:lnTo>
                    <a:pt x="28" y="20"/>
                  </a:lnTo>
                  <a:lnTo>
                    <a:pt x="26" y="20"/>
                  </a:lnTo>
                  <a:lnTo>
                    <a:pt x="22" y="20"/>
                  </a:lnTo>
                  <a:lnTo>
                    <a:pt x="22" y="18"/>
                  </a:lnTo>
                  <a:lnTo>
                    <a:pt x="20" y="14"/>
                  </a:lnTo>
                  <a:lnTo>
                    <a:pt x="18" y="10"/>
                  </a:lnTo>
                  <a:lnTo>
                    <a:pt x="18" y="8"/>
                  </a:lnTo>
                  <a:lnTo>
                    <a:pt x="16" y="8"/>
                  </a:lnTo>
                  <a:lnTo>
                    <a:pt x="16" y="6"/>
                  </a:lnTo>
                  <a:lnTo>
                    <a:pt x="14" y="4"/>
                  </a:lnTo>
                  <a:lnTo>
                    <a:pt x="10" y="2"/>
                  </a:lnTo>
                  <a:lnTo>
                    <a:pt x="6" y="0"/>
                  </a:lnTo>
                  <a:lnTo>
                    <a:pt x="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89" name="Freeform 76"/>
            <p:cNvSpPr>
              <a:spLocks/>
            </p:cNvSpPr>
            <p:nvPr/>
          </p:nvSpPr>
          <p:spPr bwMode="auto">
            <a:xfrm>
              <a:off x="5336170" y="3451079"/>
              <a:ext cx="495373" cy="453804"/>
            </a:xfrm>
            <a:custGeom>
              <a:avLst/>
              <a:gdLst>
                <a:gd name="T0" fmla="*/ 0 w 286"/>
                <a:gd name="T1" fmla="*/ 8 h 262"/>
                <a:gd name="T2" fmla="*/ 10 w 286"/>
                <a:gd name="T3" fmla="*/ 34 h 262"/>
                <a:gd name="T4" fmla="*/ 18 w 286"/>
                <a:gd name="T5" fmla="*/ 68 h 262"/>
                <a:gd name="T6" fmla="*/ 22 w 286"/>
                <a:gd name="T7" fmla="*/ 76 h 262"/>
                <a:gd name="T8" fmla="*/ 34 w 286"/>
                <a:gd name="T9" fmla="*/ 78 h 262"/>
                <a:gd name="T10" fmla="*/ 32 w 286"/>
                <a:gd name="T11" fmla="*/ 92 h 262"/>
                <a:gd name="T12" fmla="*/ 22 w 286"/>
                <a:gd name="T13" fmla="*/ 98 h 262"/>
                <a:gd name="T14" fmla="*/ 22 w 286"/>
                <a:gd name="T15" fmla="*/ 114 h 262"/>
                <a:gd name="T16" fmla="*/ 32 w 286"/>
                <a:gd name="T17" fmla="*/ 118 h 262"/>
                <a:gd name="T18" fmla="*/ 36 w 286"/>
                <a:gd name="T19" fmla="*/ 128 h 262"/>
                <a:gd name="T20" fmla="*/ 46 w 286"/>
                <a:gd name="T21" fmla="*/ 136 h 262"/>
                <a:gd name="T22" fmla="*/ 58 w 286"/>
                <a:gd name="T23" fmla="*/ 134 h 262"/>
                <a:gd name="T24" fmla="*/ 60 w 286"/>
                <a:gd name="T25" fmla="*/ 146 h 262"/>
                <a:gd name="T26" fmla="*/ 56 w 286"/>
                <a:gd name="T27" fmla="*/ 160 h 262"/>
                <a:gd name="T28" fmla="*/ 64 w 286"/>
                <a:gd name="T29" fmla="*/ 164 h 262"/>
                <a:gd name="T30" fmla="*/ 66 w 286"/>
                <a:gd name="T31" fmla="*/ 178 h 262"/>
                <a:gd name="T32" fmla="*/ 78 w 286"/>
                <a:gd name="T33" fmla="*/ 184 h 262"/>
                <a:gd name="T34" fmla="*/ 86 w 286"/>
                <a:gd name="T35" fmla="*/ 176 h 262"/>
                <a:gd name="T36" fmla="*/ 90 w 286"/>
                <a:gd name="T37" fmla="*/ 176 h 262"/>
                <a:gd name="T38" fmla="*/ 96 w 286"/>
                <a:gd name="T39" fmla="*/ 200 h 262"/>
                <a:gd name="T40" fmla="*/ 100 w 286"/>
                <a:gd name="T41" fmla="*/ 210 h 262"/>
                <a:gd name="T42" fmla="*/ 110 w 286"/>
                <a:gd name="T43" fmla="*/ 214 h 262"/>
                <a:gd name="T44" fmla="*/ 110 w 286"/>
                <a:gd name="T45" fmla="*/ 222 h 262"/>
                <a:gd name="T46" fmla="*/ 120 w 286"/>
                <a:gd name="T47" fmla="*/ 222 h 262"/>
                <a:gd name="T48" fmla="*/ 128 w 286"/>
                <a:gd name="T49" fmla="*/ 232 h 262"/>
                <a:gd name="T50" fmla="*/ 146 w 286"/>
                <a:gd name="T51" fmla="*/ 238 h 262"/>
                <a:gd name="T52" fmla="*/ 172 w 286"/>
                <a:gd name="T53" fmla="*/ 238 h 262"/>
                <a:gd name="T54" fmla="*/ 178 w 286"/>
                <a:gd name="T55" fmla="*/ 226 h 262"/>
                <a:gd name="T56" fmla="*/ 186 w 286"/>
                <a:gd name="T57" fmla="*/ 228 h 262"/>
                <a:gd name="T58" fmla="*/ 192 w 286"/>
                <a:gd name="T59" fmla="*/ 244 h 262"/>
                <a:gd name="T60" fmla="*/ 200 w 286"/>
                <a:gd name="T61" fmla="*/ 258 h 262"/>
                <a:gd name="T62" fmla="*/ 224 w 286"/>
                <a:gd name="T63" fmla="*/ 262 h 262"/>
                <a:gd name="T64" fmla="*/ 254 w 286"/>
                <a:gd name="T65" fmla="*/ 260 h 262"/>
                <a:gd name="T66" fmla="*/ 262 w 286"/>
                <a:gd name="T67" fmla="*/ 260 h 262"/>
                <a:gd name="T68" fmla="*/ 274 w 286"/>
                <a:gd name="T69" fmla="*/ 246 h 262"/>
                <a:gd name="T70" fmla="*/ 284 w 286"/>
                <a:gd name="T71" fmla="*/ 234 h 262"/>
                <a:gd name="T72" fmla="*/ 280 w 286"/>
                <a:gd name="T73" fmla="*/ 224 h 262"/>
                <a:gd name="T74" fmla="*/ 270 w 286"/>
                <a:gd name="T75" fmla="*/ 224 h 262"/>
                <a:gd name="T76" fmla="*/ 266 w 286"/>
                <a:gd name="T77" fmla="*/ 210 h 262"/>
                <a:gd name="T78" fmla="*/ 250 w 286"/>
                <a:gd name="T79" fmla="*/ 200 h 262"/>
                <a:gd name="T80" fmla="*/ 250 w 286"/>
                <a:gd name="T81" fmla="*/ 188 h 262"/>
                <a:gd name="T82" fmla="*/ 258 w 286"/>
                <a:gd name="T83" fmla="*/ 174 h 262"/>
                <a:gd name="T84" fmla="*/ 254 w 286"/>
                <a:gd name="T85" fmla="*/ 158 h 262"/>
                <a:gd name="T86" fmla="*/ 238 w 286"/>
                <a:gd name="T87" fmla="*/ 158 h 262"/>
                <a:gd name="T88" fmla="*/ 234 w 286"/>
                <a:gd name="T89" fmla="*/ 152 h 262"/>
                <a:gd name="T90" fmla="*/ 238 w 286"/>
                <a:gd name="T91" fmla="*/ 124 h 262"/>
                <a:gd name="T92" fmla="*/ 240 w 286"/>
                <a:gd name="T93" fmla="*/ 80 h 262"/>
                <a:gd name="T94" fmla="*/ 238 w 286"/>
                <a:gd name="T95" fmla="*/ 64 h 262"/>
                <a:gd name="T96" fmla="*/ 214 w 286"/>
                <a:gd name="T97" fmla="*/ 52 h 262"/>
                <a:gd name="T98" fmla="*/ 192 w 286"/>
                <a:gd name="T99" fmla="*/ 40 h 262"/>
                <a:gd name="T100" fmla="*/ 162 w 286"/>
                <a:gd name="T101" fmla="*/ 34 h 262"/>
                <a:gd name="T102" fmla="*/ 154 w 286"/>
                <a:gd name="T103" fmla="*/ 36 h 262"/>
                <a:gd name="T104" fmla="*/ 146 w 286"/>
                <a:gd name="T105" fmla="*/ 48 h 262"/>
                <a:gd name="T106" fmla="*/ 120 w 286"/>
                <a:gd name="T107" fmla="*/ 58 h 262"/>
                <a:gd name="T108" fmla="*/ 110 w 286"/>
                <a:gd name="T109" fmla="*/ 66 h 262"/>
                <a:gd name="T110" fmla="*/ 90 w 286"/>
                <a:gd name="T111" fmla="*/ 60 h 262"/>
                <a:gd name="T112" fmla="*/ 66 w 286"/>
                <a:gd name="T113" fmla="*/ 42 h 262"/>
                <a:gd name="T114" fmla="*/ 60 w 286"/>
                <a:gd name="T115" fmla="*/ 18 h 262"/>
                <a:gd name="T116" fmla="*/ 54 w 286"/>
                <a:gd name="T117" fmla="*/ 2 h 262"/>
                <a:gd name="T118" fmla="*/ 46 w 286"/>
                <a:gd name="T119" fmla="*/ 8 h 262"/>
                <a:gd name="T120" fmla="*/ 42 w 286"/>
                <a:gd name="T121" fmla="*/ 20 h 262"/>
                <a:gd name="T122" fmla="*/ 26 w 286"/>
                <a:gd name="T123" fmla="*/ 20 h 262"/>
                <a:gd name="T124" fmla="*/ 10 w 286"/>
                <a:gd name="T125"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62">
                  <a:moveTo>
                    <a:pt x="4" y="0"/>
                  </a:moveTo>
                  <a:lnTo>
                    <a:pt x="4" y="0"/>
                  </a:lnTo>
                  <a:lnTo>
                    <a:pt x="4" y="0"/>
                  </a:lnTo>
                  <a:lnTo>
                    <a:pt x="2" y="2"/>
                  </a:lnTo>
                  <a:lnTo>
                    <a:pt x="0" y="4"/>
                  </a:lnTo>
                  <a:lnTo>
                    <a:pt x="0" y="4"/>
                  </a:lnTo>
                  <a:lnTo>
                    <a:pt x="0" y="6"/>
                  </a:lnTo>
                  <a:lnTo>
                    <a:pt x="0" y="6"/>
                  </a:lnTo>
                  <a:lnTo>
                    <a:pt x="0" y="8"/>
                  </a:lnTo>
                  <a:lnTo>
                    <a:pt x="0" y="10"/>
                  </a:lnTo>
                  <a:lnTo>
                    <a:pt x="0" y="10"/>
                  </a:lnTo>
                  <a:lnTo>
                    <a:pt x="0" y="12"/>
                  </a:lnTo>
                  <a:lnTo>
                    <a:pt x="2" y="16"/>
                  </a:lnTo>
                  <a:lnTo>
                    <a:pt x="4" y="20"/>
                  </a:lnTo>
                  <a:lnTo>
                    <a:pt x="4" y="22"/>
                  </a:lnTo>
                  <a:lnTo>
                    <a:pt x="6" y="24"/>
                  </a:lnTo>
                  <a:lnTo>
                    <a:pt x="8" y="28"/>
                  </a:lnTo>
                  <a:lnTo>
                    <a:pt x="10" y="34"/>
                  </a:lnTo>
                  <a:lnTo>
                    <a:pt x="12" y="40"/>
                  </a:lnTo>
                  <a:lnTo>
                    <a:pt x="12" y="42"/>
                  </a:lnTo>
                  <a:lnTo>
                    <a:pt x="14" y="44"/>
                  </a:lnTo>
                  <a:lnTo>
                    <a:pt x="14" y="46"/>
                  </a:lnTo>
                  <a:lnTo>
                    <a:pt x="14" y="48"/>
                  </a:lnTo>
                  <a:lnTo>
                    <a:pt x="16" y="54"/>
                  </a:lnTo>
                  <a:lnTo>
                    <a:pt x="16" y="62"/>
                  </a:lnTo>
                  <a:lnTo>
                    <a:pt x="16" y="64"/>
                  </a:lnTo>
                  <a:lnTo>
                    <a:pt x="18" y="68"/>
                  </a:lnTo>
                  <a:lnTo>
                    <a:pt x="18" y="70"/>
                  </a:lnTo>
                  <a:lnTo>
                    <a:pt x="18" y="72"/>
                  </a:lnTo>
                  <a:lnTo>
                    <a:pt x="18" y="72"/>
                  </a:lnTo>
                  <a:lnTo>
                    <a:pt x="18" y="74"/>
                  </a:lnTo>
                  <a:lnTo>
                    <a:pt x="20" y="74"/>
                  </a:lnTo>
                  <a:lnTo>
                    <a:pt x="20" y="74"/>
                  </a:lnTo>
                  <a:lnTo>
                    <a:pt x="20" y="74"/>
                  </a:lnTo>
                  <a:lnTo>
                    <a:pt x="22" y="76"/>
                  </a:lnTo>
                  <a:lnTo>
                    <a:pt x="22" y="76"/>
                  </a:lnTo>
                  <a:lnTo>
                    <a:pt x="24" y="76"/>
                  </a:lnTo>
                  <a:lnTo>
                    <a:pt x="26" y="76"/>
                  </a:lnTo>
                  <a:lnTo>
                    <a:pt x="30" y="76"/>
                  </a:lnTo>
                  <a:lnTo>
                    <a:pt x="32" y="76"/>
                  </a:lnTo>
                  <a:lnTo>
                    <a:pt x="32" y="76"/>
                  </a:lnTo>
                  <a:lnTo>
                    <a:pt x="32" y="76"/>
                  </a:lnTo>
                  <a:lnTo>
                    <a:pt x="34" y="76"/>
                  </a:lnTo>
                  <a:lnTo>
                    <a:pt x="34" y="76"/>
                  </a:lnTo>
                  <a:lnTo>
                    <a:pt x="34" y="78"/>
                  </a:lnTo>
                  <a:lnTo>
                    <a:pt x="34" y="78"/>
                  </a:lnTo>
                  <a:lnTo>
                    <a:pt x="34" y="78"/>
                  </a:lnTo>
                  <a:lnTo>
                    <a:pt x="34" y="80"/>
                  </a:lnTo>
                  <a:lnTo>
                    <a:pt x="34" y="82"/>
                  </a:lnTo>
                  <a:lnTo>
                    <a:pt x="34" y="84"/>
                  </a:lnTo>
                  <a:lnTo>
                    <a:pt x="34" y="86"/>
                  </a:lnTo>
                  <a:lnTo>
                    <a:pt x="34" y="88"/>
                  </a:lnTo>
                  <a:lnTo>
                    <a:pt x="32" y="90"/>
                  </a:lnTo>
                  <a:lnTo>
                    <a:pt x="32" y="92"/>
                  </a:lnTo>
                  <a:lnTo>
                    <a:pt x="32" y="92"/>
                  </a:lnTo>
                  <a:lnTo>
                    <a:pt x="30" y="92"/>
                  </a:lnTo>
                  <a:lnTo>
                    <a:pt x="30" y="94"/>
                  </a:lnTo>
                  <a:lnTo>
                    <a:pt x="28" y="94"/>
                  </a:lnTo>
                  <a:lnTo>
                    <a:pt x="26" y="96"/>
                  </a:lnTo>
                  <a:lnTo>
                    <a:pt x="24" y="96"/>
                  </a:lnTo>
                  <a:lnTo>
                    <a:pt x="24" y="98"/>
                  </a:lnTo>
                  <a:lnTo>
                    <a:pt x="22" y="98"/>
                  </a:lnTo>
                  <a:lnTo>
                    <a:pt x="22" y="98"/>
                  </a:lnTo>
                  <a:lnTo>
                    <a:pt x="22" y="100"/>
                  </a:lnTo>
                  <a:lnTo>
                    <a:pt x="22" y="100"/>
                  </a:lnTo>
                  <a:lnTo>
                    <a:pt x="20" y="102"/>
                  </a:lnTo>
                  <a:lnTo>
                    <a:pt x="20" y="104"/>
                  </a:lnTo>
                  <a:lnTo>
                    <a:pt x="20" y="106"/>
                  </a:lnTo>
                  <a:lnTo>
                    <a:pt x="20" y="110"/>
                  </a:lnTo>
                  <a:lnTo>
                    <a:pt x="20" y="112"/>
                  </a:lnTo>
                  <a:lnTo>
                    <a:pt x="22" y="114"/>
                  </a:lnTo>
                  <a:lnTo>
                    <a:pt x="22" y="114"/>
                  </a:lnTo>
                  <a:lnTo>
                    <a:pt x="22" y="114"/>
                  </a:lnTo>
                  <a:lnTo>
                    <a:pt x="22" y="114"/>
                  </a:lnTo>
                  <a:lnTo>
                    <a:pt x="22" y="116"/>
                  </a:lnTo>
                  <a:lnTo>
                    <a:pt x="24" y="116"/>
                  </a:lnTo>
                  <a:lnTo>
                    <a:pt x="24" y="116"/>
                  </a:lnTo>
                  <a:lnTo>
                    <a:pt x="26" y="116"/>
                  </a:lnTo>
                  <a:lnTo>
                    <a:pt x="28" y="118"/>
                  </a:lnTo>
                  <a:lnTo>
                    <a:pt x="30" y="118"/>
                  </a:lnTo>
                  <a:lnTo>
                    <a:pt x="32" y="118"/>
                  </a:lnTo>
                  <a:lnTo>
                    <a:pt x="34" y="120"/>
                  </a:lnTo>
                  <a:lnTo>
                    <a:pt x="34" y="120"/>
                  </a:lnTo>
                  <a:lnTo>
                    <a:pt x="36" y="120"/>
                  </a:lnTo>
                  <a:lnTo>
                    <a:pt x="36" y="122"/>
                  </a:lnTo>
                  <a:lnTo>
                    <a:pt x="36" y="122"/>
                  </a:lnTo>
                  <a:lnTo>
                    <a:pt x="36" y="124"/>
                  </a:lnTo>
                  <a:lnTo>
                    <a:pt x="36" y="126"/>
                  </a:lnTo>
                  <a:lnTo>
                    <a:pt x="36" y="126"/>
                  </a:lnTo>
                  <a:lnTo>
                    <a:pt x="36" y="128"/>
                  </a:lnTo>
                  <a:lnTo>
                    <a:pt x="36" y="130"/>
                  </a:lnTo>
                  <a:lnTo>
                    <a:pt x="38" y="132"/>
                  </a:lnTo>
                  <a:lnTo>
                    <a:pt x="38" y="132"/>
                  </a:lnTo>
                  <a:lnTo>
                    <a:pt x="38" y="134"/>
                  </a:lnTo>
                  <a:lnTo>
                    <a:pt x="38" y="134"/>
                  </a:lnTo>
                  <a:lnTo>
                    <a:pt x="40" y="134"/>
                  </a:lnTo>
                  <a:lnTo>
                    <a:pt x="42" y="134"/>
                  </a:lnTo>
                  <a:lnTo>
                    <a:pt x="42" y="136"/>
                  </a:lnTo>
                  <a:lnTo>
                    <a:pt x="46" y="136"/>
                  </a:lnTo>
                  <a:lnTo>
                    <a:pt x="48" y="136"/>
                  </a:lnTo>
                  <a:lnTo>
                    <a:pt x="50" y="136"/>
                  </a:lnTo>
                  <a:lnTo>
                    <a:pt x="50" y="136"/>
                  </a:lnTo>
                  <a:lnTo>
                    <a:pt x="54" y="134"/>
                  </a:lnTo>
                  <a:lnTo>
                    <a:pt x="54" y="134"/>
                  </a:lnTo>
                  <a:lnTo>
                    <a:pt x="56" y="134"/>
                  </a:lnTo>
                  <a:lnTo>
                    <a:pt x="58" y="132"/>
                  </a:lnTo>
                  <a:lnTo>
                    <a:pt x="58" y="132"/>
                  </a:lnTo>
                  <a:lnTo>
                    <a:pt x="58" y="134"/>
                  </a:lnTo>
                  <a:lnTo>
                    <a:pt x="58" y="134"/>
                  </a:lnTo>
                  <a:lnTo>
                    <a:pt x="60" y="134"/>
                  </a:lnTo>
                  <a:lnTo>
                    <a:pt x="60" y="136"/>
                  </a:lnTo>
                  <a:lnTo>
                    <a:pt x="60" y="138"/>
                  </a:lnTo>
                  <a:lnTo>
                    <a:pt x="60" y="138"/>
                  </a:lnTo>
                  <a:lnTo>
                    <a:pt x="60" y="140"/>
                  </a:lnTo>
                  <a:lnTo>
                    <a:pt x="60" y="142"/>
                  </a:lnTo>
                  <a:lnTo>
                    <a:pt x="60" y="146"/>
                  </a:lnTo>
                  <a:lnTo>
                    <a:pt x="60" y="146"/>
                  </a:lnTo>
                  <a:lnTo>
                    <a:pt x="60" y="148"/>
                  </a:lnTo>
                  <a:lnTo>
                    <a:pt x="60" y="148"/>
                  </a:lnTo>
                  <a:lnTo>
                    <a:pt x="58" y="152"/>
                  </a:lnTo>
                  <a:lnTo>
                    <a:pt x="56" y="154"/>
                  </a:lnTo>
                  <a:lnTo>
                    <a:pt x="56" y="156"/>
                  </a:lnTo>
                  <a:lnTo>
                    <a:pt x="56" y="158"/>
                  </a:lnTo>
                  <a:lnTo>
                    <a:pt x="56" y="158"/>
                  </a:lnTo>
                  <a:lnTo>
                    <a:pt x="56" y="160"/>
                  </a:lnTo>
                  <a:lnTo>
                    <a:pt x="56" y="160"/>
                  </a:lnTo>
                  <a:lnTo>
                    <a:pt x="56" y="160"/>
                  </a:lnTo>
                  <a:lnTo>
                    <a:pt x="56" y="160"/>
                  </a:lnTo>
                  <a:lnTo>
                    <a:pt x="58" y="160"/>
                  </a:lnTo>
                  <a:lnTo>
                    <a:pt x="58" y="162"/>
                  </a:lnTo>
                  <a:lnTo>
                    <a:pt x="60" y="162"/>
                  </a:lnTo>
                  <a:lnTo>
                    <a:pt x="62" y="162"/>
                  </a:lnTo>
                  <a:lnTo>
                    <a:pt x="62" y="162"/>
                  </a:lnTo>
                  <a:lnTo>
                    <a:pt x="64" y="162"/>
                  </a:lnTo>
                  <a:lnTo>
                    <a:pt x="64" y="164"/>
                  </a:lnTo>
                  <a:lnTo>
                    <a:pt x="64" y="164"/>
                  </a:lnTo>
                  <a:lnTo>
                    <a:pt x="64" y="164"/>
                  </a:lnTo>
                  <a:lnTo>
                    <a:pt x="64" y="164"/>
                  </a:lnTo>
                  <a:lnTo>
                    <a:pt x="66" y="166"/>
                  </a:lnTo>
                  <a:lnTo>
                    <a:pt x="66" y="170"/>
                  </a:lnTo>
                  <a:lnTo>
                    <a:pt x="66" y="172"/>
                  </a:lnTo>
                  <a:lnTo>
                    <a:pt x="66" y="176"/>
                  </a:lnTo>
                  <a:lnTo>
                    <a:pt x="66" y="178"/>
                  </a:lnTo>
                  <a:lnTo>
                    <a:pt x="66" y="178"/>
                  </a:lnTo>
                  <a:lnTo>
                    <a:pt x="68" y="180"/>
                  </a:lnTo>
                  <a:lnTo>
                    <a:pt x="68" y="182"/>
                  </a:lnTo>
                  <a:lnTo>
                    <a:pt x="70" y="182"/>
                  </a:lnTo>
                  <a:lnTo>
                    <a:pt x="72" y="184"/>
                  </a:lnTo>
                  <a:lnTo>
                    <a:pt x="72" y="184"/>
                  </a:lnTo>
                  <a:lnTo>
                    <a:pt x="74" y="184"/>
                  </a:lnTo>
                  <a:lnTo>
                    <a:pt x="76" y="184"/>
                  </a:lnTo>
                  <a:lnTo>
                    <a:pt x="78" y="184"/>
                  </a:lnTo>
                  <a:lnTo>
                    <a:pt x="78" y="184"/>
                  </a:lnTo>
                  <a:lnTo>
                    <a:pt x="82" y="184"/>
                  </a:lnTo>
                  <a:lnTo>
                    <a:pt x="84" y="182"/>
                  </a:lnTo>
                  <a:lnTo>
                    <a:pt x="84" y="182"/>
                  </a:lnTo>
                  <a:lnTo>
                    <a:pt x="86" y="182"/>
                  </a:lnTo>
                  <a:lnTo>
                    <a:pt x="86" y="182"/>
                  </a:lnTo>
                  <a:lnTo>
                    <a:pt x="86" y="180"/>
                  </a:lnTo>
                  <a:lnTo>
                    <a:pt x="86" y="180"/>
                  </a:lnTo>
                  <a:lnTo>
                    <a:pt x="86" y="178"/>
                  </a:lnTo>
                  <a:lnTo>
                    <a:pt x="86" y="176"/>
                  </a:lnTo>
                  <a:lnTo>
                    <a:pt x="86" y="176"/>
                  </a:lnTo>
                  <a:lnTo>
                    <a:pt x="86" y="176"/>
                  </a:lnTo>
                  <a:lnTo>
                    <a:pt x="86" y="174"/>
                  </a:lnTo>
                  <a:lnTo>
                    <a:pt x="86" y="174"/>
                  </a:lnTo>
                  <a:lnTo>
                    <a:pt x="88" y="174"/>
                  </a:lnTo>
                  <a:lnTo>
                    <a:pt x="88" y="176"/>
                  </a:lnTo>
                  <a:lnTo>
                    <a:pt x="88" y="176"/>
                  </a:lnTo>
                  <a:lnTo>
                    <a:pt x="90" y="176"/>
                  </a:lnTo>
                  <a:lnTo>
                    <a:pt x="90" y="176"/>
                  </a:lnTo>
                  <a:lnTo>
                    <a:pt x="90" y="178"/>
                  </a:lnTo>
                  <a:lnTo>
                    <a:pt x="92" y="180"/>
                  </a:lnTo>
                  <a:lnTo>
                    <a:pt x="92" y="182"/>
                  </a:lnTo>
                  <a:lnTo>
                    <a:pt x="94" y="184"/>
                  </a:lnTo>
                  <a:lnTo>
                    <a:pt x="94" y="188"/>
                  </a:lnTo>
                  <a:lnTo>
                    <a:pt x="94" y="190"/>
                  </a:lnTo>
                  <a:lnTo>
                    <a:pt x="94" y="190"/>
                  </a:lnTo>
                  <a:lnTo>
                    <a:pt x="96" y="194"/>
                  </a:lnTo>
                  <a:lnTo>
                    <a:pt x="96" y="200"/>
                  </a:lnTo>
                  <a:lnTo>
                    <a:pt x="96" y="202"/>
                  </a:lnTo>
                  <a:lnTo>
                    <a:pt x="96" y="204"/>
                  </a:lnTo>
                  <a:lnTo>
                    <a:pt x="96" y="206"/>
                  </a:lnTo>
                  <a:lnTo>
                    <a:pt x="98" y="208"/>
                  </a:lnTo>
                  <a:lnTo>
                    <a:pt x="98" y="208"/>
                  </a:lnTo>
                  <a:lnTo>
                    <a:pt x="98" y="208"/>
                  </a:lnTo>
                  <a:lnTo>
                    <a:pt x="98" y="210"/>
                  </a:lnTo>
                  <a:lnTo>
                    <a:pt x="100" y="210"/>
                  </a:lnTo>
                  <a:lnTo>
                    <a:pt x="100" y="210"/>
                  </a:lnTo>
                  <a:lnTo>
                    <a:pt x="102" y="210"/>
                  </a:lnTo>
                  <a:lnTo>
                    <a:pt x="104" y="210"/>
                  </a:lnTo>
                  <a:lnTo>
                    <a:pt x="106" y="210"/>
                  </a:lnTo>
                  <a:lnTo>
                    <a:pt x="108" y="212"/>
                  </a:lnTo>
                  <a:lnTo>
                    <a:pt x="110" y="212"/>
                  </a:lnTo>
                  <a:lnTo>
                    <a:pt x="110" y="212"/>
                  </a:lnTo>
                  <a:lnTo>
                    <a:pt x="110" y="212"/>
                  </a:lnTo>
                  <a:lnTo>
                    <a:pt x="110" y="212"/>
                  </a:lnTo>
                  <a:lnTo>
                    <a:pt x="110" y="214"/>
                  </a:lnTo>
                  <a:lnTo>
                    <a:pt x="112" y="214"/>
                  </a:lnTo>
                  <a:lnTo>
                    <a:pt x="110" y="214"/>
                  </a:lnTo>
                  <a:lnTo>
                    <a:pt x="110" y="216"/>
                  </a:lnTo>
                  <a:lnTo>
                    <a:pt x="110" y="218"/>
                  </a:lnTo>
                  <a:lnTo>
                    <a:pt x="110" y="218"/>
                  </a:lnTo>
                  <a:lnTo>
                    <a:pt x="110" y="220"/>
                  </a:lnTo>
                  <a:lnTo>
                    <a:pt x="110" y="220"/>
                  </a:lnTo>
                  <a:lnTo>
                    <a:pt x="110" y="222"/>
                  </a:lnTo>
                  <a:lnTo>
                    <a:pt x="110" y="222"/>
                  </a:lnTo>
                  <a:lnTo>
                    <a:pt x="110" y="222"/>
                  </a:lnTo>
                  <a:lnTo>
                    <a:pt x="110" y="222"/>
                  </a:lnTo>
                  <a:lnTo>
                    <a:pt x="112" y="222"/>
                  </a:lnTo>
                  <a:lnTo>
                    <a:pt x="112" y="222"/>
                  </a:lnTo>
                  <a:lnTo>
                    <a:pt x="114" y="222"/>
                  </a:lnTo>
                  <a:lnTo>
                    <a:pt x="116" y="222"/>
                  </a:lnTo>
                  <a:lnTo>
                    <a:pt x="118" y="222"/>
                  </a:lnTo>
                  <a:lnTo>
                    <a:pt x="120" y="222"/>
                  </a:lnTo>
                  <a:lnTo>
                    <a:pt x="120" y="222"/>
                  </a:lnTo>
                  <a:lnTo>
                    <a:pt x="122" y="222"/>
                  </a:lnTo>
                  <a:lnTo>
                    <a:pt x="122" y="222"/>
                  </a:lnTo>
                  <a:lnTo>
                    <a:pt x="122" y="224"/>
                  </a:lnTo>
                  <a:lnTo>
                    <a:pt x="122" y="224"/>
                  </a:lnTo>
                  <a:lnTo>
                    <a:pt x="124" y="224"/>
                  </a:lnTo>
                  <a:lnTo>
                    <a:pt x="124" y="226"/>
                  </a:lnTo>
                  <a:lnTo>
                    <a:pt x="126" y="228"/>
                  </a:lnTo>
                  <a:lnTo>
                    <a:pt x="126" y="230"/>
                  </a:lnTo>
                  <a:lnTo>
                    <a:pt x="128" y="232"/>
                  </a:lnTo>
                  <a:lnTo>
                    <a:pt x="128" y="234"/>
                  </a:lnTo>
                  <a:lnTo>
                    <a:pt x="128" y="234"/>
                  </a:lnTo>
                  <a:lnTo>
                    <a:pt x="130" y="234"/>
                  </a:lnTo>
                  <a:lnTo>
                    <a:pt x="132" y="236"/>
                  </a:lnTo>
                  <a:lnTo>
                    <a:pt x="134" y="236"/>
                  </a:lnTo>
                  <a:lnTo>
                    <a:pt x="136" y="236"/>
                  </a:lnTo>
                  <a:lnTo>
                    <a:pt x="140" y="238"/>
                  </a:lnTo>
                  <a:lnTo>
                    <a:pt x="142" y="238"/>
                  </a:lnTo>
                  <a:lnTo>
                    <a:pt x="146" y="238"/>
                  </a:lnTo>
                  <a:lnTo>
                    <a:pt x="148" y="238"/>
                  </a:lnTo>
                  <a:lnTo>
                    <a:pt x="152" y="240"/>
                  </a:lnTo>
                  <a:lnTo>
                    <a:pt x="154" y="240"/>
                  </a:lnTo>
                  <a:lnTo>
                    <a:pt x="158" y="240"/>
                  </a:lnTo>
                  <a:lnTo>
                    <a:pt x="162" y="240"/>
                  </a:lnTo>
                  <a:lnTo>
                    <a:pt x="164" y="240"/>
                  </a:lnTo>
                  <a:lnTo>
                    <a:pt x="166" y="238"/>
                  </a:lnTo>
                  <a:lnTo>
                    <a:pt x="170" y="238"/>
                  </a:lnTo>
                  <a:lnTo>
                    <a:pt x="172" y="238"/>
                  </a:lnTo>
                  <a:lnTo>
                    <a:pt x="174" y="236"/>
                  </a:lnTo>
                  <a:lnTo>
                    <a:pt x="174" y="236"/>
                  </a:lnTo>
                  <a:lnTo>
                    <a:pt x="174" y="236"/>
                  </a:lnTo>
                  <a:lnTo>
                    <a:pt x="176" y="234"/>
                  </a:lnTo>
                  <a:lnTo>
                    <a:pt x="176" y="232"/>
                  </a:lnTo>
                  <a:lnTo>
                    <a:pt x="176" y="230"/>
                  </a:lnTo>
                  <a:lnTo>
                    <a:pt x="178" y="228"/>
                  </a:lnTo>
                  <a:lnTo>
                    <a:pt x="178" y="228"/>
                  </a:lnTo>
                  <a:lnTo>
                    <a:pt x="178" y="226"/>
                  </a:lnTo>
                  <a:lnTo>
                    <a:pt x="178" y="226"/>
                  </a:lnTo>
                  <a:lnTo>
                    <a:pt x="180" y="226"/>
                  </a:lnTo>
                  <a:lnTo>
                    <a:pt x="180" y="226"/>
                  </a:lnTo>
                  <a:lnTo>
                    <a:pt x="180" y="224"/>
                  </a:lnTo>
                  <a:lnTo>
                    <a:pt x="182" y="226"/>
                  </a:lnTo>
                  <a:lnTo>
                    <a:pt x="184" y="226"/>
                  </a:lnTo>
                  <a:lnTo>
                    <a:pt x="184" y="226"/>
                  </a:lnTo>
                  <a:lnTo>
                    <a:pt x="186" y="226"/>
                  </a:lnTo>
                  <a:lnTo>
                    <a:pt x="186" y="228"/>
                  </a:lnTo>
                  <a:lnTo>
                    <a:pt x="188" y="228"/>
                  </a:lnTo>
                  <a:lnTo>
                    <a:pt x="188" y="228"/>
                  </a:lnTo>
                  <a:lnTo>
                    <a:pt x="190" y="230"/>
                  </a:lnTo>
                  <a:lnTo>
                    <a:pt x="190" y="230"/>
                  </a:lnTo>
                  <a:lnTo>
                    <a:pt x="190" y="232"/>
                  </a:lnTo>
                  <a:lnTo>
                    <a:pt x="190" y="234"/>
                  </a:lnTo>
                  <a:lnTo>
                    <a:pt x="190" y="236"/>
                  </a:lnTo>
                  <a:lnTo>
                    <a:pt x="192" y="240"/>
                  </a:lnTo>
                  <a:lnTo>
                    <a:pt x="192" y="244"/>
                  </a:lnTo>
                  <a:lnTo>
                    <a:pt x="192" y="246"/>
                  </a:lnTo>
                  <a:lnTo>
                    <a:pt x="192" y="248"/>
                  </a:lnTo>
                  <a:lnTo>
                    <a:pt x="192" y="250"/>
                  </a:lnTo>
                  <a:lnTo>
                    <a:pt x="192" y="250"/>
                  </a:lnTo>
                  <a:lnTo>
                    <a:pt x="194" y="252"/>
                  </a:lnTo>
                  <a:lnTo>
                    <a:pt x="194" y="254"/>
                  </a:lnTo>
                  <a:lnTo>
                    <a:pt x="196" y="254"/>
                  </a:lnTo>
                  <a:lnTo>
                    <a:pt x="198" y="256"/>
                  </a:lnTo>
                  <a:lnTo>
                    <a:pt x="200" y="258"/>
                  </a:lnTo>
                  <a:lnTo>
                    <a:pt x="202" y="258"/>
                  </a:lnTo>
                  <a:lnTo>
                    <a:pt x="204" y="260"/>
                  </a:lnTo>
                  <a:lnTo>
                    <a:pt x="206" y="262"/>
                  </a:lnTo>
                  <a:lnTo>
                    <a:pt x="208" y="262"/>
                  </a:lnTo>
                  <a:lnTo>
                    <a:pt x="210" y="262"/>
                  </a:lnTo>
                  <a:lnTo>
                    <a:pt x="214" y="262"/>
                  </a:lnTo>
                  <a:lnTo>
                    <a:pt x="216" y="262"/>
                  </a:lnTo>
                  <a:lnTo>
                    <a:pt x="218" y="262"/>
                  </a:lnTo>
                  <a:lnTo>
                    <a:pt x="224" y="262"/>
                  </a:lnTo>
                  <a:lnTo>
                    <a:pt x="230" y="262"/>
                  </a:lnTo>
                  <a:lnTo>
                    <a:pt x="236" y="260"/>
                  </a:lnTo>
                  <a:lnTo>
                    <a:pt x="242" y="260"/>
                  </a:lnTo>
                  <a:lnTo>
                    <a:pt x="246" y="260"/>
                  </a:lnTo>
                  <a:lnTo>
                    <a:pt x="248" y="260"/>
                  </a:lnTo>
                  <a:lnTo>
                    <a:pt x="250" y="260"/>
                  </a:lnTo>
                  <a:lnTo>
                    <a:pt x="252" y="260"/>
                  </a:lnTo>
                  <a:lnTo>
                    <a:pt x="254" y="260"/>
                  </a:lnTo>
                  <a:lnTo>
                    <a:pt x="254" y="260"/>
                  </a:lnTo>
                  <a:lnTo>
                    <a:pt x="258" y="260"/>
                  </a:lnTo>
                  <a:lnTo>
                    <a:pt x="258" y="262"/>
                  </a:lnTo>
                  <a:lnTo>
                    <a:pt x="260" y="262"/>
                  </a:lnTo>
                  <a:lnTo>
                    <a:pt x="260" y="262"/>
                  </a:lnTo>
                  <a:lnTo>
                    <a:pt x="260" y="262"/>
                  </a:lnTo>
                  <a:lnTo>
                    <a:pt x="262" y="262"/>
                  </a:lnTo>
                  <a:lnTo>
                    <a:pt x="262" y="262"/>
                  </a:lnTo>
                  <a:lnTo>
                    <a:pt x="262" y="260"/>
                  </a:lnTo>
                  <a:lnTo>
                    <a:pt x="262" y="260"/>
                  </a:lnTo>
                  <a:lnTo>
                    <a:pt x="264" y="258"/>
                  </a:lnTo>
                  <a:lnTo>
                    <a:pt x="264" y="256"/>
                  </a:lnTo>
                  <a:lnTo>
                    <a:pt x="264" y="254"/>
                  </a:lnTo>
                  <a:lnTo>
                    <a:pt x="264" y="252"/>
                  </a:lnTo>
                  <a:lnTo>
                    <a:pt x="264" y="250"/>
                  </a:lnTo>
                  <a:lnTo>
                    <a:pt x="266" y="248"/>
                  </a:lnTo>
                  <a:lnTo>
                    <a:pt x="266" y="248"/>
                  </a:lnTo>
                  <a:lnTo>
                    <a:pt x="270" y="246"/>
                  </a:lnTo>
                  <a:lnTo>
                    <a:pt x="274" y="246"/>
                  </a:lnTo>
                  <a:lnTo>
                    <a:pt x="276" y="244"/>
                  </a:lnTo>
                  <a:lnTo>
                    <a:pt x="276" y="244"/>
                  </a:lnTo>
                  <a:lnTo>
                    <a:pt x="278" y="244"/>
                  </a:lnTo>
                  <a:lnTo>
                    <a:pt x="280" y="242"/>
                  </a:lnTo>
                  <a:lnTo>
                    <a:pt x="280" y="240"/>
                  </a:lnTo>
                  <a:lnTo>
                    <a:pt x="282" y="238"/>
                  </a:lnTo>
                  <a:lnTo>
                    <a:pt x="284" y="238"/>
                  </a:lnTo>
                  <a:lnTo>
                    <a:pt x="284" y="236"/>
                  </a:lnTo>
                  <a:lnTo>
                    <a:pt x="284" y="234"/>
                  </a:lnTo>
                  <a:lnTo>
                    <a:pt x="286" y="234"/>
                  </a:lnTo>
                  <a:lnTo>
                    <a:pt x="286" y="232"/>
                  </a:lnTo>
                  <a:lnTo>
                    <a:pt x="286" y="232"/>
                  </a:lnTo>
                  <a:lnTo>
                    <a:pt x="284" y="230"/>
                  </a:lnTo>
                  <a:lnTo>
                    <a:pt x="284" y="230"/>
                  </a:lnTo>
                  <a:lnTo>
                    <a:pt x="284" y="228"/>
                  </a:lnTo>
                  <a:lnTo>
                    <a:pt x="282" y="226"/>
                  </a:lnTo>
                  <a:lnTo>
                    <a:pt x="282" y="226"/>
                  </a:lnTo>
                  <a:lnTo>
                    <a:pt x="280" y="224"/>
                  </a:lnTo>
                  <a:lnTo>
                    <a:pt x="280" y="224"/>
                  </a:lnTo>
                  <a:lnTo>
                    <a:pt x="280" y="224"/>
                  </a:lnTo>
                  <a:lnTo>
                    <a:pt x="280" y="224"/>
                  </a:lnTo>
                  <a:lnTo>
                    <a:pt x="278" y="224"/>
                  </a:lnTo>
                  <a:lnTo>
                    <a:pt x="276" y="224"/>
                  </a:lnTo>
                  <a:lnTo>
                    <a:pt x="274" y="224"/>
                  </a:lnTo>
                  <a:lnTo>
                    <a:pt x="272" y="224"/>
                  </a:lnTo>
                  <a:lnTo>
                    <a:pt x="272" y="224"/>
                  </a:lnTo>
                  <a:lnTo>
                    <a:pt x="270" y="224"/>
                  </a:lnTo>
                  <a:lnTo>
                    <a:pt x="270" y="222"/>
                  </a:lnTo>
                  <a:lnTo>
                    <a:pt x="268" y="222"/>
                  </a:lnTo>
                  <a:lnTo>
                    <a:pt x="268" y="222"/>
                  </a:lnTo>
                  <a:lnTo>
                    <a:pt x="268" y="222"/>
                  </a:lnTo>
                  <a:lnTo>
                    <a:pt x="268" y="220"/>
                  </a:lnTo>
                  <a:lnTo>
                    <a:pt x="266" y="218"/>
                  </a:lnTo>
                  <a:lnTo>
                    <a:pt x="266" y="216"/>
                  </a:lnTo>
                  <a:lnTo>
                    <a:pt x="266" y="214"/>
                  </a:lnTo>
                  <a:lnTo>
                    <a:pt x="266" y="210"/>
                  </a:lnTo>
                  <a:lnTo>
                    <a:pt x="266" y="208"/>
                  </a:lnTo>
                  <a:lnTo>
                    <a:pt x="266" y="206"/>
                  </a:lnTo>
                  <a:lnTo>
                    <a:pt x="262" y="206"/>
                  </a:lnTo>
                  <a:lnTo>
                    <a:pt x="260" y="204"/>
                  </a:lnTo>
                  <a:lnTo>
                    <a:pt x="258" y="204"/>
                  </a:lnTo>
                  <a:lnTo>
                    <a:pt x="254" y="202"/>
                  </a:lnTo>
                  <a:lnTo>
                    <a:pt x="252" y="202"/>
                  </a:lnTo>
                  <a:lnTo>
                    <a:pt x="252" y="200"/>
                  </a:lnTo>
                  <a:lnTo>
                    <a:pt x="250" y="200"/>
                  </a:lnTo>
                  <a:lnTo>
                    <a:pt x="250" y="200"/>
                  </a:lnTo>
                  <a:lnTo>
                    <a:pt x="248" y="198"/>
                  </a:lnTo>
                  <a:lnTo>
                    <a:pt x="248" y="198"/>
                  </a:lnTo>
                  <a:lnTo>
                    <a:pt x="248" y="198"/>
                  </a:lnTo>
                  <a:lnTo>
                    <a:pt x="248" y="196"/>
                  </a:lnTo>
                  <a:lnTo>
                    <a:pt x="248" y="194"/>
                  </a:lnTo>
                  <a:lnTo>
                    <a:pt x="248" y="192"/>
                  </a:lnTo>
                  <a:lnTo>
                    <a:pt x="248" y="190"/>
                  </a:lnTo>
                  <a:lnTo>
                    <a:pt x="250" y="188"/>
                  </a:lnTo>
                  <a:lnTo>
                    <a:pt x="250" y="184"/>
                  </a:lnTo>
                  <a:lnTo>
                    <a:pt x="250" y="184"/>
                  </a:lnTo>
                  <a:lnTo>
                    <a:pt x="252" y="182"/>
                  </a:lnTo>
                  <a:lnTo>
                    <a:pt x="254" y="180"/>
                  </a:lnTo>
                  <a:lnTo>
                    <a:pt x="256" y="178"/>
                  </a:lnTo>
                  <a:lnTo>
                    <a:pt x="256" y="178"/>
                  </a:lnTo>
                  <a:lnTo>
                    <a:pt x="258" y="176"/>
                  </a:lnTo>
                  <a:lnTo>
                    <a:pt x="258" y="176"/>
                  </a:lnTo>
                  <a:lnTo>
                    <a:pt x="258" y="174"/>
                  </a:lnTo>
                  <a:lnTo>
                    <a:pt x="258" y="172"/>
                  </a:lnTo>
                  <a:lnTo>
                    <a:pt x="258" y="170"/>
                  </a:lnTo>
                  <a:lnTo>
                    <a:pt x="258" y="168"/>
                  </a:lnTo>
                  <a:lnTo>
                    <a:pt x="256" y="166"/>
                  </a:lnTo>
                  <a:lnTo>
                    <a:pt x="256" y="162"/>
                  </a:lnTo>
                  <a:lnTo>
                    <a:pt x="256" y="160"/>
                  </a:lnTo>
                  <a:lnTo>
                    <a:pt x="254" y="160"/>
                  </a:lnTo>
                  <a:lnTo>
                    <a:pt x="254" y="158"/>
                  </a:lnTo>
                  <a:lnTo>
                    <a:pt x="254" y="158"/>
                  </a:lnTo>
                  <a:lnTo>
                    <a:pt x="252" y="158"/>
                  </a:lnTo>
                  <a:lnTo>
                    <a:pt x="252" y="156"/>
                  </a:lnTo>
                  <a:lnTo>
                    <a:pt x="250" y="156"/>
                  </a:lnTo>
                  <a:lnTo>
                    <a:pt x="250" y="156"/>
                  </a:lnTo>
                  <a:lnTo>
                    <a:pt x="248" y="156"/>
                  </a:lnTo>
                  <a:lnTo>
                    <a:pt x="246" y="156"/>
                  </a:lnTo>
                  <a:lnTo>
                    <a:pt x="244" y="158"/>
                  </a:lnTo>
                  <a:lnTo>
                    <a:pt x="240" y="158"/>
                  </a:lnTo>
                  <a:lnTo>
                    <a:pt x="238" y="158"/>
                  </a:lnTo>
                  <a:lnTo>
                    <a:pt x="238" y="158"/>
                  </a:lnTo>
                  <a:lnTo>
                    <a:pt x="236" y="158"/>
                  </a:lnTo>
                  <a:lnTo>
                    <a:pt x="236" y="158"/>
                  </a:lnTo>
                  <a:lnTo>
                    <a:pt x="234" y="158"/>
                  </a:lnTo>
                  <a:lnTo>
                    <a:pt x="234" y="156"/>
                  </a:lnTo>
                  <a:lnTo>
                    <a:pt x="234" y="156"/>
                  </a:lnTo>
                  <a:lnTo>
                    <a:pt x="234" y="154"/>
                  </a:lnTo>
                  <a:lnTo>
                    <a:pt x="234" y="154"/>
                  </a:lnTo>
                  <a:lnTo>
                    <a:pt x="234" y="152"/>
                  </a:lnTo>
                  <a:lnTo>
                    <a:pt x="234" y="150"/>
                  </a:lnTo>
                  <a:lnTo>
                    <a:pt x="234" y="148"/>
                  </a:lnTo>
                  <a:lnTo>
                    <a:pt x="234" y="146"/>
                  </a:lnTo>
                  <a:lnTo>
                    <a:pt x="234" y="144"/>
                  </a:lnTo>
                  <a:lnTo>
                    <a:pt x="234" y="140"/>
                  </a:lnTo>
                  <a:lnTo>
                    <a:pt x="238" y="130"/>
                  </a:lnTo>
                  <a:lnTo>
                    <a:pt x="238" y="128"/>
                  </a:lnTo>
                  <a:lnTo>
                    <a:pt x="238" y="126"/>
                  </a:lnTo>
                  <a:lnTo>
                    <a:pt x="238" y="124"/>
                  </a:lnTo>
                  <a:lnTo>
                    <a:pt x="238" y="122"/>
                  </a:lnTo>
                  <a:lnTo>
                    <a:pt x="238" y="120"/>
                  </a:lnTo>
                  <a:lnTo>
                    <a:pt x="238" y="116"/>
                  </a:lnTo>
                  <a:lnTo>
                    <a:pt x="236" y="108"/>
                  </a:lnTo>
                  <a:lnTo>
                    <a:pt x="234" y="100"/>
                  </a:lnTo>
                  <a:lnTo>
                    <a:pt x="236" y="96"/>
                  </a:lnTo>
                  <a:lnTo>
                    <a:pt x="238" y="90"/>
                  </a:lnTo>
                  <a:lnTo>
                    <a:pt x="238" y="86"/>
                  </a:lnTo>
                  <a:lnTo>
                    <a:pt x="240" y="80"/>
                  </a:lnTo>
                  <a:lnTo>
                    <a:pt x="240" y="78"/>
                  </a:lnTo>
                  <a:lnTo>
                    <a:pt x="240" y="74"/>
                  </a:lnTo>
                  <a:lnTo>
                    <a:pt x="240" y="72"/>
                  </a:lnTo>
                  <a:lnTo>
                    <a:pt x="240" y="70"/>
                  </a:lnTo>
                  <a:lnTo>
                    <a:pt x="240" y="68"/>
                  </a:lnTo>
                  <a:lnTo>
                    <a:pt x="240" y="68"/>
                  </a:lnTo>
                  <a:lnTo>
                    <a:pt x="240" y="66"/>
                  </a:lnTo>
                  <a:lnTo>
                    <a:pt x="240" y="66"/>
                  </a:lnTo>
                  <a:lnTo>
                    <a:pt x="238" y="64"/>
                  </a:lnTo>
                  <a:lnTo>
                    <a:pt x="238" y="64"/>
                  </a:lnTo>
                  <a:lnTo>
                    <a:pt x="236" y="64"/>
                  </a:lnTo>
                  <a:lnTo>
                    <a:pt x="234" y="62"/>
                  </a:lnTo>
                  <a:lnTo>
                    <a:pt x="230" y="60"/>
                  </a:lnTo>
                  <a:lnTo>
                    <a:pt x="224" y="58"/>
                  </a:lnTo>
                  <a:lnTo>
                    <a:pt x="222" y="58"/>
                  </a:lnTo>
                  <a:lnTo>
                    <a:pt x="220" y="56"/>
                  </a:lnTo>
                  <a:lnTo>
                    <a:pt x="218" y="54"/>
                  </a:lnTo>
                  <a:lnTo>
                    <a:pt x="214" y="52"/>
                  </a:lnTo>
                  <a:lnTo>
                    <a:pt x="208" y="48"/>
                  </a:lnTo>
                  <a:lnTo>
                    <a:pt x="206" y="46"/>
                  </a:lnTo>
                  <a:lnTo>
                    <a:pt x="202" y="44"/>
                  </a:lnTo>
                  <a:lnTo>
                    <a:pt x="200" y="42"/>
                  </a:lnTo>
                  <a:lnTo>
                    <a:pt x="198" y="40"/>
                  </a:lnTo>
                  <a:lnTo>
                    <a:pt x="198" y="40"/>
                  </a:lnTo>
                  <a:lnTo>
                    <a:pt x="196" y="40"/>
                  </a:lnTo>
                  <a:lnTo>
                    <a:pt x="194" y="40"/>
                  </a:lnTo>
                  <a:lnTo>
                    <a:pt x="192" y="40"/>
                  </a:lnTo>
                  <a:lnTo>
                    <a:pt x="190" y="40"/>
                  </a:lnTo>
                  <a:lnTo>
                    <a:pt x="184" y="40"/>
                  </a:lnTo>
                  <a:lnTo>
                    <a:pt x="182" y="38"/>
                  </a:lnTo>
                  <a:lnTo>
                    <a:pt x="182" y="38"/>
                  </a:lnTo>
                  <a:lnTo>
                    <a:pt x="178" y="38"/>
                  </a:lnTo>
                  <a:lnTo>
                    <a:pt x="176" y="38"/>
                  </a:lnTo>
                  <a:lnTo>
                    <a:pt x="168" y="34"/>
                  </a:lnTo>
                  <a:lnTo>
                    <a:pt x="164" y="34"/>
                  </a:lnTo>
                  <a:lnTo>
                    <a:pt x="162" y="34"/>
                  </a:lnTo>
                  <a:lnTo>
                    <a:pt x="162" y="34"/>
                  </a:lnTo>
                  <a:lnTo>
                    <a:pt x="160" y="34"/>
                  </a:lnTo>
                  <a:lnTo>
                    <a:pt x="158" y="34"/>
                  </a:lnTo>
                  <a:lnTo>
                    <a:pt x="158" y="34"/>
                  </a:lnTo>
                  <a:lnTo>
                    <a:pt x="156" y="34"/>
                  </a:lnTo>
                  <a:lnTo>
                    <a:pt x="156" y="34"/>
                  </a:lnTo>
                  <a:lnTo>
                    <a:pt x="154" y="34"/>
                  </a:lnTo>
                  <a:lnTo>
                    <a:pt x="154" y="36"/>
                  </a:lnTo>
                  <a:lnTo>
                    <a:pt x="154" y="36"/>
                  </a:lnTo>
                  <a:lnTo>
                    <a:pt x="154" y="38"/>
                  </a:lnTo>
                  <a:lnTo>
                    <a:pt x="152" y="40"/>
                  </a:lnTo>
                  <a:lnTo>
                    <a:pt x="152" y="42"/>
                  </a:lnTo>
                  <a:lnTo>
                    <a:pt x="152" y="44"/>
                  </a:lnTo>
                  <a:lnTo>
                    <a:pt x="150" y="46"/>
                  </a:lnTo>
                  <a:lnTo>
                    <a:pt x="150" y="46"/>
                  </a:lnTo>
                  <a:lnTo>
                    <a:pt x="150" y="46"/>
                  </a:lnTo>
                  <a:lnTo>
                    <a:pt x="148" y="48"/>
                  </a:lnTo>
                  <a:lnTo>
                    <a:pt x="146" y="48"/>
                  </a:lnTo>
                  <a:lnTo>
                    <a:pt x="144" y="50"/>
                  </a:lnTo>
                  <a:lnTo>
                    <a:pt x="142" y="50"/>
                  </a:lnTo>
                  <a:lnTo>
                    <a:pt x="138" y="52"/>
                  </a:lnTo>
                  <a:lnTo>
                    <a:pt x="134" y="52"/>
                  </a:lnTo>
                  <a:lnTo>
                    <a:pt x="132" y="54"/>
                  </a:lnTo>
                  <a:lnTo>
                    <a:pt x="128" y="54"/>
                  </a:lnTo>
                  <a:lnTo>
                    <a:pt x="122" y="56"/>
                  </a:lnTo>
                  <a:lnTo>
                    <a:pt x="122" y="56"/>
                  </a:lnTo>
                  <a:lnTo>
                    <a:pt x="120" y="58"/>
                  </a:lnTo>
                  <a:lnTo>
                    <a:pt x="118" y="58"/>
                  </a:lnTo>
                  <a:lnTo>
                    <a:pt x="118" y="60"/>
                  </a:lnTo>
                  <a:lnTo>
                    <a:pt x="116" y="62"/>
                  </a:lnTo>
                  <a:lnTo>
                    <a:pt x="114" y="62"/>
                  </a:lnTo>
                  <a:lnTo>
                    <a:pt x="114" y="64"/>
                  </a:lnTo>
                  <a:lnTo>
                    <a:pt x="112" y="64"/>
                  </a:lnTo>
                  <a:lnTo>
                    <a:pt x="112" y="66"/>
                  </a:lnTo>
                  <a:lnTo>
                    <a:pt x="112" y="66"/>
                  </a:lnTo>
                  <a:lnTo>
                    <a:pt x="110" y="66"/>
                  </a:lnTo>
                  <a:lnTo>
                    <a:pt x="108" y="66"/>
                  </a:lnTo>
                  <a:lnTo>
                    <a:pt x="106" y="66"/>
                  </a:lnTo>
                  <a:lnTo>
                    <a:pt x="104" y="66"/>
                  </a:lnTo>
                  <a:lnTo>
                    <a:pt x="100" y="64"/>
                  </a:lnTo>
                  <a:lnTo>
                    <a:pt x="98" y="64"/>
                  </a:lnTo>
                  <a:lnTo>
                    <a:pt x="96" y="64"/>
                  </a:lnTo>
                  <a:lnTo>
                    <a:pt x="94" y="62"/>
                  </a:lnTo>
                  <a:lnTo>
                    <a:pt x="92" y="62"/>
                  </a:lnTo>
                  <a:lnTo>
                    <a:pt x="90" y="60"/>
                  </a:lnTo>
                  <a:lnTo>
                    <a:pt x="88" y="58"/>
                  </a:lnTo>
                  <a:lnTo>
                    <a:pt x="86" y="56"/>
                  </a:lnTo>
                  <a:lnTo>
                    <a:pt x="82" y="54"/>
                  </a:lnTo>
                  <a:lnTo>
                    <a:pt x="78" y="50"/>
                  </a:lnTo>
                  <a:lnTo>
                    <a:pt x="74" y="48"/>
                  </a:lnTo>
                  <a:lnTo>
                    <a:pt x="70" y="46"/>
                  </a:lnTo>
                  <a:lnTo>
                    <a:pt x="68" y="44"/>
                  </a:lnTo>
                  <a:lnTo>
                    <a:pt x="66" y="42"/>
                  </a:lnTo>
                  <a:lnTo>
                    <a:pt x="66" y="42"/>
                  </a:lnTo>
                  <a:lnTo>
                    <a:pt x="64" y="40"/>
                  </a:lnTo>
                  <a:lnTo>
                    <a:pt x="64" y="40"/>
                  </a:lnTo>
                  <a:lnTo>
                    <a:pt x="64" y="38"/>
                  </a:lnTo>
                  <a:lnTo>
                    <a:pt x="62" y="36"/>
                  </a:lnTo>
                  <a:lnTo>
                    <a:pt x="62" y="32"/>
                  </a:lnTo>
                  <a:lnTo>
                    <a:pt x="60" y="30"/>
                  </a:lnTo>
                  <a:lnTo>
                    <a:pt x="60" y="24"/>
                  </a:lnTo>
                  <a:lnTo>
                    <a:pt x="60" y="22"/>
                  </a:lnTo>
                  <a:lnTo>
                    <a:pt x="60" y="18"/>
                  </a:lnTo>
                  <a:lnTo>
                    <a:pt x="60" y="16"/>
                  </a:lnTo>
                  <a:lnTo>
                    <a:pt x="58" y="12"/>
                  </a:lnTo>
                  <a:lnTo>
                    <a:pt x="58" y="10"/>
                  </a:lnTo>
                  <a:lnTo>
                    <a:pt x="58" y="8"/>
                  </a:lnTo>
                  <a:lnTo>
                    <a:pt x="56" y="6"/>
                  </a:lnTo>
                  <a:lnTo>
                    <a:pt x="56" y="4"/>
                  </a:lnTo>
                  <a:lnTo>
                    <a:pt x="56" y="4"/>
                  </a:lnTo>
                  <a:lnTo>
                    <a:pt x="56" y="2"/>
                  </a:lnTo>
                  <a:lnTo>
                    <a:pt x="54" y="2"/>
                  </a:lnTo>
                  <a:lnTo>
                    <a:pt x="54" y="2"/>
                  </a:lnTo>
                  <a:lnTo>
                    <a:pt x="54" y="2"/>
                  </a:lnTo>
                  <a:lnTo>
                    <a:pt x="52" y="2"/>
                  </a:lnTo>
                  <a:lnTo>
                    <a:pt x="50" y="4"/>
                  </a:lnTo>
                  <a:lnTo>
                    <a:pt x="50" y="4"/>
                  </a:lnTo>
                  <a:lnTo>
                    <a:pt x="48" y="4"/>
                  </a:lnTo>
                  <a:lnTo>
                    <a:pt x="48" y="6"/>
                  </a:lnTo>
                  <a:lnTo>
                    <a:pt x="46" y="6"/>
                  </a:lnTo>
                  <a:lnTo>
                    <a:pt x="46" y="8"/>
                  </a:lnTo>
                  <a:lnTo>
                    <a:pt x="46" y="8"/>
                  </a:lnTo>
                  <a:lnTo>
                    <a:pt x="44" y="8"/>
                  </a:lnTo>
                  <a:lnTo>
                    <a:pt x="44" y="10"/>
                  </a:lnTo>
                  <a:lnTo>
                    <a:pt x="44" y="12"/>
                  </a:lnTo>
                  <a:lnTo>
                    <a:pt x="44" y="14"/>
                  </a:lnTo>
                  <a:lnTo>
                    <a:pt x="44" y="16"/>
                  </a:lnTo>
                  <a:lnTo>
                    <a:pt x="44" y="18"/>
                  </a:lnTo>
                  <a:lnTo>
                    <a:pt x="42" y="20"/>
                  </a:lnTo>
                  <a:lnTo>
                    <a:pt x="42" y="20"/>
                  </a:lnTo>
                  <a:lnTo>
                    <a:pt x="42" y="20"/>
                  </a:lnTo>
                  <a:lnTo>
                    <a:pt x="40" y="20"/>
                  </a:lnTo>
                  <a:lnTo>
                    <a:pt x="40" y="20"/>
                  </a:lnTo>
                  <a:lnTo>
                    <a:pt x="38" y="22"/>
                  </a:lnTo>
                  <a:lnTo>
                    <a:pt x="38" y="22"/>
                  </a:lnTo>
                  <a:lnTo>
                    <a:pt x="34" y="22"/>
                  </a:lnTo>
                  <a:lnTo>
                    <a:pt x="30" y="22"/>
                  </a:lnTo>
                  <a:lnTo>
                    <a:pt x="28" y="20"/>
                  </a:lnTo>
                  <a:lnTo>
                    <a:pt x="26" y="20"/>
                  </a:lnTo>
                  <a:lnTo>
                    <a:pt x="22" y="20"/>
                  </a:lnTo>
                  <a:lnTo>
                    <a:pt x="22" y="18"/>
                  </a:lnTo>
                  <a:lnTo>
                    <a:pt x="20" y="14"/>
                  </a:lnTo>
                  <a:lnTo>
                    <a:pt x="18" y="10"/>
                  </a:lnTo>
                  <a:lnTo>
                    <a:pt x="18" y="8"/>
                  </a:lnTo>
                  <a:lnTo>
                    <a:pt x="16" y="8"/>
                  </a:lnTo>
                  <a:lnTo>
                    <a:pt x="16" y="6"/>
                  </a:lnTo>
                  <a:lnTo>
                    <a:pt x="14" y="4"/>
                  </a:lnTo>
                  <a:lnTo>
                    <a:pt x="10" y="2"/>
                  </a:lnTo>
                  <a:lnTo>
                    <a:pt x="6" y="0"/>
                  </a:lnTo>
                  <a:lnTo>
                    <a:pt x="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0" name="Freeform 77"/>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1" name="Freeform 78"/>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2" name="Freeform 79"/>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3" name="Freeform 80"/>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4" name="Freeform 81"/>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5" name="Freeform 82"/>
            <p:cNvSpPr>
              <a:spLocks/>
            </p:cNvSpPr>
            <p:nvPr/>
          </p:nvSpPr>
          <p:spPr bwMode="auto">
            <a:xfrm>
              <a:off x="5554411" y="3922204"/>
              <a:ext cx="190528" cy="245955"/>
            </a:xfrm>
            <a:custGeom>
              <a:avLst/>
              <a:gdLst>
                <a:gd name="T0" fmla="*/ 40 w 110"/>
                <a:gd name="T1" fmla="*/ 36 h 142"/>
                <a:gd name="T2" fmla="*/ 50 w 110"/>
                <a:gd name="T3" fmla="*/ 46 h 142"/>
                <a:gd name="T4" fmla="*/ 52 w 110"/>
                <a:gd name="T5" fmla="*/ 50 h 142"/>
                <a:gd name="T6" fmla="*/ 52 w 110"/>
                <a:gd name="T7" fmla="*/ 56 h 142"/>
                <a:gd name="T8" fmla="*/ 52 w 110"/>
                <a:gd name="T9" fmla="*/ 64 h 142"/>
                <a:gd name="T10" fmla="*/ 50 w 110"/>
                <a:gd name="T11" fmla="*/ 72 h 142"/>
                <a:gd name="T12" fmla="*/ 48 w 110"/>
                <a:gd name="T13" fmla="*/ 82 h 142"/>
                <a:gd name="T14" fmla="*/ 44 w 110"/>
                <a:gd name="T15" fmla="*/ 88 h 142"/>
                <a:gd name="T16" fmla="*/ 40 w 110"/>
                <a:gd name="T17" fmla="*/ 92 h 142"/>
                <a:gd name="T18" fmla="*/ 34 w 110"/>
                <a:gd name="T19" fmla="*/ 96 h 142"/>
                <a:gd name="T20" fmla="*/ 26 w 110"/>
                <a:gd name="T21" fmla="*/ 98 h 142"/>
                <a:gd name="T22" fmla="*/ 12 w 110"/>
                <a:gd name="T23" fmla="*/ 100 h 142"/>
                <a:gd name="T24" fmla="*/ 2 w 110"/>
                <a:gd name="T25" fmla="*/ 108 h 142"/>
                <a:gd name="T26" fmla="*/ 16 w 110"/>
                <a:gd name="T27" fmla="*/ 142 h 142"/>
                <a:gd name="T28" fmla="*/ 26 w 110"/>
                <a:gd name="T29" fmla="*/ 140 h 142"/>
                <a:gd name="T30" fmla="*/ 36 w 110"/>
                <a:gd name="T31" fmla="*/ 138 h 142"/>
                <a:gd name="T32" fmla="*/ 40 w 110"/>
                <a:gd name="T33" fmla="*/ 138 h 142"/>
                <a:gd name="T34" fmla="*/ 42 w 110"/>
                <a:gd name="T35" fmla="*/ 134 h 142"/>
                <a:gd name="T36" fmla="*/ 46 w 110"/>
                <a:gd name="T37" fmla="*/ 128 h 142"/>
                <a:gd name="T38" fmla="*/ 48 w 110"/>
                <a:gd name="T39" fmla="*/ 122 h 142"/>
                <a:gd name="T40" fmla="*/ 52 w 110"/>
                <a:gd name="T41" fmla="*/ 122 h 142"/>
                <a:gd name="T42" fmla="*/ 58 w 110"/>
                <a:gd name="T43" fmla="*/ 120 h 142"/>
                <a:gd name="T44" fmla="*/ 62 w 110"/>
                <a:gd name="T45" fmla="*/ 118 h 142"/>
                <a:gd name="T46" fmla="*/ 68 w 110"/>
                <a:gd name="T47" fmla="*/ 112 h 142"/>
                <a:gd name="T48" fmla="*/ 70 w 110"/>
                <a:gd name="T49" fmla="*/ 110 h 142"/>
                <a:gd name="T50" fmla="*/ 74 w 110"/>
                <a:gd name="T51" fmla="*/ 108 h 142"/>
                <a:gd name="T52" fmla="*/ 82 w 110"/>
                <a:gd name="T53" fmla="*/ 108 h 142"/>
                <a:gd name="T54" fmla="*/ 84 w 110"/>
                <a:gd name="T55" fmla="*/ 106 h 142"/>
                <a:gd name="T56" fmla="*/ 86 w 110"/>
                <a:gd name="T57" fmla="*/ 104 h 142"/>
                <a:gd name="T58" fmla="*/ 88 w 110"/>
                <a:gd name="T59" fmla="*/ 98 h 142"/>
                <a:gd name="T60" fmla="*/ 88 w 110"/>
                <a:gd name="T61" fmla="*/ 88 h 142"/>
                <a:gd name="T62" fmla="*/ 88 w 110"/>
                <a:gd name="T63" fmla="*/ 80 h 142"/>
                <a:gd name="T64" fmla="*/ 88 w 110"/>
                <a:gd name="T65" fmla="*/ 76 h 142"/>
                <a:gd name="T66" fmla="*/ 92 w 110"/>
                <a:gd name="T67" fmla="*/ 70 h 142"/>
                <a:gd name="T68" fmla="*/ 96 w 110"/>
                <a:gd name="T69" fmla="*/ 68 h 142"/>
                <a:gd name="T70" fmla="*/ 102 w 110"/>
                <a:gd name="T71" fmla="*/ 64 h 142"/>
                <a:gd name="T72" fmla="*/ 104 w 110"/>
                <a:gd name="T73" fmla="*/ 62 h 142"/>
                <a:gd name="T74" fmla="*/ 106 w 110"/>
                <a:gd name="T75" fmla="*/ 60 h 142"/>
                <a:gd name="T76" fmla="*/ 110 w 110"/>
                <a:gd name="T77" fmla="*/ 48 h 142"/>
                <a:gd name="T78" fmla="*/ 110 w 110"/>
                <a:gd name="T79" fmla="*/ 42 h 142"/>
                <a:gd name="T80" fmla="*/ 110 w 110"/>
                <a:gd name="T81" fmla="*/ 36 h 142"/>
                <a:gd name="T82" fmla="*/ 108 w 110"/>
                <a:gd name="T83" fmla="*/ 34 h 142"/>
                <a:gd name="T84" fmla="*/ 106 w 110"/>
                <a:gd name="T85" fmla="*/ 32 h 142"/>
                <a:gd name="T86" fmla="*/ 100 w 110"/>
                <a:gd name="T87" fmla="*/ 32 h 142"/>
                <a:gd name="T88" fmla="*/ 98 w 110"/>
                <a:gd name="T89" fmla="*/ 30 h 142"/>
                <a:gd name="T90" fmla="*/ 96 w 110"/>
                <a:gd name="T91" fmla="*/ 28 h 142"/>
                <a:gd name="T92" fmla="*/ 96 w 110"/>
                <a:gd name="T93" fmla="*/ 26 h 142"/>
                <a:gd name="T94" fmla="*/ 96 w 110"/>
                <a:gd name="T95" fmla="*/ 18 h 142"/>
                <a:gd name="T96" fmla="*/ 96 w 110"/>
                <a:gd name="T97" fmla="*/ 16 h 142"/>
                <a:gd name="T98" fmla="*/ 94 w 110"/>
                <a:gd name="T99" fmla="*/ 14 h 142"/>
                <a:gd name="T100" fmla="*/ 88 w 110"/>
                <a:gd name="T101" fmla="*/ 14 h 142"/>
                <a:gd name="T102" fmla="*/ 80 w 110"/>
                <a:gd name="T103" fmla="*/ 14 h 142"/>
                <a:gd name="T104" fmla="*/ 72 w 110"/>
                <a:gd name="T105" fmla="*/ 14 h 142"/>
                <a:gd name="T106" fmla="*/ 70 w 110"/>
                <a:gd name="T107" fmla="*/ 12 h 142"/>
                <a:gd name="T108" fmla="*/ 66 w 110"/>
                <a:gd name="T109" fmla="*/ 8 h 142"/>
                <a:gd name="T110" fmla="*/ 60 w 110"/>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142">
                  <a:moveTo>
                    <a:pt x="40" y="34"/>
                  </a:moveTo>
                  <a:lnTo>
                    <a:pt x="40" y="34"/>
                  </a:lnTo>
                  <a:lnTo>
                    <a:pt x="40" y="36"/>
                  </a:lnTo>
                  <a:lnTo>
                    <a:pt x="44" y="40"/>
                  </a:lnTo>
                  <a:lnTo>
                    <a:pt x="48" y="44"/>
                  </a:lnTo>
                  <a:lnTo>
                    <a:pt x="50" y="46"/>
                  </a:lnTo>
                  <a:lnTo>
                    <a:pt x="50" y="48"/>
                  </a:lnTo>
                  <a:lnTo>
                    <a:pt x="50" y="50"/>
                  </a:lnTo>
                  <a:lnTo>
                    <a:pt x="52" y="50"/>
                  </a:lnTo>
                  <a:lnTo>
                    <a:pt x="52" y="52"/>
                  </a:lnTo>
                  <a:lnTo>
                    <a:pt x="52" y="54"/>
                  </a:lnTo>
                  <a:lnTo>
                    <a:pt x="52" y="56"/>
                  </a:lnTo>
                  <a:lnTo>
                    <a:pt x="52" y="58"/>
                  </a:lnTo>
                  <a:lnTo>
                    <a:pt x="52" y="62"/>
                  </a:lnTo>
                  <a:lnTo>
                    <a:pt x="52" y="64"/>
                  </a:lnTo>
                  <a:lnTo>
                    <a:pt x="52" y="68"/>
                  </a:lnTo>
                  <a:lnTo>
                    <a:pt x="50" y="70"/>
                  </a:lnTo>
                  <a:lnTo>
                    <a:pt x="50" y="72"/>
                  </a:lnTo>
                  <a:lnTo>
                    <a:pt x="50" y="76"/>
                  </a:lnTo>
                  <a:lnTo>
                    <a:pt x="48" y="78"/>
                  </a:lnTo>
                  <a:lnTo>
                    <a:pt x="48" y="82"/>
                  </a:lnTo>
                  <a:lnTo>
                    <a:pt x="46" y="84"/>
                  </a:lnTo>
                  <a:lnTo>
                    <a:pt x="46" y="86"/>
                  </a:lnTo>
                  <a:lnTo>
                    <a:pt x="44" y="88"/>
                  </a:lnTo>
                  <a:lnTo>
                    <a:pt x="42" y="90"/>
                  </a:lnTo>
                  <a:lnTo>
                    <a:pt x="42" y="92"/>
                  </a:lnTo>
                  <a:lnTo>
                    <a:pt x="40" y="92"/>
                  </a:lnTo>
                  <a:lnTo>
                    <a:pt x="40" y="94"/>
                  </a:lnTo>
                  <a:lnTo>
                    <a:pt x="38" y="94"/>
                  </a:lnTo>
                  <a:lnTo>
                    <a:pt x="34" y="96"/>
                  </a:lnTo>
                  <a:lnTo>
                    <a:pt x="32" y="96"/>
                  </a:lnTo>
                  <a:lnTo>
                    <a:pt x="28" y="98"/>
                  </a:lnTo>
                  <a:lnTo>
                    <a:pt x="26" y="98"/>
                  </a:lnTo>
                  <a:lnTo>
                    <a:pt x="22" y="98"/>
                  </a:lnTo>
                  <a:lnTo>
                    <a:pt x="18" y="100"/>
                  </a:lnTo>
                  <a:lnTo>
                    <a:pt x="12" y="100"/>
                  </a:lnTo>
                  <a:lnTo>
                    <a:pt x="6" y="100"/>
                  </a:lnTo>
                  <a:lnTo>
                    <a:pt x="0" y="100"/>
                  </a:lnTo>
                  <a:lnTo>
                    <a:pt x="2" y="108"/>
                  </a:lnTo>
                  <a:lnTo>
                    <a:pt x="6" y="118"/>
                  </a:lnTo>
                  <a:lnTo>
                    <a:pt x="12" y="132"/>
                  </a:lnTo>
                  <a:lnTo>
                    <a:pt x="16" y="142"/>
                  </a:lnTo>
                  <a:lnTo>
                    <a:pt x="18" y="142"/>
                  </a:lnTo>
                  <a:lnTo>
                    <a:pt x="22" y="140"/>
                  </a:lnTo>
                  <a:lnTo>
                    <a:pt x="26" y="140"/>
                  </a:lnTo>
                  <a:lnTo>
                    <a:pt x="30" y="140"/>
                  </a:lnTo>
                  <a:lnTo>
                    <a:pt x="34" y="140"/>
                  </a:lnTo>
                  <a:lnTo>
                    <a:pt x="36" y="138"/>
                  </a:lnTo>
                  <a:lnTo>
                    <a:pt x="38" y="138"/>
                  </a:lnTo>
                  <a:lnTo>
                    <a:pt x="40" y="138"/>
                  </a:lnTo>
                  <a:lnTo>
                    <a:pt x="40" y="138"/>
                  </a:lnTo>
                  <a:lnTo>
                    <a:pt x="40" y="136"/>
                  </a:lnTo>
                  <a:lnTo>
                    <a:pt x="42" y="136"/>
                  </a:lnTo>
                  <a:lnTo>
                    <a:pt x="42" y="134"/>
                  </a:lnTo>
                  <a:lnTo>
                    <a:pt x="44" y="132"/>
                  </a:lnTo>
                  <a:lnTo>
                    <a:pt x="44" y="130"/>
                  </a:lnTo>
                  <a:lnTo>
                    <a:pt x="46" y="128"/>
                  </a:lnTo>
                  <a:lnTo>
                    <a:pt x="46" y="126"/>
                  </a:lnTo>
                  <a:lnTo>
                    <a:pt x="48" y="124"/>
                  </a:lnTo>
                  <a:lnTo>
                    <a:pt x="48" y="122"/>
                  </a:lnTo>
                  <a:lnTo>
                    <a:pt x="50" y="122"/>
                  </a:lnTo>
                  <a:lnTo>
                    <a:pt x="50" y="122"/>
                  </a:lnTo>
                  <a:lnTo>
                    <a:pt x="52" y="122"/>
                  </a:lnTo>
                  <a:lnTo>
                    <a:pt x="54" y="120"/>
                  </a:lnTo>
                  <a:lnTo>
                    <a:pt x="56" y="120"/>
                  </a:lnTo>
                  <a:lnTo>
                    <a:pt x="58" y="120"/>
                  </a:lnTo>
                  <a:lnTo>
                    <a:pt x="60" y="120"/>
                  </a:lnTo>
                  <a:lnTo>
                    <a:pt x="62" y="118"/>
                  </a:lnTo>
                  <a:lnTo>
                    <a:pt x="62" y="118"/>
                  </a:lnTo>
                  <a:lnTo>
                    <a:pt x="64" y="116"/>
                  </a:lnTo>
                  <a:lnTo>
                    <a:pt x="66" y="114"/>
                  </a:lnTo>
                  <a:lnTo>
                    <a:pt x="68" y="112"/>
                  </a:lnTo>
                  <a:lnTo>
                    <a:pt x="68" y="110"/>
                  </a:lnTo>
                  <a:lnTo>
                    <a:pt x="70" y="110"/>
                  </a:lnTo>
                  <a:lnTo>
                    <a:pt x="70" y="110"/>
                  </a:lnTo>
                  <a:lnTo>
                    <a:pt x="70" y="108"/>
                  </a:lnTo>
                  <a:lnTo>
                    <a:pt x="72" y="108"/>
                  </a:lnTo>
                  <a:lnTo>
                    <a:pt x="74" y="108"/>
                  </a:lnTo>
                  <a:lnTo>
                    <a:pt x="78" y="108"/>
                  </a:lnTo>
                  <a:lnTo>
                    <a:pt x="80" y="108"/>
                  </a:lnTo>
                  <a:lnTo>
                    <a:pt x="82" y="108"/>
                  </a:lnTo>
                  <a:lnTo>
                    <a:pt x="84" y="108"/>
                  </a:lnTo>
                  <a:lnTo>
                    <a:pt x="84" y="106"/>
                  </a:lnTo>
                  <a:lnTo>
                    <a:pt x="84" y="106"/>
                  </a:lnTo>
                  <a:lnTo>
                    <a:pt x="86" y="106"/>
                  </a:lnTo>
                  <a:lnTo>
                    <a:pt x="86" y="104"/>
                  </a:lnTo>
                  <a:lnTo>
                    <a:pt x="86" y="104"/>
                  </a:lnTo>
                  <a:lnTo>
                    <a:pt x="86" y="102"/>
                  </a:lnTo>
                  <a:lnTo>
                    <a:pt x="88" y="100"/>
                  </a:lnTo>
                  <a:lnTo>
                    <a:pt x="88" y="98"/>
                  </a:lnTo>
                  <a:lnTo>
                    <a:pt x="88" y="96"/>
                  </a:lnTo>
                  <a:lnTo>
                    <a:pt x="88" y="92"/>
                  </a:lnTo>
                  <a:lnTo>
                    <a:pt x="88" y="88"/>
                  </a:lnTo>
                  <a:lnTo>
                    <a:pt x="88" y="84"/>
                  </a:lnTo>
                  <a:lnTo>
                    <a:pt x="88" y="82"/>
                  </a:lnTo>
                  <a:lnTo>
                    <a:pt x="88" y="80"/>
                  </a:lnTo>
                  <a:lnTo>
                    <a:pt x="88" y="80"/>
                  </a:lnTo>
                  <a:lnTo>
                    <a:pt x="88" y="78"/>
                  </a:lnTo>
                  <a:lnTo>
                    <a:pt x="88" y="76"/>
                  </a:lnTo>
                  <a:lnTo>
                    <a:pt x="88" y="76"/>
                  </a:lnTo>
                  <a:lnTo>
                    <a:pt x="90" y="72"/>
                  </a:lnTo>
                  <a:lnTo>
                    <a:pt x="92" y="70"/>
                  </a:lnTo>
                  <a:lnTo>
                    <a:pt x="94" y="68"/>
                  </a:lnTo>
                  <a:lnTo>
                    <a:pt x="94" y="68"/>
                  </a:lnTo>
                  <a:lnTo>
                    <a:pt x="96" y="68"/>
                  </a:lnTo>
                  <a:lnTo>
                    <a:pt x="96" y="66"/>
                  </a:lnTo>
                  <a:lnTo>
                    <a:pt x="100" y="64"/>
                  </a:lnTo>
                  <a:lnTo>
                    <a:pt x="102" y="64"/>
                  </a:lnTo>
                  <a:lnTo>
                    <a:pt x="104" y="64"/>
                  </a:lnTo>
                  <a:lnTo>
                    <a:pt x="104" y="62"/>
                  </a:lnTo>
                  <a:lnTo>
                    <a:pt x="104" y="62"/>
                  </a:lnTo>
                  <a:lnTo>
                    <a:pt x="106" y="62"/>
                  </a:lnTo>
                  <a:lnTo>
                    <a:pt x="106" y="60"/>
                  </a:lnTo>
                  <a:lnTo>
                    <a:pt x="106" y="60"/>
                  </a:lnTo>
                  <a:lnTo>
                    <a:pt x="108" y="56"/>
                  </a:lnTo>
                  <a:lnTo>
                    <a:pt x="110" y="52"/>
                  </a:lnTo>
                  <a:lnTo>
                    <a:pt x="110" y="48"/>
                  </a:lnTo>
                  <a:lnTo>
                    <a:pt x="110" y="46"/>
                  </a:lnTo>
                  <a:lnTo>
                    <a:pt x="110" y="44"/>
                  </a:lnTo>
                  <a:lnTo>
                    <a:pt x="110" y="42"/>
                  </a:lnTo>
                  <a:lnTo>
                    <a:pt x="110" y="40"/>
                  </a:lnTo>
                  <a:lnTo>
                    <a:pt x="110" y="38"/>
                  </a:lnTo>
                  <a:lnTo>
                    <a:pt x="110" y="36"/>
                  </a:lnTo>
                  <a:lnTo>
                    <a:pt x="110" y="36"/>
                  </a:lnTo>
                  <a:lnTo>
                    <a:pt x="110" y="34"/>
                  </a:lnTo>
                  <a:lnTo>
                    <a:pt x="108" y="34"/>
                  </a:lnTo>
                  <a:lnTo>
                    <a:pt x="108" y="32"/>
                  </a:lnTo>
                  <a:lnTo>
                    <a:pt x="108" y="32"/>
                  </a:lnTo>
                  <a:lnTo>
                    <a:pt x="106" y="32"/>
                  </a:lnTo>
                  <a:lnTo>
                    <a:pt x="104" y="32"/>
                  </a:lnTo>
                  <a:lnTo>
                    <a:pt x="104" y="32"/>
                  </a:lnTo>
                  <a:lnTo>
                    <a:pt x="100" y="32"/>
                  </a:lnTo>
                  <a:lnTo>
                    <a:pt x="100" y="32"/>
                  </a:lnTo>
                  <a:lnTo>
                    <a:pt x="98" y="30"/>
                  </a:lnTo>
                  <a:lnTo>
                    <a:pt x="98" y="30"/>
                  </a:lnTo>
                  <a:lnTo>
                    <a:pt x="96" y="30"/>
                  </a:lnTo>
                  <a:lnTo>
                    <a:pt x="96" y="30"/>
                  </a:lnTo>
                  <a:lnTo>
                    <a:pt x="96" y="28"/>
                  </a:lnTo>
                  <a:lnTo>
                    <a:pt x="96" y="28"/>
                  </a:lnTo>
                  <a:lnTo>
                    <a:pt x="96" y="28"/>
                  </a:lnTo>
                  <a:lnTo>
                    <a:pt x="96" y="26"/>
                  </a:lnTo>
                  <a:lnTo>
                    <a:pt x="96" y="24"/>
                  </a:lnTo>
                  <a:lnTo>
                    <a:pt x="96" y="20"/>
                  </a:lnTo>
                  <a:lnTo>
                    <a:pt x="96" y="18"/>
                  </a:lnTo>
                  <a:lnTo>
                    <a:pt x="96" y="18"/>
                  </a:lnTo>
                  <a:lnTo>
                    <a:pt x="96" y="18"/>
                  </a:lnTo>
                  <a:lnTo>
                    <a:pt x="96" y="16"/>
                  </a:lnTo>
                  <a:lnTo>
                    <a:pt x="96" y="16"/>
                  </a:lnTo>
                  <a:lnTo>
                    <a:pt x="94" y="16"/>
                  </a:lnTo>
                  <a:lnTo>
                    <a:pt x="94" y="14"/>
                  </a:lnTo>
                  <a:lnTo>
                    <a:pt x="92" y="14"/>
                  </a:lnTo>
                  <a:lnTo>
                    <a:pt x="90" y="14"/>
                  </a:lnTo>
                  <a:lnTo>
                    <a:pt x="88" y="14"/>
                  </a:lnTo>
                  <a:lnTo>
                    <a:pt x="86" y="14"/>
                  </a:lnTo>
                  <a:lnTo>
                    <a:pt x="84" y="14"/>
                  </a:lnTo>
                  <a:lnTo>
                    <a:pt x="80" y="14"/>
                  </a:lnTo>
                  <a:lnTo>
                    <a:pt x="76" y="14"/>
                  </a:lnTo>
                  <a:lnTo>
                    <a:pt x="74" y="14"/>
                  </a:lnTo>
                  <a:lnTo>
                    <a:pt x="72" y="14"/>
                  </a:lnTo>
                  <a:lnTo>
                    <a:pt x="72" y="12"/>
                  </a:lnTo>
                  <a:lnTo>
                    <a:pt x="70" y="12"/>
                  </a:lnTo>
                  <a:lnTo>
                    <a:pt x="70" y="12"/>
                  </a:lnTo>
                  <a:lnTo>
                    <a:pt x="70" y="12"/>
                  </a:lnTo>
                  <a:lnTo>
                    <a:pt x="68" y="10"/>
                  </a:lnTo>
                  <a:lnTo>
                    <a:pt x="66" y="8"/>
                  </a:lnTo>
                  <a:lnTo>
                    <a:pt x="64" y="6"/>
                  </a:lnTo>
                  <a:lnTo>
                    <a:pt x="62" y="2"/>
                  </a:lnTo>
                  <a:lnTo>
                    <a:pt x="60" y="0"/>
                  </a:lnTo>
                  <a:lnTo>
                    <a:pt x="40" y="3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6" name="Freeform 83"/>
            <p:cNvSpPr>
              <a:spLocks/>
            </p:cNvSpPr>
            <p:nvPr/>
          </p:nvSpPr>
          <p:spPr bwMode="auto">
            <a:xfrm>
              <a:off x="5554411" y="3922204"/>
              <a:ext cx="190528" cy="245955"/>
            </a:xfrm>
            <a:custGeom>
              <a:avLst/>
              <a:gdLst>
                <a:gd name="T0" fmla="*/ 40 w 110"/>
                <a:gd name="T1" fmla="*/ 36 h 142"/>
                <a:gd name="T2" fmla="*/ 50 w 110"/>
                <a:gd name="T3" fmla="*/ 46 h 142"/>
                <a:gd name="T4" fmla="*/ 52 w 110"/>
                <a:gd name="T5" fmla="*/ 50 h 142"/>
                <a:gd name="T6" fmla="*/ 52 w 110"/>
                <a:gd name="T7" fmla="*/ 56 h 142"/>
                <a:gd name="T8" fmla="*/ 52 w 110"/>
                <a:gd name="T9" fmla="*/ 64 h 142"/>
                <a:gd name="T10" fmla="*/ 50 w 110"/>
                <a:gd name="T11" fmla="*/ 72 h 142"/>
                <a:gd name="T12" fmla="*/ 48 w 110"/>
                <a:gd name="T13" fmla="*/ 82 h 142"/>
                <a:gd name="T14" fmla="*/ 44 w 110"/>
                <a:gd name="T15" fmla="*/ 88 h 142"/>
                <a:gd name="T16" fmla="*/ 40 w 110"/>
                <a:gd name="T17" fmla="*/ 92 h 142"/>
                <a:gd name="T18" fmla="*/ 34 w 110"/>
                <a:gd name="T19" fmla="*/ 96 h 142"/>
                <a:gd name="T20" fmla="*/ 26 w 110"/>
                <a:gd name="T21" fmla="*/ 98 h 142"/>
                <a:gd name="T22" fmla="*/ 12 w 110"/>
                <a:gd name="T23" fmla="*/ 100 h 142"/>
                <a:gd name="T24" fmla="*/ 2 w 110"/>
                <a:gd name="T25" fmla="*/ 108 h 142"/>
                <a:gd name="T26" fmla="*/ 16 w 110"/>
                <a:gd name="T27" fmla="*/ 142 h 142"/>
                <a:gd name="T28" fmla="*/ 26 w 110"/>
                <a:gd name="T29" fmla="*/ 140 h 142"/>
                <a:gd name="T30" fmla="*/ 36 w 110"/>
                <a:gd name="T31" fmla="*/ 138 h 142"/>
                <a:gd name="T32" fmla="*/ 40 w 110"/>
                <a:gd name="T33" fmla="*/ 138 h 142"/>
                <a:gd name="T34" fmla="*/ 42 w 110"/>
                <a:gd name="T35" fmla="*/ 134 h 142"/>
                <a:gd name="T36" fmla="*/ 46 w 110"/>
                <a:gd name="T37" fmla="*/ 128 h 142"/>
                <a:gd name="T38" fmla="*/ 48 w 110"/>
                <a:gd name="T39" fmla="*/ 122 h 142"/>
                <a:gd name="T40" fmla="*/ 52 w 110"/>
                <a:gd name="T41" fmla="*/ 122 h 142"/>
                <a:gd name="T42" fmla="*/ 58 w 110"/>
                <a:gd name="T43" fmla="*/ 120 h 142"/>
                <a:gd name="T44" fmla="*/ 62 w 110"/>
                <a:gd name="T45" fmla="*/ 118 h 142"/>
                <a:gd name="T46" fmla="*/ 68 w 110"/>
                <a:gd name="T47" fmla="*/ 112 h 142"/>
                <a:gd name="T48" fmla="*/ 70 w 110"/>
                <a:gd name="T49" fmla="*/ 110 h 142"/>
                <a:gd name="T50" fmla="*/ 74 w 110"/>
                <a:gd name="T51" fmla="*/ 108 h 142"/>
                <a:gd name="T52" fmla="*/ 82 w 110"/>
                <a:gd name="T53" fmla="*/ 108 h 142"/>
                <a:gd name="T54" fmla="*/ 84 w 110"/>
                <a:gd name="T55" fmla="*/ 106 h 142"/>
                <a:gd name="T56" fmla="*/ 86 w 110"/>
                <a:gd name="T57" fmla="*/ 104 h 142"/>
                <a:gd name="T58" fmla="*/ 88 w 110"/>
                <a:gd name="T59" fmla="*/ 98 h 142"/>
                <a:gd name="T60" fmla="*/ 88 w 110"/>
                <a:gd name="T61" fmla="*/ 88 h 142"/>
                <a:gd name="T62" fmla="*/ 88 w 110"/>
                <a:gd name="T63" fmla="*/ 80 h 142"/>
                <a:gd name="T64" fmla="*/ 88 w 110"/>
                <a:gd name="T65" fmla="*/ 76 h 142"/>
                <a:gd name="T66" fmla="*/ 92 w 110"/>
                <a:gd name="T67" fmla="*/ 70 h 142"/>
                <a:gd name="T68" fmla="*/ 96 w 110"/>
                <a:gd name="T69" fmla="*/ 68 h 142"/>
                <a:gd name="T70" fmla="*/ 102 w 110"/>
                <a:gd name="T71" fmla="*/ 64 h 142"/>
                <a:gd name="T72" fmla="*/ 104 w 110"/>
                <a:gd name="T73" fmla="*/ 62 h 142"/>
                <a:gd name="T74" fmla="*/ 106 w 110"/>
                <a:gd name="T75" fmla="*/ 60 h 142"/>
                <a:gd name="T76" fmla="*/ 110 w 110"/>
                <a:gd name="T77" fmla="*/ 48 h 142"/>
                <a:gd name="T78" fmla="*/ 110 w 110"/>
                <a:gd name="T79" fmla="*/ 42 h 142"/>
                <a:gd name="T80" fmla="*/ 110 w 110"/>
                <a:gd name="T81" fmla="*/ 36 h 142"/>
                <a:gd name="T82" fmla="*/ 108 w 110"/>
                <a:gd name="T83" fmla="*/ 34 h 142"/>
                <a:gd name="T84" fmla="*/ 106 w 110"/>
                <a:gd name="T85" fmla="*/ 32 h 142"/>
                <a:gd name="T86" fmla="*/ 100 w 110"/>
                <a:gd name="T87" fmla="*/ 32 h 142"/>
                <a:gd name="T88" fmla="*/ 98 w 110"/>
                <a:gd name="T89" fmla="*/ 30 h 142"/>
                <a:gd name="T90" fmla="*/ 96 w 110"/>
                <a:gd name="T91" fmla="*/ 28 h 142"/>
                <a:gd name="T92" fmla="*/ 96 w 110"/>
                <a:gd name="T93" fmla="*/ 26 h 142"/>
                <a:gd name="T94" fmla="*/ 96 w 110"/>
                <a:gd name="T95" fmla="*/ 18 h 142"/>
                <a:gd name="T96" fmla="*/ 96 w 110"/>
                <a:gd name="T97" fmla="*/ 16 h 142"/>
                <a:gd name="T98" fmla="*/ 94 w 110"/>
                <a:gd name="T99" fmla="*/ 14 h 142"/>
                <a:gd name="T100" fmla="*/ 88 w 110"/>
                <a:gd name="T101" fmla="*/ 14 h 142"/>
                <a:gd name="T102" fmla="*/ 80 w 110"/>
                <a:gd name="T103" fmla="*/ 14 h 142"/>
                <a:gd name="T104" fmla="*/ 72 w 110"/>
                <a:gd name="T105" fmla="*/ 14 h 142"/>
                <a:gd name="T106" fmla="*/ 70 w 110"/>
                <a:gd name="T107" fmla="*/ 12 h 142"/>
                <a:gd name="T108" fmla="*/ 66 w 110"/>
                <a:gd name="T109" fmla="*/ 8 h 142"/>
                <a:gd name="T110" fmla="*/ 60 w 110"/>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142">
                  <a:moveTo>
                    <a:pt x="40" y="34"/>
                  </a:moveTo>
                  <a:lnTo>
                    <a:pt x="40" y="34"/>
                  </a:lnTo>
                  <a:lnTo>
                    <a:pt x="40" y="36"/>
                  </a:lnTo>
                  <a:lnTo>
                    <a:pt x="44" y="40"/>
                  </a:lnTo>
                  <a:lnTo>
                    <a:pt x="48" y="44"/>
                  </a:lnTo>
                  <a:lnTo>
                    <a:pt x="50" y="46"/>
                  </a:lnTo>
                  <a:lnTo>
                    <a:pt x="50" y="48"/>
                  </a:lnTo>
                  <a:lnTo>
                    <a:pt x="50" y="50"/>
                  </a:lnTo>
                  <a:lnTo>
                    <a:pt x="52" y="50"/>
                  </a:lnTo>
                  <a:lnTo>
                    <a:pt x="52" y="52"/>
                  </a:lnTo>
                  <a:lnTo>
                    <a:pt x="52" y="54"/>
                  </a:lnTo>
                  <a:lnTo>
                    <a:pt x="52" y="56"/>
                  </a:lnTo>
                  <a:lnTo>
                    <a:pt x="52" y="58"/>
                  </a:lnTo>
                  <a:lnTo>
                    <a:pt x="52" y="62"/>
                  </a:lnTo>
                  <a:lnTo>
                    <a:pt x="52" y="64"/>
                  </a:lnTo>
                  <a:lnTo>
                    <a:pt x="52" y="68"/>
                  </a:lnTo>
                  <a:lnTo>
                    <a:pt x="50" y="70"/>
                  </a:lnTo>
                  <a:lnTo>
                    <a:pt x="50" y="72"/>
                  </a:lnTo>
                  <a:lnTo>
                    <a:pt x="50" y="76"/>
                  </a:lnTo>
                  <a:lnTo>
                    <a:pt x="48" y="78"/>
                  </a:lnTo>
                  <a:lnTo>
                    <a:pt x="48" y="82"/>
                  </a:lnTo>
                  <a:lnTo>
                    <a:pt x="46" y="84"/>
                  </a:lnTo>
                  <a:lnTo>
                    <a:pt x="46" y="86"/>
                  </a:lnTo>
                  <a:lnTo>
                    <a:pt x="44" y="88"/>
                  </a:lnTo>
                  <a:lnTo>
                    <a:pt x="42" y="90"/>
                  </a:lnTo>
                  <a:lnTo>
                    <a:pt x="42" y="92"/>
                  </a:lnTo>
                  <a:lnTo>
                    <a:pt x="40" y="92"/>
                  </a:lnTo>
                  <a:lnTo>
                    <a:pt x="40" y="94"/>
                  </a:lnTo>
                  <a:lnTo>
                    <a:pt x="38" y="94"/>
                  </a:lnTo>
                  <a:lnTo>
                    <a:pt x="34" y="96"/>
                  </a:lnTo>
                  <a:lnTo>
                    <a:pt x="32" y="96"/>
                  </a:lnTo>
                  <a:lnTo>
                    <a:pt x="28" y="98"/>
                  </a:lnTo>
                  <a:lnTo>
                    <a:pt x="26" y="98"/>
                  </a:lnTo>
                  <a:lnTo>
                    <a:pt x="22" y="98"/>
                  </a:lnTo>
                  <a:lnTo>
                    <a:pt x="18" y="100"/>
                  </a:lnTo>
                  <a:lnTo>
                    <a:pt x="12" y="100"/>
                  </a:lnTo>
                  <a:lnTo>
                    <a:pt x="6" y="100"/>
                  </a:lnTo>
                  <a:lnTo>
                    <a:pt x="0" y="100"/>
                  </a:lnTo>
                  <a:lnTo>
                    <a:pt x="2" y="108"/>
                  </a:lnTo>
                  <a:lnTo>
                    <a:pt x="6" y="118"/>
                  </a:lnTo>
                  <a:lnTo>
                    <a:pt x="12" y="132"/>
                  </a:lnTo>
                  <a:lnTo>
                    <a:pt x="16" y="142"/>
                  </a:lnTo>
                  <a:lnTo>
                    <a:pt x="18" y="142"/>
                  </a:lnTo>
                  <a:lnTo>
                    <a:pt x="22" y="140"/>
                  </a:lnTo>
                  <a:lnTo>
                    <a:pt x="26" y="140"/>
                  </a:lnTo>
                  <a:lnTo>
                    <a:pt x="30" y="140"/>
                  </a:lnTo>
                  <a:lnTo>
                    <a:pt x="34" y="140"/>
                  </a:lnTo>
                  <a:lnTo>
                    <a:pt x="36" y="138"/>
                  </a:lnTo>
                  <a:lnTo>
                    <a:pt x="38" y="138"/>
                  </a:lnTo>
                  <a:lnTo>
                    <a:pt x="40" y="138"/>
                  </a:lnTo>
                  <a:lnTo>
                    <a:pt x="40" y="138"/>
                  </a:lnTo>
                  <a:lnTo>
                    <a:pt x="40" y="136"/>
                  </a:lnTo>
                  <a:lnTo>
                    <a:pt x="42" y="136"/>
                  </a:lnTo>
                  <a:lnTo>
                    <a:pt x="42" y="134"/>
                  </a:lnTo>
                  <a:lnTo>
                    <a:pt x="44" y="132"/>
                  </a:lnTo>
                  <a:lnTo>
                    <a:pt x="44" y="130"/>
                  </a:lnTo>
                  <a:lnTo>
                    <a:pt x="46" y="128"/>
                  </a:lnTo>
                  <a:lnTo>
                    <a:pt x="46" y="126"/>
                  </a:lnTo>
                  <a:lnTo>
                    <a:pt x="48" y="124"/>
                  </a:lnTo>
                  <a:lnTo>
                    <a:pt x="48" y="122"/>
                  </a:lnTo>
                  <a:lnTo>
                    <a:pt x="50" y="122"/>
                  </a:lnTo>
                  <a:lnTo>
                    <a:pt x="50" y="122"/>
                  </a:lnTo>
                  <a:lnTo>
                    <a:pt x="52" y="122"/>
                  </a:lnTo>
                  <a:lnTo>
                    <a:pt x="54" y="120"/>
                  </a:lnTo>
                  <a:lnTo>
                    <a:pt x="56" y="120"/>
                  </a:lnTo>
                  <a:lnTo>
                    <a:pt x="58" y="120"/>
                  </a:lnTo>
                  <a:lnTo>
                    <a:pt x="60" y="120"/>
                  </a:lnTo>
                  <a:lnTo>
                    <a:pt x="62" y="118"/>
                  </a:lnTo>
                  <a:lnTo>
                    <a:pt x="62" y="118"/>
                  </a:lnTo>
                  <a:lnTo>
                    <a:pt x="64" y="116"/>
                  </a:lnTo>
                  <a:lnTo>
                    <a:pt x="66" y="114"/>
                  </a:lnTo>
                  <a:lnTo>
                    <a:pt x="68" y="112"/>
                  </a:lnTo>
                  <a:lnTo>
                    <a:pt x="68" y="110"/>
                  </a:lnTo>
                  <a:lnTo>
                    <a:pt x="70" y="110"/>
                  </a:lnTo>
                  <a:lnTo>
                    <a:pt x="70" y="110"/>
                  </a:lnTo>
                  <a:lnTo>
                    <a:pt x="70" y="108"/>
                  </a:lnTo>
                  <a:lnTo>
                    <a:pt x="72" y="108"/>
                  </a:lnTo>
                  <a:lnTo>
                    <a:pt x="74" y="108"/>
                  </a:lnTo>
                  <a:lnTo>
                    <a:pt x="78" y="108"/>
                  </a:lnTo>
                  <a:lnTo>
                    <a:pt x="80" y="108"/>
                  </a:lnTo>
                  <a:lnTo>
                    <a:pt x="82" y="108"/>
                  </a:lnTo>
                  <a:lnTo>
                    <a:pt x="84" y="108"/>
                  </a:lnTo>
                  <a:lnTo>
                    <a:pt x="84" y="106"/>
                  </a:lnTo>
                  <a:lnTo>
                    <a:pt x="84" y="106"/>
                  </a:lnTo>
                  <a:lnTo>
                    <a:pt x="86" y="106"/>
                  </a:lnTo>
                  <a:lnTo>
                    <a:pt x="86" y="104"/>
                  </a:lnTo>
                  <a:lnTo>
                    <a:pt x="86" y="104"/>
                  </a:lnTo>
                  <a:lnTo>
                    <a:pt x="86" y="102"/>
                  </a:lnTo>
                  <a:lnTo>
                    <a:pt x="88" y="100"/>
                  </a:lnTo>
                  <a:lnTo>
                    <a:pt x="88" y="98"/>
                  </a:lnTo>
                  <a:lnTo>
                    <a:pt x="88" y="96"/>
                  </a:lnTo>
                  <a:lnTo>
                    <a:pt x="88" y="92"/>
                  </a:lnTo>
                  <a:lnTo>
                    <a:pt x="88" y="88"/>
                  </a:lnTo>
                  <a:lnTo>
                    <a:pt x="88" y="84"/>
                  </a:lnTo>
                  <a:lnTo>
                    <a:pt x="88" y="82"/>
                  </a:lnTo>
                  <a:lnTo>
                    <a:pt x="88" y="80"/>
                  </a:lnTo>
                  <a:lnTo>
                    <a:pt x="88" y="80"/>
                  </a:lnTo>
                  <a:lnTo>
                    <a:pt x="88" y="78"/>
                  </a:lnTo>
                  <a:lnTo>
                    <a:pt x="88" y="76"/>
                  </a:lnTo>
                  <a:lnTo>
                    <a:pt x="88" y="76"/>
                  </a:lnTo>
                  <a:lnTo>
                    <a:pt x="90" y="72"/>
                  </a:lnTo>
                  <a:lnTo>
                    <a:pt x="92" y="70"/>
                  </a:lnTo>
                  <a:lnTo>
                    <a:pt x="94" y="68"/>
                  </a:lnTo>
                  <a:lnTo>
                    <a:pt x="94" y="68"/>
                  </a:lnTo>
                  <a:lnTo>
                    <a:pt x="96" y="68"/>
                  </a:lnTo>
                  <a:lnTo>
                    <a:pt x="96" y="66"/>
                  </a:lnTo>
                  <a:lnTo>
                    <a:pt x="100" y="64"/>
                  </a:lnTo>
                  <a:lnTo>
                    <a:pt x="102" y="64"/>
                  </a:lnTo>
                  <a:lnTo>
                    <a:pt x="104" y="64"/>
                  </a:lnTo>
                  <a:lnTo>
                    <a:pt x="104" y="62"/>
                  </a:lnTo>
                  <a:lnTo>
                    <a:pt x="104" y="62"/>
                  </a:lnTo>
                  <a:lnTo>
                    <a:pt x="106" y="62"/>
                  </a:lnTo>
                  <a:lnTo>
                    <a:pt x="106" y="60"/>
                  </a:lnTo>
                  <a:lnTo>
                    <a:pt x="106" y="60"/>
                  </a:lnTo>
                  <a:lnTo>
                    <a:pt x="108" y="56"/>
                  </a:lnTo>
                  <a:lnTo>
                    <a:pt x="110" y="52"/>
                  </a:lnTo>
                  <a:lnTo>
                    <a:pt x="110" y="48"/>
                  </a:lnTo>
                  <a:lnTo>
                    <a:pt x="110" y="46"/>
                  </a:lnTo>
                  <a:lnTo>
                    <a:pt x="110" y="44"/>
                  </a:lnTo>
                  <a:lnTo>
                    <a:pt x="110" y="42"/>
                  </a:lnTo>
                  <a:lnTo>
                    <a:pt x="110" y="40"/>
                  </a:lnTo>
                  <a:lnTo>
                    <a:pt x="110" y="38"/>
                  </a:lnTo>
                  <a:lnTo>
                    <a:pt x="110" y="36"/>
                  </a:lnTo>
                  <a:lnTo>
                    <a:pt x="110" y="36"/>
                  </a:lnTo>
                  <a:lnTo>
                    <a:pt x="110" y="34"/>
                  </a:lnTo>
                  <a:lnTo>
                    <a:pt x="108" y="34"/>
                  </a:lnTo>
                  <a:lnTo>
                    <a:pt x="108" y="32"/>
                  </a:lnTo>
                  <a:lnTo>
                    <a:pt x="108" y="32"/>
                  </a:lnTo>
                  <a:lnTo>
                    <a:pt x="106" y="32"/>
                  </a:lnTo>
                  <a:lnTo>
                    <a:pt x="104" y="32"/>
                  </a:lnTo>
                  <a:lnTo>
                    <a:pt x="104" y="32"/>
                  </a:lnTo>
                  <a:lnTo>
                    <a:pt x="100" y="32"/>
                  </a:lnTo>
                  <a:lnTo>
                    <a:pt x="100" y="32"/>
                  </a:lnTo>
                  <a:lnTo>
                    <a:pt x="98" y="30"/>
                  </a:lnTo>
                  <a:lnTo>
                    <a:pt x="98" y="30"/>
                  </a:lnTo>
                  <a:lnTo>
                    <a:pt x="96" y="30"/>
                  </a:lnTo>
                  <a:lnTo>
                    <a:pt x="96" y="30"/>
                  </a:lnTo>
                  <a:lnTo>
                    <a:pt x="96" y="28"/>
                  </a:lnTo>
                  <a:lnTo>
                    <a:pt x="96" y="28"/>
                  </a:lnTo>
                  <a:lnTo>
                    <a:pt x="96" y="28"/>
                  </a:lnTo>
                  <a:lnTo>
                    <a:pt x="96" y="26"/>
                  </a:lnTo>
                  <a:lnTo>
                    <a:pt x="96" y="24"/>
                  </a:lnTo>
                  <a:lnTo>
                    <a:pt x="96" y="20"/>
                  </a:lnTo>
                  <a:lnTo>
                    <a:pt x="96" y="18"/>
                  </a:lnTo>
                  <a:lnTo>
                    <a:pt x="96" y="18"/>
                  </a:lnTo>
                  <a:lnTo>
                    <a:pt x="96" y="18"/>
                  </a:lnTo>
                  <a:lnTo>
                    <a:pt x="96" y="16"/>
                  </a:lnTo>
                  <a:lnTo>
                    <a:pt x="96" y="16"/>
                  </a:lnTo>
                  <a:lnTo>
                    <a:pt x="94" y="16"/>
                  </a:lnTo>
                  <a:lnTo>
                    <a:pt x="94" y="14"/>
                  </a:lnTo>
                  <a:lnTo>
                    <a:pt x="92" y="14"/>
                  </a:lnTo>
                  <a:lnTo>
                    <a:pt x="90" y="14"/>
                  </a:lnTo>
                  <a:lnTo>
                    <a:pt x="88" y="14"/>
                  </a:lnTo>
                  <a:lnTo>
                    <a:pt x="86" y="14"/>
                  </a:lnTo>
                  <a:lnTo>
                    <a:pt x="84" y="14"/>
                  </a:lnTo>
                  <a:lnTo>
                    <a:pt x="80" y="14"/>
                  </a:lnTo>
                  <a:lnTo>
                    <a:pt x="76" y="14"/>
                  </a:lnTo>
                  <a:lnTo>
                    <a:pt x="74" y="14"/>
                  </a:lnTo>
                  <a:lnTo>
                    <a:pt x="72" y="14"/>
                  </a:lnTo>
                  <a:lnTo>
                    <a:pt x="72" y="12"/>
                  </a:lnTo>
                  <a:lnTo>
                    <a:pt x="70" y="12"/>
                  </a:lnTo>
                  <a:lnTo>
                    <a:pt x="70" y="12"/>
                  </a:lnTo>
                  <a:lnTo>
                    <a:pt x="70" y="12"/>
                  </a:lnTo>
                  <a:lnTo>
                    <a:pt x="68" y="10"/>
                  </a:lnTo>
                  <a:lnTo>
                    <a:pt x="66" y="8"/>
                  </a:lnTo>
                  <a:lnTo>
                    <a:pt x="64" y="6"/>
                  </a:lnTo>
                  <a:lnTo>
                    <a:pt x="62" y="2"/>
                  </a:lnTo>
                  <a:lnTo>
                    <a:pt x="60" y="0"/>
                  </a:lnTo>
                  <a:lnTo>
                    <a:pt x="40" y="3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7" name="Freeform 84"/>
            <p:cNvSpPr>
              <a:spLocks/>
            </p:cNvSpPr>
            <p:nvPr/>
          </p:nvSpPr>
          <p:spPr bwMode="auto">
            <a:xfrm>
              <a:off x="5526698" y="3887562"/>
              <a:ext cx="131638" cy="93532"/>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8" name="Freeform 85"/>
            <p:cNvSpPr>
              <a:spLocks/>
            </p:cNvSpPr>
            <p:nvPr/>
          </p:nvSpPr>
          <p:spPr bwMode="auto">
            <a:xfrm>
              <a:off x="5526698" y="3887562"/>
              <a:ext cx="131638" cy="93532"/>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599" name="Freeform 86"/>
            <p:cNvSpPr>
              <a:spLocks/>
            </p:cNvSpPr>
            <p:nvPr/>
          </p:nvSpPr>
          <p:spPr bwMode="auto">
            <a:xfrm>
              <a:off x="5201068" y="3537683"/>
              <a:ext cx="249419" cy="280596"/>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0" name="Freeform 87"/>
            <p:cNvSpPr>
              <a:spLocks/>
            </p:cNvSpPr>
            <p:nvPr/>
          </p:nvSpPr>
          <p:spPr bwMode="auto">
            <a:xfrm>
              <a:off x="5201068" y="3537683"/>
              <a:ext cx="249419" cy="280596"/>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1" name="Freeform 88"/>
            <p:cNvSpPr>
              <a:spLocks/>
            </p:cNvSpPr>
            <p:nvPr/>
          </p:nvSpPr>
          <p:spPr bwMode="auto">
            <a:xfrm>
              <a:off x="6468947" y="3821743"/>
              <a:ext cx="69283" cy="41570"/>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2" name="Freeform 89"/>
            <p:cNvSpPr>
              <a:spLocks/>
            </p:cNvSpPr>
            <p:nvPr/>
          </p:nvSpPr>
          <p:spPr bwMode="auto">
            <a:xfrm>
              <a:off x="6468947" y="3821743"/>
              <a:ext cx="69283" cy="41570"/>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3" name="Freeform 90"/>
            <p:cNvSpPr>
              <a:spLocks/>
            </p:cNvSpPr>
            <p:nvPr/>
          </p:nvSpPr>
          <p:spPr bwMode="auto">
            <a:xfrm>
              <a:off x="5093679" y="3676249"/>
              <a:ext cx="27713" cy="90068"/>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4" name="Freeform 91"/>
            <p:cNvSpPr>
              <a:spLocks/>
            </p:cNvSpPr>
            <p:nvPr/>
          </p:nvSpPr>
          <p:spPr bwMode="auto">
            <a:xfrm>
              <a:off x="5093679" y="3676249"/>
              <a:ext cx="27713" cy="90068"/>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5" name="Freeform 92"/>
            <p:cNvSpPr>
              <a:spLocks/>
            </p:cNvSpPr>
            <p:nvPr/>
          </p:nvSpPr>
          <p:spPr bwMode="auto">
            <a:xfrm>
              <a:off x="5121393" y="3620823"/>
              <a:ext cx="38106" cy="55426"/>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6" name="Freeform 93"/>
            <p:cNvSpPr>
              <a:spLocks/>
            </p:cNvSpPr>
            <p:nvPr/>
          </p:nvSpPr>
          <p:spPr bwMode="auto">
            <a:xfrm>
              <a:off x="5121393" y="3620823"/>
              <a:ext cx="38106" cy="55426"/>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7" name="Freeform 124"/>
            <p:cNvSpPr>
              <a:spLocks/>
            </p:cNvSpPr>
            <p:nvPr/>
          </p:nvSpPr>
          <p:spPr bwMode="auto">
            <a:xfrm>
              <a:off x="6361558" y="3031917"/>
              <a:ext cx="741328" cy="367200"/>
            </a:xfrm>
            <a:custGeom>
              <a:avLst/>
              <a:gdLst>
                <a:gd name="T0" fmla="*/ 14 w 428"/>
                <a:gd name="T1" fmla="*/ 72 h 212"/>
                <a:gd name="T2" fmla="*/ 50 w 428"/>
                <a:gd name="T3" fmla="*/ 64 h 212"/>
                <a:gd name="T4" fmla="*/ 72 w 428"/>
                <a:gd name="T5" fmla="*/ 64 h 212"/>
                <a:gd name="T6" fmla="*/ 80 w 428"/>
                <a:gd name="T7" fmla="*/ 72 h 212"/>
                <a:gd name="T8" fmla="*/ 92 w 428"/>
                <a:gd name="T9" fmla="*/ 74 h 212"/>
                <a:gd name="T10" fmla="*/ 104 w 428"/>
                <a:gd name="T11" fmla="*/ 80 h 212"/>
                <a:gd name="T12" fmla="*/ 124 w 428"/>
                <a:gd name="T13" fmla="*/ 78 h 212"/>
                <a:gd name="T14" fmla="*/ 128 w 428"/>
                <a:gd name="T15" fmla="*/ 72 h 212"/>
                <a:gd name="T16" fmla="*/ 120 w 428"/>
                <a:gd name="T17" fmla="*/ 58 h 212"/>
                <a:gd name="T18" fmla="*/ 116 w 428"/>
                <a:gd name="T19" fmla="*/ 52 h 212"/>
                <a:gd name="T20" fmla="*/ 126 w 428"/>
                <a:gd name="T21" fmla="*/ 52 h 212"/>
                <a:gd name="T22" fmla="*/ 130 w 428"/>
                <a:gd name="T23" fmla="*/ 44 h 212"/>
                <a:gd name="T24" fmla="*/ 126 w 428"/>
                <a:gd name="T25" fmla="*/ 20 h 212"/>
                <a:gd name="T26" fmla="*/ 126 w 428"/>
                <a:gd name="T27" fmla="*/ 0 h 212"/>
                <a:gd name="T28" fmla="*/ 136 w 428"/>
                <a:gd name="T29" fmla="*/ 0 h 212"/>
                <a:gd name="T30" fmla="*/ 164 w 428"/>
                <a:gd name="T31" fmla="*/ 10 h 212"/>
                <a:gd name="T32" fmla="*/ 176 w 428"/>
                <a:gd name="T33" fmla="*/ 14 h 212"/>
                <a:gd name="T34" fmla="*/ 188 w 428"/>
                <a:gd name="T35" fmla="*/ 34 h 212"/>
                <a:gd name="T36" fmla="*/ 198 w 428"/>
                <a:gd name="T37" fmla="*/ 38 h 212"/>
                <a:gd name="T38" fmla="*/ 236 w 428"/>
                <a:gd name="T39" fmla="*/ 38 h 212"/>
                <a:gd name="T40" fmla="*/ 258 w 428"/>
                <a:gd name="T41" fmla="*/ 46 h 212"/>
                <a:gd name="T42" fmla="*/ 274 w 428"/>
                <a:gd name="T43" fmla="*/ 52 h 212"/>
                <a:gd name="T44" fmla="*/ 278 w 428"/>
                <a:gd name="T45" fmla="*/ 60 h 212"/>
                <a:gd name="T46" fmla="*/ 286 w 428"/>
                <a:gd name="T47" fmla="*/ 66 h 212"/>
                <a:gd name="T48" fmla="*/ 308 w 428"/>
                <a:gd name="T49" fmla="*/ 62 h 212"/>
                <a:gd name="T50" fmla="*/ 318 w 428"/>
                <a:gd name="T51" fmla="*/ 56 h 212"/>
                <a:gd name="T52" fmla="*/ 324 w 428"/>
                <a:gd name="T53" fmla="*/ 48 h 212"/>
                <a:gd name="T54" fmla="*/ 334 w 428"/>
                <a:gd name="T55" fmla="*/ 56 h 212"/>
                <a:gd name="T56" fmla="*/ 342 w 428"/>
                <a:gd name="T57" fmla="*/ 52 h 212"/>
                <a:gd name="T58" fmla="*/ 354 w 428"/>
                <a:gd name="T59" fmla="*/ 40 h 212"/>
                <a:gd name="T60" fmla="*/ 368 w 428"/>
                <a:gd name="T61" fmla="*/ 40 h 212"/>
                <a:gd name="T62" fmla="*/ 376 w 428"/>
                <a:gd name="T63" fmla="*/ 58 h 212"/>
                <a:gd name="T64" fmla="*/ 376 w 428"/>
                <a:gd name="T65" fmla="*/ 88 h 212"/>
                <a:gd name="T66" fmla="*/ 382 w 428"/>
                <a:gd name="T67" fmla="*/ 98 h 212"/>
                <a:gd name="T68" fmla="*/ 398 w 428"/>
                <a:gd name="T69" fmla="*/ 92 h 212"/>
                <a:gd name="T70" fmla="*/ 416 w 428"/>
                <a:gd name="T71" fmla="*/ 92 h 212"/>
                <a:gd name="T72" fmla="*/ 428 w 428"/>
                <a:gd name="T73" fmla="*/ 104 h 212"/>
                <a:gd name="T74" fmla="*/ 422 w 428"/>
                <a:gd name="T75" fmla="*/ 112 h 212"/>
                <a:gd name="T76" fmla="*/ 398 w 428"/>
                <a:gd name="T77" fmla="*/ 120 h 212"/>
                <a:gd name="T78" fmla="*/ 366 w 428"/>
                <a:gd name="T79" fmla="*/ 142 h 212"/>
                <a:gd name="T80" fmla="*/ 354 w 428"/>
                <a:gd name="T81" fmla="*/ 154 h 212"/>
                <a:gd name="T82" fmla="*/ 340 w 428"/>
                <a:gd name="T83" fmla="*/ 148 h 212"/>
                <a:gd name="T84" fmla="*/ 334 w 428"/>
                <a:gd name="T85" fmla="*/ 150 h 212"/>
                <a:gd name="T86" fmla="*/ 336 w 428"/>
                <a:gd name="T87" fmla="*/ 174 h 212"/>
                <a:gd name="T88" fmla="*/ 326 w 428"/>
                <a:gd name="T89" fmla="*/ 190 h 212"/>
                <a:gd name="T90" fmla="*/ 308 w 428"/>
                <a:gd name="T91" fmla="*/ 200 h 212"/>
                <a:gd name="T92" fmla="*/ 286 w 428"/>
                <a:gd name="T93" fmla="*/ 196 h 212"/>
                <a:gd name="T94" fmla="*/ 276 w 428"/>
                <a:gd name="T95" fmla="*/ 202 h 212"/>
                <a:gd name="T96" fmla="*/ 256 w 428"/>
                <a:gd name="T97" fmla="*/ 210 h 212"/>
                <a:gd name="T98" fmla="*/ 244 w 428"/>
                <a:gd name="T99" fmla="*/ 210 h 212"/>
                <a:gd name="T100" fmla="*/ 214 w 428"/>
                <a:gd name="T101" fmla="*/ 196 h 212"/>
                <a:gd name="T102" fmla="*/ 162 w 428"/>
                <a:gd name="T103" fmla="*/ 194 h 212"/>
                <a:gd name="T104" fmla="*/ 130 w 428"/>
                <a:gd name="T105" fmla="*/ 190 h 212"/>
                <a:gd name="T106" fmla="*/ 118 w 428"/>
                <a:gd name="T107" fmla="*/ 178 h 212"/>
                <a:gd name="T108" fmla="*/ 108 w 428"/>
                <a:gd name="T109" fmla="*/ 160 h 212"/>
                <a:gd name="T110" fmla="*/ 78 w 428"/>
                <a:gd name="T111" fmla="*/ 150 h 212"/>
                <a:gd name="T112" fmla="*/ 48 w 428"/>
                <a:gd name="T113" fmla="*/ 144 h 212"/>
                <a:gd name="T114" fmla="*/ 38 w 428"/>
                <a:gd name="T115" fmla="*/ 132 h 212"/>
                <a:gd name="T116" fmla="*/ 32 w 428"/>
                <a:gd name="T117" fmla="*/ 108 h 212"/>
                <a:gd name="T118" fmla="*/ 26 w 428"/>
                <a:gd name="T119" fmla="*/ 100 h 212"/>
                <a:gd name="T120" fmla="*/ 6 w 428"/>
                <a:gd name="T121" fmla="*/ 9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212">
                  <a:moveTo>
                    <a:pt x="0" y="80"/>
                  </a:moveTo>
                  <a:lnTo>
                    <a:pt x="0" y="80"/>
                  </a:lnTo>
                  <a:lnTo>
                    <a:pt x="4" y="78"/>
                  </a:lnTo>
                  <a:lnTo>
                    <a:pt x="6" y="74"/>
                  </a:lnTo>
                  <a:lnTo>
                    <a:pt x="8" y="74"/>
                  </a:lnTo>
                  <a:lnTo>
                    <a:pt x="10" y="74"/>
                  </a:lnTo>
                  <a:lnTo>
                    <a:pt x="12" y="72"/>
                  </a:lnTo>
                  <a:lnTo>
                    <a:pt x="14" y="72"/>
                  </a:lnTo>
                  <a:lnTo>
                    <a:pt x="16" y="70"/>
                  </a:lnTo>
                  <a:lnTo>
                    <a:pt x="18" y="70"/>
                  </a:lnTo>
                  <a:lnTo>
                    <a:pt x="24" y="68"/>
                  </a:lnTo>
                  <a:lnTo>
                    <a:pt x="28" y="68"/>
                  </a:lnTo>
                  <a:lnTo>
                    <a:pt x="32" y="68"/>
                  </a:lnTo>
                  <a:lnTo>
                    <a:pt x="38" y="66"/>
                  </a:lnTo>
                  <a:lnTo>
                    <a:pt x="44" y="64"/>
                  </a:lnTo>
                  <a:lnTo>
                    <a:pt x="50" y="64"/>
                  </a:lnTo>
                  <a:lnTo>
                    <a:pt x="56" y="64"/>
                  </a:lnTo>
                  <a:lnTo>
                    <a:pt x="58" y="64"/>
                  </a:lnTo>
                  <a:lnTo>
                    <a:pt x="62" y="64"/>
                  </a:lnTo>
                  <a:lnTo>
                    <a:pt x="64" y="64"/>
                  </a:lnTo>
                  <a:lnTo>
                    <a:pt x="66" y="64"/>
                  </a:lnTo>
                  <a:lnTo>
                    <a:pt x="68" y="64"/>
                  </a:lnTo>
                  <a:lnTo>
                    <a:pt x="70" y="64"/>
                  </a:lnTo>
                  <a:lnTo>
                    <a:pt x="72" y="64"/>
                  </a:lnTo>
                  <a:lnTo>
                    <a:pt x="72" y="66"/>
                  </a:lnTo>
                  <a:lnTo>
                    <a:pt x="74" y="68"/>
                  </a:lnTo>
                  <a:lnTo>
                    <a:pt x="74" y="70"/>
                  </a:lnTo>
                  <a:lnTo>
                    <a:pt x="76" y="70"/>
                  </a:lnTo>
                  <a:lnTo>
                    <a:pt x="76" y="70"/>
                  </a:lnTo>
                  <a:lnTo>
                    <a:pt x="76" y="70"/>
                  </a:lnTo>
                  <a:lnTo>
                    <a:pt x="78" y="72"/>
                  </a:lnTo>
                  <a:lnTo>
                    <a:pt x="80" y="72"/>
                  </a:lnTo>
                  <a:lnTo>
                    <a:pt x="82" y="72"/>
                  </a:lnTo>
                  <a:lnTo>
                    <a:pt x="84" y="72"/>
                  </a:lnTo>
                  <a:lnTo>
                    <a:pt x="86" y="72"/>
                  </a:lnTo>
                  <a:lnTo>
                    <a:pt x="88" y="72"/>
                  </a:lnTo>
                  <a:lnTo>
                    <a:pt x="90" y="72"/>
                  </a:lnTo>
                  <a:lnTo>
                    <a:pt x="90" y="72"/>
                  </a:lnTo>
                  <a:lnTo>
                    <a:pt x="90" y="74"/>
                  </a:lnTo>
                  <a:lnTo>
                    <a:pt x="92" y="74"/>
                  </a:lnTo>
                  <a:lnTo>
                    <a:pt x="92" y="74"/>
                  </a:lnTo>
                  <a:lnTo>
                    <a:pt x="94" y="76"/>
                  </a:lnTo>
                  <a:lnTo>
                    <a:pt x="96" y="78"/>
                  </a:lnTo>
                  <a:lnTo>
                    <a:pt x="96" y="78"/>
                  </a:lnTo>
                  <a:lnTo>
                    <a:pt x="98" y="80"/>
                  </a:lnTo>
                  <a:lnTo>
                    <a:pt x="98" y="80"/>
                  </a:lnTo>
                  <a:lnTo>
                    <a:pt x="100" y="80"/>
                  </a:lnTo>
                  <a:lnTo>
                    <a:pt x="104" y="80"/>
                  </a:lnTo>
                  <a:lnTo>
                    <a:pt x="110" y="82"/>
                  </a:lnTo>
                  <a:lnTo>
                    <a:pt x="112" y="80"/>
                  </a:lnTo>
                  <a:lnTo>
                    <a:pt x="114" y="80"/>
                  </a:lnTo>
                  <a:lnTo>
                    <a:pt x="116" y="80"/>
                  </a:lnTo>
                  <a:lnTo>
                    <a:pt x="118" y="80"/>
                  </a:lnTo>
                  <a:lnTo>
                    <a:pt x="120" y="80"/>
                  </a:lnTo>
                  <a:lnTo>
                    <a:pt x="122" y="80"/>
                  </a:lnTo>
                  <a:lnTo>
                    <a:pt x="124" y="78"/>
                  </a:lnTo>
                  <a:lnTo>
                    <a:pt x="126" y="78"/>
                  </a:lnTo>
                  <a:lnTo>
                    <a:pt x="126" y="76"/>
                  </a:lnTo>
                  <a:lnTo>
                    <a:pt x="128" y="76"/>
                  </a:lnTo>
                  <a:lnTo>
                    <a:pt x="128" y="76"/>
                  </a:lnTo>
                  <a:lnTo>
                    <a:pt x="128" y="74"/>
                  </a:lnTo>
                  <a:lnTo>
                    <a:pt x="128" y="74"/>
                  </a:lnTo>
                  <a:lnTo>
                    <a:pt x="128" y="74"/>
                  </a:lnTo>
                  <a:lnTo>
                    <a:pt x="128" y="72"/>
                  </a:lnTo>
                  <a:lnTo>
                    <a:pt x="128" y="70"/>
                  </a:lnTo>
                  <a:lnTo>
                    <a:pt x="126" y="70"/>
                  </a:lnTo>
                  <a:lnTo>
                    <a:pt x="126" y="68"/>
                  </a:lnTo>
                  <a:lnTo>
                    <a:pt x="124" y="66"/>
                  </a:lnTo>
                  <a:lnTo>
                    <a:pt x="122" y="64"/>
                  </a:lnTo>
                  <a:lnTo>
                    <a:pt x="122" y="62"/>
                  </a:lnTo>
                  <a:lnTo>
                    <a:pt x="120" y="60"/>
                  </a:lnTo>
                  <a:lnTo>
                    <a:pt x="120" y="58"/>
                  </a:lnTo>
                  <a:lnTo>
                    <a:pt x="118" y="58"/>
                  </a:lnTo>
                  <a:lnTo>
                    <a:pt x="116" y="56"/>
                  </a:lnTo>
                  <a:lnTo>
                    <a:pt x="116" y="54"/>
                  </a:lnTo>
                  <a:lnTo>
                    <a:pt x="116" y="54"/>
                  </a:lnTo>
                  <a:lnTo>
                    <a:pt x="114" y="52"/>
                  </a:lnTo>
                  <a:lnTo>
                    <a:pt x="114" y="52"/>
                  </a:lnTo>
                  <a:lnTo>
                    <a:pt x="116" y="52"/>
                  </a:lnTo>
                  <a:lnTo>
                    <a:pt x="116" y="52"/>
                  </a:lnTo>
                  <a:lnTo>
                    <a:pt x="116" y="52"/>
                  </a:lnTo>
                  <a:lnTo>
                    <a:pt x="116" y="50"/>
                  </a:lnTo>
                  <a:lnTo>
                    <a:pt x="118" y="50"/>
                  </a:lnTo>
                  <a:lnTo>
                    <a:pt x="118" y="50"/>
                  </a:lnTo>
                  <a:lnTo>
                    <a:pt x="122" y="52"/>
                  </a:lnTo>
                  <a:lnTo>
                    <a:pt x="124" y="52"/>
                  </a:lnTo>
                  <a:lnTo>
                    <a:pt x="124" y="52"/>
                  </a:lnTo>
                  <a:lnTo>
                    <a:pt x="126" y="52"/>
                  </a:lnTo>
                  <a:lnTo>
                    <a:pt x="126" y="52"/>
                  </a:lnTo>
                  <a:lnTo>
                    <a:pt x="128" y="50"/>
                  </a:lnTo>
                  <a:lnTo>
                    <a:pt x="128" y="50"/>
                  </a:lnTo>
                  <a:lnTo>
                    <a:pt x="128" y="50"/>
                  </a:lnTo>
                  <a:lnTo>
                    <a:pt x="128" y="48"/>
                  </a:lnTo>
                  <a:lnTo>
                    <a:pt x="130" y="48"/>
                  </a:lnTo>
                  <a:lnTo>
                    <a:pt x="130" y="46"/>
                  </a:lnTo>
                  <a:lnTo>
                    <a:pt x="130" y="44"/>
                  </a:lnTo>
                  <a:lnTo>
                    <a:pt x="130" y="42"/>
                  </a:lnTo>
                  <a:lnTo>
                    <a:pt x="130" y="38"/>
                  </a:lnTo>
                  <a:lnTo>
                    <a:pt x="128" y="34"/>
                  </a:lnTo>
                  <a:lnTo>
                    <a:pt x="128" y="32"/>
                  </a:lnTo>
                  <a:lnTo>
                    <a:pt x="128" y="28"/>
                  </a:lnTo>
                  <a:lnTo>
                    <a:pt x="128" y="26"/>
                  </a:lnTo>
                  <a:lnTo>
                    <a:pt x="128" y="22"/>
                  </a:lnTo>
                  <a:lnTo>
                    <a:pt x="126" y="20"/>
                  </a:lnTo>
                  <a:lnTo>
                    <a:pt x="126" y="16"/>
                  </a:lnTo>
                  <a:lnTo>
                    <a:pt x="126" y="12"/>
                  </a:lnTo>
                  <a:lnTo>
                    <a:pt x="126" y="8"/>
                  </a:lnTo>
                  <a:lnTo>
                    <a:pt x="126" y="6"/>
                  </a:lnTo>
                  <a:lnTo>
                    <a:pt x="126" y="4"/>
                  </a:lnTo>
                  <a:lnTo>
                    <a:pt x="126" y="2"/>
                  </a:lnTo>
                  <a:lnTo>
                    <a:pt x="126" y="2"/>
                  </a:lnTo>
                  <a:lnTo>
                    <a:pt x="126" y="0"/>
                  </a:lnTo>
                  <a:lnTo>
                    <a:pt x="128" y="0"/>
                  </a:lnTo>
                  <a:lnTo>
                    <a:pt x="128" y="0"/>
                  </a:lnTo>
                  <a:lnTo>
                    <a:pt x="128" y="0"/>
                  </a:lnTo>
                  <a:lnTo>
                    <a:pt x="130" y="0"/>
                  </a:lnTo>
                  <a:lnTo>
                    <a:pt x="132" y="0"/>
                  </a:lnTo>
                  <a:lnTo>
                    <a:pt x="134" y="0"/>
                  </a:lnTo>
                  <a:lnTo>
                    <a:pt x="134" y="0"/>
                  </a:lnTo>
                  <a:lnTo>
                    <a:pt x="136" y="0"/>
                  </a:lnTo>
                  <a:lnTo>
                    <a:pt x="140" y="2"/>
                  </a:lnTo>
                  <a:lnTo>
                    <a:pt x="148" y="8"/>
                  </a:lnTo>
                  <a:lnTo>
                    <a:pt x="152" y="8"/>
                  </a:lnTo>
                  <a:lnTo>
                    <a:pt x="152" y="10"/>
                  </a:lnTo>
                  <a:lnTo>
                    <a:pt x="154" y="10"/>
                  </a:lnTo>
                  <a:lnTo>
                    <a:pt x="156" y="10"/>
                  </a:lnTo>
                  <a:lnTo>
                    <a:pt x="158" y="10"/>
                  </a:lnTo>
                  <a:lnTo>
                    <a:pt x="164" y="10"/>
                  </a:lnTo>
                  <a:lnTo>
                    <a:pt x="166" y="10"/>
                  </a:lnTo>
                  <a:lnTo>
                    <a:pt x="168" y="10"/>
                  </a:lnTo>
                  <a:lnTo>
                    <a:pt x="170" y="10"/>
                  </a:lnTo>
                  <a:lnTo>
                    <a:pt x="170" y="10"/>
                  </a:lnTo>
                  <a:lnTo>
                    <a:pt x="172" y="12"/>
                  </a:lnTo>
                  <a:lnTo>
                    <a:pt x="174" y="12"/>
                  </a:lnTo>
                  <a:lnTo>
                    <a:pt x="176" y="14"/>
                  </a:lnTo>
                  <a:lnTo>
                    <a:pt x="176" y="14"/>
                  </a:lnTo>
                  <a:lnTo>
                    <a:pt x="178" y="16"/>
                  </a:lnTo>
                  <a:lnTo>
                    <a:pt x="182" y="20"/>
                  </a:lnTo>
                  <a:lnTo>
                    <a:pt x="184" y="24"/>
                  </a:lnTo>
                  <a:lnTo>
                    <a:pt x="186" y="24"/>
                  </a:lnTo>
                  <a:lnTo>
                    <a:pt x="186" y="26"/>
                  </a:lnTo>
                  <a:lnTo>
                    <a:pt x="188" y="30"/>
                  </a:lnTo>
                  <a:lnTo>
                    <a:pt x="188" y="32"/>
                  </a:lnTo>
                  <a:lnTo>
                    <a:pt x="188" y="34"/>
                  </a:lnTo>
                  <a:lnTo>
                    <a:pt x="190" y="36"/>
                  </a:lnTo>
                  <a:lnTo>
                    <a:pt x="190" y="36"/>
                  </a:lnTo>
                  <a:lnTo>
                    <a:pt x="190" y="36"/>
                  </a:lnTo>
                  <a:lnTo>
                    <a:pt x="192" y="36"/>
                  </a:lnTo>
                  <a:lnTo>
                    <a:pt x="192" y="38"/>
                  </a:lnTo>
                  <a:lnTo>
                    <a:pt x="194" y="38"/>
                  </a:lnTo>
                  <a:lnTo>
                    <a:pt x="196" y="38"/>
                  </a:lnTo>
                  <a:lnTo>
                    <a:pt x="198" y="38"/>
                  </a:lnTo>
                  <a:lnTo>
                    <a:pt x="202" y="38"/>
                  </a:lnTo>
                  <a:lnTo>
                    <a:pt x="208" y="36"/>
                  </a:lnTo>
                  <a:lnTo>
                    <a:pt x="210" y="36"/>
                  </a:lnTo>
                  <a:lnTo>
                    <a:pt x="212" y="36"/>
                  </a:lnTo>
                  <a:lnTo>
                    <a:pt x="220" y="36"/>
                  </a:lnTo>
                  <a:lnTo>
                    <a:pt x="228" y="36"/>
                  </a:lnTo>
                  <a:lnTo>
                    <a:pt x="232" y="36"/>
                  </a:lnTo>
                  <a:lnTo>
                    <a:pt x="236" y="38"/>
                  </a:lnTo>
                  <a:lnTo>
                    <a:pt x="240" y="38"/>
                  </a:lnTo>
                  <a:lnTo>
                    <a:pt x="242" y="38"/>
                  </a:lnTo>
                  <a:lnTo>
                    <a:pt x="244" y="38"/>
                  </a:lnTo>
                  <a:lnTo>
                    <a:pt x="246" y="40"/>
                  </a:lnTo>
                  <a:lnTo>
                    <a:pt x="248" y="40"/>
                  </a:lnTo>
                  <a:lnTo>
                    <a:pt x="250" y="42"/>
                  </a:lnTo>
                  <a:lnTo>
                    <a:pt x="252" y="44"/>
                  </a:lnTo>
                  <a:lnTo>
                    <a:pt x="258" y="46"/>
                  </a:lnTo>
                  <a:lnTo>
                    <a:pt x="260" y="48"/>
                  </a:lnTo>
                  <a:lnTo>
                    <a:pt x="262" y="48"/>
                  </a:lnTo>
                  <a:lnTo>
                    <a:pt x="262" y="50"/>
                  </a:lnTo>
                  <a:lnTo>
                    <a:pt x="264" y="50"/>
                  </a:lnTo>
                  <a:lnTo>
                    <a:pt x="268" y="50"/>
                  </a:lnTo>
                  <a:lnTo>
                    <a:pt x="270" y="50"/>
                  </a:lnTo>
                  <a:lnTo>
                    <a:pt x="272" y="52"/>
                  </a:lnTo>
                  <a:lnTo>
                    <a:pt x="274" y="52"/>
                  </a:lnTo>
                  <a:lnTo>
                    <a:pt x="274" y="52"/>
                  </a:lnTo>
                  <a:lnTo>
                    <a:pt x="274" y="52"/>
                  </a:lnTo>
                  <a:lnTo>
                    <a:pt x="276" y="52"/>
                  </a:lnTo>
                  <a:lnTo>
                    <a:pt x="276" y="54"/>
                  </a:lnTo>
                  <a:lnTo>
                    <a:pt x="276" y="54"/>
                  </a:lnTo>
                  <a:lnTo>
                    <a:pt x="276" y="56"/>
                  </a:lnTo>
                  <a:lnTo>
                    <a:pt x="276" y="58"/>
                  </a:lnTo>
                  <a:lnTo>
                    <a:pt x="278" y="60"/>
                  </a:lnTo>
                  <a:lnTo>
                    <a:pt x="278" y="62"/>
                  </a:lnTo>
                  <a:lnTo>
                    <a:pt x="278" y="64"/>
                  </a:lnTo>
                  <a:lnTo>
                    <a:pt x="278" y="64"/>
                  </a:lnTo>
                  <a:lnTo>
                    <a:pt x="278" y="64"/>
                  </a:lnTo>
                  <a:lnTo>
                    <a:pt x="280" y="64"/>
                  </a:lnTo>
                  <a:lnTo>
                    <a:pt x="282" y="66"/>
                  </a:lnTo>
                  <a:lnTo>
                    <a:pt x="284" y="66"/>
                  </a:lnTo>
                  <a:lnTo>
                    <a:pt x="286" y="66"/>
                  </a:lnTo>
                  <a:lnTo>
                    <a:pt x="290" y="66"/>
                  </a:lnTo>
                  <a:lnTo>
                    <a:pt x="292" y="66"/>
                  </a:lnTo>
                  <a:lnTo>
                    <a:pt x="294" y="66"/>
                  </a:lnTo>
                  <a:lnTo>
                    <a:pt x="298" y="66"/>
                  </a:lnTo>
                  <a:lnTo>
                    <a:pt x="300" y="64"/>
                  </a:lnTo>
                  <a:lnTo>
                    <a:pt x="304" y="64"/>
                  </a:lnTo>
                  <a:lnTo>
                    <a:pt x="306" y="64"/>
                  </a:lnTo>
                  <a:lnTo>
                    <a:pt x="308" y="62"/>
                  </a:lnTo>
                  <a:lnTo>
                    <a:pt x="310" y="62"/>
                  </a:lnTo>
                  <a:lnTo>
                    <a:pt x="314" y="60"/>
                  </a:lnTo>
                  <a:lnTo>
                    <a:pt x="314" y="60"/>
                  </a:lnTo>
                  <a:lnTo>
                    <a:pt x="316" y="58"/>
                  </a:lnTo>
                  <a:lnTo>
                    <a:pt x="316" y="58"/>
                  </a:lnTo>
                  <a:lnTo>
                    <a:pt x="318" y="58"/>
                  </a:lnTo>
                  <a:lnTo>
                    <a:pt x="318" y="56"/>
                  </a:lnTo>
                  <a:lnTo>
                    <a:pt x="318" y="56"/>
                  </a:lnTo>
                  <a:lnTo>
                    <a:pt x="320" y="54"/>
                  </a:lnTo>
                  <a:lnTo>
                    <a:pt x="320" y="52"/>
                  </a:lnTo>
                  <a:lnTo>
                    <a:pt x="322" y="50"/>
                  </a:lnTo>
                  <a:lnTo>
                    <a:pt x="322" y="50"/>
                  </a:lnTo>
                  <a:lnTo>
                    <a:pt x="322" y="50"/>
                  </a:lnTo>
                  <a:lnTo>
                    <a:pt x="322" y="50"/>
                  </a:lnTo>
                  <a:lnTo>
                    <a:pt x="322" y="48"/>
                  </a:lnTo>
                  <a:lnTo>
                    <a:pt x="324" y="48"/>
                  </a:lnTo>
                  <a:lnTo>
                    <a:pt x="324" y="48"/>
                  </a:lnTo>
                  <a:lnTo>
                    <a:pt x="324" y="50"/>
                  </a:lnTo>
                  <a:lnTo>
                    <a:pt x="326" y="50"/>
                  </a:lnTo>
                  <a:lnTo>
                    <a:pt x="328" y="50"/>
                  </a:lnTo>
                  <a:lnTo>
                    <a:pt x="330" y="52"/>
                  </a:lnTo>
                  <a:lnTo>
                    <a:pt x="330" y="54"/>
                  </a:lnTo>
                  <a:lnTo>
                    <a:pt x="332" y="56"/>
                  </a:lnTo>
                  <a:lnTo>
                    <a:pt x="334" y="56"/>
                  </a:lnTo>
                  <a:lnTo>
                    <a:pt x="334" y="56"/>
                  </a:lnTo>
                  <a:lnTo>
                    <a:pt x="334" y="56"/>
                  </a:lnTo>
                  <a:lnTo>
                    <a:pt x="336" y="56"/>
                  </a:lnTo>
                  <a:lnTo>
                    <a:pt x="336" y="56"/>
                  </a:lnTo>
                  <a:lnTo>
                    <a:pt x="338" y="56"/>
                  </a:lnTo>
                  <a:lnTo>
                    <a:pt x="338" y="54"/>
                  </a:lnTo>
                  <a:lnTo>
                    <a:pt x="340" y="54"/>
                  </a:lnTo>
                  <a:lnTo>
                    <a:pt x="342" y="52"/>
                  </a:lnTo>
                  <a:lnTo>
                    <a:pt x="344" y="50"/>
                  </a:lnTo>
                  <a:lnTo>
                    <a:pt x="346" y="46"/>
                  </a:lnTo>
                  <a:lnTo>
                    <a:pt x="348" y="44"/>
                  </a:lnTo>
                  <a:lnTo>
                    <a:pt x="350" y="44"/>
                  </a:lnTo>
                  <a:lnTo>
                    <a:pt x="352" y="42"/>
                  </a:lnTo>
                  <a:lnTo>
                    <a:pt x="352" y="42"/>
                  </a:lnTo>
                  <a:lnTo>
                    <a:pt x="354" y="42"/>
                  </a:lnTo>
                  <a:lnTo>
                    <a:pt x="354" y="40"/>
                  </a:lnTo>
                  <a:lnTo>
                    <a:pt x="356" y="40"/>
                  </a:lnTo>
                  <a:lnTo>
                    <a:pt x="358" y="40"/>
                  </a:lnTo>
                  <a:lnTo>
                    <a:pt x="360" y="40"/>
                  </a:lnTo>
                  <a:lnTo>
                    <a:pt x="362" y="40"/>
                  </a:lnTo>
                  <a:lnTo>
                    <a:pt x="364" y="40"/>
                  </a:lnTo>
                  <a:lnTo>
                    <a:pt x="366" y="40"/>
                  </a:lnTo>
                  <a:lnTo>
                    <a:pt x="368" y="40"/>
                  </a:lnTo>
                  <a:lnTo>
                    <a:pt x="368" y="40"/>
                  </a:lnTo>
                  <a:lnTo>
                    <a:pt x="370" y="42"/>
                  </a:lnTo>
                  <a:lnTo>
                    <a:pt x="372" y="42"/>
                  </a:lnTo>
                  <a:lnTo>
                    <a:pt x="374" y="44"/>
                  </a:lnTo>
                  <a:lnTo>
                    <a:pt x="378" y="46"/>
                  </a:lnTo>
                  <a:lnTo>
                    <a:pt x="380" y="48"/>
                  </a:lnTo>
                  <a:lnTo>
                    <a:pt x="378" y="52"/>
                  </a:lnTo>
                  <a:lnTo>
                    <a:pt x="376" y="56"/>
                  </a:lnTo>
                  <a:lnTo>
                    <a:pt x="376" y="58"/>
                  </a:lnTo>
                  <a:lnTo>
                    <a:pt x="376" y="60"/>
                  </a:lnTo>
                  <a:lnTo>
                    <a:pt x="376" y="62"/>
                  </a:lnTo>
                  <a:lnTo>
                    <a:pt x="376" y="66"/>
                  </a:lnTo>
                  <a:lnTo>
                    <a:pt x="376" y="72"/>
                  </a:lnTo>
                  <a:lnTo>
                    <a:pt x="376" y="76"/>
                  </a:lnTo>
                  <a:lnTo>
                    <a:pt x="376" y="80"/>
                  </a:lnTo>
                  <a:lnTo>
                    <a:pt x="376" y="84"/>
                  </a:lnTo>
                  <a:lnTo>
                    <a:pt x="376" y="88"/>
                  </a:lnTo>
                  <a:lnTo>
                    <a:pt x="378" y="92"/>
                  </a:lnTo>
                  <a:lnTo>
                    <a:pt x="378" y="92"/>
                  </a:lnTo>
                  <a:lnTo>
                    <a:pt x="378" y="94"/>
                  </a:lnTo>
                  <a:lnTo>
                    <a:pt x="380" y="96"/>
                  </a:lnTo>
                  <a:lnTo>
                    <a:pt x="380" y="96"/>
                  </a:lnTo>
                  <a:lnTo>
                    <a:pt x="380" y="96"/>
                  </a:lnTo>
                  <a:lnTo>
                    <a:pt x="380" y="98"/>
                  </a:lnTo>
                  <a:lnTo>
                    <a:pt x="382" y="98"/>
                  </a:lnTo>
                  <a:lnTo>
                    <a:pt x="382" y="98"/>
                  </a:lnTo>
                  <a:lnTo>
                    <a:pt x="384" y="98"/>
                  </a:lnTo>
                  <a:lnTo>
                    <a:pt x="386" y="96"/>
                  </a:lnTo>
                  <a:lnTo>
                    <a:pt x="386" y="96"/>
                  </a:lnTo>
                  <a:lnTo>
                    <a:pt x="390" y="94"/>
                  </a:lnTo>
                  <a:lnTo>
                    <a:pt x="392" y="94"/>
                  </a:lnTo>
                  <a:lnTo>
                    <a:pt x="392" y="94"/>
                  </a:lnTo>
                  <a:lnTo>
                    <a:pt x="398" y="92"/>
                  </a:lnTo>
                  <a:lnTo>
                    <a:pt x="402" y="92"/>
                  </a:lnTo>
                  <a:lnTo>
                    <a:pt x="404" y="92"/>
                  </a:lnTo>
                  <a:lnTo>
                    <a:pt x="408" y="92"/>
                  </a:lnTo>
                  <a:lnTo>
                    <a:pt x="412" y="90"/>
                  </a:lnTo>
                  <a:lnTo>
                    <a:pt x="412" y="90"/>
                  </a:lnTo>
                  <a:lnTo>
                    <a:pt x="414" y="90"/>
                  </a:lnTo>
                  <a:lnTo>
                    <a:pt x="414" y="92"/>
                  </a:lnTo>
                  <a:lnTo>
                    <a:pt x="416" y="92"/>
                  </a:lnTo>
                  <a:lnTo>
                    <a:pt x="418" y="92"/>
                  </a:lnTo>
                  <a:lnTo>
                    <a:pt x="420" y="94"/>
                  </a:lnTo>
                  <a:lnTo>
                    <a:pt x="422" y="96"/>
                  </a:lnTo>
                  <a:lnTo>
                    <a:pt x="424" y="98"/>
                  </a:lnTo>
                  <a:lnTo>
                    <a:pt x="426" y="100"/>
                  </a:lnTo>
                  <a:lnTo>
                    <a:pt x="426" y="102"/>
                  </a:lnTo>
                  <a:lnTo>
                    <a:pt x="426" y="102"/>
                  </a:lnTo>
                  <a:lnTo>
                    <a:pt x="428" y="104"/>
                  </a:lnTo>
                  <a:lnTo>
                    <a:pt x="428" y="104"/>
                  </a:lnTo>
                  <a:lnTo>
                    <a:pt x="428" y="106"/>
                  </a:lnTo>
                  <a:lnTo>
                    <a:pt x="428" y="106"/>
                  </a:lnTo>
                  <a:lnTo>
                    <a:pt x="426" y="108"/>
                  </a:lnTo>
                  <a:lnTo>
                    <a:pt x="426" y="108"/>
                  </a:lnTo>
                  <a:lnTo>
                    <a:pt x="426" y="110"/>
                  </a:lnTo>
                  <a:lnTo>
                    <a:pt x="424" y="110"/>
                  </a:lnTo>
                  <a:lnTo>
                    <a:pt x="422" y="112"/>
                  </a:lnTo>
                  <a:lnTo>
                    <a:pt x="420" y="112"/>
                  </a:lnTo>
                  <a:lnTo>
                    <a:pt x="416" y="114"/>
                  </a:lnTo>
                  <a:lnTo>
                    <a:pt x="412" y="114"/>
                  </a:lnTo>
                  <a:lnTo>
                    <a:pt x="408" y="116"/>
                  </a:lnTo>
                  <a:lnTo>
                    <a:pt x="406" y="116"/>
                  </a:lnTo>
                  <a:lnTo>
                    <a:pt x="404" y="118"/>
                  </a:lnTo>
                  <a:lnTo>
                    <a:pt x="402" y="118"/>
                  </a:lnTo>
                  <a:lnTo>
                    <a:pt x="398" y="120"/>
                  </a:lnTo>
                  <a:lnTo>
                    <a:pt x="392" y="124"/>
                  </a:lnTo>
                  <a:lnTo>
                    <a:pt x="386" y="128"/>
                  </a:lnTo>
                  <a:lnTo>
                    <a:pt x="380" y="130"/>
                  </a:lnTo>
                  <a:lnTo>
                    <a:pt x="378" y="132"/>
                  </a:lnTo>
                  <a:lnTo>
                    <a:pt x="374" y="136"/>
                  </a:lnTo>
                  <a:lnTo>
                    <a:pt x="372" y="138"/>
                  </a:lnTo>
                  <a:lnTo>
                    <a:pt x="368" y="140"/>
                  </a:lnTo>
                  <a:lnTo>
                    <a:pt x="366" y="142"/>
                  </a:lnTo>
                  <a:lnTo>
                    <a:pt x="366" y="144"/>
                  </a:lnTo>
                  <a:lnTo>
                    <a:pt x="362" y="148"/>
                  </a:lnTo>
                  <a:lnTo>
                    <a:pt x="360" y="150"/>
                  </a:lnTo>
                  <a:lnTo>
                    <a:pt x="358" y="152"/>
                  </a:lnTo>
                  <a:lnTo>
                    <a:pt x="358" y="152"/>
                  </a:lnTo>
                  <a:lnTo>
                    <a:pt x="356" y="154"/>
                  </a:lnTo>
                  <a:lnTo>
                    <a:pt x="356" y="154"/>
                  </a:lnTo>
                  <a:lnTo>
                    <a:pt x="354" y="154"/>
                  </a:lnTo>
                  <a:lnTo>
                    <a:pt x="354" y="154"/>
                  </a:lnTo>
                  <a:lnTo>
                    <a:pt x="352" y="154"/>
                  </a:lnTo>
                  <a:lnTo>
                    <a:pt x="350" y="154"/>
                  </a:lnTo>
                  <a:lnTo>
                    <a:pt x="350" y="154"/>
                  </a:lnTo>
                  <a:lnTo>
                    <a:pt x="346" y="152"/>
                  </a:lnTo>
                  <a:lnTo>
                    <a:pt x="344" y="150"/>
                  </a:lnTo>
                  <a:lnTo>
                    <a:pt x="342" y="148"/>
                  </a:lnTo>
                  <a:lnTo>
                    <a:pt x="340" y="148"/>
                  </a:lnTo>
                  <a:lnTo>
                    <a:pt x="338" y="148"/>
                  </a:lnTo>
                  <a:lnTo>
                    <a:pt x="338" y="148"/>
                  </a:lnTo>
                  <a:lnTo>
                    <a:pt x="336" y="148"/>
                  </a:lnTo>
                  <a:lnTo>
                    <a:pt x="336" y="148"/>
                  </a:lnTo>
                  <a:lnTo>
                    <a:pt x="334" y="148"/>
                  </a:lnTo>
                  <a:lnTo>
                    <a:pt x="334" y="148"/>
                  </a:lnTo>
                  <a:lnTo>
                    <a:pt x="334" y="150"/>
                  </a:lnTo>
                  <a:lnTo>
                    <a:pt x="334" y="150"/>
                  </a:lnTo>
                  <a:lnTo>
                    <a:pt x="334" y="152"/>
                  </a:lnTo>
                  <a:lnTo>
                    <a:pt x="334" y="152"/>
                  </a:lnTo>
                  <a:lnTo>
                    <a:pt x="334" y="156"/>
                  </a:lnTo>
                  <a:lnTo>
                    <a:pt x="334" y="160"/>
                  </a:lnTo>
                  <a:lnTo>
                    <a:pt x="336" y="162"/>
                  </a:lnTo>
                  <a:lnTo>
                    <a:pt x="336" y="164"/>
                  </a:lnTo>
                  <a:lnTo>
                    <a:pt x="336" y="168"/>
                  </a:lnTo>
                  <a:lnTo>
                    <a:pt x="336" y="174"/>
                  </a:lnTo>
                  <a:lnTo>
                    <a:pt x="334" y="176"/>
                  </a:lnTo>
                  <a:lnTo>
                    <a:pt x="334" y="178"/>
                  </a:lnTo>
                  <a:lnTo>
                    <a:pt x="334" y="180"/>
                  </a:lnTo>
                  <a:lnTo>
                    <a:pt x="334" y="182"/>
                  </a:lnTo>
                  <a:lnTo>
                    <a:pt x="332" y="182"/>
                  </a:lnTo>
                  <a:lnTo>
                    <a:pt x="332" y="184"/>
                  </a:lnTo>
                  <a:lnTo>
                    <a:pt x="328" y="188"/>
                  </a:lnTo>
                  <a:lnTo>
                    <a:pt x="326" y="190"/>
                  </a:lnTo>
                  <a:lnTo>
                    <a:pt x="322" y="192"/>
                  </a:lnTo>
                  <a:lnTo>
                    <a:pt x="320" y="196"/>
                  </a:lnTo>
                  <a:lnTo>
                    <a:pt x="316" y="198"/>
                  </a:lnTo>
                  <a:lnTo>
                    <a:pt x="314" y="198"/>
                  </a:lnTo>
                  <a:lnTo>
                    <a:pt x="314" y="200"/>
                  </a:lnTo>
                  <a:lnTo>
                    <a:pt x="312" y="200"/>
                  </a:lnTo>
                  <a:lnTo>
                    <a:pt x="310" y="200"/>
                  </a:lnTo>
                  <a:lnTo>
                    <a:pt x="308" y="200"/>
                  </a:lnTo>
                  <a:lnTo>
                    <a:pt x="308" y="202"/>
                  </a:lnTo>
                  <a:lnTo>
                    <a:pt x="306" y="200"/>
                  </a:lnTo>
                  <a:lnTo>
                    <a:pt x="304" y="200"/>
                  </a:lnTo>
                  <a:lnTo>
                    <a:pt x="300" y="200"/>
                  </a:lnTo>
                  <a:lnTo>
                    <a:pt x="296" y="198"/>
                  </a:lnTo>
                  <a:lnTo>
                    <a:pt x="292" y="198"/>
                  </a:lnTo>
                  <a:lnTo>
                    <a:pt x="288" y="196"/>
                  </a:lnTo>
                  <a:lnTo>
                    <a:pt x="286" y="196"/>
                  </a:lnTo>
                  <a:lnTo>
                    <a:pt x="284" y="196"/>
                  </a:lnTo>
                  <a:lnTo>
                    <a:pt x="282" y="196"/>
                  </a:lnTo>
                  <a:lnTo>
                    <a:pt x="282" y="196"/>
                  </a:lnTo>
                  <a:lnTo>
                    <a:pt x="280" y="198"/>
                  </a:lnTo>
                  <a:lnTo>
                    <a:pt x="280" y="198"/>
                  </a:lnTo>
                  <a:lnTo>
                    <a:pt x="278" y="198"/>
                  </a:lnTo>
                  <a:lnTo>
                    <a:pt x="278" y="200"/>
                  </a:lnTo>
                  <a:lnTo>
                    <a:pt x="276" y="202"/>
                  </a:lnTo>
                  <a:lnTo>
                    <a:pt x="272" y="204"/>
                  </a:lnTo>
                  <a:lnTo>
                    <a:pt x="272" y="204"/>
                  </a:lnTo>
                  <a:lnTo>
                    <a:pt x="270" y="206"/>
                  </a:lnTo>
                  <a:lnTo>
                    <a:pt x="268" y="206"/>
                  </a:lnTo>
                  <a:lnTo>
                    <a:pt x="266" y="208"/>
                  </a:lnTo>
                  <a:lnTo>
                    <a:pt x="262" y="208"/>
                  </a:lnTo>
                  <a:lnTo>
                    <a:pt x="260" y="210"/>
                  </a:lnTo>
                  <a:lnTo>
                    <a:pt x="256" y="210"/>
                  </a:lnTo>
                  <a:lnTo>
                    <a:pt x="254" y="212"/>
                  </a:lnTo>
                  <a:lnTo>
                    <a:pt x="250" y="212"/>
                  </a:lnTo>
                  <a:lnTo>
                    <a:pt x="250" y="212"/>
                  </a:lnTo>
                  <a:lnTo>
                    <a:pt x="248" y="212"/>
                  </a:lnTo>
                  <a:lnTo>
                    <a:pt x="248" y="212"/>
                  </a:lnTo>
                  <a:lnTo>
                    <a:pt x="246" y="212"/>
                  </a:lnTo>
                  <a:lnTo>
                    <a:pt x="244" y="210"/>
                  </a:lnTo>
                  <a:lnTo>
                    <a:pt x="244" y="210"/>
                  </a:lnTo>
                  <a:lnTo>
                    <a:pt x="240" y="208"/>
                  </a:lnTo>
                  <a:lnTo>
                    <a:pt x="238" y="208"/>
                  </a:lnTo>
                  <a:lnTo>
                    <a:pt x="232" y="204"/>
                  </a:lnTo>
                  <a:lnTo>
                    <a:pt x="230" y="202"/>
                  </a:lnTo>
                  <a:lnTo>
                    <a:pt x="228" y="200"/>
                  </a:lnTo>
                  <a:lnTo>
                    <a:pt x="224" y="200"/>
                  </a:lnTo>
                  <a:lnTo>
                    <a:pt x="218" y="198"/>
                  </a:lnTo>
                  <a:lnTo>
                    <a:pt x="214" y="196"/>
                  </a:lnTo>
                  <a:lnTo>
                    <a:pt x="210" y="196"/>
                  </a:lnTo>
                  <a:lnTo>
                    <a:pt x="206" y="196"/>
                  </a:lnTo>
                  <a:lnTo>
                    <a:pt x="202" y="194"/>
                  </a:lnTo>
                  <a:lnTo>
                    <a:pt x="196" y="194"/>
                  </a:lnTo>
                  <a:lnTo>
                    <a:pt x="192" y="194"/>
                  </a:lnTo>
                  <a:lnTo>
                    <a:pt x="180" y="194"/>
                  </a:lnTo>
                  <a:lnTo>
                    <a:pt x="168" y="194"/>
                  </a:lnTo>
                  <a:lnTo>
                    <a:pt x="162" y="194"/>
                  </a:lnTo>
                  <a:lnTo>
                    <a:pt x="158" y="194"/>
                  </a:lnTo>
                  <a:lnTo>
                    <a:pt x="152" y="194"/>
                  </a:lnTo>
                  <a:lnTo>
                    <a:pt x="146" y="194"/>
                  </a:lnTo>
                  <a:lnTo>
                    <a:pt x="142" y="192"/>
                  </a:lnTo>
                  <a:lnTo>
                    <a:pt x="136" y="192"/>
                  </a:lnTo>
                  <a:lnTo>
                    <a:pt x="134" y="192"/>
                  </a:lnTo>
                  <a:lnTo>
                    <a:pt x="132" y="190"/>
                  </a:lnTo>
                  <a:lnTo>
                    <a:pt x="130" y="190"/>
                  </a:lnTo>
                  <a:lnTo>
                    <a:pt x="130" y="190"/>
                  </a:lnTo>
                  <a:lnTo>
                    <a:pt x="128" y="188"/>
                  </a:lnTo>
                  <a:lnTo>
                    <a:pt x="126" y="188"/>
                  </a:lnTo>
                  <a:lnTo>
                    <a:pt x="124" y="186"/>
                  </a:lnTo>
                  <a:lnTo>
                    <a:pt x="124" y="184"/>
                  </a:lnTo>
                  <a:lnTo>
                    <a:pt x="120" y="182"/>
                  </a:lnTo>
                  <a:lnTo>
                    <a:pt x="118" y="180"/>
                  </a:lnTo>
                  <a:lnTo>
                    <a:pt x="118" y="178"/>
                  </a:lnTo>
                  <a:lnTo>
                    <a:pt x="116" y="176"/>
                  </a:lnTo>
                  <a:lnTo>
                    <a:pt x="114" y="170"/>
                  </a:lnTo>
                  <a:lnTo>
                    <a:pt x="112" y="168"/>
                  </a:lnTo>
                  <a:lnTo>
                    <a:pt x="112" y="166"/>
                  </a:lnTo>
                  <a:lnTo>
                    <a:pt x="110" y="164"/>
                  </a:lnTo>
                  <a:lnTo>
                    <a:pt x="110" y="162"/>
                  </a:lnTo>
                  <a:lnTo>
                    <a:pt x="108" y="162"/>
                  </a:lnTo>
                  <a:lnTo>
                    <a:pt x="108" y="160"/>
                  </a:lnTo>
                  <a:lnTo>
                    <a:pt x="106" y="160"/>
                  </a:lnTo>
                  <a:lnTo>
                    <a:pt x="104" y="158"/>
                  </a:lnTo>
                  <a:lnTo>
                    <a:pt x="102" y="156"/>
                  </a:lnTo>
                  <a:lnTo>
                    <a:pt x="96" y="154"/>
                  </a:lnTo>
                  <a:lnTo>
                    <a:pt x="92" y="152"/>
                  </a:lnTo>
                  <a:lnTo>
                    <a:pt x="90" y="152"/>
                  </a:lnTo>
                  <a:lnTo>
                    <a:pt x="84" y="150"/>
                  </a:lnTo>
                  <a:lnTo>
                    <a:pt x="78" y="150"/>
                  </a:lnTo>
                  <a:lnTo>
                    <a:pt x="74" y="148"/>
                  </a:lnTo>
                  <a:lnTo>
                    <a:pt x="70" y="148"/>
                  </a:lnTo>
                  <a:lnTo>
                    <a:pt x="60" y="148"/>
                  </a:lnTo>
                  <a:lnTo>
                    <a:pt x="56" y="146"/>
                  </a:lnTo>
                  <a:lnTo>
                    <a:pt x="54" y="146"/>
                  </a:lnTo>
                  <a:lnTo>
                    <a:pt x="52" y="146"/>
                  </a:lnTo>
                  <a:lnTo>
                    <a:pt x="50" y="146"/>
                  </a:lnTo>
                  <a:lnTo>
                    <a:pt x="48" y="144"/>
                  </a:lnTo>
                  <a:lnTo>
                    <a:pt x="46" y="144"/>
                  </a:lnTo>
                  <a:lnTo>
                    <a:pt x="44" y="142"/>
                  </a:lnTo>
                  <a:lnTo>
                    <a:pt x="44" y="142"/>
                  </a:lnTo>
                  <a:lnTo>
                    <a:pt x="42" y="142"/>
                  </a:lnTo>
                  <a:lnTo>
                    <a:pt x="42" y="140"/>
                  </a:lnTo>
                  <a:lnTo>
                    <a:pt x="42" y="138"/>
                  </a:lnTo>
                  <a:lnTo>
                    <a:pt x="40" y="136"/>
                  </a:lnTo>
                  <a:lnTo>
                    <a:pt x="38" y="132"/>
                  </a:lnTo>
                  <a:lnTo>
                    <a:pt x="38" y="128"/>
                  </a:lnTo>
                  <a:lnTo>
                    <a:pt x="36" y="124"/>
                  </a:lnTo>
                  <a:lnTo>
                    <a:pt x="36" y="122"/>
                  </a:lnTo>
                  <a:lnTo>
                    <a:pt x="34" y="118"/>
                  </a:lnTo>
                  <a:lnTo>
                    <a:pt x="34" y="118"/>
                  </a:lnTo>
                  <a:lnTo>
                    <a:pt x="34" y="116"/>
                  </a:lnTo>
                  <a:lnTo>
                    <a:pt x="32" y="110"/>
                  </a:lnTo>
                  <a:lnTo>
                    <a:pt x="32" y="108"/>
                  </a:lnTo>
                  <a:lnTo>
                    <a:pt x="32" y="106"/>
                  </a:lnTo>
                  <a:lnTo>
                    <a:pt x="30" y="104"/>
                  </a:lnTo>
                  <a:lnTo>
                    <a:pt x="30" y="104"/>
                  </a:lnTo>
                  <a:lnTo>
                    <a:pt x="30" y="102"/>
                  </a:lnTo>
                  <a:lnTo>
                    <a:pt x="28" y="102"/>
                  </a:lnTo>
                  <a:lnTo>
                    <a:pt x="28" y="102"/>
                  </a:lnTo>
                  <a:lnTo>
                    <a:pt x="26" y="100"/>
                  </a:lnTo>
                  <a:lnTo>
                    <a:pt x="26" y="100"/>
                  </a:lnTo>
                  <a:lnTo>
                    <a:pt x="22" y="98"/>
                  </a:lnTo>
                  <a:lnTo>
                    <a:pt x="18" y="96"/>
                  </a:lnTo>
                  <a:lnTo>
                    <a:pt x="16" y="96"/>
                  </a:lnTo>
                  <a:lnTo>
                    <a:pt x="12" y="94"/>
                  </a:lnTo>
                  <a:lnTo>
                    <a:pt x="10" y="92"/>
                  </a:lnTo>
                  <a:lnTo>
                    <a:pt x="8" y="92"/>
                  </a:lnTo>
                  <a:lnTo>
                    <a:pt x="8" y="92"/>
                  </a:lnTo>
                  <a:lnTo>
                    <a:pt x="6" y="90"/>
                  </a:lnTo>
                  <a:lnTo>
                    <a:pt x="6" y="88"/>
                  </a:lnTo>
                  <a:lnTo>
                    <a:pt x="4" y="86"/>
                  </a:lnTo>
                  <a:lnTo>
                    <a:pt x="0" y="8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8" name="Freeform 125"/>
            <p:cNvSpPr>
              <a:spLocks/>
            </p:cNvSpPr>
            <p:nvPr/>
          </p:nvSpPr>
          <p:spPr bwMode="auto">
            <a:xfrm>
              <a:off x="6361558" y="3031917"/>
              <a:ext cx="741328" cy="367200"/>
            </a:xfrm>
            <a:custGeom>
              <a:avLst/>
              <a:gdLst>
                <a:gd name="T0" fmla="*/ 14 w 428"/>
                <a:gd name="T1" fmla="*/ 72 h 212"/>
                <a:gd name="T2" fmla="*/ 50 w 428"/>
                <a:gd name="T3" fmla="*/ 64 h 212"/>
                <a:gd name="T4" fmla="*/ 72 w 428"/>
                <a:gd name="T5" fmla="*/ 64 h 212"/>
                <a:gd name="T6" fmla="*/ 80 w 428"/>
                <a:gd name="T7" fmla="*/ 72 h 212"/>
                <a:gd name="T8" fmla="*/ 92 w 428"/>
                <a:gd name="T9" fmla="*/ 74 h 212"/>
                <a:gd name="T10" fmla="*/ 104 w 428"/>
                <a:gd name="T11" fmla="*/ 80 h 212"/>
                <a:gd name="T12" fmla="*/ 124 w 428"/>
                <a:gd name="T13" fmla="*/ 78 h 212"/>
                <a:gd name="T14" fmla="*/ 128 w 428"/>
                <a:gd name="T15" fmla="*/ 72 h 212"/>
                <a:gd name="T16" fmla="*/ 120 w 428"/>
                <a:gd name="T17" fmla="*/ 58 h 212"/>
                <a:gd name="T18" fmla="*/ 116 w 428"/>
                <a:gd name="T19" fmla="*/ 52 h 212"/>
                <a:gd name="T20" fmla="*/ 126 w 428"/>
                <a:gd name="T21" fmla="*/ 52 h 212"/>
                <a:gd name="T22" fmla="*/ 130 w 428"/>
                <a:gd name="T23" fmla="*/ 44 h 212"/>
                <a:gd name="T24" fmla="*/ 126 w 428"/>
                <a:gd name="T25" fmla="*/ 20 h 212"/>
                <a:gd name="T26" fmla="*/ 126 w 428"/>
                <a:gd name="T27" fmla="*/ 0 h 212"/>
                <a:gd name="T28" fmla="*/ 136 w 428"/>
                <a:gd name="T29" fmla="*/ 0 h 212"/>
                <a:gd name="T30" fmla="*/ 164 w 428"/>
                <a:gd name="T31" fmla="*/ 10 h 212"/>
                <a:gd name="T32" fmla="*/ 176 w 428"/>
                <a:gd name="T33" fmla="*/ 14 h 212"/>
                <a:gd name="T34" fmla="*/ 188 w 428"/>
                <a:gd name="T35" fmla="*/ 34 h 212"/>
                <a:gd name="T36" fmla="*/ 198 w 428"/>
                <a:gd name="T37" fmla="*/ 38 h 212"/>
                <a:gd name="T38" fmla="*/ 236 w 428"/>
                <a:gd name="T39" fmla="*/ 38 h 212"/>
                <a:gd name="T40" fmla="*/ 258 w 428"/>
                <a:gd name="T41" fmla="*/ 46 h 212"/>
                <a:gd name="T42" fmla="*/ 274 w 428"/>
                <a:gd name="T43" fmla="*/ 52 h 212"/>
                <a:gd name="T44" fmla="*/ 278 w 428"/>
                <a:gd name="T45" fmla="*/ 60 h 212"/>
                <a:gd name="T46" fmla="*/ 286 w 428"/>
                <a:gd name="T47" fmla="*/ 66 h 212"/>
                <a:gd name="T48" fmla="*/ 308 w 428"/>
                <a:gd name="T49" fmla="*/ 62 h 212"/>
                <a:gd name="T50" fmla="*/ 318 w 428"/>
                <a:gd name="T51" fmla="*/ 56 h 212"/>
                <a:gd name="T52" fmla="*/ 324 w 428"/>
                <a:gd name="T53" fmla="*/ 48 h 212"/>
                <a:gd name="T54" fmla="*/ 334 w 428"/>
                <a:gd name="T55" fmla="*/ 56 h 212"/>
                <a:gd name="T56" fmla="*/ 342 w 428"/>
                <a:gd name="T57" fmla="*/ 52 h 212"/>
                <a:gd name="T58" fmla="*/ 354 w 428"/>
                <a:gd name="T59" fmla="*/ 40 h 212"/>
                <a:gd name="T60" fmla="*/ 368 w 428"/>
                <a:gd name="T61" fmla="*/ 40 h 212"/>
                <a:gd name="T62" fmla="*/ 376 w 428"/>
                <a:gd name="T63" fmla="*/ 58 h 212"/>
                <a:gd name="T64" fmla="*/ 376 w 428"/>
                <a:gd name="T65" fmla="*/ 88 h 212"/>
                <a:gd name="T66" fmla="*/ 382 w 428"/>
                <a:gd name="T67" fmla="*/ 98 h 212"/>
                <a:gd name="T68" fmla="*/ 398 w 428"/>
                <a:gd name="T69" fmla="*/ 92 h 212"/>
                <a:gd name="T70" fmla="*/ 416 w 428"/>
                <a:gd name="T71" fmla="*/ 92 h 212"/>
                <a:gd name="T72" fmla="*/ 428 w 428"/>
                <a:gd name="T73" fmla="*/ 104 h 212"/>
                <a:gd name="T74" fmla="*/ 422 w 428"/>
                <a:gd name="T75" fmla="*/ 112 h 212"/>
                <a:gd name="T76" fmla="*/ 398 w 428"/>
                <a:gd name="T77" fmla="*/ 120 h 212"/>
                <a:gd name="T78" fmla="*/ 366 w 428"/>
                <a:gd name="T79" fmla="*/ 142 h 212"/>
                <a:gd name="T80" fmla="*/ 354 w 428"/>
                <a:gd name="T81" fmla="*/ 154 h 212"/>
                <a:gd name="T82" fmla="*/ 340 w 428"/>
                <a:gd name="T83" fmla="*/ 148 h 212"/>
                <a:gd name="T84" fmla="*/ 334 w 428"/>
                <a:gd name="T85" fmla="*/ 150 h 212"/>
                <a:gd name="T86" fmla="*/ 336 w 428"/>
                <a:gd name="T87" fmla="*/ 174 h 212"/>
                <a:gd name="T88" fmla="*/ 326 w 428"/>
                <a:gd name="T89" fmla="*/ 190 h 212"/>
                <a:gd name="T90" fmla="*/ 308 w 428"/>
                <a:gd name="T91" fmla="*/ 200 h 212"/>
                <a:gd name="T92" fmla="*/ 286 w 428"/>
                <a:gd name="T93" fmla="*/ 196 h 212"/>
                <a:gd name="T94" fmla="*/ 276 w 428"/>
                <a:gd name="T95" fmla="*/ 202 h 212"/>
                <a:gd name="T96" fmla="*/ 256 w 428"/>
                <a:gd name="T97" fmla="*/ 210 h 212"/>
                <a:gd name="T98" fmla="*/ 244 w 428"/>
                <a:gd name="T99" fmla="*/ 210 h 212"/>
                <a:gd name="T100" fmla="*/ 214 w 428"/>
                <a:gd name="T101" fmla="*/ 196 h 212"/>
                <a:gd name="T102" fmla="*/ 162 w 428"/>
                <a:gd name="T103" fmla="*/ 194 h 212"/>
                <a:gd name="T104" fmla="*/ 130 w 428"/>
                <a:gd name="T105" fmla="*/ 190 h 212"/>
                <a:gd name="T106" fmla="*/ 118 w 428"/>
                <a:gd name="T107" fmla="*/ 178 h 212"/>
                <a:gd name="T108" fmla="*/ 108 w 428"/>
                <a:gd name="T109" fmla="*/ 160 h 212"/>
                <a:gd name="T110" fmla="*/ 78 w 428"/>
                <a:gd name="T111" fmla="*/ 150 h 212"/>
                <a:gd name="T112" fmla="*/ 48 w 428"/>
                <a:gd name="T113" fmla="*/ 144 h 212"/>
                <a:gd name="T114" fmla="*/ 38 w 428"/>
                <a:gd name="T115" fmla="*/ 132 h 212"/>
                <a:gd name="T116" fmla="*/ 32 w 428"/>
                <a:gd name="T117" fmla="*/ 108 h 212"/>
                <a:gd name="T118" fmla="*/ 26 w 428"/>
                <a:gd name="T119" fmla="*/ 100 h 212"/>
                <a:gd name="T120" fmla="*/ 6 w 428"/>
                <a:gd name="T121" fmla="*/ 9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212">
                  <a:moveTo>
                    <a:pt x="0" y="80"/>
                  </a:moveTo>
                  <a:lnTo>
                    <a:pt x="0" y="80"/>
                  </a:lnTo>
                  <a:lnTo>
                    <a:pt x="4" y="78"/>
                  </a:lnTo>
                  <a:lnTo>
                    <a:pt x="6" y="74"/>
                  </a:lnTo>
                  <a:lnTo>
                    <a:pt x="8" y="74"/>
                  </a:lnTo>
                  <a:lnTo>
                    <a:pt x="10" y="74"/>
                  </a:lnTo>
                  <a:lnTo>
                    <a:pt x="12" y="72"/>
                  </a:lnTo>
                  <a:lnTo>
                    <a:pt x="14" y="72"/>
                  </a:lnTo>
                  <a:lnTo>
                    <a:pt x="16" y="70"/>
                  </a:lnTo>
                  <a:lnTo>
                    <a:pt x="18" y="70"/>
                  </a:lnTo>
                  <a:lnTo>
                    <a:pt x="24" y="68"/>
                  </a:lnTo>
                  <a:lnTo>
                    <a:pt x="28" y="68"/>
                  </a:lnTo>
                  <a:lnTo>
                    <a:pt x="32" y="68"/>
                  </a:lnTo>
                  <a:lnTo>
                    <a:pt x="38" y="66"/>
                  </a:lnTo>
                  <a:lnTo>
                    <a:pt x="44" y="64"/>
                  </a:lnTo>
                  <a:lnTo>
                    <a:pt x="50" y="64"/>
                  </a:lnTo>
                  <a:lnTo>
                    <a:pt x="56" y="64"/>
                  </a:lnTo>
                  <a:lnTo>
                    <a:pt x="58" y="64"/>
                  </a:lnTo>
                  <a:lnTo>
                    <a:pt x="62" y="64"/>
                  </a:lnTo>
                  <a:lnTo>
                    <a:pt x="64" y="64"/>
                  </a:lnTo>
                  <a:lnTo>
                    <a:pt x="66" y="64"/>
                  </a:lnTo>
                  <a:lnTo>
                    <a:pt x="68" y="64"/>
                  </a:lnTo>
                  <a:lnTo>
                    <a:pt x="70" y="64"/>
                  </a:lnTo>
                  <a:lnTo>
                    <a:pt x="72" y="64"/>
                  </a:lnTo>
                  <a:lnTo>
                    <a:pt x="72" y="66"/>
                  </a:lnTo>
                  <a:lnTo>
                    <a:pt x="74" y="68"/>
                  </a:lnTo>
                  <a:lnTo>
                    <a:pt x="74" y="70"/>
                  </a:lnTo>
                  <a:lnTo>
                    <a:pt x="76" y="70"/>
                  </a:lnTo>
                  <a:lnTo>
                    <a:pt x="76" y="70"/>
                  </a:lnTo>
                  <a:lnTo>
                    <a:pt x="76" y="70"/>
                  </a:lnTo>
                  <a:lnTo>
                    <a:pt x="78" y="72"/>
                  </a:lnTo>
                  <a:lnTo>
                    <a:pt x="80" y="72"/>
                  </a:lnTo>
                  <a:lnTo>
                    <a:pt x="82" y="72"/>
                  </a:lnTo>
                  <a:lnTo>
                    <a:pt x="84" y="72"/>
                  </a:lnTo>
                  <a:lnTo>
                    <a:pt x="86" y="72"/>
                  </a:lnTo>
                  <a:lnTo>
                    <a:pt x="88" y="72"/>
                  </a:lnTo>
                  <a:lnTo>
                    <a:pt x="90" y="72"/>
                  </a:lnTo>
                  <a:lnTo>
                    <a:pt x="90" y="72"/>
                  </a:lnTo>
                  <a:lnTo>
                    <a:pt x="90" y="74"/>
                  </a:lnTo>
                  <a:lnTo>
                    <a:pt x="92" y="74"/>
                  </a:lnTo>
                  <a:lnTo>
                    <a:pt x="92" y="74"/>
                  </a:lnTo>
                  <a:lnTo>
                    <a:pt x="94" y="76"/>
                  </a:lnTo>
                  <a:lnTo>
                    <a:pt x="96" y="78"/>
                  </a:lnTo>
                  <a:lnTo>
                    <a:pt x="96" y="78"/>
                  </a:lnTo>
                  <a:lnTo>
                    <a:pt x="98" y="80"/>
                  </a:lnTo>
                  <a:lnTo>
                    <a:pt x="98" y="80"/>
                  </a:lnTo>
                  <a:lnTo>
                    <a:pt x="100" y="80"/>
                  </a:lnTo>
                  <a:lnTo>
                    <a:pt x="104" y="80"/>
                  </a:lnTo>
                  <a:lnTo>
                    <a:pt x="110" y="82"/>
                  </a:lnTo>
                  <a:lnTo>
                    <a:pt x="112" y="80"/>
                  </a:lnTo>
                  <a:lnTo>
                    <a:pt x="114" y="80"/>
                  </a:lnTo>
                  <a:lnTo>
                    <a:pt x="116" y="80"/>
                  </a:lnTo>
                  <a:lnTo>
                    <a:pt x="118" y="80"/>
                  </a:lnTo>
                  <a:lnTo>
                    <a:pt x="120" y="80"/>
                  </a:lnTo>
                  <a:lnTo>
                    <a:pt x="122" y="80"/>
                  </a:lnTo>
                  <a:lnTo>
                    <a:pt x="124" y="78"/>
                  </a:lnTo>
                  <a:lnTo>
                    <a:pt x="126" y="78"/>
                  </a:lnTo>
                  <a:lnTo>
                    <a:pt x="126" y="76"/>
                  </a:lnTo>
                  <a:lnTo>
                    <a:pt x="128" y="76"/>
                  </a:lnTo>
                  <a:lnTo>
                    <a:pt x="128" y="76"/>
                  </a:lnTo>
                  <a:lnTo>
                    <a:pt x="128" y="74"/>
                  </a:lnTo>
                  <a:lnTo>
                    <a:pt x="128" y="74"/>
                  </a:lnTo>
                  <a:lnTo>
                    <a:pt x="128" y="74"/>
                  </a:lnTo>
                  <a:lnTo>
                    <a:pt x="128" y="72"/>
                  </a:lnTo>
                  <a:lnTo>
                    <a:pt x="128" y="70"/>
                  </a:lnTo>
                  <a:lnTo>
                    <a:pt x="126" y="70"/>
                  </a:lnTo>
                  <a:lnTo>
                    <a:pt x="126" y="68"/>
                  </a:lnTo>
                  <a:lnTo>
                    <a:pt x="124" y="66"/>
                  </a:lnTo>
                  <a:lnTo>
                    <a:pt x="122" y="64"/>
                  </a:lnTo>
                  <a:lnTo>
                    <a:pt x="122" y="62"/>
                  </a:lnTo>
                  <a:lnTo>
                    <a:pt x="120" y="60"/>
                  </a:lnTo>
                  <a:lnTo>
                    <a:pt x="120" y="58"/>
                  </a:lnTo>
                  <a:lnTo>
                    <a:pt x="118" y="58"/>
                  </a:lnTo>
                  <a:lnTo>
                    <a:pt x="116" y="56"/>
                  </a:lnTo>
                  <a:lnTo>
                    <a:pt x="116" y="54"/>
                  </a:lnTo>
                  <a:lnTo>
                    <a:pt x="116" y="54"/>
                  </a:lnTo>
                  <a:lnTo>
                    <a:pt x="114" y="52"/>
                  </a:lnTo>
                  <a:lnTo>
                    <a:pt x="114" y="52"/>
                  </a:lnTo>
                  <a:lnTo>
                    <a:pt x="116" y="52"/>
                  </a:lnTo>
                  <a:lnTo>
                    <a:pt x="116" y="52"/>
                  </a:lnTo>
                  <a:lnTo>
                    <a:pt x="116" y="52"/>
                  </a:lnTo>
                  <a:lnTo>
                    <a:pt x="116" y="50"/>
                  </a:lnTo>
                  <a:lnTo>
                    <a:pt x="118" y="50"/>
                  </a:lnTo>
                  <a:lnTo>
                    <a:pt x="118" y="50"/>
                  </a:lnTo>
                  <a:lnTo>
                    <a:pt x="122" y="52"/>
                  </a:lnTo>
                  <a:lnTo>
                    <a:pt x="124" y="52"/>
                  </a:lnTo>
                  <a:lnTo>
                    <a:pt x="124" y="52"/>
                  </a:lnTo>
                  <a:lnTo>
                    <a:pt x="126" y="52"/>
                  </a:lnTo>
                  <a:lnTo>
                    <a:pt x="126" y="52"/>
                  </a:lnTo>
                  <a:lnTo>
                    <a:pt x="128" y="50"/>
                  </a:lnTo>
                  <a:lnTo>
                    <a:pt x="128" y="50"/>
                  </a:lnTo>
                  <a:lnTo>
                    <a:pt x="128" y="50"/>
                  </a:lnTo>
                  <a:lnTo>
                    <a:pt x="128" y="48"/>
                  </a:lnTo>
                  <a:lnTo>
                    <a:pt x="130" y="48"/>
                  </a:lnTo>
                  <a:lnTo>
                    <a:pt x="130" y="46"/>
                  </a:lnTo>
                  <a:lnTo>
                    <a:pt x="130" y="44"/>
                  </a:lnTo>
                  <a:lnTo>
                    <a:pt x="130" y="42"/>
                  </a:lnTo>
                  <a:lnTo>
                    <a:pt x="130" y="38"/>
                  </a:lnTo>
                  <a:lnTo>
                    <a:pt x="128" y="34"/>
                  </a:lnTo>
                  <a:lnTo>
                    <a:pt x="128" y="32"/>
                  </a:lnTo>
                  <a:lnTo>
                    <a:pt x="128" y="28"/>
                  </a:lnTo>
                  <a:lnTo>
                    <a:pt x="128" y="26"/>
                  </a:lnTo>
                  <a:lnTo>
                    <a:pt x="128" y="22"/>
                  </a:lnTo>
                  <a:lnTo>
                    <a:pt x="126" y="20"/>
                  </a:lnTo>
                  <a:lnTo>
                    <a:pt x="126" y="16"/>
                  </a:lnTo>
                  <a:lnTo>
                    <a:pt x="126" y="12"/>
                  </a:lnTo>
                  <a:lnTo>
                    <a:pt x="126" y="8"/>
                  </a:lnTo>
                  <a:lnTo>
                    <a:pt x="126" y="6"/>
                  </a:lnTo>
                  <a:lnTo>
                    <a:pt x="126" y="4"/>
                  </a:lnTo>
                  <a:lnTo>
                    <a:pt x="126" y="2"/>
                  </a:lnTo>
                  <a:lnTo>
                    <a:pt x="126" y="2"/>
                  </a:lnTo>
                  <a:lnTo>
                    <a:pt x="126" y="0"/>
                  </a:lnTo>
                  <a:lnTo>
                    <a:pt x="128" y="0"/>
                  </a:lnTo>
                  <a:lnTo>
                    <a:pt x="128" y="0"/>
                  </a:lnTo>
                  <a:lnTo>
                    <a:pt x="128" y="0"/>
                  </a:lnTo>
                  <a:lnTo>
                    <a:pt x="130" y="0"/>
                  </a:lnTo>
                  <a:lnTo>
                    <a:pt x="132" y="0"/>
                  </a:lnTo>
                  <a:lnTo>
                    <a:pt x="134" y="0"/>
                  </a:lnTo>
                  <a:lnTo>
                    <a:pt x="134" y="0"/>
                  </a:lnTo>
                  <a:lnTo>
                    <a:pt x="136" y="0"/>
                  </a:lnTo>
                  <a:lnTo>
                    <a:pt x="140" y="2"/>
                  </a:lnTo>
                  <a:lnTo>
                    <a:pt x="148" y="8"/>
                  </a:lnTo>
                  <a:lnTo>
                    <a:pt x="152" y="8"/>
                  </a:lnTo>
                  <a:lnTo>
                    <a:pt x="152" y="10"/>
                  </a:lnTo>
                  <a:lnTo>
                    <a:pt x="154" y="10"/>
                  </a:lnTo>
                  <a:lnTo>
                    <a:pt x="156" y="10"/>
                  </a:lnTo>
                  <a:lnTo>
                    <a:pt x="158" y="10"/>
                  </a:lnTo>
                  <a:lnTo>
                    <a:pt x="164" y="10"/>
                  </a:lnTo>
                  <a:lnTo>
                    <a:pt x="166" y="10"/>
                  </a:lnTo>
                  <a:lnTo>
                    <a:pt x="168" y="10"/>
                  </a:lnTo>
                  <a:lnTo>
                    <a:pt x="170" y="10"/>
                  </a:lnTo>
                  <a:lnTo>
                    <a:pt x="170" y="10"/>
                  </a:lnTo>
                  <a:lnTo>
                    <a:pt x="172" y="12"/>
                  </a:lnTo>
                  <a:lnTo>
                    <a:pt x="174" y="12"/>
                  </a:lnTo>
                  <a:lnTo>
                    <a:pt x="176" y="14"/>
                  </a:lnTo>
                  <a:lnTo>
                    <a:pt x="176" y="14"/>
                  </a:lnTo>
                  <a:lnTo>
                    <a:pt x="178" y="16"/>
                  </a:lnTo>
                  <a:lnTo>
                    <a:pt x="182" y="20"/>
                  </a:lnTo>
                  <a:lnTo>
                    <a:pt x="184" y="24"/>
                  </a:lnTo>
                  <a:lnTo>
                    <a:pt x="186" y="24"/>
                  </a:lnTo>
                  <a:lnTo>
                    <a:pt x="186" y="26"/>
                  </a:lnTo>
                  <a:lnTo>
                    <a:pt x="188" y="30"/>
                  </a:lnTo>
                  <a:lnTo>
                    <a:pt x="188" y="32"/>
                  </a:lnTo>
                  <a:lnTo>
                    <a:pt x="188" y="34"/>
                  </a:lnTo>
                  <a:lnTo>
                    <a:pt x="190" y="36"/>
                  </a:lnTo>
                  <a:lnTo>
                    <a:pt x="190" y="36"/>
                  </a:lnTo>
                  <a:lnTo>
                    <a:pt x="190" y="36"/>
                  </a:lnTo>
                  <a:lnTo>
                    <a:pt x="192" y="36"/>
                  </a:lnTo>
                  <a:lnTo>
                    <a:pt x="192" y="38"/>
                  </a:lnTo>
                  <a:lnTo>
                    <a:pt x="194" y="38"/>
                  </a:lnTo>
                  <a:lnTo>
                    <a:pt x="196" y="38"/>
                  </a:lnTo>
                  <a:lnTo>
                    <a:pt x="198" y="38"/>
                  </a:lnTo>
                  <a:lnTo>
                    <a:pt x="202" y="38"/>
                  </a:lnTo>
                  <a:lnTo>
                    <a:pt x="208" y="36"/>
                  </a:lnTo>
                  <a:lnTo>
                    <a:pt x="210" y="36"/>
                  </a:lnTo>
                  <a:lnTo>
                    <a:pt x="212" y="36"/>
                  </a:lnTo>
                  <a:lnTo>
                    <a:pt x="220" y="36"/>
                  </a:lnTo>
                  <a:lnTo>
                    <a:pt x="228" y="36"/>
                  </a:lnTo>
                  <a:lnTo>
                    <a:pt x="232" y="36"/>
                  </a:lnTo>
                  <a:lnTo>
                    <a:pt x="236" y="38"/>
                  </a:lnTo>
                  <a:lnTo>
                    <a:pt x="240" y="38"/>
                  </a:lnTo>
                  <a:lnTo>
                    <a:pt x="242" y="38"/>
                  </a:lnTo>
                  <a:lnTo>
                    <a:pt x="244" y="38"/>
                  </a:lnTo>
                  <a:lnTo>
                    <a:pt x="246" y="40"/>
                  </a:lnTo>
                  <a:lnTo>
                    <a:pt x="248" y="40"/>
                  </a:lnTo>
                  <a:lnTo>
                    <a:pt x="250" y="42"/>
                  </a:lnTo>
                  <a:lnTo>
                    <a:pt x="252" y="44"/>
                  </a:lnTo>
                  <a:lnTo>
                    <a:pt x="258" y="46"/>
                  </a:lnTo>
                  <a:lnTo>
                    <a:pt x="260" y="48"/>
                  </a:lnTo>
                  <a:lnTo>
                    <a:pt x="262" y="48"/>
                  </a:lnTo>
                  <a:lnTo>
                    <a:pt x="262" y="50"/>
                  </a:lnTo>
                  <a:lnTo>
                    <a:pt x="264" y="50"/>
                  </a:lnTo>
                  <a:lnTo>
                    <a:pt x="268" y="50"/>
                  </a:lnTo>
                  <a:lnTo>
                    <a:pt x="270" y="50"/>
                  </a:lnTo>
                  <a:lnTo>
                    <a:pt x="272" y="52"/>
                  </a:lnTo>
                  <a:lnTo>
                    <a:pt x="274" y="52"/>
                  </a:lnTo>
                  <a:lnTo>
                    <a:pt x="274" y="52"/>
                  </a:lnTo>
                  <a:lnTo>
                    <a:pt x="274" y="52"/>
                  </a:lnTo>
                  <a:lnTo>
                    <a:pt x="276" y="52"/>
                  </a:lnTo>
                  <a:lnTo>
                    <a:pt x="276" y="54"/>
                  </a:lnTo>
                  <a:lnTo>
                    <a:pt x="276" y="54"/>
                  </a:lnTo>
                  <a:lnTo>
                    <a:pt x="276" y="56"/>
                  </a:lnTo>
                  <a:lnTo>
                    <a:pt x="276" y="58"/>
                  </a:lnTo>
                  <a:lnTo>
                    <a:pt x="278" y="60"/>
                  </a:lnTo>
                  <a:lnTo>
                    <a:pt x="278" y="62"/>
                  </a:lnTo>
                  <a:lnTo>
                    <a:pt x="278" y="64"/>
                  </a:lnTo>
                  <a:lnTo>
                    <a:pt x="278" y="64"/>
                  </a:lnTo>
                  <a:lnTo>
                    <a:pt x="278" y="64"/>
                  </a:lnTo>
                  <a:lnTo>
                    <a:pt x="280" y="64"/>
                  </a:lnTo>
                  <a:lnTo>
                    <a:pt x="282" y="66"/>
                  </a:lnTo>
                  <a:lnTo>
                    <a:pt x="284" y="66"/>
                  </a:lnTo>
                  <a:lnTo>
                    <a:pt x="286" y="66"/>
                  </a:lnTo>
                  <a:lnTo>
                    <a:pt x="290" y="66"/>
                  </a:lnTo>
                  <a:lnTo>
                    <a:pt x="292" y="66"/>
                  </a:lnTo>
                  <a:lnTo>
                    <a:pt x="294" y="66"/>
                  </a:lnTo>
                  <a:lnTo>
                    <a:pt x="298" y="66"/>
                  </a:lnTo>
                  <a:lnTo>
                    <a:pt x="300" y="64"/>
                  </a:lnTo>
                  <a:lnTo>
                    <a:pt x="304" y="64"/>
                  </a:lnTo>
                  <a:lnTo>
                    <a:pt x="306" y="64"/>
                  </a:lnTo>
                  <a:lnTo>
                    <a:pt x="308" y="62"/>
                  </a:lnTo>
                  <a:lnTo>
                    <a:pt x="310" y="62"/>
                  </a:lnTo>
                  <a:lnTo>
                    <a:pt x="314" y="60"/>
                  </a:lnTo>
                  <a:lnTo>
                    <a:pt x="314" y="60"/>
                  </a:lnTo>
                  <a:lnTo>
                    <a:pt x="316" y="58"/>
                  </a:lnTo>
                  <a:lnTo>
                    <a:pt x="316" y="58"/>
                  </a:lnTo>
                  <a:lnTo>
                    <a:pt x="318" y="58"/>
                  </a:lnTo>
                  <a:lnTo>
                    <a:pt x="318" y="56"/>
                  </a:lnTo>
                  <a:lnTo>
                    <a:pt x="318" y="56"/>
                  </a:lnTo>
                  <a:lnTo>
                    <a:pt x="320" y="54"/>
                  </a:lnTo>
                  <a:lnTo>
                    <a:pt x="320" y="52"/>
                  </a:lnTo>
                  <a:lnTo>
                    <a:pt x="322" y="50"/>
                  </a:lnTo>
                  <a:lnTo>
                    <a:pt x="322" y="50"/>
                  </a:lnTo>
                  <a:lnTo>
                    <a:pt x="322" y="50"/>
                  </a:lnTo>
                  <a:lnTo>
                    <a:pt x="322" y="50"/>
                  </a:lnTo>
                  <a:lnTo>
                    <a:pt x="322" y="48"/>
                  </a:lnTo>
                  <a:lnTo>
                    <a:pt x="324" y="48"/>
                  </a:lnTo>
                  <a:lnTo>
                    <a:pt x="324" y="48"/>
                  </a:lnTo>
                  <a:lnTo>
                    <a:pt x="324" y="50"/>
                  </a:lnTo>
                  <a:lnTo>
                    <a:pt x="326" y="50"/>
                  </a:lnTo>
                  <a:lnTo>
                    <a:pt x="328" y="50"/>
                  </a:lnTo>
                  <a:lnTo>
                    <a:pt x="330" y="52"/>
                  </a:lnTo>
                  <a:lnTo>
                    <a:pt x="330" y="54"/>
                  </a:lnTo>
                  <a:lnTo>
                    <a:pt x="332" y="56"/>
                  </a:lnTo>
                  <a:lnTo>
                    <a:pt x="334" y="56"/>
                  </a:lnTo>
                  <a:lnTo>
                    <a:pt x="334" y="56"/>
                  </a:lnTo>
                  <a:lnTo>
                    <a:pt x="334" y="56"/>
                  </a:lnTo>
                  <a:lnTo>
                    <a:pt x="336" y="56"/>
                  </a:lnTo>
                  <a:lnTo>
                    <a:pt x="336" y="56"/>
                  </a:lnTo>
                  <a:lnTo>
                    <a:pt x="338" y="56"/>
                  </a:lnTo>
                  <a:lnTo>
                    <a:pt x="338" y="54"/>
                  </a:lnTo>
                  <a:lnTo>
                    <a:pt x="340" y="54"/>
                  </a:lnTo>
                  <a:lnTo>
                    <a:pt x="342" y="52"/>
                  </a:lnTo>
                  <a:lnTo>
                    <a:pt x="344" y="50"/>
                  </a:lnTo>
                  <a:lnTo>
                    <a:pt x="346" y="46"/>
                  </a:lnTo>
                  <a:lnTo>
                    <a:pt x="348" y="44"/>
                  </a:lnTo>
                  <a:lnTo>
                    <a:pt x="350" y="44"/>
                  </a:lnTo>
                  <a:lnTo>
                    <a:pt x="352" y="42"/>
                  </a:lnTo>
                  <a:lnTo>
                    <a:pt x="352" y="42"/>
                  </a:lnTo>
                  <a:lnTo>
                    <a:pt x="354" y="42"/>
                  </a:lnTo>
                  <a:lnTo>
                    <a:pt x="354" y="40"/>
                  </a:lnTo>
                  <a:lnTo>
                    <a:pt x="356" y="40"/>
                  </a:lnTo>
                  <a:lnTo>
                    <a:pt x="358" y="40"/>
                  </a:lnTo>
                  <a:lnTo>
                    <a:pt x="360" y="40"/>
                  </a:lnTo>
                  <a:lnTo>
                    <a:pt x="362" y="40"/>
                  </a:lnTo>
                  <a:lnTo>
                    <a:pt x="364" y="40"/>
                  </a:lnTo>
                  <a:lnTo>
                    <a:pt x="366" y="40"/>
                  </a:lnTo>
                  <a:lnTo>
                    <a:pt x="368" y="40"/>
                  </a:lnTo>
                  <a:lnTo>
                    <a:pt x="368" y="40"/>
                  </a:lnTo>
                  <a:lnTo>
                    <a:pt x="370" y="42"/>
                  </a:lnTo>
                  <a:lnTo>
                    <a:pt x="372" y="42"/>
                  </a:lnTo>
                  <a:lnTo>
                    <a:pt x="374" y="44"/>
                  </a:lnTo>
                  <a:lnTo>
                    <a:pt x="378" y="46"/>
                  </a:lnTo>
                  <a:lnTo>
                    <a:pt x="380" y="48"/>
                  </a:lnTo>
                  <a:lnTo>
                    <a:pt x="378" y="52"/>
                  </a:lnTo>
                  <a:lnTo>
                    <a:pt x="376" y="56"/>
                  </a:lnTo>
                  <a:lnTo>
                    <a:pt x="376" y="58"/>
                  </a:lnTo>
                  <a:lnTo>
                    <a:pt x="376" y="60"/>
                  </a:lnTo>
                  <a:lnTo>
                    <a:pt x="376" y="62"/>
                  </a:lnTo>
                  <a:lnTo>
                    <a:pt x="376" y="66"/>
                  </a:lnTo>
                  <a:lnTo>
                    <a:pt x="376" y="72"/>
                  </a:lnTo>
                  <a:lnTo>
                    <a:pt x="376" y="76"/>
                  </a:lnTo>
                  <a:lnTo>
                    <a:pt x="376" y="80"/>
                  </a:lnTo>
                  <a:lnTo>
                    <a:pt x="376" y="84"/>
                  </a:lnTo>
                  <a:lnTo>
                    <a:pt x="376" y="88"/>
                  </a:lnTo>
                  <a:lnTo>
                    <a:pt x="378" y="92"/>
                  </a:lnTo>
                  <a:lnTo>
                    <a:pt x="378" y="92"/>
                  </a:lnTo>
                  <a:lnTo>
                    <a:pt x="378" y="94"/>
                  </a:lnTo>
                  <a:lnTo>
                    <a:pt x="380" y="96"/>
                  </a:lnTo>
                  <a:lnTo>
                    <a:pt x="380" y="96"/>
                  </a:lnTo>
                  <a:lnTo>
                    <a:pt x="380" y="96"/>
                  </a:lnTo>
                  <a:lnTo>
                    <a:pt x="380" y="98"/>
                  </a:lnTo>
                  <a:lnTo>
                    <a:pt x="382" y="98"/>
                  </a:lnTo>
                  <a:lnTo>
                    <a:pt x="382" y="98"/>
                  </a:lnTo>
                  <a:lnTo>
                    <a:pt x="384" y="98"/>
                  </a:lnTo>
                  <a:lnTo>
                    <a:pt x="386" y="96"/>
                  </a:lnTo>
                  <a:lnTo>
                    <a:pt x="386" y="96"/>
                  </a:lnTo>
                  <a:lnTo>
                    <a:pt x="390" y="94"/>
                  </a:lnTo>
                  <a:lnTo>
                    <a:pt x="392" y="94"/>
                  </a:lnTo>
                  <a:lnTo>
                    <a:pt x="392" y="94"/>
                  </a:lnTo>
                  <a:lnTo>
                    <a:pt x="398" y="92"/>
                  </a:lnTo>
                  <a:lnTo>
                    <a:pt x="402" y="92"/>
                  </a:lnTo>
                  <a:lnTo>
                    <a:pt x="404" y="92"/>
                  </a:lnTo>
                  <a:lnTo>
                    <a:pt x="408" y="92"/>
                  </a:lnTo>
                  <a:lnTo>
                    <a:pt x="412" y="90"/>
                  </a:lnTo>
                  <a:lnTo>
                    <a:pt x="412" y="90"/>
                  </a:lnTo>
                  <a:lnTo>
                    <a:pt x="414" y="90"/>
                  </a:lnTo>
                  <a:lnTo>
                    <a:pt x="414" y="92"/>
                  </a:lnTo>
                  <a:lnTo>
                    <a:pt x="416" y="92"/>
                  </a:lnTo>
                  <a:lnTo>
                    <a:pt x="418" y="92"/>
                  </a:lnTo>
                  <a:lnTo>
                    <a:pt x="420" y="94"/>
                  </a:lnTo>
                  <a:lnTo>
                    <a:pt x="422" y="96"/>
                  </a:lnTo>
                  <a:lnTo>
                    <a:pt x="424" y="98"/>
                  </a:lnTo>
                  <a:lnTo>
                    <a:pt x="426" y="100"/>
                  </a:lnTo>
                  <a:lnTo>
                    <a:pt x="426" y="102"/>
                  </a:lnTo>
                  <a:lnTo>
                    <a:pt x="426" y="102"/>
                  </a:lnTo>
                  <a:lnTo>
                    <a:pt x="428" y="104"/>
                  </a:lnTo>
                  <a:lnTo>
                    <a:pt x="428" y="104"/>
                  </a:lnTo>
                  <a:lnTo>
                    <a:pt x="428" y="106"/>
                  </a:lnTo>
                  <a:lnTo>
                    <a:pt x="428" y="106"/>
                  </a:lnTo>
                  <a:lnTo>
                    <a:pt x="426" y="108"/>
                  </a:lnTo>
                  <a:lnTo>
                    <a:pt x="426" y="108"/>
                  </a:lnTo>
                  <a:lnTo>
                    <a:pt x="426" y="110"/>
                  </a:lnTo>
                  <a:lnTo>
                    <a:pt x="424" y="110"/>
                  </a:lnTo>
                  <a:lnTo>
                    <a:pt x="422" y="112"/>
                  </a:lnTo>
                  <a:lnTo>
                    <a:pt x="420" y="112"/>
                  </a:lnTo>
                  <a:lnTo>
                    <a:pt x="416" y="114"/>
                  </a:lnTo>
                  <a:lnTo>
                    <a:pt x="412" y="114"/>
                  </a:lnTo>
                  <a:lnTo>
                    <a:pt x="408" y="116"/>
                  </a:lnTo>
                  <a:lnTo>
                    <a:pt x="406" y="116"/>
                  </a:lnTo>
                  <a:lnTo>
                    <a:pt x="404" y="118"/>
                  </a:lnTo>
                  <a:lnTo>
                    <a:pt x="402" y="118"/>
                  </a:lnTo>
                  <a:lnTo>
                    <a:pt x="398" y="120"/>
                  </a:lnTo>
                  <a:lnTo>
                    <a:pt x="392" y="124"/>
                  </a:lnTo>
                  <a:lnTo>
                    <a:pt x="386" y="128"/>
                  </a:lnTo>
                  <a:lnTo>
                    <a:pt x="380" y="130"/>
                  </a:lnTo>
                  <a:lnTo>
                    <a:pt x="378" y="132"/>
                  </a:lnTo>
                  <a:lnTo>
                    <a:pt x="374" y="136"/>
                  </a:lnTo>
                  <a:lnTo>
                    <a:pt x="372" y="138"/>
                  </a:lnTo>
                  <a:lnTo>
                    <a:pt x="368" y="140"/>
                  </a:lnTo>
                  <a:lnTo>
                    <a:pt x="366" y="142"/>
                  </a:lnTo>
                  <a:lnTo>
                    <a:pt x="366" y="144"/>
                  </a:lnTo>
                  <a:lnTo>
                    <a:pt x="362" y="148"/>
                  </a:lnTo>
                  <a:lnTo>
                    <a:pt x="360" y="150"/>
                  </a:lnTo>
                  <a:lnTo>
                    <a:pt x="358" y="152"/>
                  </a:lnTo>
                  <a:lnTo>
                    <a:pt x="358" y="152"/>
                  </a:lnTo>
                  <a:lnTo>
                    <a:pt x="356" y="154"/>
                  </a:lnTo>
                  <a:lnTo>
                    <a:pt x="356" y="154"/>
                  </a:lnTo>
                  <a:lnTo>
                    <a:pt x="354" y="154"/>
                  </a:lnTo>
                  <a:lnTo>
                    <a:pt x="354" y="154"/>
                  </a:lnTo>
                  <a:lnTo>
                    <a:pt x="352" y="154"/>
                  </a:lnTo>
                  <a:lnTo>
                    <a:pt x="350" y="154"/>
                  </a:lnTo>
                  <a:lnTo>
                    <a:pt x="350" y="154"/>
                  </a:lnTo>
                  <a:lnTo>
                    <a:pt x="346" y="152"/>
                  </a:lnTo>
                  <a:lnTo>
                    <a:pt x="344" y="150"/>
                  </a:lnTo>
                  <a:lnTo>
                    <a:pt x="342" y="148"/>
                  </a:lnTo>
                  <a:lnTo>
                    <a:pt x="340" y="148"/>
                  </a:lnTo>
                  <a:lnTo>
                    <a:pt x="338" y="148"/>
                  </a:lnTo>
                  <a:lnTo>
                    <a:pt x="338" y="148"/>
                  </a:lnTo>
                  <a:lnTo>
                    <a:pt x="336" y="148"/>
                  </a:lnTo>
                  <a:lnTo>
                    <a:pt x="336" y="148"/>
                  </a:lnTo>
                  <a:lnTo>
                    <a:pt x="334" y="148"/>
                  </a:lnTo>
                  <a:lnTo>
                    <a:pt x="334" y="148"/>
                  </a:lnTo>
                  <a:lnTo>
                    <a:pt x="334" y="150"/>
                  </a:lnTo>
                  <a:lnTo>
                    <a:pt x="334" y="150"/>
                  </a:lnTo>
                  <a:lnTo>
                    <a:pt x="334" y="152"/>
                  </a:lnTo>
                  <a:lnTo>
                    <a:pt x="334" y="152"/>
                  </a:lnTo>
                  <a:lnTo>
                    <a:pt x="334" y="156"/>
                  </a:lnTo>
                  <a:lnTo>
                    <a:pt x="334" y="160"/>
                  </a:lnTo>
                  <a:lnTo>
                    <a:pt x="336" y="162"/>
                  </a:lnTo>
                  <a:lnTo>
                    <a:pt x="336" y="164"/>
                  </a:lnTo>
                  <a:lnTo>
                    <a:pt x="336" y="168"/>
                  </a:lnTo>
                  <a:lnTo>
                    <a:pt x="336" y="174"/>
                  </a:lnTo>
                  <a:lnTo>
                    <a:pt x="334" y="176"/>
                  </a:lnTo>
                  <a:lnTo>
                    <a:pt x="334" y="178"/>
                  </a:lnTo>
                  <a:lnTo>
                    <a:pt x="334" y="180"/>
                  </a:lnTo>
                  <a:lnTo>
                    <a:pt x="334" y="182"/>
                  </a:lnTo>
                  <a:lnTo>
                    <a:pt x="332" y="182"/>
                  </a:lnTo>
                  <a:lnTo>
                    <a:pt x="332" y="184"/>
                  </a:lnTo>
                  <a:lnTo>
                    <a:pt x="328" y="188"/>
                  </a:lnTo>
                  <a:lnTo>
                    <a:pt x="326" y="190"/>
                  </a:lnTo>
                  <a:lnTo>
                    <a:pt x="322" y="192"/>
                  </a:lnTo>
                  <a:lnTo>
                    <a:pt x="320" y="196"/>
                  </a:lnTo>
                  <a:lnTo>
                    <a:pt x="316" y="198"/>
                  </a:lnTo>
                  <a:lnTo>
                    <a:pt x="314" y="198"/>
                  </a:lnTo>
                  <a:lnTo>
                    <a:pt x="314" y="200"/>
                  </a:lnTo>
                  <a:lnTo>
                    <a:pt x="312" y="200"/>
                  </a:lnTo>
                  <a:lnTo>
                    <a:pt x="310" y="200"/>
                  </a:lnTo>
                  <a:lnTo>
                    <a:pt x="308" y="200"/>
                  </a:lnTo>
                  <a:lnTo>
                    <a:pt x="308" y="202"/>
                  </a:lnTo>
                  <a:lnTo>
                    <a:pt x="306" y="200"/>
                  </a:lnTo>
                  <a:lnTo>
                    <a:pt x="304" y="200"/>
                  </a:lnTo>
                  <a:lnTo>
                    <a:pt x="300" y="200"/>
                  </a:lnTo>
                  <a:lnTo>
                    <a:pt x="296" y="198"/>
                  </a:lnTo>
                  <a:lnTo>
                    <a:pt x="292" y="198"/>
                  </a:lnTo>
                  <a:lnTo>
                    <a:pt x="288" y="196"/>
                  </a:lnTo>
                  <a:lnTo>
                    <a:pt x="286" y="196"/>
                  </a:lnTo>
                  <a:lnTo>
                    <a:pt x="284" y="196"/>
                  </a:lnTo>
                  <a:lnTo>
                    <a:pt x="282" y="196"/>
                  </a:lnTo>
                  <a:lnTo>
                    <a:pt x="282" y="196"/>
                  </a:lnTo>
                  <a:lnTo>
                    <a:pt x="280" y="198"/>
                  </a:lnTo>
                  <a:lnTo>
                    <a:pt x="280" y="198"/>
                  </a:lnTo>
                  <a:lnTo>
                    <a:pt x="278" y="198"/>
                  </a:lnTo>
                  <a:lnTo>
                    <a:pt x="278" y="200"/>
                  </a:lnTo>
                  <a:lnTo>
                    <a:pt x="276" y="202"/>
                  </a:lnTo>
                  <a:lnTo>
                    <a:pt x="272" y="204"/>
                  </a:lnTo>
                  <a:lnTo>
                    <a:pt x="272" y="204"/>
                  </a:lnTo>
                  <a:lnTo>
                    <a:pt x="270" y="206"/>
                  </a:lnTo>
                  <a:lnTo>
                    <a:pt x="268" y="206"/>
                  </a:lnTo>
                  <a:lnTo>
                    <a:pt x="266" y="208"/>
                  </a:lnTo>
                  <a:lnTo>
                    <a:pt x="262" y="208"/>
                  </a:lnTo>
                  <a:lnTo>
                    <a:pt x="260" y="210"/>
                  </a:lnTo>
                  <a:lnTo>
                    <a:pt x="256" y="210"/>
                  </a:lnTo>
                  <a:lnTo>
                    <a:pt x="254" y="212"/>
                  </a:lnTo>
                  <a:lnTo>
                    <a:pt x="250" y="212"/>
                  </a:lnTo>
                  <a:lnTo>
                    <a:pt x="250" y="212"/>
                  </a:lnTo>
                  <a:lnTo>
                    <a:pt x="248" y="212"/>
                  </a:lnTo>
                  <a:lnTo>
                    <a:pt x="248" y="212"/>
                  </a:lnTo>
                  <a:lnTo>
                    <a:pt x="246" y="212"/>
                  </a:lnTo>
                  <a:lnTo>
                    <a:pt x="244" y="210"/>
                  </a:lnTo>
                  <a:lnTo>
                    <a:pt x="244" y="210"/>
                  </a:lnTo>
                  <a:lnTo>
                    <a:pt x="240" y="208"/>
                  </a:lnTo>
                  <a:lnTo>
                    <a:pt x="238" y="208"/>
                  </a:lnTo>
                  <a:lnTo>
                    <a:pt x="232" y="204"/>
                  </a:lnTo>
                  <a:lnTo>
                    <a:pt x="230" y="202"/>
                  </a:lnTo>
                  <a:lnTo>
                    <a:pt x="228" y="200"/>
                  </a:lnTo>
                  <a:lnTo>
                    <a:pt x="224" y="200"/>
                  </a:lnTo>
                  <a:lnTo>
                    <a:pt x="218" y="198"/>
                  </a:lnTo>
                  <a:lnTo>
                    <a:pt x="214" y="196"/>
                  </a:lnTo>
                  <a:lnTo>
                    <a:pt x="210" y="196"/>
                  </a:lnTo>
                  <a:lnTo>
                    <a:pt x="206" y="196"/>
                  </a:lnTo>
                  <a:lnTo>
                    <a:pt x="202" y="194"/>
                  </a:lnTo>
                  <a:lnTo>
                    <a:pt x="196" y="194"/>
                  </a:lnTo>
                  <a:lnTo>
                    <a:pt x="192" y="194"/>
                  </a:lnTo>
                  <a:lnTo>
                    <a:pt x="180" y="194"/>
                  </a:lnTo>
                  <a:lnTo>
                    <a:pt x="168" y="194"/>
                  </a:lnTo>
                  <a:lnTo>
                    <a:pt x="162" y="194"/>
                  </a:lnTo>
                  <a:lnTo>
                    <a:pt x="158" y="194"/>
                  </a:lnTo>
                  <a:lnTo>
                    <a:pt x="152" y="194"/>
                  </a:lnTo>
                  <a:lnTo>
                    <a:pt x="146" y="194"/>
                  </a:lnTo>
                  <a:lnTo>
                    <a:pt x="142" y="192"/>
                  </a:lnTo>
                  <a:lnTo>
                    <a:pt x="136" y="192"/>
                  </a:lnTo>
                  <a:lnTo>
                    <a:pt x="134" y="192"/>
                  </a:lnTo>
                  <a:lnTo>
                    <a:pt x="132" y="190"/>
                  </a:lnTo>
                  <a:lnTo>
                    <a:pt x="130" y="190"/>
                  </a:lnTo>
                  <a:lnTo>
                    <a:pt x="130" y="190"/>
                  </a:lnTo>
                  <a:lnTo>
                    <a:pt x="128" y="188"/>
                  </a:lnTo>
                  <a:lnTo>
                    <a:pt x="126" y="188"/>
                  </a:lnTo>
                  <a:lnTo>
                    <a:pt x="124" y="186"/>
                  </a:lnTo>
                  <a:lnTo>
                    <a:pt x="124" y="184"/>
                  </a:lnTo>
                  <a:lnTo>
                    <a:pt x="120" y="182"/>
                  </a:lnTo>
                  <a:lnTo>
                    <a:pt x="118" y="180"/>
                  </a:lnTo>
                  <a:lnTo>
                    <a:pt x="118" y="178"/>
                  </a:lnTo>
                  <a:lnTo>
                    <a:pt x="116" y="176"/>
                  </a:lnTo>
                  <a:lnTo>
                    <a:pt x="114" y="170"/>
                  </a:lnTo>
                  <a:lnTo>
                    <a:pt x="112" y="168"/>
                  </a:lnTo>
                  <a:lnTo>
                    <a:pt x="112" y="166"/>
                  </a:lnTo>
                  <a:lnTo>
                    <a:pt x="110" y="164"/>
                  </a:lnTo>
                  <a:lnTo>
                    <a:pt x="110" y="162"/>
                  </a:lnTo>
                  <a:lnTo>
                    <a:pt x="108" y="162"/>
                  </a:lnTo>
                  <a:lnTo>
                    <a:pt x="108" y="160"/>
                  </a:lnTo>
                  <a:lnTo>
                    <a:pt x="106" y="160"/>
                  </a:lnTo>
                  <a:lnTo>
                    <a:pt x="104" y="158"/>
                  </a:lnTo>
                  <a:lnTo>
                    <a:pt x="102" y="156"/>
                  </a:lnTo>
                  <a:lnTo>
                    <a:pt x="96" y="154"/>
                  </a:lnTo>
                  <a:lnTo>
                    <a:pt x="92" y="152"/>
                  </a:lnTo>
                  <a:lnTo>
                    <a:pt x="90" y="152"/>
                  </a:lnTo>
                  <a:lnTo>
                    <a:pt x="84" y="150"/>
                  </a:lnTo>
                  <a:lnTo>
                    <a:pt x="78" y="150"/>
                  </a:lnTo>
                  <a:lnTo>
                    <a:pt x="74" y="148"/>
                  </a:lnTo>
                  <a:lnTo>
                    <a:pt x="70" y="148"/>
                  </a:lnTo>
                  <a:lnTo>
                    <a:pt x="60" y="148"/>
                  </a:lnTo>
                  <a:lnTo>
                    <a:pt x="56" y="146"/>
                  </a:lnTo>
                  <a:lnTo>
                    <a:pt x="54" y="146"/>
                  </a:lnTo>
                  <a:lnTo>
                    <a:pt x="52" y="146"/>
                  </a:lnTo>
                  <a:lnTo>
                    <a:pt x="50" y="146"/>
                  </a:lnTo>
                  <a:lnTo>
                    <a:pt x="48" y="144"/>
                  </a:lnTo>
                  <a:lnTo>
                    <a:pt x="46" y="144"/>
                  </a:lnTo>
                  <a:lnTo>
                    <a:pt x="44" y="142"/>
                  </a:lnTo>
                  <a:lnTo>
                    <a:pt x="44" y="142"/>
                  </a:lnTo>
                  <a:lnTo>
                    <a:pt x="42" y="142"/>
                  </a:lnTo>
                  <a:lnTo>
                    <a:pt x="42" y="140"/>
                  </a:lnTo>
                  <a:lnTo>
                    <a:pt x="42" y="138"/>
                  </a:lnTo>
                  <a:lnTo>
                    <a:pt x="40" y="136"/>
                  </a:lnTo>
                  <a:lnTo>
                    <a:pt x="38" y="132"/>
                  </a:lnTo>
                  <a:lnTo>
                    <a:pt x="38" y="128"/>
                  </a:lnTo>
                  <a:lnTo>
                    <a:pt x="36" y="124"/>
                  </a:lnTo>
                  <a:lnTo>
                    <a:pt x="36" y="122"/>
                  </a:lnTo>
                  <a:lnTo>
                    <a:pt x="34" y="118"/>
                  </a:lnTo>
                  <a:lnTo>
                    <a:pt x="34" y="118"/>
                  </a:lnTo>
                  <a:lnTo>
                    <a:pt x="34" y="116"/>
                  </a:lnTo>
                  <a:lnTo>
                    <a:pt x="32" y="110"/>
                  </a:lnTo>
                  <a:lnTo>
                    <a:pt x="32" y="108"/>
                  </a:lnTo>
                  <a:lnTo>
                    <a:pt x="32" y="106"/>
                  </a:lnTo>
                  <a:lnTo>
                    <a:pt x="30" y="104"/>
                  </a:lnTo>
                  <a:lnTo>
                    <a:pt x="30" y="104"/>
                  </a:lnTo>
                  <a:lnTo>
                    <a:pt x="30" y="102"/>
                  </a:lnTo>
                  <a:lnTo>
                    <a:pt x="28" y="102"/>
                  </a:lnTo>
                  <a:lnTo>
                    <a:pt x="28" y="102"/>
                  </a:lnTo>
                  <a:lnTo>
                    <a:pt x="26" y="100"/>
                  </a:lnTo>
                  <a:lnTo>
                    <a:pt x="26" y="100"/>
                  </a:lnTo>
                  <a:lnTo>
                    <a:pt x="22" y="98"/>
                  </a:lnTo>
                  <a:lnTo>
                    <a:pt x="18" y="96"/>
                  </a:lnTo>
                  <a:lnTo>
                    <a:pt x="16" y="96"/>
                  </a:lnTo>
                  <a:lnTo>
                    <a:pt x="12" y="94"/>
                  </a:lnTo>
                  <a:lnTo>
                    <a:pt x="10" y="92"/>
                  </a:lnTo>
                  <a:lnTo>
                    <a:pt x="8" y="92"/>
                  </a:lnTo>
                  <a:lnTo>
                    <a:pt x="8" y="92"/>
                  </a:lnTo>
                  <a:lnTo>
                    <a:pt x="6" y="90"/>
                  </a:lnTo>
                  <a:lnTo>
                    <a:pt x="6" y="88"/>
                  </a:lnTo>
                  <a:lnTo>
                    <a:pt x="4" y="86"/>
                  </a:lnTo>
                  <a:lnTo>
                    <a:pt x="0" y="8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09" name="Freeform 126"/>
            <p:cNvSpPr>
              <a:spLocks/>
            </p:cNvSpPr>
            <p:nvPr/>
          </p:nvSpPr>
          <p:spPr bwMode="auto">
            <a:xfrm>
              <a:off x="6261098" y="4369079"/>
              <a:ext cx="55426" cy="107389"/>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0" name="Freeform 127"/>
            <p:cNvSpPr>
              <a:spLocks/>
            </p:cNvSpPr>
            <p:nvPr/>
          </p:nvSpPr>
          <p:spPr bwMode="auto">
            <a:xfrm>
              <a:off x="6261098" y="4369079"/>
              <a:ext cx="55426" cy="107389"/>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1" name="Freeform 128"/>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2" name="Freeform 129"/>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3" name="Freeform 130"/>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4" name="Freeform 131"/>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5" name="Freeform 132"/>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6" name="Freeform 133"/>
            <p:cNvSpPr>
              <a:spLocks/>
            </p:cNvSpPr>
            <p:nvPr/>
          </p:nvSpPr>
          <p:spPr bwMode="auto">
            <a:xfrm>
              <a:off x="5114464" y="3672785"/>
              <a:ext cx="103925" cy="124709"/>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7" name="Freeform 134"/>
            <p:cNvSpPr>
              <a:spLocks/>
            </p:cNvSpPr>
            <p:nvPr/>
          </p:nvSpPr>
          <p:spPr bwMode="auto">
            <a:xfrm>
              <a:off x="5114464" y="3672785"/>
              <a:ext cx="103925" cy="124709"/>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8" name="Freeform 135"/>
            <p:cNvSpPr>
              <a:spLocks/>
            </p:cNvSpPr>
            <p:nvPr/>
          </p:nvSpPr>
          <p:spPr bwMode="auto">
            <a:xfrm>
              <a:off x="5121393" y="3551540"/>
              <a:ext cx="145494" cy="145494"/>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19" name="Freeform 136"/>
            <p:cNvSpPr>
              <a:spLocks/>
            </p:cNvSpPr>
            <p:nvPr/>
          </p:nvSpPr>
          <p:spPr bwMode="auto">
            <a:xfrm>
              <a:off x="5121393" y="3551540"/>
              <a:ext cx="145494" cy="145494"/>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0" name="Freeform 137"/>
            <p:cNvSpPr>
              <a:spLocks/>
            </p:cNvSpPr>
            <p:nvPr/>
          </p:nvSpPr>
          <p:spPr bwMode="auto">
            <a:xfrm>
              <a:off x="5741475" y="3509970"/>
              <a:ext cx="336023" cy="301381"/>
            </a:xfrm>
            <a:custGeom>
              <a:avLst/>
              <a:gdLst>
                <a:gd name="T0" fmla="*/ 154 w 194"/>
                <a:gd name="T1" fmla="*/ 24 h 174"/>
                <a:gd name="T2" fmla="*/ 146 w 194"/>
                <a:gd name="T3" fmla="*/ 20 h 174"/>
                <a:gd name="T4" fmla="*/ 144 w 194"/>
                <a:gd name="T5" fmla="*/ 10 h 174"/>
                <a:gd name="T6" fmla="*/ 140 w 194"/>
                <a:gd name="T7" fmla="*/ 2 h 174"/>
                <a:gd name="T8" fmla="*/ 136 w 194"/>
                <a:gd name="T9" fmla="*/ 0 h 174"/>
                <a:gd name="T10" fmla="*/ 132 w 194"/>
                <a:gd name="T11" fmla="*/ 0 h 174"/>
                <a:gd name="T12" fmla="*/ 130 w 194"/>
                <a:gd name="T13" fmla="*/ 6 h 174"/>
                <a:gd name="T14" fmla="*/ 126 w 194"/>
                <a:gd name="T15" fmla="*/ 12 h 174"/>
                <a:gd name="T16" fmla="*/ 118 w 194"/>
                <a:gd name="T17" fmla="*/ 14 h 174"/>
                <a:gd name="T18" fmla="*/ 104 w 194"/>
                <a:gd name="T19" fmla="*/ 18 h 174"/>
                <a:gd name="T20" fmla="*/ 86 w 194"/>
                <a:gd name="T21" fmla="*/ 18 h 174"/>
                <a:gd name="T22" fmla="*/ 72 w 194"/>
                <a:gd name="T23" fmla="*/ 16 h 174"/>
                <a:gd name="T24" fmla="*/ 58 w 194"/>
                <a:gd name="T25" fmla="*/ 22 h 174"/>
                <a:gd name="T26" fmla="*/ 50 w 194"/>
                <a:gd name="T27" fmla="*/ 22 h 174"/>
                <a:gd name="T28" fmla="*/ 44 w 194"/>
                <a:gd name="T29" fmla="*/ 24 h 174"/>
                <a:gd name="T30" fmla="*/ 42 w 194"/>
                <a:gd name="T31" fmla="*/ 32 h 174"/>
                <a:gd name="T32" fmla="*/ 34 w 194"/>
                <a:gd name="T33" fmla="*/ 36 h 174"/>
                <a:gd name="T34" fmla="*/ 32 w 194"/>
                <a:gd name="T35" fmla="*/ 40 h 174"/>
                <a:gd name="T36" fmla="*/ 30 w 194"/>
                <a:gd name="T37" fmla="*/ 50 h 174"/>
                <a:gd name="T38" fmla="*/ 26 w 194"/>
                <a:gd name="T39" fmla="*/ 52 h 174"/>
                <a:gd name="T40" fmla="*/ 16 w 194"/>
                <a:gd name="T41" fmla="*/ 54 h 174"/>
                <a:gd name="T42" fmla="*/ 6 w 194"/>
                <a:gd name="T43" fmla="*/ 60 h 174"/>
                <a:gd name="T44" fmla="*/ 6 w 194"/>
                <a:gd name="T45" fmla="*/ 86 h 174"/>
                <a:gd name="T46" fmla="*/ 4 w 194"/>
                <a:gd name="T47" fmla="*/ 96 h 174"/>
                <a:gd name="T48" fmla="*/ 0 w 194"/>
                <a:gd name="T49" fmla="*/ 116 h 174"/>
                <a:gd name="T50" fmla="*/ 2 w 194"/>
                <a:gd name="T51" fmla="*/ 124 h 174"/>
                <a:gd name="T52" fmla="*/ 6 w 194"/>
                <a:gd name="T53" fmla="*/ 126 h 174"/>
                <a:gd name="T54" fmla="*/ 16 w 194"/>
                <a:gd name="T55" fmla="*/ 124 h 174"/>
                <a:gd name="T56" fmla="*/ 20 w 194"/>
                <a:gd name="T57" fmla="*/ 126 h 174"/>
                <a:gd name="T58" fmla="*/ 24 w 194"/>
                <a:gd name="T59" fmla="*/ 134 h 174"/>
                <a:gd name="T60" fmla="*/ 24 w 194"/>
                <a:gd name="T61" fmla="*/ 142 h 174"/>
                <a:gd name="T62" fmla="*/ 18 w 194"/>
                <a:gd name="T63" fmla="*/ 150 h 174"/>
                <a:gd name="T64" fmla="*/ 14 w 194"/>
                <a:gd name="T65" fmla="*/ 162 h 174"/>
                <a:gd name="T66" fmla="*/ 16 w 194"/>
                <a:gd name="T67" fmla="*/ 166 h 174"/>
                <a:gd name="T68" fmla="*/ 24 w 194"/>
                <a:gd name="T69" fmla="*/ 170 h 174"/>
                <a:gd name="T70" fmla="*/ 34 w 194"/>
                <a:gd name="T71" fmla="*/ 168 h 174"/>
                <a:gd name="T72" fmla="*/ 38 w 194"/>
                <a:gd name="T73" fmla="*/ 160 h 174"/>
                <a:gd name="T74" fmla="*/ 46 w 194"/>
                <a:gd name="T75" fmla="*/ 158 h 174"/>
                <a:gd name="T76" fmla="*/ 68 w 194"/>
                <a:gd name="T77" fmla="*/ 160 h 174"/>
                <a:gd name="T78" fmla="*/ 78 w 194"/>
                <a:gd name="T79" fmla="*/ 158 h 174"/>
                <a:gd name="T80" fmla="*/ 82 w 194"/>
                <a:gd name="T81" fmla="*/ 154 h 174"/>
                <a:gd name="T82" fmla="*/ 86 w 194"/>
                <a:gd name="T83" fmla="*/ 142 h 174"/>
                <a:gd name="T84" fmla="*/ 94 w 194"/>
                <a:gd name="T85" fmla="*/ 134 h 174"/>
                <a:gd name="T86" fmla="*/ 110 w 194"/>
                <a:gd name="T87" fmla="*/ 124 h 174"/>
                <a:gd name="T88" fmla="*/ 120 w 194"/>
                <a:gd name="T89" fmla="*/ 122 h 174"/>
                <a:gd name="T90" fmla="*/ 126 w 194"/>
                <a:gd name="T91" fmla="*/ 122 h 174"/>
                <a:gd name="T92" fmla="*/ 128 w 194"/>
                <a:gd name="T93" fmla="*/ 116 h 174"/>
                <a:gd name="T94" fmla="*/ 130 w 194"/>
                <a:gd name="T95" fmla="*/ 104 h 174"/>
                <a:gd name="T96" fmla="*/ 134 w 194"/>
                <a:gd name="T97" fmla="*/ 100 h 174"/>
                <a:gd name="T98" fmla="*/ 142 w 194"/>
                <a:gd name="T99" fmla="*/ 94 h 174"/>
                <a:gd name="T100" fmla="*/ 148 w 194"/>
                <a:gd name="T101" fmla="*/ 78 h 174"/>
                <a:gd name="T102" fmla="*/ 152 w 194"/>
                <a:gd name="T103" fmla="*/ 60 h 174"/>
                <a:gd name="T104" fmla="*/ 154 w 194"/>
                <a:gd name="T105" fmla="*/ 48 h 174"/>
                <a:gd name="T106" fmla="*/ 160 w 194"/>
                <a:gd name="T107" fmla="*/ 46 h 174"/>
                <a:gd name="T108" fmla="*/ 174 w 194"/>
                <a:gd name="T109" fmla="*/ 44 h 174"/>
                <a:gd name="T110" fmla="*/ 194 w 194"/>
                <a:gd name="T111"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74">
                  <a:moveTo>
                    <a:pt x="194" y="28"/>
                  </a:moveTo>
                  <a:lnTo>
                    <a:pt x="162" y="26"/>
                  </a:lnTo>
                  <a:lnTo>
                    <a:pt x="160" y="26"/>
                  </a:lnTo>
                  <a:lnTo>
                    <a:pt x="156" y="24"/>
                  </a:lnTo>
                  <a:lnTo>
                    <a:pt x="154" y="24"/>
                  </a:lnTo>
                  <a:lnTo>
                    <a:pt x="152" y="22"/>
                  </a:lnTo>
                  <a:lnTo>
                    <a:pt x="148" y="20"/>
                  </a:lnTo>
                  <a:lnTo>
                    <a:pt x="148" y="20"/>
                  </a:lnTo>
                  <a:lnTo>
                    <a:pt x="148" y="20"/>
                  </a:lnTo>
                  <a:lnTo>
                    <a:pt x="146" y="20"/>
                  </a:lnTo>
                  <a:lnTo>
                    <a:pt x="146" y="18"/>
                  </a:lnTo>
                  <a:lnTo>
                    <a:pt x="146" y="18"/>
                  </a:lnTo>
                  <a:lnTo>
                    <a:pt x="146" y="16"/>
                  </a:lnTo>
                  <a:lnTo>
                    <a:pt x="144" y="14"/>
                  </a:lnTo>
                  <a:lnTo>
                    <a:pt x="144" y="10"/>
                  </a:lnTo>
                  <a:lnTo>
                    <a:pt x="144" y="8"/>
                  </a:lnTo>
                  <a:lnTo>
                    <a:pt x="142" y="4"/>
                  </a:lnTo>
                  <a:lnTo>
                    <a:pt x="142" y="4"/>
                  </a:lnTo>
                  <a:lnTo>
                    <a:pt x="142" y="2"/>
                  </a:lnTo>
                  <a:lnTo>
                    <a:pt x="140" y="2"/>
                  </a:lnTo>
                  <a:lnTo>
                    <a:pt x="140" y="0"/>
                  </a:lnTo>
                  <a:lnTo>
                    <a:pt x="140" y="0"/>
                  </a:lnTo>
                  <a:lnTo>
                    <a:pt x="138" y="0"/>
                  </a:lnTo>
                  <a:lnTo>
                    <a:pt x="138" y="0"/>
                  </a:lnTo>
                  <a:lnTo>
                    <a:pt x="136" y="0"/>
                  </a:lnTo>
                  <a:lnTo>
                    <a:pt x="134" y="0"/>
                  </a:lnTo>
                  <a:lnTo>
                    <a:pt x="134" y="0"/>
                  </a:lnTo>
                  <a:lnTo>
                    <a:pt x="134" y="0"/>
                  </a:lnTo>
                  <a:lnTo>
                    <a:pt x="132" y="0"/>
                  </a:lnTo>
                  <a:lnTo>
                    <a:pt x="132" y="0"/>
                  </a:lnTo>
                  <a:lnTo>
                    <a:pt x="132" y="0"/>
                  </a:lnTo>
                  <a:lnTo>
                    <a:pt x="130" y="2"/>
                  </a:lnTo>
                  <a:lnTo>
                    <a:pt x="130" y="2"/>
                  </a:lnTo>
                  <a:lnTo>
                    <a:pt x="130" y="4"/>
                  </a:lnTo>
                  <a:lnTo>
                    <a:pt x="130" y="6"/>
                  </a:lnTo>
                  <a:lnTo>
                    <a:pt x="128" y="8"/>
                  </a:lnTo>
                  <a:lnTo>
                    <a:pt x="128" y="10"/>
                  </a:lnTo>
                  <a:lnTo>
                    <a:pt x="128" y="12"/>
                  </a:lnTo>
                  <a:lnTo>
                    <a:pt x="126" y="12"/>
                  </a:lnTo>
                  <a:lnTo>
                    <a:pt x="126" y="12"/>
                  </a:lnTo>
                  <a:lnTo>
                    <a:pt x="126" y="12"/>
                  </a:lnTo>
                  <a:lnTo>
                    <a:pt x="124" y="14"/>
                  </a:lnTo>
                  <a:lnTo>
                    <a:pt x="122" y="14"/>
                  </a:lnTo>
                  <a:lnTo>
                    <a:pt x="122" y="14"/>
                  </a:lnTo>
                  <a:lnTo>
                    <a:pt x="118" y="14"/>
                  </a:lnTo>
                  <a:lnTo>
                    <a:pt x="116" y="16"/>
                  </a:lnTo>
                  <a:lnTo>
                    <a:pt x="108" y="16"/>
                  </a:lnTo>
                  <a:lnTo>
                    <a:pt x="106" y="16"/>
                  </a:lnTo>
                  <a:lnTo>
                    <a:pt x="104" y="18"/>
                  </a:lnTo>
                  <a:lnTo>
                    <a:pt x="104" y="18"/>
                  </a:lnTo>
                  <a:lnTo>
                    <a:pt x="100" y="18"/>
                  </a:lnTo>
                  <a:lnTo>
                    <a:pt x="98" y="20"/>
                  </a:lnTo>
                  <a:lnTo>
                    <a:pt x="94" y="22"/>
                  </a:lnTo>
                  <a:lnTo>
                    <a:pt x="90" y="20"/>
                  </a:lnTo>
                  <a:lnTo>
                    <a:pt x="86" y="18"/>
                  </a:lnTo>
                  <a:lnTo>
                    <a:pt x="84" y="18"/>
                  </a:lnTo>
                  <a:lnTo>
                    <a:pt x="84" y="18"/>
                  </a:lnTo>
                  <a:lnTo>
                    <a:pt x="82" y="18"/>
                  </a:lnTo>
                  <a:lnTo>
                    <a:pt x="78" y="16"/>
                  </a:lnTo>
                  <a:lnTo>
                    <a:pt x="72" y="16"/>
                  </a:lnTo>
                  <a:lnTo>
                    <a:pt x="66" y="16"/>
                  </a:lnTo>
                  <a:lnTo>
                    <a:pt x="64" y="16"/>
                  </a:lnTo>
                  <a:lnTo>
                    <a:pt x="62" y="18"/>
                  </a:lnTo>
                  <a:lnTo>
                    <a:pt x="60" y="20"/>
                  </a:lnTo>
                  <a:lnTo>
                    <a:pt x="58" y="22"/>
                  </a:lnTo>
                  <a:lnTo>
                    <a:pt x="56" y="22"/>
                  </a:lnTo>
                  <a:lnTo>
                    <a:pt x="56" y="22"/>
                  </a:lnTo>
                  <a:lnTo>
                    <a:pt x="54" y="22"/>
                  </a:lnTo>
                  <a:lnTo>
                    <a:pt x="52" y="22"/>
                  </a:lnTo>
                  <a:lnTo>
                    <a:pt x="50" y="22"/>
                  </a:lnTo>
                  <a:lnTo>
                    <a:pt x="48" y="24"/>
                  </a:lnTo>
                  <a:lnTo>
                    <a:pt x="46" y="24"/>
                  </a:lnTo>
                  <a:lnTo>
                    <a:pt x="46" y="24"/>
                  </a:lnTo>
                  <a:lnTo>
                    <a:pt x="46" y="24"/>
                  </a:lnTo>
                  <a:lnTo>
                    <a:pt x="44" y="24"/>
                  </a:lnTo>
                  <a:lnTo>
                    <a:pt x="44" y="26"/>
                  </a:lnTo>
                  <a:lnTo>
                    <a:pt x="44" y="28"/>
                  </a:lnTo>
                  <a:lnTo>
                    <a:pt x="42" y="30"/>
                  </a:lnTo>
                  <a:lnTo>
                    <a:pt x="42" y="30"/>
                  </a:lnTo>
                  <a:lnTo>
                    <a:pt x="42" y="32"/>
                  </a:lnTo>
                  <a:lnTo>
                    <a:pt x="40" y="32"/>
                  </a:lnTo>
                  <a:lnTo>
                    <a:pt x="40" y="32"/>
                  </a:lnTo>
                  <a:lnTo>
                    <a:pt x="36" y="34"/>
                  </a:lnTo>
                  <a:lnTo>
                    <a:pt x="36" y="36"/>
                  </a:lnTo>
                  <a:lnTo>
                    <a:pt x="34" y="36"/>
                  </a:lnTo>
                  <a:lnTo>
                    <a:pt x="32" y="36"/>
                  </a:lnTo>
                  <a:lnTo>
                    <a:pt x="32" y="38"/>
                  </a:lnTo>
                  <a:lnTo>
                    <a:pt x="32" y="38"/>
                  </a:lnTo>
                  <a:lnTo>
                    <a:pt x="32" y="38"/>
                  </a:lnTo>
                  <a:lnTo>
                    <a:pt x="32" y="40"/>
                  </a:lnTo>
                  <a:lnTo>
                    <a:pt x="30" y="42"/>
                  </a:lnTo>
                  <a:lnTo>
                    <a:pt x="30" y="44"/>
                  </a:lnTo>
                  <a:lnTo>
                    <a:pt x="30" y="46"/>
                  </a:lnTo>
                  <a:lnTo>
                    <a:pt x="30" y="48"/>
                  </a:lnTo>
                  <a:lnTo>
                    <a:pt x="30" y="50"/>
                  </a:lnTo>
                  <a:lnTo>
                    <a:pt x="30" y="50"/>
                  </a:lnTo>
                  <a:lnTo>
                    <a:pt x="30" y="50"/>
                  </a:lnTo>
                  <a:lnTo>
                    <a:pt x="28" y="50"/>
                  </a:lnTo>
                  <a:lnTo>
                    <a:pt x="28" y="52"/>
                  </a:lnTo>
                  <a:lnTo>
                    <a:pt x="26" y="52"/>
                  </a:lnTo>
                  <a:lnTo>
                    <a:pt x="24" y="52"/>
                  </a:lnTo>
                  <a:lnTo>
                    <a:pt x="22" y="52"/>
                  </a:lnTo>
                  <a:lnTo>
                    <a:pt x="18" y="54"/>
                  </a:lnTo>
                  <a:lnTo>
                    <a:pt x="16" y="54"/>
                  </a:lnTo>
                  <a:lnTo>
                    <a:pt x="16" y="54"/>
                  </a:lnTo>
                  <a:lnTo>
                    <a:pt x="14" y="54"/>
                  </a:lnTo>
                  <a:lnTo>
                    <a:pt x="12" y="56"/>
                  </a:lnTo>
                  <a:lnTo>
                    <a:pt x="10" y="56"/>
                  </a:lnTo>
                  <a:lnTo>
                    <a:pt x="8" y="58"/>
                  </a:lnTo>
                  <a:lnTo>
                    <a:pt x="6" y="60"/>
                  </a:lnTo>
                  <a:lnTo>
                    <a:pt x="4" y="64"/>
                  </a:lnTo>
                  <a:lnTo>
                    <a:pt x="2" y="66"/>
                  </a:lnTo>
                  <a:lnTo>
                    <a:pt x="4" y="74"/>
                  </a:lnTo>
                  <a:lnTo>
                    <a:pt x="4" y="82"/>
                  </a:lnTo>
                  <a:lnTo>
                    <a:pt x="6" y="86"/>
                  </a:lnTo>
                  <a:lnTo>
                    <a:pt x="6" y="88"/>
                  </a:lnTo>
                  <a:lnTo>
                    <a:pt x="6" y="90"/>
                  </a:lnTo>
                  <a:lnTo>
                    <a:pt x="6" y="92"/>
                  </a:lnTo>
                  <a:lnTo>
                    <a:pt x="4" y="94"/>
                  </a:lnTo>
                  <a:lnTo>
                    <a:pt x="4" y="96"/>
                  </a:lnTo>
                  <a:lnTo>
                    <a:pt x="2" y="108"/>
                  </a:lnTo>
                  <a:lnTo>
                    <a:pt x="0" y="110"/>
                  </a:lnTo>
                  <a:lnTo>
                    <a:pt x="0" y="112"/>
                  </a:lnTo>
                  <a:lnTo>
                    <a:pt x="0" y="114"/>
                  </a:lnTo>
                  <a:lnTo>
                    <a:pt x="0" y="116"/>
                  </a:lnTo>
                  <a:lnTo>
                    <a:pt x="0" y="120"/>
                  </a:lnTo>
                  <a:lnTo>
                    <a:pt x="0" y="120"/>
                  </a:lnTo>
                  <a:lnTo>
                    <a:pt x="0" y="122"/>
                  </a:lnTo>
                  <a:lnTo>
                    <a:pt x="0" y="122"/>
                  </a:lnTo>
                  <a:lnTo>
                    <a:pt x="2" y="124"/>
                  </a:lnTo>
                  <a:lnTo>
                    <a:pt x="2" y="124"/>
                  </a:lnTo>
                  <a:lnTo>
                    <a:pt x="2" y="124"/>
                  </a:lnTo>
                  <a:lnTo>
                    <a:pt x="4" y="124"/>
                  </a:lnTo>
                  <a:lnTo>
                    <a:pt x="4" y="124"/>
                  </a:lnTo>
                  <a:lnTo>
                    <a:pt x="6" y="126"/>
                  </a:lnTo>
                  <a:lnTo>
                    <a:pt x="8" y="124"/>
                  </a:lnTo>
                  <a:lnTo>
                    <a:pt x="10" y="124"/>
                  </a:lnTo>
                  <a:lnTo>
                    <a:pt x="14" y="124"/>
                  </a:lnTo>
                  <a:lnTo>
                    <a:pt x="16" y="124"/>
                  </a:lnTo>
                  <a:lnTo>
                    <a:pt x="16" y="124"/>
                  </a:lnTo>
                  <a:lnTo>
                    <a:pt x="18" y="124"/>
                  </a:lnTo>
                  <a:lnTo>
                    <a:pt x="18" y="124"/>
                  </a:lnTo>
                  <a:lnTo>
                    <a:pt x="20" y="124"/>
                  </a:lnTo>
                  <a:lnTo>
                    <a:pt x="20" y="124"/>
                  </a:lnTo>
                  <a:lnTo>
                    <a:pt x="20" y="126"/>
                  </a:lnTo>
                  <a:lnTo>
                    <a:pt x="22" y="126"/>
                  </a:lnTo>
                  <a:lnTo>
                    <a:pt x="22" y="128"/>
                  </a:lnTo>
                  <a:lnTo>
                    <a:pt x="22" y="130"/>
                  </a:lnTo>
                  <a:lnTo>
                    <a:pt x="24" y="132"/>
                  </a:lnTo>
                  <a:lnTo>
                    <a:pt x="24" y="134"/>
                  </a:lnTo>
                  <a:lnTo>
                    <a:pt x="24" y="138"/>
                  </a:lnTo>
                  <a:lnTo>
                    <a:pt x="24" y="140"/>
                  </a:lnTo>
                  <a:lnTo>
                    <a:pt x="24" y="142"/>
                  </a:lnTo>
                  <a:lnTo>
                    <a:pt x="24" y="142"/>
                  </a:lnTo>
                  <a:lnTo>
                    <a:pt x="24" y="142"/>
                  </a:lnTo>
                  <a:lnTo>
                    <a:pt x="24" y="144"/>
                  </a:lnTo>
                  <a:lnTo>
                    <a:pt x="22" y="146"/>
                  </a:lnTo>
                  <a:lnTo>
                    <a:pt x="20" y="146"/>
                  </a:lnTo>
                  <a:lnTo>
                    <a:pt x="18" y="150"/>
                  </a:lnTo>
                  <a:lnTo>
                    <a:pt x="18" y="150"/>
                  </a:lnTo>
                  <a:lnTo>
                    <a:pt x="16" y="152"/>
                  </a:lnTo>
                  <a:lnTo>
                    <a:pt x="16" y="156"/>
                  </a:lnTo>
                  <a:lnTo>
                    <a:pt x="16" y="156"/>
                  </a:lnTo>
                  <a:lnTo>
                    <a:pt x="16" y="158"/>
                  </a:lnTo>
                  <a:lnTo>
                    <a:pt x="14" y="162"/>
                  </a:lnTo>
                  <a:lnTo>
                    <a:pt x="14" y="162"/>
                  </a:lnTo>
                  <a:lnTo>
                    <a:pt x="16" y="164"/>
                  </a:lnTo>
                  <a:lnTo>
                    <a:pt x="16" y="166"/>
                  </a:lnTo>
                  <a:lnTo>
                    <a:pt x="16" y="166"/>
                  </a:lnTo>
                  <a:lnTo>
                    <a:pt x="16" y="166"/>
                  </a:lnTo>
                  <a:lnTo>
                    <a:pt x="16" y="168"/>
                  </a:lnTo>
                  <a:lnTo>
                    <a:pt x="18" y="168"/>
                  </a:lnTo>
                  <a:lnTo>
                    <a:pt x="20" y="168"/>
                  </a:lnTo>
                  <a:lnTo>
                    <a:pt x="22" y="170"/>
                  </a:lnTo>
                  <a:lnTo>
                    <a:pt x="24" y="170"/>
                  </a:lnTo>
                  <a:lnTo>
                    <a:pt x="28" y="172"/>
                  </a:lnTo>
                  <a:lnTo>
                    <a:pt x="30" y="172"/>
                  </a:lnTo>
                  <a:lnTo>
                    <a:pt x="32" y="174"/>
                  </a:lnTo>
                  <a:lnTo>
                    <a:pt x="32" y="172"/>
                  </a:lnTo>
                  <a:lnTo>
                    <a:pt x="34" y="168"/>
                  </a:lnTo>
                  <a:lnTo>
                    <a:pt x="34" y="166"/>
                  </a:lnTo>
                  <a:lnTo>
                    <a:pt x="36" y="164"/>
                  </a:lnTo>
                  <a:lnTo>
                    <a:pt x="36" y="162"/>
                  </a:lnTo>
                  <a:lnTo>
                    <a:pt x="38" y="162"/>
                  </a:lnTo>
                  <a:lnTo>
                    <a:pt x="38" y="160"/>
                  </a:lnTo>
                  <a:lnTo>
                    <a:pt x="38" y="160"/>
                  </a:lnTo>
                  <a:lnTo>
                    <a:pt x="40" y="160"/>
                  </a:lnTo>
                  <a:lnTo>
                    <a:pt x="42" y="158"/>
                  </a:lnTo>
                  <a:lnTo>
                    <a:pt x="44" y="158"/>
                  </a:lnTo>
                  <a:lnTo>
                    <a:pt x="46" y="158"/>
                  </a:lnTo>
                  <a:lnTo>
                    <a:pt x="50" y="158"/>
                  </a:lnTo>
                  <a:lnTo>
                    <a:pt x="52" y="158"/>
                  </a:lnTo>
                  <a:lnTo>
                    <a:pt x="58" y="158"/>
                  </a:lnTo>
                  <a:lnTo>
                    <a:pt x="66" y="160"/>
                  </a:lnTo>
                  <a:lnTo>
                    <a:pt x="68" y="160"/>
                  </a:lnTo>
                  <a:lnTo>
                    <a:pt x="70" y="160"/>
                  </a:lnTo>
                  <a:lnTo>
                    <a:pt x="74" y="158"/>
                  </a:lnTo>
                  <a:lnTo>
                    <a:pt x="76" y="158"/>
                  </a:lnTo>
                  <a:lnTo>
                    <a:pt x="78" y="158"/>
                  </a:lnTo>
                  <a:lnTo>
                    <a:pt x="78" y="158"/>
                  </a:lnTo>
                  <a:lnTo>
                    <a:pt x="80" y="156"/>
                  </a:lnTo>
                  <a:lnTo>
                    <a:pt x="80" y="156"/>
                  </a:lnTo>
                  <a:lnTo>
                    <a:pt x="80" y="156"/>
                  </a:lnTo>
                  <a:lnTo>
                    <a:pt x="82" y="154"/>
                  </a:lnTo>
                  <a:lnTo>
                    <a:pt x="82" y="154"/>
                  </a:lnTo>
                  <a:lnTo>
                    <a:pt x="82" y="152"/>
                  </a:lnTo>
                  <a:lnTo>
                    <a:pt x="84" y="150"/>
                  </a:lnTo>
                  <a:lnTo>
                    <a:pt x="84" y="144"/>
                  </a:lnTo>
                  <a:lnTo>
                    <a:pt x="84" y="142"/>
                  </a:lnTo>
                  <a:lnTo>
                    <a:pt x="86" y="142"/>
                  </a:lnTo>
                  <a:lnTo>
                    <a:pt x="86" y="142"/>
                  </a:lnTo>
                  <a:lnTo>
                    <a:pt x="86" y="140"/>
                  </a:lnTo>
                  <a:lnTo>
                    <a:pt x="88" y="140"/>
                  </a:lnTo>
                  <a:lnTo>
                    <a:pt x="92" y="136"/>
                  </a:lnTo>
                  <a:lnTo>
                    <a:pt x="94" y="134"/>
                  </a:lnTo>
                  <a:lnTo>
                    <a:pt x="98" y="132"/>
                  </a:lnTo>
                  <a:lnTo>
                    <a:pt x="100" y="130"/>
                  </a:lnTo>
                  <a:lnTo>
                    <a:pt x="106" y="128"/>
                  </a:lnTo>
                  <a:lnTo>
                    <a:pt x="108" y="126"/>
                  </a:lnTo>
                  <a:lnTo>
                    <a:pt x="110" y="124"/>
                  </a:lnTo>
                  <a:lnTo>
                    <a:pt x="112" y="124"/>
                  </a:lnTo>
                  <a:lnTo>
                    <a:pt x="114" y="122"/>
                  </a:lnTo>
                  <a:lnTo>
                    <a:pt x="114" y="122"/>
                  </a:lnTo>
                  <a:lnTo>
                    <a:pt x="116" y="122"/>
                  </a:lnTo>
                  <a:lnTo>
                    <a:pt x="120" y="122"/>
                  </a:lnTo>
                  <a:lnTo>
                    <a:pt x="122" y="122"/>
                  </a:lnTo>
                  <a:lnTo>
                    <a:pt x="124" y="122"/>
                  </a:lnTo>
                  <a:lnTo>
                    <a:pt x="124" y="122"/>
                  </a:lnTo>
                  <a:lnTo>
                    <a:pt x="126" y="122"/>
                  </a:lnTo>
                  <a:lnTo>
                    <a:pt x="126" y="122"/>
                  </a:lnTo>
                  <a:lnTo>
                    <a:pt x="126" y="120"/>
                  </a:lnTo>
                  <a:lnTo>
                    <a:pt x="128" y="120"/>
                  </a:lnTo>
                  <a:lnTo>
                    <a:pt x="128" y="118"/>
                  </a:lnTo>
                  <a:lnTo>
                    <a:pt x="128" y="118"/>
                  </a:lnTo>
                  <a:lnTo>
                    <a:pt x="128" y="116"/>
                  </a:lnTo>
                  <a:lnTo>
                    <a:pt x="128" y="112"/>
                  </a:lnTo>
                  <a:lnTo>
                    <a:pt x="128" y="110"/>
                  </a:lnTo>
                  <a:lnTo>
                    <a:pt x="128" y="108"/>
                  </a:lnTo>
                  <a:lnTo>
                    <a:pt x="130" y="106"/>
                  </a:lnTo>
                  <a:lnTo>
                    <a:pt x="130" y="104"/>
                  </a:lnTo>
                  <a:lnTo>
                    <a:pt x="130" y="104"/>
                  </a:lnTo>
                  <a:lnTo>
                    <a:pt x="130" y="102"/>
                  </a:lnTo>
                  <a:lnTo>
                    <a:pt x="132" y="102"/>
                  </a:lnTo>
                  <a:lnTo>
                    <a:pt x="134" y="102"/>
                  </a:lnTo>
                  <a:lnTo>
                    <a:pt x="134" y="100"/>
                  </a:lnTo>
                  <a:lnTo>
                    <a:pt x="138" y="98"/>
                  </a:lnTo>
                  <a:lnTo>
                    <a:pt x="140" y="98"/>
                  </a:lnTo>
                  <a:lnTo>
                    <a:pt x="140" y="98"/>
                  </a:lnTo>
                  <a:lnTo>
                    <a:pt x="140" y="96"/>
                  </a:lnTo>
                  <a:lnTo>
                    <a:pt x="142" y="94"/>
                  </a:lnTo>
                  <a:lnTo>
                    <a:pt x="142" y="92"/>
                  </a:lnTo>
                  <a:lnTo>
                    <a:pt x="144" y="90"/>
                  </a:lnTo>
                  <a:lnTo>
                    <a:pt x="144" y="86"/>
                  </a:lnTo>
                  <a:lnTo>
                    <a:pt x="146" y="82"/>
                  </a:lnTo>
                  <a:lnTo>
                    <a:pt x="148" y="78"/>
                  </a:lnTo>
                  <a:lnTo>
                    <a:pt x="150" y="74"/>
                  </a:lnTo>
                  <a:lnTo>
                    <a:pt x="150" y="68"/>
                  </a:lnTo>
                  <a:lnTo>
                    <a:pt x="152" y="66"/>
                  </a:lnTo>
                  <a:lnTo>
                    <a:pt x="152" y="64"/>
                  </a:lnTo>
                  <a:lnTo>
                    <a:pt x="152" y="60"/>
                  </a:lnTo>
                  <a:lnTo>
                    <a:pt x="152" y="56"/>
                  </a:lnTo>
                  <a:lnTo>
                    <a:pt x="152" y="54"/>
                  </a:lnTo>
                  <a:lnTo>
                    <a:pt x="154" y="52"/>
                  </a:lnTo>
                  <a:lnTo>
                    <a:pt x="154" y="50"/>
                  </a:lnTo>
                  <a:lnTo>
                    <a:pt x="154" y="48"/>
                  </a:lnTo>
                  <a:lnTo>
                    <a:pt x="154" y="48"/>
                  </a:lnTo>
                  <a:lnTo>
                    <a:pt x="156" y="48"/>
                  </a:lnTo>
                  <a:lnTo>
                    <a:pt x="156" y="46"/>
                  </a:lnTo>
                  <a:lnTo>
                    <a:pt x="158" y="46"/>
                  </a:lnTo>
                  <a:lnTo>
                    <a:pt x="160" y="46"/>
                  </a:lnTo>
                  <a:lnTo>
                    <a:pt x="162" y="44"/>
                  </a:lnTo>
                  <a:lnTo>
                    <a:pt x="166" y="44"/>
                  </a:lnTo>
                  <a:lnTo>
                    <a:pt x="168" y="42"/>
                  </a:lnTo>
                  <a:lnTo>
                    <a:pt x="170" y="44"/>
                  </a:lnTo>
                  <a:lnTo>
                    <a:pt x="174" y="44"/>
                  </a:lnTo>
                  <a:lnTo>
                    <a:pt x="178" y="46"/>
                  </a:lnTo>
                  <a:lnTo>
                    <a:pt x="180" y="46"/>
                  </a:lnTo>
                  <a:lnTo>
                    <a:pt x="186" y="48"/>
                  </a:lnTo>
                  <a:lnTo>
                    <a:pt x="190" y="52"/>
                  </a:lnTo>
                  <a:lnTo>
                    <a:pt x="194" y="2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1" name="Freeform 138"/>
            <p:cNvSpPr>
              <a:spLocks/>
            </p:cNvSpPr>
            <p:nvPr/>
          </p:nvSpPr>
          <p:spPr bwMode="auto">
            <a:xfrm>
              <a:off x="5741475" y="3509970"/>
              <a:ext cx="336023" cy="301381"/>
            </a:xfrm>
            <a:custGeom>
              <a:avLst/>
              <a:gdLst>
                <a:gd name="T0" fmla="*/ 154 w 194"/>
                <a:gd name="T1" fmla="*/ 24 h 174"/>
                <a:gd name="T2" fmla="*/ 146 w 194"/>
                <a:gd name="T3" fmla="*/ 20 h 174"/>
                <a:gd name="T4" fmla="*/ 144 w 194"/>
                <a:gd name="T5" fmla="*/ 10 h 174"/>
                <a:gd name="T6" fmla="*/ 140 w 194"/>
                <a:gd name="T7" fmla="*/ 2 h 174"/>
                <a:gd name="T8" fmla="*/ 136 w 194"/>
                <a:gd name="T9" fmla="*/ 0 h 174"/>
                <a:gd name="T10" fmla="*/ 132 w 194"/>
                <a:gd name="T11" fmla="*/ 0 h 174"/>
                <a:gd name="T12" fmla="*/ 130 w 194"/>
                <a:gd name="T13" fmla="*/ 6 h 174"/>
                <a:gd name="T14" fmla="*/ 126 w 194"/>
                <a:gd name="T15" fmla="*/ 12 h 174"/>
                <a:gd name="T16" fmla="*/ 118 w 194"/>
                <a:gd name="T17" fmla="*/ 14 h 174"/>
                <a:gd name="T18" fmla="*/ 104 w 194"/>
                <a:gd name="T19" fmla="*/ 18 h 174"/>
                <a:gd name="T20" fmla="*/ 86 w 194"/>
                <a:gd name="T21" fmla="*/ 18 h 174"/>
                <a:gd name="T22" fmla="*/ 72 w 194"/>
                <a:gd name="T23" fmla="*/ 16 h 174"/>
                <a:gd name="T24" fmla="*/ 58 w 194"/>
                <a:gd name="T25" fmla="*/ 22 h 174"/>
                <a:gd name="T26" fmla="*/ 50 w 194"/>
                <a:gd name="T27" fmla="*/ 22 h 174"/>
                <a:gd name="T28" fmla="*/ 44 w 194"/>
                <a:gd name="T29" fmla="*/ 24 h 174"/>
                <a:gd name="T30" fmla="*/ 42 w 194"/>
                <a:gd name="T31" fmla="*/ 32 h 174"/>
                <a:gd name="T32" fmla="*/ 34 w 194"/>
                <a:gd name="T33" fmla="*/ 36 h 174"/>
                <a:gd name="T34" fmla="*/ 32 w 194"/>
                <a:gd name="T35" fmla="*/ 40 h 174"/>
                <a:gd name="T36" fmla="*/ 30 w 194"/>
                <a:gd name="T37" fmla="*/ 50 h 174"/>
                <a:gd name="T38" fmla="*/ 26 w 194"/>
                <a:gd name="T39" fmla="*/ 52 h 174"/>
                <a:gd name="T40" fmla="*/ 16 w 194"/>
                <a:gd name="T41" fmla="*/ 54 h 174"/>
                <a:gd name="T42" fmla="*/ 6 w 194"/>
                <a:gd name="T43" fmla="*/ 60 h 174"/>
                <a:gd name="T44" fmla="*/ 6 w 194"/>
                <a:gd name="T45" fmla="*/ 86 h 174"/>
                <a:gd name="T46" fmla="*/ 4 w 194"/>
                <a:gd name="T47" fmla="*/ 96 h 174"/>
                <a:gd name="T48" fmla="*/ 0 w 194"/>
                <a:gd name="T49" fmla="*/ 116 h 174"/>
                <a:gd name="T50" fmla="*/ 2 w 194"/>
                <a:gd name="T51" fmla="*/ 124 h 174"/>
                <a:gd name="T52" fmla="*/ 6 w 194"/>
                <a:gd name="T53" fmla="*/ 126 h 174"/>
                <a:gd name="T54" fmla="*/ 16 w 194"/>
                <a:gd name="T55" fmla="*/ 124 h 174"/>
                <a:gd name="T56" fmla="*/ 20 w 194"/>
                <a:gd name="T57" fmla="*/ 126 h 174"/>
                <a:gd name="T58" fmla="*/ 24 w 194"/>
                <a:gd name="T59" fmla="*/ 134 h 174"/>
                <a:gd name="T60" fmla="*/ 24 w 194"/>
                <a:gd name="T61" fmla="*/ 142 h 174"/>
                <a:gd name="T62" fmla="*/ 18 w 194"/>
                <a:gd name="T63" fmla="*/ 150 h 174"/>
                <a:gd name="T64" fmla="*/ 14 w 194"/>
                <a:gd name="T65" fmla="*/ 162 h 174"/>
                <a:gd name="T66" fmla="*/ 16 w 194"/>
                <a:gd name="T67" fmla="*/ 166 h 174"/>
                <a:gd name="T68" fmla="*/ 24 w 194"/>
                <a:gd name="T69" fmla="*/ 170 h 174"/>
                <a:gd name="T70" fmla="*/ 34 w 194"/>
                <a:gd name="T71" fmla="*/ 168 h 174"/>
                <a:gd name="T72" fmla="*/ 38 w 194"/>
                <a:gd name="T73" fmla="*/ 160 h 174"/>
                <a:gd name="T74" fmla="*/ 46 w 194"/>
                <a:gd name="T75" fmla="*/ 158 h 174"/>
                <a:gd name="T76" fmla="*/ 68 w 194"/>
                <a:gd name="T77" fmla="*/ 160 h 174"/>
                <a:gd name="T78" fmla="*/ 78 w 194"/>
                <a:gd name="T79" fmla="*/ 158 h 174"/>
                <a:gd name="T80" fmla="*/ 82 w 194"/>
                <a:gd name="T81" fmla="*/ 154 h 174"/>
                <a:gd name="T82" fmla="*/ 86 w 194"/>
                <a:gd name="T83" fmla="*/ 142 h 174"/>
                <a:gd name="T84" fmla="*/ 94 w 194"/>
                <a:gd name="T85" fmla="*/ 134 h 174"/>
                <a:gd name="T86" fmla="*/ 110 w 194"/>
                <a:gd name="T87" fmla="*/ 124 h 174"/>
                <a:gd name="T88" fmla="*/ 120 w 194"/>
                <a:gd name="T89" fmla="*/ 122 h 174"/>
                <a:gd name="T90" fmla="*/ 126 w 194"/>
                <a:gd name="T91" fmla="*/ 122 h 174"/>
                <a:gd name="T92" fmla="*/ 128 w 194"/>
                <a:gd name="T93" fmla="*/ 116 h 174"/>
                <a:gd name="T94" fmla="*/ 130 w 194"/>
                <a:gd name="T95" fmla="*/ 104 h 174"/>
                <a:gd name="T96" fmla="*/ 134 w 194"/>
                <a:gd name="T97" fmla="*/ 100 h 174"/>
                <a:gd name="T98" fmla="*/ 142 w 194"/>
                <a:gd name="T99" fmla="*/ 94 h 174"/>
                <a:gd name="T100" fmla="*/ 148 w 194"/>
                <a:gd name="T101" fmla="*/ 78 h 174"/>
                <a:gd name="T102" fmla="*/ 152 w 194"/>
                <a:gd name="T103" fmla="*/ 60 h 174"/>
                <a:gd name="T104" fmla="*/ 154 w 194"/>
                <a:gd name="T105" fmla="*/ 48 h 174"/>
                <a:gd name="T106" fmla="*/ 160 w 194"/>
                <a:gd name="T107" fmla="*/ 46 h 174"/>
                <a:gd name="T108" fmla="*/ 174 w 194"/>
                <a:gd name="T109" fmla="*/ 44 h 174"/>
                <a:gd name="T110" fmla="*/ 194 w 194"/>
                <a:gd name="T111"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74">
                  <a:moveTo>
                    <a:pt x="194" y="28"/>
                  </a:moveTo>
                  <a:lnTo>
                    <a:pt x="162" y="26"/>
                  </a:lnTo>
                  <a:lnTo>
                    <a:pt x="160" y="26"/>
                  </a:lnTo>
                  <a:lnTo>
                    <a:pt x="156" y="24"/>
                  </a:lnTo>
                  <a:lnTo>
                    <a:pt x="154" y="24"/>
                  </a:lnTo>
                  <a:lnTo>
                    <a:pt x="152" y="22"/>
                  </a:lnTo>
                  <a:lnTo>
                    <a:pt x="148" y="20"/>
                  </a:lnTo>
                  <a:lnTo>
                    <a:pt x="148" y="20"/>
                  </a:lnTo>
                  <a:lnTo>
                    <a:pt x="148" y="20"/>
                  </a:lnTo>
                  <a:lnTo>
                    <a:pt x="146" y="20"/>
                  </a:lnTo>
                  <a:lnTo>
                    <a:pt x="146" y="18"/>
                  </a:lnTo>
                  <a:lnTo>
                    <a:pt x="146" y="18"/>
                  </a:lnTo>
                  <a:lnTo>
                    <a:pt x="146" y="16"/>
                  </a:lnTo>
                  <a:lnTo>
                    <a:pt x="144" y="14"/>
                  </a:lnTo>
                  <a:lnTo>
                    <a:pt x="144" y="10"/>
                  </a:lnTo>
                  <a:lnTo>
                    <a:pt x="144" y="8"/>
                  </a:lnTo>
                  <a:lnTo>
                    <a:pt x="142" y="4"/>
                  </a:lnTo>
                  <a:lnTo>
                    <a:pt x="142" y="4"/>
                  </a:lnTo>
                  <a:lnTo>
                    <a:pt x="142" y="2"/>
                  </a:lnTo>
                  <a:lnTo>
                    <a:pt x="140" y="2"/>
                  </a:lnTo>
                  <a:lnTo>
                    <a:pt x="140" y="0"/>
                  </a:lnTo>
                  <a:lnTo>
                    <a:pt x="140" y="0"/>
                  </a:lnTo>
                  <a:lnTo>
                    <a:pt x="138" y="0"/>
                  </a:lnTo>
                  <a:lnTo>
                    <a:pt x="138" y="0"/>
                  </a:lnTo>
                  <a:lnTo>
                    <a:pt x="136" y="0"/>
                  </a:lnTo>
                  <a:lnTo>
                    <a:pt x="134" y="0"/>
                  </a:lnTo>
                  <a:lnTo>
                    <a:pt x="134" y="0"/>
                  </a:lnTo>
                  <a:lnTo>
                    <a:pt x="134" y="0"/>
                  </a:lnTo>
                  <a:lnTo>
                    <a:pt x="132" y="0"/>
                  </a:lnTo>
                  <a:lnTo>
                    <a:pt x="132" y="0"/>
                  </a:lnTo>
                  <a:lnTo>
                    <a:pt x="132" y="0"/>
                  </a:lnTo>
                  <a:lnTo>
                    <a:pt x="130" y="2"/>
                  </a:lnTo>
                  <a:lnTo>
                    <a:pt x="130" y="2"/>
                  </a:lnTo>
                  <a:lnTo>
                    <a:pt x="130" y="4"/>
                  </a:lnTo>
                  <a:lnTo>
                    <a:pt x="130" y="6"/>
                  </a:lnTo>
                  <a:lnTo>
                    <a:pt x="128" y="8"/>
                  </a:lnTo>
                  <a:lnTo>
                    <a:pt x="128" y="10"/>
                  </a:lnTo>
                  <a:lnTo>
                    <a:pt x="128" y="12"/>
                  </a:lnTo>
                  <a:lnTo>
                    <a:pt x="126" y="12"/>
                  </a:lnTo>
                  <a:lnTo>
                    <a:pt x="126" y="12"/>
                  </a:lnTo>
                  <a:lnTo>
                    <a:pt x="126" y="12"/>
                  </a:lnTo>
                  <a:lnTo>
                    <a:pt x="124" y="14"/>
                  </a:lnTo>
                  <a:lnTo>
                    <a:pt x="122" y="14"/>
                  </a:lnTo>
                  <a:lnTo>
                    <a:pt x="122" y="14"/>
                  </a:lnTo>
                  <a:lnTo>
                    <a:pt x="118" y="14"/>
                  </a:lnTo>
                  <a:lnTo>
                    <a:pt x="116" y="16"/>
                  </a:lnTo>
                  <a:lnTo>
                    <a:pt x="108" y="16"/>
                  </a:lnTo>
                  <a:lnTo>
                    <a:pt x="106" y="16"/>
                  </a:lnTo>
                  <a:lnTo>
                    <a:pt x="104" y="18"/>
                  </a:lnTo>
                  <a:lnTo>
                    <a:pt x="104" y="18"/>
                  </a:lnTo>
                  <a:lnTo>
                    <a:pt x="100" y="18"/>
                  </a:lnTo>
                  <a:lnTo>
                    <a:pt x="98" y="20"/>
                  </a:lnTo>
                  <a:lnTo>
                    <a:pt x="94" y="22"/>
                  </a:lnTo>
                  <a:lnTo>
                    <a:pt x="90" y="20"/>
                  </a:lnTo>
                  <a:lnTo>
                    <a:pt x="86" y="18"/>
                  </a:lnTo>
                  <a:lnTo>
                    <a:pt x="84" y="18"/>
                  </a:lnTo>
                  <a:lnTo>
                    <a:pt x="84" y="18"/>
                  </a:lnTo>
                  <a:lnTo>
                    <a:pt x="82" y="18"/>
                  </a:lnTo>
                  <a:lnTo>
                    <a:pt x="78" y="16"/>
                  </a:lnTo>
                  <a:lnTo>
                    <a:pt x="72" y="16"/>
                  </a:lnTo>
                  <a:lnTo>
                    <a:pt x="66" y="16"/>
                  </a:lnTo>
                  <a:lnTo>
                    <a:pt x="64" y="16"/>
                  </a:lnTo>
                  <a:lnTo>
                    <a:pt x="62" y="18"/>
                  </a:lnTo>
                  <a:lnTo>
                    <a:pt x="60" y="20"/>
                  </a:lnTo>
                  <a:lnTo>
                    <a:pt x="58" y="22"/>
                  </a:lnTo>
                  <a:lnTo>
                    <a:pt x="56" y="22"/>
                  </a:lnTo>
                  <a:lnTo>
                    <a:pt x="56" y="22"/>
                  </a:lnTo>
                  <a:lnTo>
                    <a:pt x="54" y="22"/>
                  </a:lnTo>
                  <a:lnTo>
                    <a:pt x="52" y="22"/>
                  </a:lnTo>
                  <a:lnTo>
                    <a:pt x="50" y="22"/>
                  </a:lnTo>
                  <a:lnTo>
                    <a:pt x="48" y="24"/>
                  </a:lnTo>
                  <a:lnTo>
                    <a:pt x="46" y="24"/>
                  </a:lnTo>
                  <a:lnTo>
                    <a:pt x="46" y="24"/>
                  </a:lnTo>
                  <a:lnTo>
                    <a:pt x="46" y="24"/>
                  </a:lnTo>
                  <a:lnTo>
                    <a:pt x="44" y="24"/>
                  </a:lnTo>
                  <a:lnTo>
                    <a:pt x="44" y="26"/>
                  </a:lnTo>
                  <a:lnTo>
                    <a:pt x="44" y="28"/>
                  </a:lnTo>
                  <a:lnTo>
                    <a:pt x="42" y="30"/>
                  </a:lnTo>
                  <a:lnTo>
                    <a:pt x="42" y="30"/>
                  </a:lnTo>
                  <a:lnTo>
                    <a:pt x="42" y="32"/>
                  </a:lnTo>
                  <a:lnTo>
                    <a:pt x="40" y="32"/>
                  </a:lnTo>
                  <a:lnTo>
                    <a:pt x="40" y="32"/>
                  </a:lnTo>
                  <a:lnTo>
                    <a:pt x="36" y="34"/>
                  </a:lnTo>
                  <a:lnTo>
                    <a:pt x="36" y="36"/>
                  </a:lnTo>
                  <a:lnTo>
                    <a:pt x="34" y="36"/>
                  </a:lnTo>
                  <a:lnTo>
                    <a:pt x="32" y="36"/>
                  </a:lnTo>
                  <a:lnTo>
                    <a:pt x="32" y="38"/>
                  </a:lnTo>
                  <a:lnTo>
                    <a:pt x="32" y="38"/>
                  </a:lnTo>
                  <a:lnTo>
                    <a:pt x="32" y="38"/>
                  </a:lnTo>
                  <a:lnTo>
                    <a:pt x="32" y="40"/>
                  </a:lnTo>
                  <a:lnTo>
                    <a:pt x="30" y="42"/>
                  </a:lnTo>
                  <a:lnTo>
                    <a:pt x="30" y="44"/>
                  </a:lnTo>
                  <a:lnTo>
                    <a:pt x="30" y="46"/>
                  </a:lnTo>
                  <a:lnTo>
                    <a:pt x="30" y="48"/>
                  </a:lnTo>
                  <a:lnTo>
                    <a:pt x="30" y="50"/>
                  </a:lnTo>
                  <a:lnTo>
                    <a:pt x="30" y="50"/>
                  </a:lnTo>
                  <a:lnTo>
                    <a:pt x="30" y="50"/>
                  </a:lnTo>
                  <a:lnTo>
                    <a:pt x="28" y="50"/>
                  </a:lnTo>
                  <a:lnTo>
                    <a:pt x="28" y="52"/>
                  </a:lnTo>
                  <a:lnTo>
                    <a:pt x="26" y="52"/>
                  </a:lnTo>
                  <a:lnTo>
                    <a:pt x="24" y="52"/>
                  </a:lnTo>
                  <a:lnTo>
                    <a:pt x="22" y="52"/>
                  </a:lnTo>
                  <a:lnTo>
                    <a:pt x="18" y="54"/>
                  </a:lnTo>
                  <a:lnTo>
                    <a:pt x="16" y="54"/>
                  </a:lnTo>
                  <a:lnTo>
                    <a:pt x="16" y="54"/>
                  </a:lnTo>
                  <a:lnTo>
                    <a:pt x="14" y="54"/>
                  </a:lnTo>
                  <a:lnTo>
                    <a:pt x="12" y="56"/>
                  </a:lnTo>
                  <a:lnTo>
                    <a:pt x="10" y="56"/>
                  </a:lnTo>
                  <a:lnTo>
                    <a:pt x="8" y="58"/>
                  </a:lnTo>
                  <a:lnTo>
                    <a:pt x="6" y="60"/>
                  </a:lnTo>
                  <a:lnTo>
                    <a:pt x="4" y="64"/>
                  </a:lnTo>
                  <a:lnTo>
                    <a:pt x="2" y="66"/>
                  </a:lnTo>
                  <a:lnTo>
                    <a:pt x="4" y="74"/>
                  </a:lnTo>
                  <a:lnTo>
                    <a:pt x="4" y="82"/>
                  </a:lnTo>
                  <a:lnTo>
                    <a:pt x="6" y="86"/>
                  </a:lnTo>
                  <a:lnTo>
                    <a:pt x="6" y="88"/>
                  </a:lnTo>
                  <a:lnTo>
                    <a:pt x="6" y="90"/>
                  </a:lnTo>
                  <a:lnTo>
                    <a:pt x="6" y="92"/>
                  </a:lnTo>
                  <a:lnTo>
                    <a:pt x="4" y="94"/>
                  </a:lnTo>
                  <a:lnTo>
                    <a:pt x="4" y="96"/>
                  </a:lnTo>
                  <a:lnTo>
                    <a:pt x="2" y="108"/>
                  </a:lnTo>
                  <a:lnTo>
                    <a:pt x="0" y="110"/>
                  </a:lnTo>
                  <a:lnTo>
                    <a:pt x="0" y="112"/>
                  </a:lnTo>
                  <a:lnTo>
                    <a:pt x="0" y="114"/>
                  </a:lnTo>
                  <a:lnTo>
                    <a:pt x="0" y="116"/>
                  </a:lnTo>
                  <a:lnTo>
                    <a:pt x="0" y="120"/>
                  </a:lnTo>
                  <a:lnTo>
                    <a:pt x="0" y="120"/>
                  </a:lnTo>
                  <a:lnTo>
                    <a:pt x="0" y="122"/>
                  </a:lnTo>
                  <a:lnTo>
                    <a:pt x="0" y="122"/>
                  </a:lnTo>
                  <a:lnTo>
                    <a:pt x="2" y="124"/>
                  </a:lnTo>
                  <a:lnTo>
                    <a:pt x="2" y="124"/>
                  </a:lnTo>
                  <a:lnTo>
                    <a:pt x="2" y="124"/>
                  </a:lnTo>
                  <a:lnTo>
                    <a:pt x="4" y="124"/>
                  </a:lnTo>
                  <a:lnTo>
                    <a:pt x="4" y="124"/>
                  </a:lnTo>
                  <a:lnTo>
                    <a:pt x="6" y="126"/>
                  </a:lnTo>
                  <a:lnTo>
                    <a:pt x="8" y="124"/>
                  </a:lnTo>
                  <a:lnTo>
                    <a:pt x="10" y="124"/>
                  </a:lnTo>
                  <a:lnTo>
                    <a:pt x="14" y="124"/>
                  </a:lnTo>
                  <a:lnTo>
                    <a:pt x="16" y="124"/>
                  </a:lnTo>
                  <a:lnTo>
                    <a:pt x="16" y="124"/>
                  </a:lnTo>
                  <a:lnTo>
                    <a:pt x="18" y="124"/>
                  </a:lnTo>
                  <a:lnTo>
                    <a:pt x="18" y="124"/>
                  </a:lnTo>
                  <a:lnTo>
                    <a:pt x="20" y="124"/>
                  </a:lnTo>
                  <a:lnTo>
                    <a:pt x="20" y="124"/>
                  </a:lnTo>
                  <a:lnTo>
                    <a:pt x="20" y="126"/>
                  </a:lnTo>
                  <a:lnTo>
                    <a:pt x="22" y="126"/>
                  </a:lnTo>
                  <a:lnTo>
                    <a:pt x="22" y="128"/>
                  </a:lnTo>
                  <a:lnTo>
                    <a:pt x="22" y="130"/>
                  </a:lnTo>
                  <a:lnTo>
                    <a:pt x="24" y="132"/>
                  </a:lnTo>
                  <a:lnTo>
                    <a:pt x="24" y="134"/>
                  </a:lnTo>
                  <a:lnTo>
                    <a:pt x="24" y="138"/>
                  </a:lnTo>
                  <a:lnTo>
                    <a:pt x="24" y="140"/>
                  </a:lnTo>
                  <a:lnTo>
                    <a:pt x="24" y="142"/>
                  </a:lnTo>
                  <a:lnTo>
                    <a:pt x="24" y="142"/>
                  </a:lnTo>
                  <a:lnTo>
                    <a:pt x="24" y="142"/>
                  </a:lnTo>
                  <a:lnTo>
                    <a:pt x="24" y="144"/>
                  </a:lnTo>
                  <a:lnTo>
                    <a:pt x="22" y="146"/>
                  </a:lnTo>
                  <a:lnTo>
                    <a:pt x="20" y="146"/>
                  </a:lnTo>
                  <a:lnTo>
                    <a:pt x="18" y="150"/>
                  </a:lnTo>
                  <a:lnTo>
                    <a:pt x="18" y="150"/>
                  </a:lnTo>
                  <a:lnTo>
                    <a:pt x="16" y="152"/>
                  </a:lnTo>
                  <a:lnTo>
                    <a:pt x="16" y="156"/>
                  </a:lnTo>
                  <a:lnTo>
                    <a:pt x="16" y="156"/>
                  </a:lnTo>
                  <a:lnTo>
                    <a:pt x="16" y="158"/>
                  </a:lnTo>
                  <a:lnTo>
                    <a:pt x="14" y="162"/>
                  </a:lnTo>
                  <a:lnTo>
                    <a:pt x="14" y="162"/>
                  </a:lnTo>
                  <a:lnTo>
                    <a:pt x="16" y="164"/>
                  </a:lnTo>
                  <a:lnTo>
                    <a:pt x="16" y="166"/>
                  </a:lnTo>
                  <a:lnTo>
                    <a:pt x="16" y="166"/>
                  </a:lnTo>
                  <a:lnTo>
                    <a:pt x="16" y="166"/>
                  </a:lnTo>
                  <a:lnTo>
                    <a:pt x="16" y="168"/>
                  </a:lnTo>
                  <a:lnTo>
                    <a:pt x="18" y="168"/>
                  </a:lnTo>
                  <a:lnTo>
                    <a:pt x="20" y="168"/>
                  </a:lnTo>
                  <a:lnTo>
                    <a:pt x="22" y="170"/>
                  </a:lnTo>
                  <a:lnTo>
                    <a:pt x="24" y="170"/>
                  </a:lnTo>
                  <a:lnTo>
                    <a:pt x="28" y="172"/>
                  </a:lnTo>
                  <a:lnTo>
                    <a:pt x="30" y="172"/>
                  </a:lnTo>
                  <a:lnTo>
                    <a:pt x="32" y="174"/>
                  </a:lnTo>
                  <a:lnTo>
                    <a:pt x="32" y="172"/>
                  </a:lnTo>
                  <a:lnTo>
                    <a:pt x="34" y="168"/>
                  </a:lnTo>
                  <a:lnTo>
                    <a:pt x="34" y="166"/>
                  </a:lnTo>
                  <a:lnTo>
                    <a:pt x="36" y="164"/>
                  </a:lnTo>
                  <a:lnTo>
                    <a:pt x="36" y="162"/>
                  </a:lnTo>
                  <a:lnTo>
                    <a:pt x="38" y="162"/>
                  </a:lnTo>
                  <a:lnTo>
                    <a:pt x="38" y="160"/>
                  </a:lnTo>
                  <a:lnTo>
                    <a:pt x="38" y="160"/>
                  </a:lnTo>
                  <a:lnTo>
                    <a:pt x="40" y="160"/>
                  </a:lnTo>
                  <a:lnTo>
                    <a:pt x="42" y="158"/>
                  </a:lnTo>
                  <a:lnTo>
                    <a:pt x="44" y="158"/>
                  </a:lnTo>
                  <a:lnTo>
                    <a:pt x="46" y="158"/>
                  </a:lnTo>
                  <a:lnTo>
                    <a:pt x="50" y="158"/>
                  </a:lnTo>
                  <a:lnTo>
                    <a:pt x="52" y="158"/>
                  </a:lnTo>
                  <a:lnTo>
                    <a:pt x="58" y="158"/>
                  </a:lnTo>
                  <a:lnTo>
                    <a:pt x="66" y="160"/>
                  </a:lnTo>
                  <a:lnTo>
                    <a:pt x="68" y="160"/>
                  </a:lnTo>
                  <a:lnTo>
                    <a:pt x="70" y="160"/>
                  </a:lnTo>
                  <a:lnTo>
                    <a:pt x="74" y="158"/>
                  </a:lnTo>
                  <a:lnTo>
                    <a:pt x="76" y="158"/>
                  </a:lnTo>
                  <a:lnTo>
                    <a:pt x="78" y="158"/>
                  </a:lnTo>
                  <a:lnTo>
                    <a:pt x="78" y="158"/>
                  </a:lnTo>
                  <a:lnTo>
                    <a:pt x="80" y="156"/>
                  </a:lnTo>
                  <a:lnTo>
                    <a:pt x="80" y="156"/>
                  </a:lnTo>
                  <a:lnTo>
                    <a:pt x="80" y="156"/>
                  </a:lnTo>
                  <a:lnTo>
                    <a:pt x="82" y="154"/>
                  </a:lnTo>
                  <a:lnTo>
                    <a:pt x="82" y="154"/>
                  </a:lnTo>
                  <a:lnTo>
                    <a:pt x="82" y="152"/>
                  </a:lnTo>
                  <a:lnTo>
                    <a:pt x="84" y="150"/>
                  </a:lnTo>
                  <a:lnTo>
                    <a:pt x="84" y="144"/>
                  </a:lnTo>
                  <a:lnTo>
                    <a:pt x="84" y="142"/>
                  </a:lnTo>
                  <a:lnTo>
                    <a:pt x="86" y="142"/>
                  </a:lnTo>
                  <a:lnTo>
                    <a:pt x="86" y="142"/>
                  </a:lnTo>
                  <a:lnTo>
                    <a:pt x="86" y="140"/>
                  </a:lnTo>
                  <a:lnTo>
                    <a:pt x="88" y="140"/>
                  </a:lnTo>
                  <a:lnTo>
                    <a:pt x="92" y="136"/>
                  </a:lnTo>
                  <a:lnTo>
                    <a:pt x="94" y="134"/>
                  </a:lnTo>
                  <a:lnTo>
                    <a:pt x="98" y="132"/>
                  </a:lnTo>
                  <a:lnTo>
                    <a:pt x="100" y="130"/>
                  </a:lnTo>
                  <a:lnTo>
                    <a:pt x="106" y="128"/>
                  </a:lnTo>
                  <a:lnTo>
                    <a:pt x="108" y="126"/>
                  </a:lnTo>
                  <a:lnTo>
                    <a:pt x="110" y="124"/>
                  </a:lnTo>
                  <a:lnTo>
                    <a:pt x="112" y="124"/>
                  </a:lnTo>
                  <a:lnTo>
                    <a:pt x="114" y="122"/>
                  </a:lnTo>
                  <a:lnTo>
                    <a:pt x="114" y="122"/>
                  </a:lnTo>
                  <a:lnTo>
                    <a:pt x="116" y="122"/>
                  </a:lnTo>
                  <a:lnTo>
                    <a:pt x="120" y="122"/>
                  </a:lnTo>
                  <a:lnTo>
                    <a:pt x="122" y="122"/>
                  </a:lnTo>
                  <a:lnTo>
                    <a:pt x="124" y="122"/>
                  </a:lnTo>
                  <a:lnTo>
                    <a:pt x="124" y="122"/>
                  </a:lnTo>
                  <a:lnTo>
                    <a:pt x="126" y="122"/>
                  </a:lnTo>
                  <a:lnTo>
                    <a:pt x="126" y="122"/>
                  </a:lnTo>
                  <a:lnTo>
                    <a:pt x="126" y="120"/>
                  </a:lnTo>
                  <a:lnTo>
                    <a:pt x="128" y="120"/>
                  </a:lnTo>
                  <a:lnTo>
                    <a:pt x="128" y="118"/>
                  </a:lnTo>
                  <a:lnTo>
                    <a:pt x="128" y="118"/>
                  </a:lnTo>
                  <a:lnTo>
                    <a:pt x="128" y="116"/>
                  </a:lnTo>
                  <a:lnTo>
                    <a:pt x="128" y="112"/>
                  </a:lnTo>
                  <a:lnTo>
                    <a:pt x="128" y="110"/>
                  </a:lnTo>
                  <a:lnTo>
                    <a:pt x="128" y="108"/>
                  </a:lnTo>
                  <a:lnTo>
                    <a:pt x="130" y="106"/>
                  </a:lnTo>
                  <a:lnTo>
                    <a:pt x="130" y="104"/>
                  </a:lnTo>
                  <a:lnTo>
                    <a:pt x="130" y="104"/>
                  </a:lnTo>
                  <a:lnTo>
                    <a:pt x="130" y="102"/>
                  </a:lnTo>
                  <a:lnTo>
                    <a:pt x="132" y="102"/>
                  </a:lnTo>
                  <a:lnTo>
                    <a:pt x="134" y="102"/>
                  </a:lnTo>
                  <a:lnTo>
                    <a:pt x="134" y="100"/>
                  </a:lnTo>
                  <a:lnTo>
                    <a:pt x="138" y="98"/>
                  </a:lnTo>
                  <a:lnTo>
                    <a:pt x="140" y="98"/>
                  </a:lnTo>
                  <a:lnTo>
                    <a:pt x="140" y="98"/>
                  </a:lnTo>
                  <a:lnTo>
                    <a:pt x="140" y="96"/>
                  </a:lnTo>
                  <a:lnTo>
                    <a:pt x="142" y="94"/>
                  </a:lnTo>
                  <a:lnTo>
                    <a:pt x="142" y="92"/>
                  </a:lnTo>
                  <a:lnTo>
                    <a:pt x="144" y="90"/>
                  </a:lnTo>
                  <a:lnTo>
                    <a:pt x="144" y="86"/>
                  </a:lnTo>
                  <a:lnTo>
                    <a:pt x="146" y="82"/>
                  </a:lnTo>
                  <a:lnTo>
                    <a:pt x="148" y="78"/>
                  </a:lnTo>
                  <a:lnTo>
                    <a:pt x="150" y="74"/>
                  </a:lnTo>
                  <a:lnTo>
                    <a:pt x="150" y="68"/>
                  </a:lnTo>
                  <a:lnTo>
                    <a:pt x="152" y="66"/>
                  </a:lnTo>
                  <a:lnTo>
                    <a:pt x="152" y="64"/>
                  </a:lnTo>
                  <a:lnTo>
                    <a:pt x="152" y="60"/>
                  </a:lnTo>
                  <a:lnTo>
                    <a:pt x="152" y="56"/>
                  </a:lnTo>
                  <a:lnTo>
                    <a:pt x="152" y="54"/>
                  </a:lnTo>
                  <a:lnTo>
                    <a:pt x="154" y="52"/>
                  </a:lnTo>
                  <a:lnTo>
                    <a:pt x="154" y="50"/>
                  </a:lnTo>
                  <a:lnTo>
                    <a:pt x="154" y="48"/>
                  </a:lnTo>
                  <a:lnTo>
                    <a:pt x="154" y="48"/>
                  </a:lnTo>
                  <a:lnTo>
                    <a:pt x="156" y="48"/>
                  </a:lnTo>
                  <a:lnTo>
                    <a:pt x="156" y="46"/>
                  </a:lnTo>
                  <a:lnTo>
                    <a:pt x="158" y="46"/>
                  </a:lnTo>
                  <a:lnTo>
                    <a:pt x="160" y="46"/>
                  </a:lnTo>
                  <a:lnTo>
                    <a:pt x="162" y="44"/>
                  </a:lnTo>
                  <a:lnTo>
                    <a:pt x="166" y="44"/>
                  </a:lnTo>
                  <a:lnTo>
                    <a:pt x="168" y="42"/>
                  </a:lnTo>
                  <a:lnTo>
                    <a:pt x="170" y="44"/>
                  </a:lnTo>
                  <a:lnTo>
                    <a:pt x="174" y="44"/>
                  </a:lnTo>
                  <a:lnTo>
                    <a:pt x="178" y="46"/>
                  </a:lnTo>
                  <a:lnTo>
                    <a:pt x="180" y="46"/>
                  </a:lnTo>
                  <a:lnTo>
                    <a:pt x="186" y="48"/>
                  </a:lnTo>
                  <a:lnTo>
                    <a:pt x="190" y="52"/>
                  </a:lnTo>
                  <a:lnTo>
                    <a:pt x="194" y="2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2" name="Freeform 139"/>
            <p:cNvSpPr>
              <a:spLocks/>
            </p:cNvSpPr>
            <p:nvPr/>
          </p:nvSpPr>
          <p:spPr bwMode="auto">
            <a:xfrm>
              <a:off x="5537091" y="3395653"/>
              <a:ext cx="318702" cy="228634"/>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3" name="Freeform 140"/>
            <p:cNvSpPr>
              <a:spLocks/>
            </p:cNvSpPr>
            <p:nvPr/>
          </p:nvSpPr>
          <p:spPr bwMode="auto">
            <a:xfrm>
              <a:off x="5537091" y="3395653"/>
              <a:ext cx="318702" cy="228634"/>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4" name="Freeform 141"/>
            <p:cNvSpPr>
              <a:spLocks/>
            </p:cNvSpPr>
            <p:nvPr/>
          </p:nvSpPr>
          <p:spPr bwMode="auto">
            <a:xfrm>
              <a:off x="5904291" y="3430294"/>
              <a:ext cx="204385" cy="128174"/>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5" name="Freeform 142"/>
            <p:cNvSpPr>
              <a:spLocks/>
            </p:cNvSpPr>
            <p:nvPr/>
          </p:nvSpPr>
          <p:spPr bwMode="auto">
            <a:xfrm>
              <a:off x="5904291" y="3430294"/>
              <a:ext cx="204385" cy="128174"/>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6" name="Freeform 143"/>
            <p:cNvSpPr>
              <a:spLocks/>
            </p:cNvSpPr>
            <p:nvPr/>
          </p:nvSpPr>
          <p:spPr bwMode="auto">
            <a:xfrm>
              <a:off x="5644479" y="3260551"/>
              <a:ext cx="322166" cy="290989"/>
            </a:xfrm>
            <a:custGeom>
              <a:avLst/>
              <a:gdLst>
                <a:gd name="T0" fmla="*/ 140 w 186"/>
                <a:gd name="T1" fmla="*/ 162 h 168"/>
                <a:gd name="T2" fmla="*/ 122 w 186"/>
                <a:gd name="T3" fmla="*/ 162 h 168"/>
                <a:gd name="T4" fmla="*/ 122 w 186"/>
                <a:gd name="T5" fmla="*/ 154 h 168"/>
                <a:gd name="T6" fmla="*/ 120 w 186"/>
                <a:gd name="T7" fmla="*/ 150 h 168"/>
                <a:gd name="T8" fmla="*/ 116 w 186"/>
                <a:gd name="T9" fmla="*/ 148 h 168"/>
                <a:gd name="T10" fmla="*/ 110 w 186"/>
                <a:gd name="T11" fmla="*/ 150 h 168"/>
                <a:gd name="T12" fmla="*/ 106 w 186"/>
                <a:gd name="T13" fmla="*/ 152 h 168"/>
                <a:gd name="T14" fmla="*/ 94 w 186"/>
                <a:gd name="T15" fmla="*/ 148 h 168"/>
                <a:gd name="T16" fmla="*/ 82 w 186"/>
                <a:gd name="T17" fmla="*/ 138 h 168"/>
                <a:gd name="T18" fmla="*/ 72 w 186"/>
                <a:gd name="T19" fmla="*/ 128 h 168"/>
                <a:gd name="T20" fmla="*/ 72 w 186"/>
                <a:gd name="T21" fmla="*/ 120 h 168"/>
                <a:gd name="T22" fmla="*/ 76 w 186"/>
                <a:gd name="T23" fmla="*/ 114 h 168"/>
                <a:gd name="T24" fmla="*/ 74 w 186"/>
                <a:gd name="T25" fmla="*/ 112 h 168"/>
                <a:gd name="T26" fmla="*/ 64 w 186"/>
                <a:gd name="T27" fmla="*/ 110 h 168"/>
                <a:gd name="T28" fmla="*/ 52 w 186"/>
                <a:gd name="T29" fmla="*/ 108 h 168"/>
                <a:gd name="T30" fmla="*/ 48 w 186"/>
                <a:gd name="T31" fmla="*/ 106 h 168"/>
                <a:gd name="T32" fmla="*/ 52 w 186"/>
                <a:gd name="T33" fmla="*/ 102 h 168"/>
                <a:gd name="T34" fmla="*/ 52 w 186"/>
                <a:gd name="T35" fmla="*/ 100 h 168"/>
                <a:gd name="T36" fmla="*/ 48 w 186"/>
                <a:gd name="T37" fmla="*/ 96 h 168"/>
                <a:gd name="T38" fmla="*/ 44 w 186"/>
                <a:gd name="T39" fmla="*/ 90 h 168"/>
                <a:gd name="T40" fmla="*/ 40 w 186"/>
                <a:gd name="T41" fmla="*/ 86 h 168"/>
                <a:gd name="T42" fmla="*/ 36 w 186"/>
                <a:gd name="T43" fmla="*/ 88 h 168"/>
                <a:gd name="T44" fmla="*/ 28 w 186"/>
                <a:gd name="T45" fmla="*/ 90 h 168"/>
                <a:gd name="T46" fmla="*/ 22 w 186"/>
                <a:gd name="T47" fmla="*/ 92 h 168"/>
                <a:gd name="T48" fmla="*/ 20 w 186"/>
                <a:gd name="T49" fmla="*/ 98 h 168"/>
                <a:gd name="T50" fmla="*/ 20 w 186"/>
                <a:gd name="T51" fmla="*/ 104 h 168"/>
                <a:gd name="T52" fmla="*/ 14 w 186"/>
                <a:gd name="T53" fmla="*/ 104 h 168"/>
                <a:gd name="T54" fmla="*/ 0 w 186"/>
                <a:gd name="T55" fmla="*/ 98 h 168"/>
                <a:gd name="T56" fmla="*/ 4 w 186"/>
                <a:gd name="T57" fmla="*/ 54 h 168"/>
                <a:gd name="T58" fmla="*/ 10 w 186"/>
                <a:gd name="T59" fmla="*/ 30 h 168"/>
                <a:gd name="T60" fmla="*/ 14 w 186"/>
                <a:gd name="T61" fmla="*/ 22 h 168"/>
                <a:gd name="T62" fmla="*/ 30 w 186"/>
                <a:gd name="T63" fmla="*/ 10 h 168"/>
                <a:gd name="T64" fmla="*/ 42 w 186"/>
                <a:gd name="T65" fmla="*/ 10 h 168"/>
                <a:gd name="T66" fmla="*/ 42 w 186"/>
                <a:gd name="T67" fmla="*/ 28 h 168"/>
                <a:gd name="T68" fmla="*/ 46 w 186"/>
                <a:gd name="T69" fmla="*/ 36 h 168"/>
                <a:gd name="T70" fmla="*/ 48 w 186"/>
                <a:gd name="T71" fmla="*/ 38 h 168"/>
                <a:gd name="T72" fmla="*/ 60 w 186"/>
                <a:gd name="T73" fmla="*/ 36 h 168"/>
                <a:gd name="T74" fmla="*/ 64 w 186"/>
                <a:gd name="T75" fmla="*/ 40 h 168"/>
                <a:gd name="T76" fmla="*/ 72 w 186"/>
                <a:gd name="T77" fmla="*/ 46 h 168"/>
                <a:gd name="T78" fmla="*/ 84 w 186"/>
                <a:gd name="T79" fmla="*/ 46 h 168"/>
                <a:gd name="T80" fmla="*/ 88 w 186"/>
                <a:gd name="T81" fmla="*/ 42 h 168"/>
                <a:gd name="T82" fmla="*/ 88 w 186"/>
                <a:gd name="T83" fmla="*/ 32 h 168"/>
                <a:gd name="T84" fmla="*/ 94 w 186"/>
                <a:gd name="T85" fmla="*/ 34 h 168"/>
                <a:gd name="T86" fmla="*/ 100 w 186"/>
                <a:gd name="T87" fmla="*/ 46 h 168"/>
                <a:gd name="T88" fmla="*/ 102 w 186"/>
                <a:gd name="T89" fmla="*/ 50 h 168"/>
                <a:gd name="T90" fmla="*/ 112 w 186"/>
                <a:gd name="T91" fmla="*/ 48 h 168"/>
                <a:gd name="T92" fmla="*/ 122 w 186"/>
                <a:gd name="T93" fmla="*/ 46 h 168"/>
                <a:gd name="T94" fmla="*/ 142 w 186"/>
                <a:gd name="T95" fmla="*/ 48 h 168"/>
                <a:gd name="T96" fmla="*/ 152 w 186"/>
                <a:gd name="T97" fmla="*/ 54 h 168"/>
                <a:gd name="T98" fmla="*/ 154 w 186"/>
                <a:gd name="T99" fmla="*/ 58 h 168"/>
                <a:gd name="T100" fmla="*/ 154 w 186"/>
                <a:gd name="T101" fmla="*/ 74 h 168"/>
                <a:gd name="T102" fmla="*/ 156 w 186"/>
                <a:gd name="T103" fmla="*/ 86 h 168"/>
                <a:gd name="T104" fmla="*/ 160 w 186"/>
                <a:gd name="T105" fmla="*/ 92 h 168"/>
                <a:gd name="T106" fmla="*/ 174 w 186"/>
                <a:gd name="T107" fmla="*/ 98 h 168"/>
                <a:gd name="T108" fmla="*/ 184 w 186"/>
                <a:gd name="T109" fmla="*/ 114 h 168"/>
                <a:gd name="T110" fmla="*/ 176 w 186"/>
                <a:gd name="T111" fmla="*/ 126 h 168"/>
                <a:gd name="T112" fmla="*/ 164 w 186"/>
                <a:gd name="T11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68">
                  <a:moveTo>
                    <a:pt x="150" y="168"/>
                  </a:moveTo>
                  <a:lnTo>
                    <a:pt x="150" y="168"/>
                  </a:lnTo>
                  <a:lnTo>
                    <a:pt x="146" y="166"/>
                  </a:lnTo>
                  <a:lnTo>
                    <a:pt x="142" y="164"/>
                  </a:lnTo>
                  <a:lnTo>
                    <a:pt x="140" y="162"/>
                  </a:lnTo>
                  <a:lnTo>
                    <a:pt x="140" y="162"/>
                  </a:lnTo>
                  <a:lnTo>
                    <a:pt x="138" y="162"/>
                  </a:lnTo>
                  <a:lnTo>
                    <a:pt x="134" y="162"/>
                  </a:lnTo>
                  <a:lnTo>
                    <a:pt x="128" y="162"/>
                  </a:lnTo>
                  <a:lnTo>
                    <a:pt x="122" y="162"/>
                  </a:lnTo>
                  <a:lnTo>
                    <a:pt x="120" y="162"/>
                  </a:lnTo>
                  <a:lnTo>
                    <a:pt x="120" y="160"/>
                  </a:lnTo>
                  <a:lnTo>
                    <a:pt x="122" y="156"/>
                  </a:lnTo>
                  <a:lnTo>
                    <a:pt x="122" y="156"/>
                  </a:lnTo>
                  <a:lnTo>
                    <a:pt x="122" y="154"/>
                  </a:lnTo>
                  <a:lnTo>
                    <a:pt x="122" y="152"/>
                  </a:lnTo>
                  <a:lnTo>
                    <a:pt x="122" y="152"/>
                  </a:lnTo>
                  <a:lnTo>
                    <a:pt x="122" y="150"/>
                  </a:lnTo>
                  <a:lnTo>
                    <a:pt x="120" y="150"/>
                  </a:lnTo>
                  <a:lnTo>
                    <a:pt x="120" y="150"/>
                  </a:lnTo>
                  <a:lnTo>
                    <a:pt x="120" y="148"/>
                  </a:lnTo>
                  <a:lnTo>
                    <a:pt x="118" y="148"/>
                  </a:lnTo>
                  <a:lnTo>
                    <a:pt x="118" y="148"/>
                  </a:lnTo>
                  <a:lnTo>
                    <a:pt x="116" y="148"/>
                  </a:lnTo>
                  <a:lnTo>
                    <a:pt x="116" y="148"/>
                  </a:lnTo>
                  <a:lnTo>
                    <a:pt x="114" y="148"/>
                  </a:lnTo>
                  <a:lnTo>
                    <a:pt x="114" y="148"/>
                  </a:lnTo>
                  <a:lnTo>
                    <a:pt x="114" y="148"/>
                  </a:lnTo>
                  <a:lnTo>
                    <a:pt x="112" y="148"/>
                  </a:lnTo>
                  <a:lnTo>
                    <a:pt x="110" y="150"/>
                  </a:lnTo>
                  <a:lnTo>
                    <a:pt x="108" y="150"/>
                  </a:lnTo>
                  <a:lnTo>
                    <a:pt x="108" y="152"/>
                  </a:lnTo>
                  <a:lnTo>
                    <a:pt x="106" y="152"/>
                  </a:lnTo>
                  <a:lnTo>
                    <a:pt x="106" y="152"/>
                  </a:lnTo>
                  <a:lnTo>
                    <a:pt x="106" y="152"/>
                  </a:lnTo>
                  <a:lnTo>
                    <a:pt x="104" y="152"/>
                  </a:lnTo>
                  <a:lnTo>
                    <a:pt x="102" y="152"/>
                  </a:lnTo>
                  <a:lnTo>
                    <a:pt x="100" y="150"/>
                  </a:lnTo>
                  <a:lnTo>
                    <a:pt x="96" y="150"/>
                  </a:lnTo>
                  <a:lnTo>
                    <a:pt x="94" y="148"/>
                  </a:lnTo>
                  <a:lnTo>
                    <a:pt x="92" y="146"/>
                  </a:lnTo>
                  <a:lnTo>
                    <a:pt x="88" y="144"/>
                  </a:lnTo>
                  <a:lnTo>
                    <a:pt x="86" y="142"/>
                  </a:lnTo>
                  <a:lnTo>
                    <a:pt x="84" y="140"/>
                  </a:lnTo>
                  <a:lnTo>
                    <a:pt x="82" y="138"/>
                  </a:lnTo>
                  <a:lnTo>
                    <a:pt x="80" y="136"/>
                  </a:lnTo>
                  <a:lnTo>
                    <a:pt x="78" y="134"/>
                  </a:lnTo>
                  <a:lnTo>
                    <a:pt x="76" y="132"/>
                  </a:lnTo>
                  <a:lnTo>
                    <a:pt x="74" y="130"/>
                  </a:lnTo>
                  <a:lnTo>
                    <a:pt x="72" y="128"/>
                  </a:lnTo>
                  <a:lnTo>
                    <a:pt x="72" y="126"/>
                  </a:lnTo>
                  <a:lnTo>
                    <a:pt x="72" y="124"/>
                  </a:lnTo>
                  <a:lnTo>
                    <a:pt x="72" y="124"/>
                  </a:lnTo>
                  <a:lnTo>
                    <a:pt x="72" y="122"/>
                  </a:lnTo>
                  <a:lnTo>
                    <a:pt x="72" y="120"/>
                  </a:lnTo>
                  <a:lnTo>
                    <a:pt x="74" y="120"/>
                  </a:lnTo>
                  <a:lnTo>
                    <a:pt x="74" y="118"/>
                  </a:lnTo>
                  <a:lnTo>
                    <a:pt x="76" y="116"/>
                  </a:lnTo>
                  <a:lnTo>
                    <a:pt x="76" y="116"/>
                  </a:lnTo>
                  <a:lnTo>
                    <a:pt x="76" y="114"/>
                  </a:lnTo>
                  <a:lnTo>
                    <a:pt x="76" y="114"/>
                  </a:lnTo>
                  <a:lnTo>
                    <a:pt x="76" y="114"/>
                  </a:lnTo>
                  <a:lnTo>
                    <a:pt x="76" y="112"/>
                  </a:lnTo>
                  <a:lnTo>
                    <a:pt x="74" y="112"/>
                  </a:lnTo>
                  <a:lnTo>
                    <a:pt x="74" y="112"/>
                  </a:lnTo>
                  <a:lnTo>
                    <a:pt x="72" y="110"/>
                  </a:lnTo>
                  <a:lnTo>
                    <a:pt x="70" y="110"/>
                  </a:lnTo>
                  <a:lnTo>
                    <a:pt x="68" y="110"/>
                  </a:lnTo>
                  <a:lnTo>
                    <a:pt x="66" y="110"/>
                  </a:lnTo>
                  <a:lnTo>
                    <a:pt x="64" y="110"/>
                  </a:lnTo>
                  <a:lnTo>
                    <a:pt x="62" y="110"/>
                  </a:lnTo>
                  <a:lnTo>
                    <a:pt x="60" y="110"/>
                  </a:lnTo>
                  <a:lnTo>
                    <a:pt x="58" y="110"/>
                  </a:lnTo>
                  <a:lnTo>
                    <a:pt x="54" y="110"/>
                  </a:lnTo>
                  <a:lnTo>
                    <a:pt x="52" y="108"/>
                  </a:lnTo>
                  <a:lnTo>
                    <a:pt x="50" y="108"/>
                  </a:lnTo>
                  <a:lnTo>
                    <a:pt x="50" y="108"/>
                  </a:lnTo>
                  <a:lnTo>
                    <a:pt x="50" y="108"/>
                  </a:lnTo>
                  <a:lnTo>
                    <a:pt x="50" y="108"/>
                  </a:lnTo>
                  <a:lnTo>
                    <a:pt x="48" y="106"/>
                  </a:lnTo>
                  <a:lnTo>
                    <a:pt x="48" y="106"/>
                  </a:lnTo>
                  <a:lnTo>
                    <a:pt x="50" y="106"/>
                  </a:lnTo>
                  <a:lnTo>
                    <a:pt x="50" y="104"/>
                  </a:lnTo>
                  <a:lnTo>
                    <a:pt x="50" y="104"/>
                  </a:lnTo>
                  <a:lnTo>
                    <a:pt x="52" y="102"/>
                  </a:lnTo>
                  <a:lnTo>
                    <a:pt x="52" y="102"/>
                  </a:lnTo>
                  <a:lnTo>
                    <a:pt x="52" y="100"/>
                  </a:lnTo>
                  <a:lnTo>
                    <a:pt x="52" y="100"/>
                  </a:lnTo>
                  <a:lnTo>
                    <a:pt x="52" y="100"/>
                  </a:lnTo>
                  <a:lnTo>
                    <a:pt x="52" y="100"/>
                  </a:lnTo>
                  <a:lnTo>
                    <a:pt x="52" y="100"/>
                  </a:lnTo>
                  <a:lnTo>
                    <a:pt x="52" y="98"/>
                  </a:lnTo>
                  <a:lnTo>
                    <a:pt x="50" y="98"/>
                  </a:lnTo>
                  <a:lnTo>
                    <a:pt x="50" y="96"/>
                  </a:lnTo>
                  <a:lnTo>
                    <a:pt x="48" y="96"/>
                  </a:lnTo>
                  <a:lnTo>
                    <a:pt x="46" y="94"/>
                  </a:lnTo>
                  <a:lnTo>
                    <a:pt x="46" y="94"/>
                  </a:lnTo>
                  <a:lnTo>
                    <a:pt x="44" y="94"/>
                  </a:lnTo>
                  <a:lnTo>
                    <a:pt x="44" y="92"/>
                  </a:lnTo>
                  <a:lnTo>
                    <a:pt x="44" y="90"/>
                  </a:lnTo>
                  <a:lnTo>
                    <a:pt x="42" y="88"/>
                  </a:lnTo>
                  <a:lnTo>
                    <a:pt x="42" y="86"/>
                  </a:lnTo>
                  <a:lnTo>
                    <a:pt x="42" y="86"/>
                  </a:lnTo>
                  <a:lnTo>
                    <a:pt x="42" y="86"/>
                  </a:lnTo>
                  <a:lnTo>
                    <a:pt x="40" y="86"/>
                  </a:lnTo>
                  <a:lnTo>
                    <a:pt x="40" y="86"/>
                  </a:lnTo>
                  <a:lnTo>
                    <a:pt x="40" y="86"/>
                  </a:lnTo>
                  <a:lnTo>
                    <a:pt x="38" y="86"/>
                  </a:lnTo>
                  <a:lnTo>
                    <a:pt x="38" y="86"/>
                  </a:lnTo>
                  <a:lnTo>
                    <a:pt x="36" y="88"/>
                  </a:lnTo>
                  <a:lnTo>
                    <a:pt x="34" y="88"/>
                  </a:lnTo>
                  <a:lnTo>
                    <a:pt x="32" y="90"/>
                  </a:lnTo>
                  <a:lnTo>
                    <a:pt x="30" y="90"/>
                  </a:lnTo>
                  <a:lnTo>
                    <a:pt x="30" y="90"/>
                  </a:lnTo>
                  <a:lnTo>
                    <a:pt x="28" y="90"/>
                  </a:lnTo>
                  <a:lnTo>
                    <a:pt x="26" y="92"/>
                  </a:lnTo>
                  <a:lnTo>
                    <a:pt x="24" y="92"/>
                  </a:lnTo>
                  <a:lnTo>
                    <a:pt x="24" y="92"/>
                  </a:lnTo>
                  <a:lnTo>
                    <a:pt x="22" y="92"/>
                  </a:lnTo>
                  <a:lnTo>
                    <a:pt x="22" y="92"/>
                  </a:lnTo>
                  <a:lnTo>
                    <a:pt x="22" y="94"/>
                  </a:lnTo>
                  <a:lnTo>
                    <a:pt x="20" y="94"/>
                  </a:lnTo>
                  <a:lnTo>
                    <a:pt x="20" y="94"/>
                  </a:lnTo>
                  <a:lnTo>
                    <a:pt x="20" y="96"/>
                  </a:lnTo>
                  <a:lnTo>
                    <a:pt x="20" y="98"/>
                  </a:lnTo>
                  <a:lnTo>
                    <a:pt x="20" y="100"/>
                  </a:lnTo>
                  <a:lnTo>
                    <a:pt x="20" y="102"/>
                  </a:lnTo>
                  <a:lnTo>
                    <a:pt x="20" y="102"/>
                  </a:lnTo>
                  <a:lnTo>
                    <a:pt x="20" y="102"/>
                  </a:lnTo>
                  <a:lnTo>
                    <a:pt x="20" y="104"/>
                  </a:lnTo>
                  <a:lnTo>
                    <a:pt x="18" y="104"/>
                  </a:lnTo>
                  <a:lnTo>
                    <a:pt x="18" y="104"/>
                  </a:lnTo>
                  <a:lnTo>
                    <a:pt x="16" y="104"/>
                  </a:lnTo>
                  <a:lnTo>
                    <a:pt x="16" y="104"/>
                  </a:lnTo>
                  <a:lnTo>
                    <a:pt x="14" y="104"/>
                  </a:lnTo>
                  <a:lnTo>
                    <a:pt x="12" y="102"/>
                  </a:lnTo>
                  <a:lnTo>
                    <a:pt x="8" y="102"/>
                  </a:lnTo>
                  <a:lnTo>
                    <a:pt x="6" y="100"/>
                  </a:lnTo>
                  <a:lnTo>
                    <a:pt x="2" y="100"/>
                  </a:lnTo>
                  <a:lnTo>
                    <a:pt x="0" y="98"/>
                  </a:lnTo>
                  <a:lnTo>
                    <a:pt x="0" y="88"/>
                  </a:lnTo>
                  <a:lnTo>
                    <a:pt x="2" y="80"/>
                  </a:lnTo>
                  <a:lnTo>
                    <a:pt x="2" y="68"/>
                  </a:lnTo>
                  <a:lnTo>
                    <a:pt x="4" y="62"/>
                  </a:lnTo>
                  <a:lnTo>
                    <a:pt x="4" y="54"/>
                  </a:lnTo>
                  <a:lnTo>
                    <a:pt x="6" y="48"/>
                  </a:lnTo>
                  <a:lnTo>
                    <a:pt x="6" y="42"/>
                  </a:lnTo>
                  <a:lnTo>
                    <a:pt x="8" y="38"/>
                  </a:lnTo>
                  <a:lnTo>
                    <a:pt x="8" y="32"/>
                  </a:lnTo>
                  <a:lnTo>
                    <a:pt x="10" y="30"/>
                  </a:lnTo>
                  <a:lnTo>
                    <a:pt x="10" y="28"/>
                  </a:lnTo>
                  <a:lnTo>
                    <a:pt x="10" y="26"/>
                  </a:lnTo>
                  <a:lnTo>
                    <a:pt x="12" y="24"/>
                  </a:lnTo>
                  <a:lnTo>
                    <a:pt x="12" y="24"/>
                  </a:lnTo>
                  <a:lnTo>
                    <a:pt x="14" y="22"/>
                  </a:lnTo>
                  <a:lnTo>
                    <a:pt x="16" y="20"/>
                  </a:lnTo>
                  <a:lnTo>
                    <a:pt x="18" y="18"/>
                  </a:lnTo>
                  <a:lnTo>
                    <a:pt x="22" y="16"/>
                  </a:lnTo>
                  <a:lnTo>
                    <a:pt x="24" y="14"/>
                  </a:lnTo>
                  <a:lnTo>
                    <a:pt x="30" y="10"/>
                  </a:lnTo>
                  <a:lnTo>
                    <a:pt x="34" y="6"/>
                  </a:lnTo>
                  <a:lnTo>
                    <a:pt x="40" y="4"/>
                  </a:lnTo>
                  <a:lnTo>
                    <a:pt x="44" y="0"/>
                  </a:lnTo>
                  <a:lnTo>
                    <a:pt x="42" y="6"/>
                  </a:lnTo>
                  <a:lnTo>
                    <a:pt x="42" y="10"/>
                  </a:lnTo>
                  <a:lnTo>
                    <a:pt x="42" y="16"/>
                  </a:lnTo>
                  <a:lnTo>
                    <a:pt x="42" y="20"/>
                  </a:lnTo>
                  <a:lnTo>
                    <a:pt x="42" y="22"/>
                  </a:lnTo>
                  <a:lnTo>
                    <a:pt x="42" y="26"/>
                  </a:lnTo>
                  <a:lnTo>
                    <a:pt x="42" y="28"/>
                  </a:lnTo>
                  <a:lnTo>
                    <a:pt x="44" y="32"/>
                  </a:lnTo>
                  <a:lnTo>
                    <a:pt x="44" y="34"/>
                  </a:lnTo>
                  <a:lnTo>
                    <a:pt x="44" y="34"/>
                  </a:lnTo>
                  <a:lnTo>
                    <a:pt x="44" y="36"/>
                  </a:lnTo>
                  <a:lnTo>
                    <a:pt x="46" y="36"/>
                  </a:lnTo>
                  <a:lnTo>
                    <a:pt x="46" y="38"/>
                  </a:lnTo>
                  <a:lnTo>
                    <a:pt x="46" y="38"/>
                  </a:lnTo>
                  <a:lnTo>
                    <a:pt x="48" y="38"/>
                  </a:lnTo>
                  <a:lnTo>
                    <a:pt x="48" y="38"/>
                  </a:lnTo>
                  <a:lnTo>
                    <a:pt x="48" y="38"/>
                  </a:lnTo>
                  <a:lnTo>
                    <a:pt x="50" y="38"/>
                  </a:lnTo>
                  <a:lnTo>
                    <a:pt x="54" y="38"/>
                  </a:lnTo>
                  <a:lnTo>
                    <a:pt x="56" y="38"/>
                  </a:lnTo>
                  <a:lnTo>
                    <a:pt x="58" y="36"/>
                  </a:lnTo>
                  <a:lnTo>
                    <a:pt x="60" y="36"/>
                  </a:lnTo>
                  <a:lnTo>
                    <a:pt x="60" y="36"/>
                  </a:lnTo>
                  <a:lnTo>
                    <a:pt x="62" y="38"/>
                  </a:lnTo>
                  <a:lnTo>
                    <a:pt x="62" y="38"/>
                  </a:lnTo>
                  <a:lnTo>
                    <a:pt x="62" y="38"/>
                  </a:lnTo>
                  <a:lnTo>
                    <a:pt x="64" y="40"/>
                  </a:lnTo>
                  <a:lnTo>
                    <a:pt x="66" y="44"/>
                  </a:lnTo>
                  <a:lnTo>
                    <a:pt x="68" y="44"/>
                  </a:lnTo>
                  <a:lnTo>
                    <a:pt x="68" y="44"/>
                  </a:lnTo>
                  <a:lnTo>
                    <a:pt x="70" y="46"/>
                  </a:lnTo>
                  <a:lnTo>
                    <a:pt x="72" y="46"/>
                  </a:lnTo>
                  <a:lnTo>
                    <a:pt x="76" y="46"/>
                  </a:lnTo>
                  <a:lnTo>
                    <a:pt x="78" y="46"/>
                  </a:lnTo>
                  <a:lnTo>
                    <a:pt x="80" y="46"/>
                  </a:lnTo>
                  <a:lnTo>
                    <a:pt x="82" y="46"/>
                  </a:lnTo>
                  <a:lnTo>
                    <a:pt x="84" y="46"/>
                  </a:lnTo>
                  <a:lnTo>
                    <a:pt x="84" y="46"/>
                  </a:lnTo>
                  <a:lnTo>
                    <a:pt x="86" y="46"/>
                  </a:lnTo>
                  <a:lnTo>
                    <a:pt x="86" y="44"/>
                  </a:lnTo>
                  <a:lnTo>
                    <a:pt x="86" y="44"/>
                  </a:lnTo>
                  <a:lnTo>
                    <a:pt x="88" y="42"/>
                  </a:lnTo>
                  <a:lnTo>
                    <a:pt x="88" y="42"/>
                  </a:lnTo>
                  <a:lnTo>
                    <a:pt x="88" y="40"/>
                  </a:lnTo>
                  <a:lnTo>
                    <a:pt x="88" y="38"/>
                  </a:lnTo>
                  <a:lnTo>
                    <a:pt x="88" y="36"/>
                  </a:lnTo>
                  <a:lnTo>
                    <a:pt x="88" y="32"/>
                  </a:lnTo>
                  <a:lnTo>
                    <a:pt x="88" y="28"/>
                  </a:lnTo>
                  <a:lnTo>
                    <a:pt x="88" y="24"/>
                  </a:lnTo>
                  <a:lnTo>
                    <a:pt x="88" y="20"/>
                  </a:lnTo>
                  <a:lnTo>
                    <a:pt x="92" y="28"/>
                  </a:lnTo>
                  <a:lnTo>
                    <a:pt x="94" y="34"/>
                  </a:lnTo>
                  <a:lnTo>
                    <a:pt x="98" y="38"/>
                  </a:lnTo>
                  <a:lnTo>
                    <a:pt x="98" y="40"/>
                  </a:lnTo>
                  <a:lnTo>
                    <a:pt x="98" y="42"/>
                  </a:lnTo>
                  <a:lnTo>
                    <a:pt x="100" y="44"/>
                  </a:lnTo>
                  <a:lnTo>
                    <a:pt x="100" y="46"/>
                  </a:lnTo>
                  <a:lnTo>
                    <a:pt x="100" y="48"/>
                  </a:lnTo>
                  <a:lnTo>
                    <a:pt x="102" y="50"/>
                  </a:lnTo>
                  <a:lnTo>
                    <a:pt x="102" y="50"/>
                  </a:lnTo>
                  <a:lnTo>
                    <a:pt x="102" y="50"/>
                  </a:lnTo>
                  <a:lnTo>
                    <a:pt x="102" y="50"/>
                  </a:lnTo>
                  <a:lnTo>
                    <a:pt x="104" y="50"/>
                  </a:lnTo>
                  <a:lnTo>
                    <a:pt x="106" y="50"/>
                  </a:lnTo>
                  <a:lnTo>
                    <a:pt x="106" y="50"/>
                  </a:lnTo>
                  <a:lnTo>
                    <a:pt x="108" y="50"/>
                  </a:lnTo>
                  <a:lnTo>
                    <a:pt x="112" y="48"/>
                  </a:lnTo>
                  <a:lnTo>
                    <a:pt x="116" y="46"/>
                  </a:lnTo>
                  <a:lnTo>
                    <a:pt x="118" y="46"/>
                  </a:lnTo>
                  <a:lnTo>
                    <a:pt x="120" y="46"/>
                  </a:lnTo>
                  <a:lnTo>
                    <a:pt x="120" y="46"/>
                  </a:lnTo>
                  <a:lnTo>
                    <a:pt x="122" y="46"/>
                  </a:lnTo>
                  <a:lnTo>
                    <a:pt x="124" y="46"/>
                  </a:lnTo>
                  <a:lnTo>
                    <a:pt x="128" y="46"/>
                  </a:lnTo>
                  <a:lnTo>
                    <a:pt x="134" y="46"/>
                  </a:lnTo>
                  <a:lnTo>
                    <a:pt x="138" y="48"/>
                  </a:lnTo>
                  <a:lnTo>
                    <a:pt x="142" y="48"/>
                  </a:lnTo>
                  <a:lnTo>
                    <a:pt x="144" y="50"/>
                  </a:lnTo>
                  <a:lnTo>
                    <a:pt x="146" y="50"/>
                  </a:lnTo>
                  <a:lnTo>
                    <a:pt x="148" y="52"/>
                  </a:lnTo>
                  <a:lnTo>
                    <a:pt x="150" y="52"/>
                  </a:lnTo>
                  <a:lnTo>
                    <a:pt x="152" y="54"/>
                  </a:lnTo>
                  <a:lnTo>
                    <a:pt x="152" y="54"/>
                  </a:lnTo>
                  <a:lnTo>
                    <a:pt x="152" y="56"/>
                  </a:lnTo>
                  <a:lnTo>
                    <a:pt x="154" y="56"/>
                  </a:lnTo>
                  <a:lnTo>
                    <a:pt x="154" y="58"/>
                  </a:lnTo>
                  <a:lnTo>
                    <a:pt x="154" y="58"/>
                  </a:lnTo>
                  <a:lnTo>
                    <a:pt x="154" y="60"/>
                  </a:lnTo>
                  <a:lnTo>
                    <a:pt x="154" y="62"/>
                  </a:lnTo>
                  <a:lnTo>
                    <a:pt x="154" y="66"/>
                  </a:lnTo>
                  <a:lnTo>
                    <a:pt x="154" y="72"/>
                  </a:lnTo>
                  <a:lnTo>
                    <a:pt x="154" y="74"/>
                  </a:lnTo>
                  <a:lnTo>
                    <a:pt x="154" y="76"/>
                  </a:lnTo>
                  <a:lnTo>
                    <a:pt x="154" y="76"/>
                  </a:lnTo>
                  <a:lnTo>
                    <a:pt x="154" y="80"/>
                  </a:lnTo>
                  <a:lnTo>
                    <a:pt x="156" y="84"/>
                  </a:lnTo>
                  <a:lnTo>
                    <a:pt x="156" y="86"/>
                  </a:lnTo>
                  <a:lnTo>
                    <a:pt x="158" y="88"/>
                  </a:lnTo>
                  <a:lnTo>
                    <a:pt x="158" y="90"/>
                  </a:lnTo>
                  <a:lnTo>
                    <a:pt x="158" y="90"/>
                  </a:lnTo>
                  <a:lnTo>
                    <a:pt x="160" y="90"/>
                  </a:lnTo>
                  <a:lnTo>
                    <a:pt x="160" y="92"/>
                  </a:lnTo>
                  <a:lnTo>
                    <a:pt x="162" y="92"/>
                  </a:lnTo>
                  <a:lnTo>
                    <a:pt x="164" y="94"/>
                  </a:lnTo>
                  <a:lnTo>
                    <a:pt x="168" y="94"/>
                  </a:lnTo>
                  <a:lnTo>
                    <a:pt x="172" y="96"/>
                  </a:lnTo>
                  <a:lnTo>
                    <a:pt x="174" y="98"/>
                  </a:lnTo>
                  <a:lnTo>
                    <a:pt x="176" y="98"/>
                  </a:lnTo>
                  <a:lnTo>
                    <a:pt x="178" y="100"/>
                  </a:lnTo>
                  <a:lnTo>
                    <a:pt x="182" y="102"/>
                  </a:lnTo>
                  <a:lnTo>
                    <a:pt x="186" y="106"/>
                  </a:lnTo>
                  <a:lnTo>
                    <a:pt x="184" y="114"/>
                  </a:lnTo>
                  <a:lnTo>
                    <a:pt x="180" y="118"/>
                  </a:lnTo>
                  <a:lnTo>
                    <a:pt x="180" y="122"/>
                  </a:lnTo>
                  <a:lnTo>
                    <a:pt x="178" y="122"/>
                  </a:lnTo>
                  <a:lnTo>
                    <a:pt x="178" y="124"/>
                  </a:lnTo>
                  <a:lnTo>
                    <a:pt x="176" y="126"/>
                  </a:lnTo>
                  <a:lnTo>
                    <a:pt x="172" y="130"/>
                  </a:lnTo>
                  <a:lnTo>
                    <a:pt x="168" y="136"/>
                  </a:lnTo>
                  <a:lnTo>
                    <a:pt x="168" y="136"/>
                  </a:lnTo>
                  <a:lnTo>
                    <a:pt x="166" y="138"/>
                  </a:lnTo>
                  <a:lnTo>
                    <a:pt x="164" y="142"/>
                  </a:lnTo>
                  <a:lnTo>
                    <a:pt x="162" y="146"/>
                  </a:lnTo>
                  <a:lnTo>
                    <a:pt x="156" y="156"/>
                  </a:lnTo>
                  <a:lnTo>
                    <a:pt x="150" y="16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7" name="Freeform 144"/>
            <p:cNvSpPr>
              <a:spLocks/>
            </p:cNvSpPr>
            <p:nvPr/>
          </p:nvSpPr>
          <p:spPr bwMode="auto">
            <a:xfrm>
              <a:off x="5644479" y="3260551"/>
              <a:ext cx="322166" cy="290989"/>
            </a:xfrm>
            <a:custGeom>
              <a:avLst/>
              <a:gdLst>
                <a:gd name="T0" fmla="*/ 140 w 186"/>
                <a:gd name="T1" fmla="*/ 162 h 168"/>
                <a:gd name="T2" fmla="*/ 122 w 186"/>
                <a:gd name="T3" fmla="*/ 162 h 168"/>
                <a:gd name="T4" fmla="*/ 122 w 186"/>
                <a:gd name="T5" fmla="*/ 154 h 168"/>
                <a:gd name="T6" fmla="*/ 120 w 186"/>
                <a:gd name="T7" fmla="*/ 150 h 168"/>
                <a:gd name="T8" fmla="*/ 116 w 186"/>
                <a:gd name="T9" fmla="*/ 148 h 168"/>
                <a:gd name="T10" fmla="*/ 110 w 186"/>
                <a:gd name="T11" fmla="*/ 150 h 168"/>
                <a:gd name="T12" fmla="*/ 106 w 186"/>
                <a:gd name="T13" fmla="*/ 152 h 168"/>
                <a:gd name="T14" fmla="*/ 94 w 186"/>
                <a:gd name="T15" fmla="*/ 148 h 168"/>
                <a:gd name="T16" fmla="*/ 82 w 186"/>
                <a:gd name="T17" fmla="*/ 138 h 168"/>
                <a:gd name="T18" fmla="*/ 72 w 186"/>
                <a:gd name="T19" fmla="*/ 128 h 168"/>
                <a:gd name="T20" fmla="*/ 72 w 186"/>
                <a:gd name="T21" fmla="*/ 120 h 168"/>
                <a:gd name="T22" fmla="*/ 76 w 186"/>
                <a:gd name="T23" fmla="*/ 114 h 168"/>
                <a:gd name="T24" fmla="*/ 74 w 186"/>
                <a:gd name="T25" fmla="*/ 112 h 168"/>
                <a:gd name="T26" fmla="*/ 64 w 186"/>
                <a:gd name="T27" fmla="*/ 110 h 168"/>
                <a:gd name="T28" fmla="*/ 52 w 186"/>
                <a:gd name="T29" fmla="*/ 108 h 168"/>
                <a:gd name="T30" fmla="*/ 48 w 186"/>
                <a:gd name="T31" fmla="*/ 106 h 168"/>
                <a:gd name="T32" fmla="*/ 52 w 186"/>
                <a:gd name="T33" fmla="*/ 102 h 168"/>
                <a:gd name="T34" fmla="*/ 52 w 186"/>
                <a:gd name="T35" fmla="*/ 100 h 168"/>
                <a:gd name="T36" fmla="*/ 48 w 186"/>
                <a:gd name="T37" fmla="*/ 96 h 168"/>
                <a:gd name="T38" fmla="*/ 44 w 186"/>
                <a:gd name="T39" fmla="*/ 90 h 168"/>
                <a:gd name="T40" fmla="*/ 40 w 186"/>
                <a:gd name="T41" fmla="*/ 86 h 168"/>
                <a:gd name="T42" fmla="*/ 36 w 186"/>
                <a:gd name="T43" fmla="*/ 88 h 168"/>
                <a:gd name="T44" fmla="*/ 28 w 186"/>
                <a:gd name="T45" fmla="*/ 90 h 168"/>
                <a:gd name="T46" fmla="*/ 22 w 186"/>
                <a:gd name="T47" fmla="*/ 92 h 168"/>
                <a:gd name="T48" fmla="*/ 20 w 186"/>
                <a:gd name="T49" fmla="*/ 98 h 168"/>
                <a:gd name="T50" fmla="*/ 20 w 186"/>
                <a:gd name="T51" fmla="*/ 104 h 168"/>
                <a:gd name="T52" fmla="*/ 14 w 186"/>
                <a:gd name="T53" fmla="*/ 104 h 168"/>
                <a:gd name="T54" fmla="*/ 0 w 186"/>
                <a:gd name="T55" fmla="*/ 98 h 168"/>
                <a:gd name="T56" fmla="*/ 4 w 186"/>
                <a:gd name="T57" fmla="*/ 54 h 168"/>
                <a:gd name="T58" fmla="*/ 10 w 186"/>
                <a:gd name="T59" fmla="*/ 30 h 168"/>
                <a:gd name="T60" fmla="*/ 14 w 186"/>
                <a:gd name="T61" fmla="*/ 22 h 168"/>
                <a:gd name="T62" fmla="*/ 30 w 186"/>
                <a:gd name="T63" fmla="*/ 10 h 168"/>
                <a:gd name="T64" fmla="*/ 42 w 186"/>
                <a:gd name="T65" fmla="*/ 10 h 168"/>
                <a:gd name="T66" fmla="*/ 42 w 186"/>
                <a:gd name="T67" fmla="*/ 28 h 168"/>
                <a:gd name="T68" fmla="*/ 46 w 186"/>
                <a:gd name="T69" fmla="*/ 36 h 168"/>
                <a:gd name="T70" fmla="*/ 48 w 186"/>
                <a:gd name="T71" fmla="*/ 38 h 168"/>
                <a:gd name="T72" fmla="*/ 60 w 186"/>
                <a:gd name="T73" fmla="*/ 36 h 168"/>
                <a:gd name="T74" fmla="*/ 64 w 186"/>
                <a:gd name="T75" fmla="*/ 40 h 168"/>
                <a:gd name="T76" fmla="*/ 72 w 186"/>
                <a:gd name="T77" fmla="*/ 46 h 168"/>
                <a:gd name="T78" fmla="*/ 84 w 186"/>
                <a:gd name="T79" fmla="*/ 46 h 168"/>
                <a:gd name="T80" fmla="*/ 88 w 186"/>
                <a:gd name="T81" fmla="*/ 42 h 168"/>
                <a:gd name="T82" fmla="*/ 88 w 186"/>
                <a:gd name="T83" fmla="*/ 32 h 168"/>
                <a:gd name="T84" fmla="*/ 94 w 186"/>
                <a:gd name="T85" fmla="*/ 34 h 168"/>
                <a:gd name="T86" fmla="*/ 100 w 186"/>
                <a:gd name="T87" fmla="*/ 46 h 168"/>
                <a:gd name="T88" fmla="*/ 102 w 186"/>
                <a:gd name="T89" fmla="*/ 50 h 168"/>
                <a:gd name="T90" fmla="*/ 112 w 186"/>
                <a:gd name="T91" fmla="*/ 48 h 168"/>
                <a:gd name="T92" fmla="*/ 122 w 186"/>
                <a:gd name="T93" fmla="*/ 46 h 168"/>
                <a:gd name="T94" fmla="*/ 142 w 186"/>
                <a:gd name="T95" fmla="*/ 48 h 168"/>
                <a:gd name="T96" fmla="*/ 152 w 186"/>
                <a:gd name="T97" fmla="*/ 54 h 168"/>
                <a:gd name="T98" fmla="*/ 154 w 186"/>
                <a:gd name="T99" fmla="*/ 58 h 168"/>
                <a:gd name="T100" fmla="*/ 154 w 186"/>
                <a:gd name="T101" fmla="*/ 74 h 168"/>
                <a:gd name="T102" fmla="*/ 156 w 186"/>
                <a:gd name="T103" fmla="*/ 86 h 168"/>
                <a:gd name="T104" fmla="*/ 160 w 186"/>
                <a:gd name="T105" fmla="*/ 92 h 168"/>
                <a:gd name="T106" fmla="*/ 174 w 186"/>
                <a:gd name="T107" fmla="*/ 98 h 168"/>
                <a:gd name="T108" fmla="*/ 184 w 186"/>
                <a:gd name="T109" fmla="*/ 114 h 168"/>
                <a:gd name="T110" fmla="*/ 176 w 186"/>
                <a:gd name="T111" fmla="*/ 126 h 168"/>
                <a:gd name="T112" fmla="*/ 164 w 186"/>
                <a:gd name="T11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68">
                  <a:moveTo>
                    <a:pt x="150" y="168"/>
                  </a:moveTo>
                  <a:lnTo>
                    <a:pt x="150" y="168"/>
                  </a:lnTo>
                  <a:lnTo>
                    <a:pt x="146" y="166"/>
                  </a:lnTo>
                  <a:lnTo>
                    <a:pt x="142" y="164"/>
                  </a:lnTo>
                  <a:lnTo>
                    <a:pt x="140" y="162"/>
                  </a:lnTo>
                  <a:lnTo>
                    <a:pt x="140" y="162"/>
                  </a:lnTo>
                  <a:lnTo>
                    <a:pt x="138" y="162"/>
                  </a:lnTo>
                  <a:lnTo>
                    <a:pt x="134" y="162"/>
                  </a:lnTo>
                  <a:lnTo>
                    <a:pt x="128" y="162"/>
                  </a:lnTo>
                  <a:lnTo>
                    <a:pt x="122" y="162"/>
                  </a:lnTo>
                  <a:lnTo>
                    <a:pt x="120" y="162"/>
                  </a:lnTo>
                  <a:lnTo>
                    <a:pt x="120" y="160"/>
                  </a:lnTo>
                  <a:lnTo>
                    <a:pt x="122" y="156"/>
                  </a:lnTo>
                  <a:lnTo>
                    <a:pt x="122" y="156"/>
                  </a:lnTo>
                  <a:lnTo>
                    <a:pt x="122" y="154"/>
                  </a:lnTo>
                  <a:lnTo>
                    <a:pt x="122" y="152"/>
                  </a:lnTo>
                  <a:lnTo>
                    <a:pt x="122" y="152"/>
                  </a:lnTo>
                  <a:lnTo>
                    <a:pt x="122" y="150"/>
                  </a:lnTo>
                  <a:lnTo>
                    <a:pt x="120" y="150"/>
                  </a:lnTo>
                  <a:lnTo>
                    <a:pt x="120" y="150"/>
                  </a:lnTo>
                  <a:lnTo>
                    <a:pt x="120" y="148"/>
                  </a:lnTo>
                  <a:lnTo>
                    <a:pt x="118" y="148"/>
                  </a:lnTo>
                  <a:lnTo>
                    <a:pt x="118" y="148"/>
                  </a:lnTo>
                  <a:lnTo>
                    <a:pt x="116" y="148"/>
                  </a:lnTo>
                  <a:lnTo>
                    <a:pt x="116" y="148"/>
                  </a:lnTo>
                  <a:lnTo>
                    <a:pt x="114" y="148"/>
                  </a:lnTo>
                  <a:lnTo>
                    <a:pt x="114" y="148"/>
                  </a:lnTo>
                  <a:lnTo>
                    <a:pt x="114" y="148"/>
                  </a:lnTo>
                  <a:lnTo>
                    <a:pt x="112" y="148"/>
                  </a:lnTo>
                  <a:lnTo>
                    <a:pt x="110" y="150"/>
                  </a:lnTo>
                  <a:lnTo>
                    <a:pt x="108" y="150"/>
                  </a:lnTo>
                  <a:lnTo>
                    <a:pt x="108" y="152"/>
                  </a:lnTo>
                  <a:lnTo>
                    <a:pt x="106" y="152"/>
                  </a:lnTo>
                  <a:lnTo>
                    <a:pt x="106" y="152"/>
                  </a:lnTo>
                  <a:lnTo>
                    <a:pt x="106" y="152"/>
                  </a:lnTo>
                  <a:lnTo>
                    <a:pt x="104" y="152"/>
                  </a:lnTo>
                  <a:lnTo>
                    <a:pt x="102" y="152"/>
                  </a:lnTo>
                  <a:lnTo>
                    <a:pt x="100" y="150"/>
                  </a:lnTo>
                  <a:lnTo>
                    <a:pt x="96" y="150"/>
                  </a:lnTo>
                  <a:lnTo>
                    <a:pt x="94" y="148"/>
                  </a:lnTo>
                  <a:lnTo>
                    <a:pt x="92" y="146"/>
                  </a:lnTo>
                  <a:lnTo>
                    <a:pt x="88" y="144"/>
                  </a:lnTo>
                  <a:lnTo>
                    <a:pt x="86" y="142"/>
                  </a:lnTo>
                  <a:lnTo>
                    <a:pt x="84" y="140"/>
                  </a:lnTo>
                  <a:lnTo>
                    <a:pt x="82" y="138"/>
                  </a:lnTo>
                  <a:lnTo>
                    <a:pt x="80" y="136"/>
                  </a:lnTo>
                  <a:lnTo>
                    <a:pt x="78" y="134"/>
                  </a:lnTo>
                  <a:lnTo>
                    <a:pt x="76" y="132"/>
                  </a:lnTo>
                  <a:lnTo>
                    <a:pt x="74" y="130"/>
                  </a:lnTo>
                  <a:lnTo>
                    <a:pt x="72" y="128"/>
                  </a:lnTo>
                  <a:lnTo>
                    <a:pt x="72" y="126"/>
                  </a:lnTo>
                  <a:lnTo>
                    <a:pt x="72" y="124"/>
                  </a:lnTo>
                  <a:lnTo>
                    <a:pt x="72" y="124"/>
                  </a:lnTo>
                  <a:lnTo>
                    <a:pt x="72" y="122"/>
                  </a:lnTo>
                  <a:lnTo>
                    <a:pt x="72" y="120"/>
                  </a:lnTo>
                  <a:lnTo>
                    <a:pt x="74" y="120"/>
                  </a:lnTo>
                  <a:lnTo>
                    <a:pt x="74" y="118"/>
                  </a:lnTo>
                  <a:lnTo>
                    <a:pt x="76" y="116"/>
                  </a:lnTo>
                  <a:lnTo>
                    <a:pt x="76" y="116"/>
                  </a:lnTo>
                  <a:lnTo>
                    <a:pt x="76" y="114"/>
                  </a:lnTo>
                  <a:lnTo>
                    <a:pt x="76" y="114"/>
                  </a:lnTo>
                  <a:lnTo>
                    <a:pt x="76" y="114"/>
                  </a:lnTo>
                  <a:lnTo>
                    <a:pt x="76" y="112"/>
                  </a:lnTo>
                  <a:lnTo>
                    <a:pt x="74" y="112"/>
                  </a:lnTo>
                  <a:lnTo>
                    <a:pt x="74" y="112"/>
                  </a:lnTo>
                  <a:lnTo>
                    <a:pt x="72" y="110"/>
                  </a:lnTo>
                  <a:lnTo>
                    <a:pt x="70" y="110"/>
                  </a:lnTo>
                  <a:lnTo>
                    <a:pt x="68" y="110"/>
                  </a:lnTo>
                  <a:lnTo>
                    <a:pt x="66" y="110"/>
                  </a:lnTo>
                  <a:lnTo>
                    <a:pt x="64" y="110"/>
                  </a:lnTo>
                  <a:lnTo>
                    <a:pt x="62" y="110"/>
                  </a:lnTo>
                  <a:lnTo>
                    <a:pt x="60" y="110"/>
                  </a:lnTo>
                  <a:lnTo>
                    <a:pt x="58" y="110"/>
                  </a:lnTo>
                  <a:lnTo>
                    <a:pt x="54" y="110"/>
                  </a:lnTo>
                  <a:lnTo>
                    <a:pt x="52" y="108"/>
                  </a:lnTo>
                  <a:lnTo>
                    <a:pt x="50" y="108"/>
                  </a:lnTo>
                  <a:lnTo>
                    <a:pt x="50" y="108"/>
                  </a:lnTo>
                  <a:lnTo>
                    <a:pt x="50" y="108"/>
                  </a:lnTo>
                  <a:lnTo>
                    <a:pt x="50" y="108"/>
                  </a:lnTo>
                  <a:lnTo>
                    <a:pt x="48" y="106"/>
                  </a:lnTo>
                  <a:lnTo>
                    <a:pt x="48" y="106"/>
                  </a:lnTo>
                  <a:lnTo>
                    <a:pt x="50" y="106"/>
                  </a:lnTo>
                  <a:lnTo>
                    <a:pt x="50" y="104"/>
                  </a:lnTo>
                  <a:lnTo>
                    <a:pt x="50" y="104"/>
                  </a:lnTo>
                  <a:lnTo>
                    <a:pt x="52" y="102"/>
                  </a:lnTo>
                  <a:lnTo>
                    <a:pt x="52" y="102"/>
                  </a:lnTo>
                  <a:lnTo>
                    <a:pt x="52" y="100"/>
                  </a:lnTo>
                  <a:lnTo>
                    <a:pt x="52" y="100"/>
                  </a:lnTo>
                  <a:lnTo>
                    <a:pt x="52" y="100"/>
                  </a:lnTo>
                  <a:lnTo>
                    <a:pt x="52" y="100"/>
                  </a:lnTo>
                  <a:lnTo>
                    <a:pt x="52" y="100"/>
                  </a:lnTo>
                  <a:lnTo>
                    <a:pt x="52" y="98"/>
                  </a:lnTo>
                  <a:lnTo>
                    <a:pt x="50" y="98"/>
                  </a:lnTo>
                  <a:lnTo>
                    <a:pt x="50" y="96"/>
                  </a:lnTo>
                  <a:lnTo>
                    <a:pt x="48" y="96"/>
                  </a:lnTo>
                  <a:lnTo>
                    <a:pt x="46" y="94"/>
                  </a:lnTo>
                  <a:lnTo>
                    <a:pt x="46" y="94"/>
                  </a:lnTo>
                  <a:lnTo>
                    <a:pt x="44" y="94"/>
                  </a:lnTo>
                  <a:lnTo>
                    <a:pt x="44" y="92"/>
                  </a:lnTo>
                  <a:lnTo>
                    <a:pt x="44" y="90"/>
                  </a:lnTo>
                  <a:lnTo>
                    <a:pt x="42" y="88"/>
                  </a:lnTo>
                  <a:lnTo>
                    <a:pt x="42" y="86"/>
                  </a:lnTo>
                  <a:lnTo>
                    <a:pt x="42" y="86"/>
                  </a:lnTo>
                  <a:lnTo>
                    <a:pt x="42" y="86"/>
                  </a:lnTo>
                  <a:lnTo>
                    <a:pt x="40" y="86"/>
                  </a:lnTo>
                  <a:lnTo>
                    <a:pt x="40" y="86"/>
                  </a:lnTo>
                  <a:lnTo>
                    <a:pt x="40" y="86"/>
                  </a:lnTo>
                  <a:lnTo>
                    <a:pt x="38" y="86"/>
                  </a:lnTo>
                  <a:lnTo>
                    <a:pt x="38" y="86"/>
                  </a:lnTo>
                  <a:lnTo>
                    <a:pt x="36" y="88"/>
                  </a:lnTo>
                  <a:lnTo>
                    <a:pt x="34" y="88"/>
                  </a:lnTo>
                  <a:lnTo>
                    <a:pt x="32" y="90"/>
                  </a:lnTo>
                  <a:lnTo>
                    <a:pt x="30" y="90"/>
                  </a:lnTo>
                  <a:lnTo>
                    <a:pt x="30" y="90"/>
                  </a:lnTo>
                  <a:lnTo>
                    <a:pt x="28" y="90"/>
                  </a:lnTo>
                  <a:lnTo>
                    <a:pt x="26" y="92"/>
                  </a:lnTo>
                  <a:lnTo>
                    <a:pt x="24" y="92"/>
                  </a:lnTo>
                  <a:lnTo>
                    <a:pt x="24" y="92"/>
                  </a:lnTo>
                  <a:lnTo>
                    <a:pt x="22" y="92"/>
                  </a:lnTo>
                  <a:lnTo>
                    <a:pt x="22" y="92"/>
                  </a:lnTo>
                  <a:lnTo>
                    <a:pt x="22" y="94"/>
                  </a:lnTo>
                  <a:lnTo>
                    <a:pt x="20" y="94"/>
                  </a:lnTo>
                  <a:lnTo>
                    <a:pt x="20" y="94"/>
                  </a:lnTo>
                  <a:lnTo>
                    <a:pt x="20" y="96"/>
                  </a:lnTo>
                  <a:lnTo>
                    <a:pt x="20" y="98"/>
                  </a:lnTo>
                  <a:lnTo>
                    <a:pt x="20" y="100"/>
                  </a:lnTo>
                  <a:lnTo>
                    <a:pt x="20" y="102"/>
                  </a:lnTo>
                  <a:lnTo>
                    <a:pt x="20" y="102"/>
                  </a:lnTo>
                  <a:lnTo>
                    <a:pt x="20" y="102"/>
                  </a:lnTo>
                  <a:lnTo>
                    <a:pt x="20" y="104"/>
                  </a:lnTo>
                  <a:lnTo>
                    <a:pt x="18" y="104"/>
                  </a:lnTo>
                  <a:lnTo>
                    <a:pt x="18" y="104"/>
                  </a:lnTo>
                  <a:lnTo>
                    <a:pt x="16" y="104"/>
                  </a:lnTo>
                  <a:lnTo>
                    <a:pt x="16" y="104"/>
                  </a:lnTo>
                  <a:lnTo>
                    <a:pt x="14" y="104"/>
                  </a:lnTo>
                  <a:lnTo>
                    <a:pt x="12" y="102"/>
                  </a:lnTo>
                  <a:lnTo>
                    <a:pt x="8" y="102"/>
                  </a:lnTo>
                  <a:lnTo>
                    <a:pt x="6" y="100"/>
                  </a:lnTo>
                  <a:lnTo>
                    <a:pt x="2" y="100"/>
                  </a:lnTo>
                  <a:lnTo>
                    <a:pt x="0" y="98"/>
                  </a:lnTo>
                  <a:lnTo>
                    <a:pt x="0" y="88"/>
                  </a:lnTo>
                  <a:lnTo>
                    <a:pt x="2" y="80"/>
                  </a:lnTo>
                  <a:lnTo>
                    <a:pt x="2" y="68"/>
                  </a:lnTo>
                  <a:lnTo>
                    <a:pt x="4" y="62"/>
                  </a:lnTo>
                  <a:lnTo>
                    <a:pt x="4" y="54"/>
                  </a:lnTo>
                  <a:lnTo>
                    <a:pt x="6" y="48"/>
                  </a:lnTo>
                  <a:lnTo>
                    <a:pt x="6" y="42"/>
                  </a:lnTo>
                  <a:lnTo>
                    <a:pt x="8" y="38"/>
                  </a:lnTo>
                  <a:lnTo>
                    <a:pt x="8" y="32"/>
                  </a:lnTo>
                  <a:lnTo>
                    <a:pt x="10" y="30"/>
                  </a:lnTo>
                  <a:lnTo>
                    <a:pt x="10" y="28"/>
                  </a:lnTo>
                  <a:lnTo>
                    <a:pt x="10" y="26"/>
                  </a:lnTo>
                  <a:lnTo>
                    <a:pt x="12" y="24"/>
                  </a:lnTo>
                  <a:lnTo>
                    <a:pt x="12" y="24"/>
                  </a:lnTo>
                  <a:lnTo>
                    <a:pt x="14" y="22"/>
                  </a:lnTo>
                  <a:lnTo>
                    <a:pt x="16" y="20"/>
                  </a:lnTo>
                  <a:lnTo>
                    <a:pt x="18" y="18"/>
                  </a:lnTo>
                  <a:lnTo>
                    <a:pt x="22" y="16"/>
                  </a:lnTo>
                  <a:lnTo>
                    <a:pt x="24" y="14"/>
                  </a:lnTo>
                  <a:lnTo>
                    <a:pt x="30" y="10"/>
                  </a:lnTo>
                  <a:lnTo>
                    <a:pt x="34" y="6"/>
                  </a:lnTo>
                  <a:lnTo>
                    <a:pt x="40" y="4"/>
                  </a:lnTo>
                  <a:lnTo>
                    <a:pt x="44" y="0"/>
                  </a:lnTo>
                  <a:lnTo>
                    <a:pt x="42" y="6"/>
                  </a:lnTo>
                  <a:lnTo>
                    <a:pt x="42" y="10"/>
                  </a:lnTo>
                  <a:lnTo>
                    <a:pt x="42" y="16"/>
                  </a:lnTo>
                  <a:lnTo>
                    <a:pt x="42" y="20"/>
                  </a:lnTo>
                  <a:lnTo>
                    <a:pt x="42" y="22"/>
                  </a:lnTo>
                  <a:lnTo>
                    <a:pt x="42" y="26"/>
                  </a:lnTo>
                  <a:lnTo>
                    <a:pt x="42" y="28"/>
                  </a:lnTo>
                  <a:lnTo>
                    <a:pt x="44" y="32"/>
                  </a:lnTo>
                  <a:lnTo>
                    <a:pt x="44" y="34"/>
                  </a:lnTo>
                  <a:lnTo>
                    <a:pt x="44" y="34"/>
                  </a:lnTo>
                  <a:lnTo>
                    <a:pt x="44" y="36"/>
                  </a:lnTo>
                  <a:lnTo>
                    <a:pt x="46" y="36"/>
                  </a:lnTo>
                  <a:lnTo>
                    <a:pt x="46" y="38"/>
                  </a:lnTo>
                  <a:lnTo>
                    <a:pt x="46" y="38"/>
                  </a:lnTo>
                  <a:lnTo>
                    <a:pt x="48" y="38"/>
                  </a:lnTo>
                  <a:lnTo>
                    <a:pt x="48" y="38"/>
                  </a:lnTo>
                  <a:lnTo>
                    <a:pt x="48" y="38"/>
                  </a:lnTo>
                  <a:lnTo>
                    <a:pt x="50" y="38"/>
                  </a:lnTo>
                  <a:lnTo>
                    <a:pt x="54" y="38"/>
                  </a:lnTo>
                  <a:lnTo>
                    <a:pt x="56" y="38"/>
                  </a:lnTo>
                  <a:lnTo>
                    <a:pt x="58" y="36"/>
                  </a:lnTo>
                  <a:lnTo>
                    <a:pt x="60" y="36"/>
                  </a:lnTo>
                  <a:lnTo>
                    <a:pt x="60" y="36"/>
                  </a:lnTo>
                  <a:lnTo>
                    <a:pt x="62" y="38"/>
                  </a:lnTo>
                  <a:lnTo>
                    <a:pt x="62" y="38"/>
                  </a:lnTo>
                  <a:lnTo>
                    <a:pt x="62" y="38"/>
                  </a:lnTo>
                  <a:lnTo>
                    <a:pt x="64" y="40"/>
                  </a:lnTo>
                  <a:lnTo>
                    <a:pt x="66" y="44"/>
                  </a:lnTo>
                  <a:lnTo>
                    <a:pt x="68" y="44"/>
                  </a:lnTo>
                  <a:lnTo>
                    <a:pt x="68" y="44"/>
                  </a:lnTo>
                  <a:lnTo>
                    <a:pt x="70" y="46"/>
                  </a:lnTo>
                  <a:lnTo>
                    <a:pt x="72" y="46"/>
                  </a:lnTo>
                  <a:lnTo>
                    <a:pt x="76" y="46"/>
                  </a:lnTo>
                  <a:lnTo>
                    <a:pt x="78" y="46"/>
                  </a:lnTo>
                  <a:lnTo>
                    <a:pt x="80" y="46"/>
                  </a:lnTo>
                  <a:lnTo>
                    <a:pt x="82" y="46"/>
                  </a:lnTo>
                  <a:lnTo>
                    <a:pt x="84" y="46"/>
                  </a:lnTo>
                  <a:lnTo>
                    <a:pt x="84" y="46"/>
                  </a:lnTo>
                  <a:lnTo>
                    <a:pt x="86" y="46"/>
                  </a:lnTo>
                  <a:lnTo>
                    <a:pt x="86" y="44"/>
                  </a:lnTo>
                  <a:lnTo>
                    <a:pt x="86" y="44"/>
                  </a:lnTo>
                  <a:lnTo>
                    <a:pt x="88" y="42"/>
                  </a:lnTo>
                  <a:lnTo>
                    <a:pt x="88" y="42"/>
                  </a:lnTo>
                  <a:lnTo>
                    <a:pt x="88" y="40"/>
                  </a:lnTo>
                  <a:lnTo>
                    <a:pt x="88" y="38"/>
                  </a:lnTo>
                  <a:lnTo>
                    <a:pt x="88" y="36"/>
                  </a:lnTo>
                  <a:lnTo>
                    <a:pt x="88" y="32"/>
                  </a:lnTo>
                  <a:lnTo>
                    <a:pt x="88" y="28"/>
                  </a:lnTo>
                  <a:lnTo>
                    <a:pt x="88" y="24"/>
                  </a:lnTo>
                  <a:lnTo>
                    <a:pt x="88" y="20"/>
                  </a:lnTo>
                  <a:lnTo>
                    <a:pt x="92" y="28"/>
                  </a:lnTo>
                  <a:lnTo>
                    <a:pt x="94" y="34"/>
                  </a:lnTo>
                  <a:lnTo>
                    <a:pt x="98" y="38"/>
                  </a:lnTo>
                  <a:lnTo>
                    <a:pt x="98" y="40"/>
                  </a:lnTo>
                  <a:lnTo>
                    <a:pt x="98" y="42"/>
                  </a:lnTo>
                  <a:lnTo>
                    <a:pt x="100" y="44"/>
                  </a:lnTo>
                  <a:lnTo>
                    <a:pt x="100" y="46"/>
                  </a:lnTo>
                  <a:lnTo>
                    <a:pt x="100" y="48"/>
                  </a:lnTo>
                  <a:lnTo>
                    <a:pt x="102" y="50"/>
                  </a:lnTo>
                  <a:lnTo>
                    <a:pt x="102" y="50"/>
                  </a:lnTo>
                  <a:lnTo>
                    <a:pt x="102" y="50"/>
                  </a:lnTo>
                  <a:lnTo>
                    <a:pt x="102" y="50"/>
                  </a:lnTo>
                  <a:lnTo>
                    <a:pt x="104" y="50"/>
                  </a:lnTo>
                  <a:lnTo>
                    <a:pt x="106" y="50"/>
                  </a:lnTo>
                  <a:lnTo>
                    <a:pt x="106" y="50"/>
                  </a:lnTo>
                  <a:lnTo>
                    <a:pt x="108" y="50"/>
                  </a:lnTo>
                  <a:lnTo>
                    <a:pt x="112" y="48"/>
                  </a:lnTo>
                  <a:lnTo>
                    <a:pt x="116" y="46"/>
                  </a:lnTo>
                  <a:lnTo>
                    <a:pt x="118" y="46"/>
                  </a:lnTo>
                  <a:lnTo>
                    <a:pt x="120" y="46"/>
                  </a:lnTo>
                  <a:lnTo>
                    <a:pt x="120" y="46"/>
                  </a:lnTo>
                  <a:lnTo>
                    <a:pt x="122" y="46"/>
                  </a:lnTo>
                  <a:lnTo>
                    <a:pt x="124" y="46"/>
                  </a:lnTo>
                  <a:lnTo>
                    <a:pt x="128" y="46"/>
                  </a:lnTo>
                  <a:lnTo>
                    <a:pt x="134" y="46"/>
                  </a:lnTo>
                  <a:lnTo>
                    <a:pt x="138" y="48"/>
                  </a:lnTo>
                  <a:lnTo>
                    <a:pt x="142" y="48"/>
                  </a:lnTo>
                  <a:lnTo>
                    <a:pt x="144" y="50"/>
                  </a:lnTo>
                  <a:lnTo>
                    <a:pt x="146" y="50"/>
                  </a:lnTo>
                  <a:lnTo>
                    <a:pt x="148" y="52"/>
                  </a:lnTo>
                  <a:lnTo>
                    <a:pt x="150" y="52"/>
                  </a:lnTo>
                  <a:lnTo>
                    <a:pt x="152" y="54"/>
                  </a:lnTo>
                  <a:lnTo>
                    <a:pt x="152" y="54"/>
                  </a:lnTo>
                  <a:lnTo>
                    <a:pt x="152" y="56"/>
                  </a:lnTo>
                  <a:lnTo>
                    <a:pt x="154" y="56"/>
                  </a:lnTo>
                  <a:lnTo>
                    <a:pt x="154" y="58"/>
                  </a:lnTo>
                  <a:lnTo>
                    <a:pt x="154" y="58"/>
                  </a:lnTo>
                  <a:lnTo>
                    <a:pt x="154" y="60"/>
                  </a:lnTo>
                  <a:lnTo>
                    <a:pt x="154" y="62"/>
                  </a:lnTo>
                  <a:lnTo>
                    <a:pt x="154" y="66"/>
                  </a:lnTo>
                  <a:lnTo>
                    <a:pt x="154" y="72"/>
                  </a:lnTo>
                  <a:lnTo>
                    <a:pt x="154" y="74"/>
                  </a:lnTo>
                  <a:lnTo>
                    <a:pt x="154" y="76"/>
                  </a:lnTo>
                  <a:lnTo>
                    <a:pt x="154" y="76"/>
                  </a:lnTo>
                  <a:lnTo>
                    <a:pt x="154" y="80"/>
                  </a:lnTo>
                  <a:lnTo>
                    <a:pt x="156" y="84"/>
                  </a:lnTo>
                  <a:lnTo>
                    <a:pt x="156" y="86"/>
                  </a:lnTo>
                  <a:lnTo>
                    <a:pt x="158" y="88"/>
                  </a:lnTo>
                  <a:lnTo>
                    <a:pt x="158" y="90"/>
                  </a:lnTo>
                  <a:lnTo>
                    <a:pt x="158" y="90"/>
                  </a:lnTo>
                  <a:lnTo>
                    <a:pt x="160" y="90"/>
                  </a:lnTo>
                  <a:lnTo>
                    <a:pt x="160" y="92"/>
                  </a:lnTo>
                  <a:lnTo>
                    <a:pt x="162" y="92"/>
                  </a:lnTo>
                  <a:lnTo>
                    <a:pt x="164" y="94"/>
                  </a:lnTo>
                  <a:lnTo>
                    <a:pt x="168" y="94"/>
                  </a:lnTo>
                  <a:lnTo>
                    <a:pt x="172" y="96"/>
                  </a:lnTo>
                  <a:lnTo>
                    <a:pt x="174" y="98"/>
                  </a:lnTo>
                  <a:lnTo>
                    <a:pt x="176" y="98"/>
                  </a:lnTo>
                  <a:lnTo>
                    <a:pt x="178" y="100"/>
                  </a:lnTo>
                  <a:lnTo>
                    <a:pt x="182" y="102"/>
                  </a:lnTo>
                  <a:lnTo>
                    <a:pt x="186" y="106"/>
                  </a:lnTo>
                  <a:lnTo>
                    <a:pt x="184" y="114"/>
                  </a:lnTo>
                  <a:lnTo>
                    <a:pt x="180" y="118"/>
                  </a:lnTo>
                  <a:lnTo>
                    <a:pt x="180" y="122"/>
                  </a:lnTo>
                  <a:lnTo>
                    <a:pt x="178" y="122"/>
                  </a:lnTo>
                  <a:lnTo>
                    <a:pt x="178" y="124"/>
                  </a:lnTo>
                  <a:lnTo>
                    <a:pt x="176" y="126"/>
                  </a:lnTo>
                  <a:lnTo>
                    <a:pt x="172" y="130"/>
                  </a:lnTo>
                  <a:lnTo>
                    <a:pt x="168" y="136"/>
                  </a:lnTo>
                  <a:lnTo>
                    <a:pt x="168" y="136"/>
                  </a:lnTo>
                  <a:lnTo>
                    <a:pt x="166" y="138"/>
                  </a:lnTo>
                  <a:lnTo>
                    <a:pt x="164" y="142"/>
                  </a:lnTo>
                  <a:lnTo>
                    <a:pt x="162" y="146"/>
                  </a:lnTo>
                  <a:lnTo>
                    <a:pt x="156" y="156"/>
                  </a:lnTo>
                  <a:lnTo>
                    <a:pt x="150" y="16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8" name="Freeform 145"/>
            <p:cNvSpPr>
              <a:spLocks/>
            </p:cNvSpPr>
            <p:nvPr/>
          </p:nvSpPr>
          <p:spPr bwMode="auto">
            <a:xfrm>
              <a:off x="5408917" y="3766317"/>
              <a:ext cx="34642" cy="45034"/>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29" name="Freeform 146"/>
            <p:cNvSpPr>
              <a:spLocks/>
            </p:cNvSpPr>
            <p:nvPr/>
          </p:nvSpPr>
          <p:spPr bwMode="auto">
            <a:xfrm>
              <a:off x="5408917" y="3766317"/>
              <a:ext cx="34642" cy="45034"/>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0" name="Freeform 147"/>
            <p:cNvSpPr>
              <a:spLocks/>
            </p:cNvSpPr>
            <p:nvPr/>
          </p:nvSpPr>
          <p:spPr bwMode="auto">
            <a:xfrm>
              <a:off x="5114464" y="3697034"/>
              <a:ext cx="530015" cy="502302"/>
            </a:xfrm>
            <a:custGeom>
              <a:avLst/>
              <a:gdLst>
                <a:gd name="T0" fmla="*/ 164 w 306"/>
                <a:gd name="T1" fmla="*/ 68 h 290"/>
                <a:gd name="T2" fmla="*/ 190 w 306"/>
                <a:gd name="T3" fmla="*/ 64 h 290"/>
                <a:gd name="T4" fmla="*/ 200 w 306"/>
                <a:gd name="T5" fmla="*/ 72 h 290"/>
                <a:gd name="T6" fmla="*/ 228 w 306"/>
                <a:gd name="T7" fmla="*/ 104 h 290"/>
                <a:gd name="T8" fmla="*/ 230 w 306"/>
                <a:gd name="T9" fmla="*/ 122 h 290"/>
                <a:gd name="T10" fmla="*/ 238 w 306"/>
                <a:gd name="T11" fmla="*/ 132 h 290"/>
                <a:gd name="T12" fmla="*/ 244 w 306"/>
                <a:gd name="T13" fmla="*/ 156 h 290"/>
                <a:gd name="T14" fmla="*/ 250 w 306"/>
                <a:gd name="T15" fmla="*/ 162 h 290"/>
                <a:gd name="T16" fmla="*/ 266 w 306"/>
                <a:gd name="T17" fmla="*/ 166 h 290"/>
                <a:gd name="T18" fmla="*/ 294 w 306"/>
                <a:gd name="T19" fmla="*/ 166 h 290"/>
                <a:gd name="T20" fmla="*/ 304 w 306"/>
                <a:gd name="T21" fmla="*/ 180 h 290"/>
                <a:gd name="T22" fmla="*/ 306 w 306"/>
                <a:gd name="T23" fmla="*/ 194 h 290"/>
                <a:gd name="T24" fmla="*/ 302 w 306"/>
                <a:gd name="T25" fmla="*/ 212 h 290"/>
                <a:gd name="T26" fmla="*/ 294 w 306"/>
                <a:gd name="T27" fmla="*/ 222 h 290"/>
                <a:gd name="T28" fmla="*/ 278 w 306"/>
                <a:gd name="T29" fmla="*/ 228 h 290"/>
                <a:gd name="T30" fmla="*/ 248 w 306"/>
                <a:gd name="T31" fmla="*/ 232 h 290"/>
                <a:gd name="T32" fmla="*/ 218 w 306"/>
                <a:gd name="T33" fmla="*/ 236 h 290"/>
                <a:gd name="T34" fmla="*/ 206 w 306"/>
                <a:gd name="T35" fmla="*/ 244 h 290"/>
                <a:gd name="T36" fmla="*/ 198 w 306"/>
                <a:gd name="T37" fmla="*/ 254 h 290"/>
                <a:gd name="T38" fmla="*/ 194 w 306"/>
                <a:gd name="T39" fmla="*/ 270 h 290"/>
                <a:gd name="T40" fmla="*/ 188 w 306"/>
                <a:gd name="T41" fmla="*/ 280 h 290"/>
                <a:gd name="T42" fmla="*/ 174 w 306"/>
                <a:gd name="T43" fmla="*/ 276 h 290"/>
                <a:gd name="T44" fmla="*/ 174 w 306"/>
                <a:gd name="T45" fmla="*/ 266 h 290"/>
                <a:gd name="T46" fmla="*/ 164 w 306"/>
                <a:gd name="T47" fmla="*/ 264 h 290"/>
                <a:gd name="T48" fmla="*/ 138 w 306"/>
                <a:gd name="T49" fmla="*/ 264 h 290"/>
                <a:gd name="T50" fmla="*/ 122 w 306"/>
                <a:gd name="T51" fmla="*/ 272 h 290"/>
                <a:gd name="T52" fmla="*/ 108 w 306"/>
                <a:gd name="T53" fmla="*/ 254 h 290"/>
                <a:gd name="T54" fmla="*/ 102 w 306"/>
                <a:gd name="T55" fmla="*/ 236 h 290"/>
                <a:gd name="T56" fmla="*/ 88 w 306"/>
                <a:gd name="T57" fmla="*/ 214 h 290"/>
                <a:gd name="T58" fmla="*/ 70 w 306"/>
                <a:gd name="T59" fmla="*/ 188 h 290"/>
                <a:gd name="T60" fmla="*/ 58 w 306"/>
                <a:gd name="T61" fmla="*/ 156 h 290"/>
                <a:gd name="T62" fmla="*/ 48 w 306"/>
                <a:gd name="T63" fmla="*/ 136 h 290"/>
                <a:gd name="T64" fmla="*/ 36 w 306"/>
                <a:gd name="T65" fmla="*/ 120 h 290"/>
                <a:gd name="T66" fmla="*/ 20 w 306"/>
                <a:gd name="T67" fmla="*/ 106 h 290"/>
                <a:gd name="T68" fmla="*/ 18 w 306"/>
                <a:gd name="T69" fmla="*/ 98 h 290"/>
                <a:gd name="T70" fmla="*/ 16 w 306"/>
                <a:gd name="T71" fmla="*/ 82 h 290"/>
                <a:gd name="T72" fmla="*/ 12 w 306"/>
                <a:gd name="T73" fmla="*/ 78 h 290"/>
                <a:gd name="T74" fmla="*/ 4 w 306"/>
                <a:gd name="T75" fmla="*/ 74 h 290"/>
                <a:gd name="T76" fmla="*/ 0 w 306"/>
                <a:gd name="T77" fmla="*/ 60 h 290"/>
                <a:gd name="T78" fmla="*/ 16 w 306"/>
                <a:gd name="T79" fmla="*/ 58 h 290"/>
                <a:gd name="T80" fmla="*/ 24 w 306"/>
                <a:gd name="T81" fmla="*/ 54 h 290"/>
                <a:gd name="T82" fmla="*/ 34 w 306"/>
                <a:gd name="T83" fmla="*/ 42 h 290"/>
                <a:gd name="T84" fmla="*/ 44 w 306"/>
                <a:gd name="T85" fmla="*/ 34 h 290"/>
                <a:gd name="T86" fmla="*/ 44 w 306"/>
                <a:gd name="T87" fmla="*/ 24 h 290"/>
                <a:gd name="T88" fmla="*/ 44 w 306"/>
                <a:gd name="T89" fmla="*/ 14 h 290"/>
                <a:gd name="T90" fmla="*/ 52 w 306"/>
                <a:gd name="T91" fmla="*/ 6 h 290"/>
                <a:gd name="T92" fmla="*/ 64 w 306"/>
                <a:gd name="T93" fmla="*/ 0 h 290"/>
                <a:gd name="T94" fmla="*/ 76 w 306"/>
                <a:gd name="T95" fmla="*/ 6 h 290"/>
                <a:gd name="T96" fmla="*/ 86 w 306"/>
                <a:gd name="T97" fmla="*/ 14 h 290"/>
                <a:gd name="T98" fmla="*/ 96 w 306"/>
                <a:gd name="T99" fmla="*/ 12 h 290"/>
                <a:gd name="T100" fmla="*/ 102 w 306"/>
                <a:gd name="T101" fmla="*/ 14 h 290"/>
                <a:gd name="T102" fmla="*/ 108 w 306"/>
                <a:gd name="T103" fmla="*/ 24 h 290"/>
                <a:gd name="T104" fmla="*/ 114 w 306"/>
                <a:gd name="T105" fmla="*/ 30 h 290"/>
                <a:gd name="T106" fmla="*/ 124 w 306"/>
                <a:gd name="T107" fmla="*/ 36 h 290"/>
                <a:gd name="T108" fmla="*/ 132 w 306"/>
                <a:gd name="T109" fmla="*/ 50 h 290"/>
                <a:gd name="T110" fmla="*/ 144 w 306"/>
                <a:gd name="T111" fmla="*/ 62 h 290"/>
                <a:gd name="T112" fmla="*/ 156 w 306"/>
                <a:gd name="T113" fmla="*/ 7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290">
                  <a:moveTo>
                    <a:pt x="160" y="70"/>
                  </a:moveTo>
                  <a:lnTo>
                    <a:pt x="160" y="70"/>
                  </a:lnTo>
                  <a:lnTo>
                    <a:pt x="160" y="70"/>
                  </a:lnTo>
                  <a:lnTo>
                    <a:pt x="162" y="70"/>
                  </a:lnTo>
                  <a:lnTo>
                    <a:pt x="162" y="70"/>
                  </a:lnTo>
                  <a:lnTo>
                    <a:pt x="164" y="68"/>
                  </a:lnTo>
                  <a:lnTo>
                    <a:pt x="166" y="66"/>
                  </a:lnTo>
                  <a:lnTo>
                    <a:pt x="170" y="64"/>
                  </a:lnTo>
                  <a:lnTo>
                    <a:pt x="170" y="64"/>
                  </a:lnTo>
                  <a:lnTo>
                    <a:pt x="178" y="64"/>
                  </a:lnTo>
                  <a:lnTo>
                    <a:pt x="186" y="64"/>
                  </a:lnTo>
                  <a:lnTo>
                    <a:pt x="190" y="64"/>
                  </a:lnTo>
                  <a:lnTo>
                    <a:pt x="192" y="66"/>
                  </a:lnTo>
                  <a:lnTo>
                    <a:pt x="192" y="66"/>
                  </a:lnTo>
                  <a:lnTo>
                    <a:pt x="194" y="66"/>
                  </a:lnTo>
                  <a:lnTo>
                    <a:pt x="194" y="68"/>
                  </a:lnTo>
                  <a:lnTo>
                    <a:pt x="198" y="70"/>
                  </a:lnTo>
                  <a:lnTo>
                    <a:pt x="200" y="72"/>
                  </a:lnTo>
                  <a:lnTo>
                    <a:pt x="204" y="78"/>
                  </a:lnTo>
                  <a:lnTo>
                    <a:pt x="206" y="80"/>
                  </a:lnTo>
                  <a:lnTo>
                    <a:pt x="206" y="82"/>
                  </a:lnTo>
                  <a:lnTo>
                    <a:pt x="218" y="94"/>
                  </a:lnTo>
                  <a:lnTo>
                    <a:pt x="228" y="102"/>
                  </a:lnTo>
                  <a:lnTo>
                    <a:pt x="228" y="104"/>
                  </a:lnTo>
                  <a:lnTo>
                    <a:pt x="228" y="110"/>
                  </a:lnTo>
                  <a:lnTo>
                    <a:pt x="228" y="114"/>
                  </a:lnTo>
                  <a:lnTo>
                    <a:pt x="228" y="116"/>
                  </a:lnTo>
                  <a:lnTo>
                    <a:pt x="228" y="120"/>
                  </a:lnTo>
                  <a:lnTo>
                    <a:pt x="230" y="120"/>
                  </a:lnTo>
                  <a:lnTo>
                    <a:pt x="230" y="122"/>
                  </a:lnTo>
                  <a:lnTo>
                    <a:pt x="230" y="122"/>
                  </a:lnTo>
                  <a:lnTo>
                    <a:pt x="232" y="124"/>
                  </a:lnTo>
                  <a:lnTo>
                    <a:pt x="234" y="126"/>
                  </a:lnTo>
                  <a:lnTo>
                    <a:pt x="236" y="126"/>
                  </a:lnTo>
                  <a:lnTo>
                    <a:pt x="238" y="128"/>
                  </a:lnTo>
                  <a:lnTo>
                    <a:pt x="238" y="132"/>
                  </a:lnTo>
                  <a:lnTo>
                    <a:pt x="238" y="136"/>
                  </a:lnTo>
                  <a:lnTo>
                    <a:pt x="240" y="142"/>
                  </a:lnTo>
                  <a:lnTo>
                    <a:pt x="242" y="148"/>
                  </a:lnTo>
                  <a:lnTo>
                    <a:pt x="242" y="152"/>
                  </a:lnTo>
                  <a:lnTo>
                    <a:pt x="244" y="154"/>
                  </a:lnTo>
                  <a:lnTo>
                    <a:pt x="244" y="156"/>
                  </a:lnTo>
                  <a:lnTo>
                    <a:pt x="246" y="158"/>
                  </a:lnTo>
                  <a:lnTo>
                    <a:pt x="248" y="160"/>
                  </a:lnTo>
                  <a:lnTo>
                    <a:pt x="248" y="160"/>
                  </a:lnTo>
                  <a:lnTo>
                    <a:pt x="248" y="162"/>
                  </a:lnTo>
                  <a:lnTo>
                    <a:pt x="250" y="162"/>
                  </a:lnTo>
                  <a:lnTo>
                    <a:pt x="250" y="162"/>
                  </a:lnTo>
                  <a:lnTo>
                    <a:pt x="252" y="164"/>
                  </a:lnTo>
                  <a:lnTo>
                    <a:pt x="252" y="164"/>
                  </a:lnTo>
                  <a:lnTo>
                    <a:pt x="256" y="164"/>
                  </a:lnTo>
                  <a:lnTo>
                    <a:pt x="260" y="164"/>
                  </a:lnTo>
                  <a:lnTo>
                    <a:pt x="262" y="166"/>
                  </a:lnTo>
                  <a:lnTo>
                    <a:pt x="266" y="166"/>
                  </a:lnTo>
                  <a:lnTo>
                    <a:pt x="270" y="166"/>
                  </a:lnTo>
                  <a:lnTo>
                    <a:pt x="274" y="166"/>
                  </a:lnTo>
                  <a:lnTo>
                    <a:pt x="280" y="164"/>
                  </a:lnTo>
                  <a:lnTo>
                    <a:pt x="286" y="164"/>
                  </a:lnTo>
                  <a:lnTo>
                    <a:pt x="292" y="164"/>
                  </a:lnTo>
                  <a:lnTo>
                    <a:pt x="294" y="166"/>
                  </a:lnTo>
                  <a:lnTo>
                    <a:pt x="298" y="170"/>
                  </a:lnTo>
                  <a:lnTo>
                    <a:pt x="300" y="174"/>
                  </a:lnTo>
                  <a:lnTo>
                    <a:pt x="302" y="176"/>
                  </a:lnTo>
                  <a:lnTo>
                    <a:pt x="304" y="178"/>
                  </a:lnTo>
                  <a:lnTo>
                    <a:pt x="304" y="180"/>
                  </a:lnTo>
                  <a:lnTo>
                    <a:pt x="304" y="180"/>
                  </a:lnTo>
                  <a:lnTo>
                    <a:pt x="306" y="182"/>
                  </a:lnTo>
                  <a:lnTo>
                    <a:pt x="306" y="184"/>
                  </a:lnTo>
                  <a:lnTo>
                    <a:pt x="306" y="186"/>
                  </a:lnTo>
                  <a:lnTo>
                    <a:pt x="306" y="188"/>
                  </a:lnTo>
                  <a:lnTo>
                    <a:pt x="306" y="192"/>
                  </a:lnTo>
                  <a:lnTo>
                    <a:pt x="306" y="194"/>
                  </a:lnTo>
                  <a:lnTo>
                    <a:pt x="304" y="198"/>
                  </a:lnTo>
                  <a:lnTo>
                    <a:pt x="304" y="200"/>
                  </a:lnTo>
                  <a:lnTo>
                    <a:pt x="304" y="202"/>
                  </a:lnTo>
                  <a:lnTo>
                    <a:pt x="302" y="206"/>
                  </a:lnTo>
                  <a:lnTo>
                    <a:pt x="302" y="208"/>
                  </a:lnTo>
                  <a:lnTo>
                    <a:pt x="302" y="212"/>
                  </a:lnTo>
                  <a:lnTo>
                    <a:pt x="300" y="214"/>
                  </a:lnTo>
                  <a:lnTo>
                    <a:pt x="298" y="216"/>
                  </a:lnTo>
                  <a:lnTo>
                    <a:pt x="298" y="218"/>
                  </a:lnTo>
                  <a:lnTo>
                    <a:pt x="296" y="220"/>
                  </a:lnTo>
                  <a:lnTo>
                    <a:pt x="296" y="222"/>
                  </a:lnTo>
                  <a:lnTo>
                    <a:pt x="294" y="222"/>
                  </a:lnTo>
                  <a:lnTo>
                    <a:pt x="294" y="224"/>
                  </a:lnTo>
                  <a:lnTo>
                    <a:pt x="290" y="224"/>
                  </a:lnTo>
                  <a:lnTo>
                    <a:pt x="288" y="226"/>
                  </a:lnTo>
                  <a:lnTo>
                    <a:pt x="286" y="226"/>
                  </a:lnTo>
                  <a:lnTo>
                    <a:pt x="282" y="228"/>
                  </a:lnTo>
                  <a:lnTo>
                    <a:pt x="278" y="228"/>
                  </a:lnTo>
                  <a:lnTo>
                    <a:pt x="274" y="228"/>
                  </a:lnTo>
                  <a:lnTo>
                    <a:pt x="272" y="230"/>
                  </a:lnTo>
                  <a:lnTo>
                    <a:pt x="264" y="230"/>
                  </a:lnTo>
                  <a:lnTo>
                    <a:pt x="258" y="230"/>
                  </a:lnTo>
                  <a:lnTo>
                    <a:pt x="254" y="230"/>
                  </a:lnTo>
                  <a:lnTo>
                    <a:pt x="248" y="232"/>
                  </a:lnTo>
                  <a:lnTo>
                    <a:pt x="242" y="232"/>
                  </a:lnTo>
                  <a:lnTo>
                    <a:pt x="236" y="232"/>
                  </a:lnTo>
                  <a:lnTo>
                    <a:pt x="228" y="234"/>
                  </a:lnTo>
                  <a:lnTo>
                    <a:pt x="224" y="234"/>
                  </a:lnTo>
                  <a:lnTo>
                    <a:pt x="222" y="234"/>
                  </a:lnTo>
                  <a:lnTo>
                    <a:pt x="218" y="236"/>
                  </a:lnTo>
                  <a:lnTo>
                    <a:pt x="216" y="236"/>
                  </a:lnTo>
                  <a:lnTo>
                    <a:pt x="212" y="238"/>
                  </a:lnTo>
                  <a:lnTo>
                    <a:pt x="210" y="238"/>
                  </a:lnTo>
                  <a:lnTo>
                    <a:pt x="210" y="240"/>
                  </a:lnTo>
                  <a:lnTo>
                    <a:pt x="208" y="242"/>
                  </a:lnTo>
                  <a:lnTo>
                    <a:pt x="206" y="244"/>
                  </a:lnTo>
                  <a:lnTo>
                    <a:pt x="204" y="246"/>
                  </a:lnTo>
                  <a:lnTo>
                    <a:pt x="202" y="248"/>
                  </a:lnTo>
                  <a:lnTo>
                    <a:pt x="200" y="250"/>
                  </a:lnTo>
                  <a:lnTo>
                    <a:pt x="200" y="252"/>
                  </a:lnTo>
                  <a:lnTo>
                    <a:pt x="198" y="254"/>
                  </a:lnTo>
                  <a:lnTo>
                    <a:pt x="198" y="254"/>
                  </a:lnTo>
                  <a:lnTo>
                    <a:pt x="198" y="256"/>
                  </a:lnTo>
                  <a:lnTo>
                    <a:pt x="196" y="258"/>
                  </a:lnTo>
                  <a:lnTo>
                    <a:pt x="196" y="262"/>
                  </a:lnTo>
                  <a:lnTo>
                    <a:pt x="196" y="264"/>
                  </a:lnTo>
                  <a:lnTo>
                    <a:pt x="196" y="268"/>
                  </a:lnTo>
                  <a:lnTo>
                    <a:pt x="194" y="270"/>
                  </a:lnTo>
                  <a:lnTo>
                    <a:pt x="194" y="274"/>
                  </a:lnTo>
                  <a:lnTo>
                    <a:pt x="194" y="274"/>
                  </a:lnTo>
                  <a:lnTo>
                    <a:pt x="194" y="274"/>
                  </a:lnTo>
                  <a:lnTo>
                    <a:pt x="192" y="276"/>
                  </a:lnTo>
                  <a:lnTo>
                    <a:pt x="192" y="278"/>
                  </a:lnTo>
                  <a:lnTo>
                    <a:pt x="188" y="280"/>
                  </a:lnTo>
                  <a:lnTo>
                    <a:pt x="186" y="282"/>
                  </a:lnTo>
                  <a:lnTo>
                    <a:pt x="182" y="284"/>
                  </a:lnTo>
                  <a:lnTo>
                    <a:pt x="176" y="288"/>
                  </a:lnTo>
                  <a:lnTo>
                    <a:pt x="174" y="290"/>
                  </a:lnTo>
                  <a:lnTo>
                    <a:pt x="174" y="278"/>
                  </a:lnTo>
                  <a:lnTo>
                    <a:pt x="174" y="276"/>
                  </a:lnTo>
                  <a:lnTo>
                    <a:pt x="174" y="272"/>
                  </a:lnTo>
                  <a:lnTo>
                    <a:pt x="174" y="270"/>
                  </a:lnTo>
                  <a:lnTo>
                    <a:pt x="174" y="270"/>
                  </a:lnTo>
                  <a:lnTo>
                    <a:pt x="174" y="268"/>
                  </a:lnTo>
                  <a:lnTo>
                    <a:pt x="174" y="268"/>
                  </a:lnTo>
                  <a:lnTo>
                    <a:pt x="174" y="266"/>
                  </a:lnTo>
                  <a:lnTo>
                    <a:pt x="174" y="266"/>
                  </a:lnTo>
                  <a:lnTo>
                    <a:pt x="172" y="266"/>
                  </a:lnTo>
                  <a:lnTo>
                    <a:pt x="170" y="266"/>
                  </a:lnTo>
                  <a:lnTo>
                    <a:pt x="168" y="264"/>
                  </a:lnTo>
                  <a:lnTo>
                    <a:pt x="166" y="264"/>
                  </a:lnTo>
                  <a:lnTo>
                    <a:pt x="164" y="264"/>
                  </a:lnTo>
                  <a:lnTo>
                    <a:pt x="160" y="264"/>
                  </a:lnTo>
                  <a:lnTo>
                    <a:pt x="154" y="264"/>
                  </a:lnTo>
                  <a:lnTo>
                    <a:pt x="150" y="264"/>
                  </a:lnTo>
                  <a:lnTo>
                    <a:pt x="146" y="264"/>
                  </a:lnTo>
                  <a:lnTo>
                    <a:pt x="142" y="264"/>
                  </a:lnTo>
                  <a:lnTo>
                    <a:pt x="138" y="264"/>
                  </a:lnTo>
                  <a:lnTo>
                    <a:pt x="136" y="264"/>
                  </a:lnTo>
                  <a:lnTo>
                    <a:pt x="134" y="264"/>
                  </a:lnTo>
                  <a:lnTo>
                    <a:pt x="132" y="266"/>
                  </a:lnTo>
                  <a:lnTo>
                    <a:pt x="130" y="266"/>
                  </a:lnTo>
                  <a:lnTo>
                    <a:pt x="128" y="268"/>
                  </a:lnTo>
                  <a:lnTo>
                    <a:pt x="122" y="272"/>
                  </a:lnTo>
                  <a:lnTo>
                    <a:pt x="120" y="268"/>
                  </a:lnTo>
                  <a:lnTo>
                    <a:pt x="116" y="264"/>
                  </a:lnTo>
                  <a:lnTo>
                    <a:pt x="112" y="260"/>
                  </a:lnTo>
                  <a:lnTo>
                    <a:pt x="110" y="258"/>
                  </a:lnTo>
                  <a:lnTo>
                    <a:pt x="108" y="254"/>
                  </a:lnTo>
                  <a:lnTo>
                    <a:pt x="108" y="254"/>
                  </a:lnTo>
                  <a:lnTo>
                    <a:pt x="106" y="252"/>
                  </a:lnTo>
                  <a:lnTo>
                    <a:pt x="106" y="250"/>
                  </a:lnTo>
                  <a:lnTo>
                    <a:pt x="106" y="248"/>
                  </a:lnTo>
                  <a:lnTo>
                    <a:pt x="104" y="244"/>
                  </a:lnTo>
                  <a:lnTo>
                    <a:pt x="102" y="238"/>
                  </a:lnTo>
                  <a:lnTo>
                    <a:pt x="102" y="236"/>
                  </a:lnTo>
                  <a:lnTo>
                    <a:pt x="102" y="234"/>
                  </a:lnTo>
                  <a:lnTo>
                    <a:pt x="100" y="234"/>
                  </a:lnTo>
                  <a:lnTo>
                    <a:pt x="100" y="232"/>
                  </a:lnTo>
                  <a:lnTo>
                    <a:pt x="96" y="226"/>
                  </a:lnTo>
                  <a:lnTo>
                    <a:pt x="92" y="220"/>
                  </a:lnTo>
                  <a:lnTo>
                    <a:pt x="88" y="214"/>
                  </a:lnTo>
                  <a:lnTo>
                    <a:pt x="82" y="208"/>
                  </a:lnTo>
                  <a:lnTo>
                    <a:pt x="78" y="202"/>
                  </a:lnTo>
                  <a:lnTo>
                    <a:pt x="76" y="200"/>
                  </a:lnTo>
                  <a:lnTo>
                    <a:pt x="74" y="196"/>
                  </a:lnTo>
                  <a:lnTo>
                    <a:pt x="72" y="194"/>
                  </a:lnTo>
                  <a:lnTo>
                    <a:pt x="70" y="188"/>
                  </a:lnTo>
                  <a:lnTo>
                    <a:pt x="66" y="184"/>
                  </a:lnTo>
                  <a:lnTo>
                    <a:pt x="64" y="180"/>
                  </a:lnTo>
                  <a:lnTo>
                    <a:pt x="64" y="178"/>
                  </a:lnTo>
                  <a:lnTo>
                    <a:pt x="62" y="174"/>
                  </a:lnTo>
                  <a:lnTo>
                    <a:pt x="60" y="164"/>
                  </a:lnTo>
                  <a:lnTo>
                    <a:pt x="58" y="156"/>
                  </a:lnTo>
                  <a:lnTo>
                    <a:pt x="56" y="152"/>
                  </a:lnTo>
                  <a:lnTo>
                    <a:pt x="54" y="148"/>
                  </a:lnTo>
                  <a:lnTo>
                    <a:pt x="54" y="146"/>
                  </a:lnTo>
                  <a:lnTo>
                    <a:pt x="52" y="142"/>
                  </a:lnTo>
                  <a:lnTo>
                    <a:pt x="50" y="140"/>
                  </a:lnTo>
                  <a:lnTo>
                    <a:pt x="48" y="136"/>
                  </a:lnTo>
                  <a:lnTo>
                    <a:pt x="46" y="132"/>
                  </a:lnTo>
                  <a:lnTo>
                    <a:pt x="42" y="128"/>
                  </a:lnTo>
                  <a:lnTo>
                    <a:pt x="40" y="126"/>
                  </a:lnTo>
                  <a:lnTo>
                    <a:pt x="38" y="122"/>
                  </a:lnTo>
                  <a:lnTo>
                    <a:pt x="38" y="122"/>
                  </a:lnTo>
                  <a:lnTo>
                    <a:pt x="36" y="120"/>
                  </a:lnTo>
                  <a:lnTo>
                    <a:pt x="34" y="118"/>
                  </a:lnTo>
                  <a:lnTo>
                    <a:pt x="28" y="114"/>
                  </a:lnTo>
                  <a:lnTo>
                    <a:pt x="26" y="110"/>
                  </a:lnTo>
                  <a:lnTo>
                    <a:pt x="22" y="108"/>
                  </a:lnTo>
                  <a:lnTo>
                    <a:pt x="22" y="108"/>
                  </a:lnTo>
                  <a:lnTo>
                    <a:pt x="20" y="106"/>
                  </a:lnTo>
                  <a:lnTo>
                    <a:pt x="20" y="104"/>
                  </a:lnTo>
                  <a:lnTo>
                    <a:pt x="18" y="104"/>
                  </a:lnTo>
                  <a:lnTo>
                    <a:pt x="18" y="102"/>
                  </a:lnTo>
                  <a:lnTo>
                    <a:pt x="18" y="102"/>
                  </a:lnTo>
                  <a:lnTo>
                    <a:pt x="18" y="100"/>
                  </a:lnTo>
                  <a:lnTo>
                    <a:pt x="18" y="98"/>
                  </a:lnTo>
                  <a:lnTo>
                    <a:pt x="18" y="96"/>
                  </a:lnTo>
                  <a:lnTo>
                    <a:pt x="18" y="92"/>
                  </a:lnTo>
                  <a:lnTo>
                    <a:pt x="18" y="88"/>
                  </a:lnTo>
                  <a:lnTo>
                    <a:pt x="18" y="86"/>
                  </a:lnTo>
                  <a:lnTo>
                    <a:pt x="18" y="84"/>
                  </a:lnTo>
                  <a:lnTo>
                    <a:pt x="16" y="82"/>
                  </a:lnTo>
                  <a:lnTo>
                    <a:pt x="16" y="82"/>
                  </a:lnTo>
                  <a:lnTo>
                    <a:pt x="16" y="80"/>
                  </a:lnTo>
                  <a:lnTo>
                    <a:pt x="16" y="80"/>
                  </a:lnTo>
                  <a:lnTo>
                    <a:pt x="16" y="80"/>
                  </a:lnTo>
                  <a:lnTo>
                    <a:pt x="14" y="78"/>
                  </a:lnTo>
                  <a:lnTo>
                    <a:pt x="12" y="78"/>
                  </a:lnTo>
                  <a:lnTo>
                    <a:pt x="10" y="76"/>
                  </a:lnTo>
                  <a:lnTo>
                    <a:pt x="8" y="76"/>
                  </a:lnTo>
                  <a:lnTo>
                    <a:pt x="6" y="76"/>
                  </a:lnTo>
                  <a:lnTo>
                    <a:pt x="4" y="74"/>
                  </a:lnTo>
                  <a:lnTo>
                    <a:pt x="4" y="74"/>
                  </a:lnTo>
                  <a:lnTo>
                    <a:pt x="4" y="74"/>
                  </a:lnTo>
                  <a:lnTo>
                    <a:pt x="4" y="72"/>
                  </a:lnTo>
                  <a:lnTo>
                    <a:pt x="2" y="72"/>
                  </a:lnTo>
                  <a:lnTo>
                    <a:pt x="2" y="70"/>
                  </a:lnTo>
                  <a:lnTo>
                    <a:pt x="2" y="66"/>
                  </a:lnTo>
                  <a:lnTo>
                    <a:pt x="2" y="64"/>
                  </a:lnTo>
                  <a:lnTo>
                    <a:pt x="0" y="60"/>
                  </a:lnTo>
                  <a:lnTo>
                    <a:pt x="0" y="56"/>
                  </a:lnTo>
                  <a:lnTo>
                    <a:pt x="4" y="58"/>
                  </a:lnTo>
                  <a:lnTo>
                    <a:pt x="8" y="58"/>
                  </a:lnTo>
                  <a:lnTo>
                    <a:pt x="10" y="58"/>
                  </a:lnTo>
                  <a:lnTo>
                    <a:pt x="14" y="58"/>
                  </a:lnTo>
                  <a:lnTo>
                    <a:pt x="16" y="58"/>
                  </a:lnTo>
                  <a:lnTo>
                    <a:pt x="18" y="58"/>
                  </a:lnTo>
                  <a:lnTo>
                    <a:pt x="18" y="56"/>
                  </a:lnTo>
                  <a:lnTo>
                    <a:pt x="20" y="56"/>
                  </a:lnTo>
                  <a:lnTo>
                    <a:pt x="20" y="56"/>
                  </a:lnTo>
                  <a:lnTo>
                    <a:pt x="22" y="54"/>
                  </a:lnTo>
                  <a:lnTo>
                    <a:pt x="24" y="54"/>
                  </a:lnTo>
                  <a:lnTo>
                    <a:pt x="26" y="52"/>
                  </a:lnTo>
                  <a:lnTo>
                    <a:pt x="28" y="48"/>
                  </a:lnTo>
                  <a:lnTo>
                    <a:pt x="30" y="46"/>
                  </a:lnTo>
                  <a:lnTo>
                    <a:pt x="32" y="44"/>
                  </a:lnTo>
                  <a:lnTo>
                    <a:pt x="32" y="44"/>
                  </a:lnTo>
                  <a:lnTo>
                    <a:pt x="34" y="42"/>
                  </a:lnTo>
                  <a:lnTo>
                    <a:pt x="38" y="40"/>
                  </a:lnTo>
                  <a:lnTo>
                    <a:pt x="40" y="38"/>
                  </a:lnTo>
                  <a:lnTo>
                    <a:pt x="42" y="36"/>
                  </a:lnTo>
                  <a:lnTo>
                    <a:pt x="42" y="36"/>
                  </a:lnTo>
                  <a:lnTo>
                    <a:pt x="44" y="34"/>
                  </a:lnTo>
                  <a:lnTo>
                    <a:pt x="44" y="34"/>
                  </a:lnTo>
                  <a:lnTo>
                    <a:pt x="44" y="34"/>
                  </a:lnTo>
                  <a:lnTo>
                    <a:pt x="44" y="32"/>
                  </a:lnTo>
                  <a:lnTo>
                    <a:pt x="44" y="32"/>
                  </a:lnTo>
                  <a:lnTo>
                    <a:pt x="44" y="30"/>
                  </a:lnTo>
                  <a:lnTo>
                    <a:pt x="44" y="28"/>
                  </a:lnTo>
                  <a:lnTo>
                    <a:pt x="44" y="24"/>
                  </a:lnTo>
                  <a:lnTo>
                    <a:pt x="44" y="22"/>
                  </a:lnTo>
                  <a:lnTo>
                    <a:pt x="44" y="18"/>
                  </a:lnTo>
                  <a:lnTo>
                    <a:pt x="42" y="18"/>
                  </a:lnTo>
                  <a:lnTo>
                    <a:pt x="44" y="16"/>
                  </a:lnTo>
                  <a:lnTo>
                    <a:pt x="44" y="16"/>
                  </a:lnTo>
                  <a:lnTo>
                    <a:pt x="44" y="14"/>
                  </a:lnTo>
                  <a:lnTo>
                    <a:pt x="44" y="14"/>
                  </a:lnTo>
                  <a:lnTo>
                    <a:pt x="44" y="12"/>
                  </a:lnTo>
                  <a:lnTo>
                    <a:pt x="46" y="10"/>
                  </a:lnTo>
                  <a:lnTo>
                    <a:pt x="48" y="10"/>
                  </a:lnTo>
                  <a:lnTo>
                    <a:pt x="50" y="8"/>
                  </a:lnTo>
                  <a:lnTo>
                    <a:pt x="52" y="6"/>
                  </a:lnTo>
                  <a:lnTo>
                    <a:pt x="58" y="2"/>
                  </a:lnTo>
                  <a:lnTo>
                    <a:pt x="60" y="0"/>
                  </a:lnTo>
                  <a:lnTo>
                    <a:pt x="62" y="0"/>
                  </a:lnTo>
                  <a:lnTo>
                    <a:pt x="64" y="0"/>
                  </a:lnTo>
                  <a:lnTo>
                    <a:pt x="64" y="0"/>
                  </a:lnTo>
                  <a:lnTo>
                    <a:pt x="64" y="0"/>
                  </a:lnTo>
                  <a:lnTo>
                    <a:pt x="66" y="0"/>
                  </a:lnTo>
                  <a:lnTo>
                    <a:pt x="68" y="0"/>
                  </a:lnTo>
                  <a:lnTo>
                    <a:pt x="68" y="2"/>
                  </a:lnTo>
                  <a:lnTo>
                    <a:pt x="70" y="2"/>
                  </a:lnTo>
                  <a:lnTo>
                    <a:pt x="72" y="4"/>
                  </a:lnTo>
                  <a:lnTo>
                    <a:pt x="76" y="6"/>
                  </a:lnTo>
                  <a:lnTo>
                    <a:pt x="78" y="8"/>
                  </a:lnTo>
                  <a:lnTo>
                    <a:pt x="80" y="10"/>
                  </a:lnTo>
                  <a:lnTo>
                    <a:pt x="82" y="12"/>
                  </a:lnTo>
                  <a:lnTo>
                    <a:pt x="82" y="12"/>
                  </a:lnTo>
                  <a:lnTo>
                    <a:pt x="84" y="14"/>
                  </a:lnTo>
                  <a:lnTo>
                    <a:pt x="86" y="14"/>
                  </a:lnTo>
                  <a:lnTo>
                    <a:pt x="86" y="14"/>
                  </a:lnTo>
                  <a:lnTo>
                    <a:pt x="86" y="14"/>
                  </a:lnTo>
                  <a:lnTo>
                    <a:pt x="88" y="14"/>
                  </a:lnTo>
                  <a:lnTo>
                    <a:pt x="90" y="14"/>
                  </a:lnTo>
                  <a:lnTo>
                    <a:pt x="94" y="14"/>
                  </a:lnTo>
                  <a:lnTo>
                    <a:pt x="96" y="12"/>
                  </a:lnTo>
                  <a:lnTo>
                    <a:pt x="98" y="12"/>
                  </a:lnTo>
                  <a:lnTo>
                    <a:pt x="98" y="12"/>
                  </a:lnTo>
                  <a:lnTo>
                    <a:pt x="100" y="12"/>
                  </a:lnTo>
                  <a:lnTo>
                    <a:pt x="100" y="12"/>
                  </a:lnTo>
                  <a:lnTo>
                    <a:pt x="102" y="12"/>
                  </a:lnTo>
                  <a:lnTo>
                    <a:pt x="102" y="14"/>
                  </a:lnTo>
                  <a:lnTo>
                    <a:pt x="102" y="14"/>
                  </a:lnTo>
                  <a:lnTo>
                    <a:pt x="104" y="14"/>
                  </a:lnTo>
                  <a:lnTo>
                    <a:pt x="104" y="16"/>
                  </a:lnTo>
                  <a:lnTo>
                    <a:pt x="106" y="18"/>
                  </a:lnTo>
                  <a:lnTo>
                    <a:pt x="106" y="20"/>
                  </a:lnTo>
                  <a:lnTo>
                    <a:pt x="108" y="24"/>
                  </a:lnTo>
                  <a:lnTo>
                    <a:pt x="108" y="26"/>
                  </a:lnTo>
                  <a:lnTo>
                    <a:pt x="110" y="28"/>
                  </a:lnTo>
                  <a:lnTo>
                    <a:pt x="110" y="28"/>
                  </a:lnTo>
                  <a:lnTo>
                    <a:pt x="112" y="30"/>
                  </a:lnTo>
                  <a:lnTo>
                    <a:pt x="112" y="30"/>
                  </a:lnTo>
                  <a:lnTo>
                    <a:pt x="114" y="30"/>
                  </a:lnTo>
                  <a:lnTo>
                    <a:pt x="118" y="32"/>
                  </a:lnTo>
                  <a:lnTo>
                    <a:pt x="120" y="32"/>
                  </a:lnTo>
                  <a:lnTo>
                    <a:pt x="122" y="32"/>
                  </a:lnTo>
                  <a:lnTo>
                    <a:pt x="122" y="32"/>
                  </a:lnTo>
                  <a:lnTo>
                    <a:pt x="124" y="34"/>
                  </a:lnTo>
                  <a:lnTo>
                    <a:pt x="124" y="36"/>
                  </a:lnTo>
                  <a:lnTo>
                    <a:pt x="126" y="36"/>
                  </a:lnTo>
                  <a:lnTo>
                    <a:pt x="126" y="38"/>
                  </a:lnTo>
                  <a:lnTo>
                    <a:pt x="128" y="40"/>
                  </a:lnTo>
                  <a:lnTo>
                    <a:pt x="130" y="44"/>
                  </a:lnTo>
                  <a:lnTo>
                    <a:pt x="130" y="48"/>
                  </a:lnTo>
                  <a:lnTo>
                    <a:pt x="132" y="50"/>
                  </a:lnTo>
                  <a:lnTo>
                    <a:pt x="134" y="54"/>
                  </a:lnTo>
                  <a:lnTo>
                    <a:pt x="134" y="54"/>
                  </a:lnTo>
                  <a:lnTo>
                    <a:pt x="136" y="56"/>
                  </a:lnTo>
                  <a:lnTo>
                    <a:pt x="138" y="58"/>
                  </a:lnTo>
                  <a:lnTo>
                    <a:pt x="140" y="60"/>
                  </a:lnTo>
                  <a:lnTo>
                    <a:pt x="144" y="62"/>
                  </a:lnTo>
                  <a:lnTo>
                    <a:pt x="146" y="66"/>
                  </a:lnTo>
                  <a:lnTo>
                    <a:pt x="150" y="68"/>
                  </a:lnTo>
                  <a:lnTo>
                    <a:pt x="152" y="68"/>
                  </a:lnTo>
                  <a:lnTo>
                    <a:pt x="154" y="70"/>
                  </a:lnTo>
                  <a:lnTo>
                    <a:pt x="156" y="70"/>
                  </a:lnTo>
                  <a:lnTo>
                    <a:pt x="156" y="70"/>
                  </a:lnTo>
                  <a:lnTo>
                    <a:pt x="158" y="70"/>
                  </a:lnTo>
                  <a:lnTo>
                    <a:pt x="160" y="7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1" name="Freeform 148"/>
            <p:cNvSpPr>
              <a:spLocks/>
            </p:cNvSpPr>
            <p:nvPr/>
          </p:nvSpPr>
          <p:spPr bwMode="auto">
            <a:xfrm>
              <a:off x="5114464" y="3697034"/>
              <a:ext cx="530015" cy="502302"/>
            </a:xfrm>
            <a:custGeom>
              <a:avLst/>
              <a:gdLst>
                <a:gd name="T0" fmla="*/ 164 w 306"/>
                <a:gd name="T1" fmla="*/ 68 h 290"/>
                <a:gd name="T2" fmla="*/ 190 w 306"/>
                <a:gd name="T3" fmla="*/ 64 h 290"/>
                <a:gd name="T4" fmla="*/ 200 w 306"/>
                <a:gd name="T5" fmla="*/ 72 h 290"/>
                <a:gd name="T6" fmla="*/ 228 w 306"/>
                <a:gd name="T7" fmla="*/ 104 h 290"/>
                <a:gd name="T8" fmla="*/ 230 w 306"/>
                <a:gd name="T9" fmla="*/ 122 h 290"/>
                <a:gd name="T10" fmla="*/ 238 w 306"/>
                <a:gd name="T11" fmla="*/ 132 h 290"/>
                <a:gd name="T12" fmla="*/ 244 w 306"/>
                <a:gd name="T13" fmla="*/ 156 h 290"/>
                <a:gd name="T14" fmla="*/ 250 w 306"/>
                <a:gd name="T15" fmla="*/ 162 h 290"/>
                <a:gd name="T16" fmla="*/ 266 w 306"/>
                <a:gd name="T17" fmla="*/ 166 h 290"/>
                <a:gd name="T18" fmla="*/ 294 w 306"/>
                <a:gd name="T19" fmla="*/ 166 h 290"/>
                <a:gd name="T20" fmla="*/ 304 w 306"/>
                <a:gd name="T21" fmla="*/ 180 h 290"/>
                <a:gd name="T22" fmla="*/ 306 w 306"/>
                <a:gd name="T23" fmla="*/ 194 h 290"/>
                <a:gd name="T24" fmla="*/ 302 w 306"/>
                <a:gd name="T25" fmla="*/ 212 h 290"/>
                <a:gd name="T26" fmla="*/ 294 w 306"/>
                <a:gd name="T27" fmla="*/ 222 h 290"/>
                <a:gd name="T28" fmla="*/ 278 w 306"/>
                <a:gd name="T29" fmla="*/ 228 h 290"/>
                <a:gd name="T30" fmla="*/ 248 w 306"/>
                <a:gd name="T31" fmla="*/ 232 h 290"/>
                <a:gd name="T32" fmla="*/ 218 w 306"/>
                <a:gd name="T33" fmla="*/ 236 h 290"/>
                <a:gd name="T34" fmla="*/ 206 w 306"/>
                <a:gd name="T35" fmla="*/ 244 h 290"/>
                <a:gd name="T36" fmla="*/ 198 w 306"/>
                <a:gd name="T37" fmla="*/ 254 h 290"/>
                <a:gd name="T38" fmla="*/ 194 w 306"/>
                <a:gd name="T39" fmla="*/ 270 h 290"/>
                <a:gd name="T40" fmla="*/ 188 w 306"/>
                <a:gd name="T41" fmla="*/ 280 h 290"/>
                <a:gd name="T42" fmla="*/ 174 w 306"/>
                <a:gd name="T43" fmla="*/ 276 h 290"/>
                <a:gd name="T44" fmla="*/ 174 w 306"/>
                <a:gd name="T45" fmla="*/ 266 h 290"/>
                <a:gd name="T46" fmla="*/ 164 w 306"/>
                <a:gd name="T47" fmla="*/ 264 h 290"/>
                <a:gd name="T48" fmla="*/ 138 w 306"/>
                <a:gd name="T49" fmla="*/ 264 h 290"/>
                <a:gd name="T50" fmla="*/ 122 w 306"/>
                <a:gd name="T51" fmla="*/ 272 h 290"/>
                <a:gd name="T52" fmla="*/ 108 w 306"/>
                <a:gd name="T53" fmla="*/ 254 h 290"/>
                <a:gd name="T54" fmla="*/ 102 w 306"/>
                <a:gd name="T55" fmla="*/ 236 h 290"/>
                <a:gd name="T56" fmla="*/ 88 w 306"/>
                <a:gd name="T57" fmla="*/ 214 h 290"/>
                <a:gd name="T58" fmla="*/ 70 w 306"/>
                <a:gd name="T59" fmla="*/ 188 h 290"/>
                <a:gd name="T60" fmla="*/ 58 w 306"/>
                <a:gd name="T61" fmla="*/ 156 h 290"/>
                <a:gd name="T62" fmla="*/ 48 w 306"/>
                <a:gd name="T63" fmla="*/ 136 h 290"/>
                <a:gd name="T64" fmla="*/ 36 w 306"/>
                <a:gd name="T65" fmla="*/ 120 h 290"/>
                <a:gd name="T66" fmla="*/ 20 w 306"/>
                <a:gd name="T67" fmla="*/ 106 h 290"/>
                <a:gd name="T68" fmla="*/ 18 w 306"/>
                <a:gd name="T69" fmla="*/ 98 h 290"/>
                <a:gd name="T70" fmla="*/ 16 w 306"/>
                <a:gd name="T71" fmla="*/ 82 h 290"/>
                <a:gd name="T72" fmla="*/ 12 w 306"/>
                <a:gd name="T73" fmla="*/ 78 h 290"/>
                <a:gd name="T74" fmla="*/ 4 w 306"/>
                <a:gd name="T75" fmla="*/ 74 h 290"/>
                <a:gd name="T76" fmla="*/ 0 w 306"/>
                <a:gd name="T77" fmla="*/ 60 h 290"/>
                <a:gd name="T78" fmla="*/ 16 w 306"/>
                <a:gd name="T79" fmla="*/ 58 h 290"/>
                <a:gd name="T80" fmla="*/ 24 w 306"/>
                <a:gd name="T81" fmla="*/ 54 h 290"/>
                <a:gd name="T82" fmla="*/ 34 w 306"/>
                <a:gd name="T83" fmla="*/ 42 h 290"/>
                <a:gd name="T84" fmla="*/ 44 w 306"/>
                <a:gd name="T85" fmla="*/ 34 h 290"/>
                <a:gd name="T86" fmla="*/ 44 w 306"/>
                <a:gd name="T87" fmla="*/ 24 h 290"/>
                <a:gd name="T88" fmla="*/ 44 w 306"/>
                <a:gd name="T89" fmla="*/ 14 h 290"/>
                <a:gd name="T90" fmla="*/ 52 w 306"/>
                <a:gd name="T91" fmla="*/ 6 h 290"/>
                <a:gd name="T92" fmla="*/ 64 w 306"/>
                <a:gd name="T93" fmla="*/ 0 h 290"/>
                <a:gd name="T94" fmla="*/ 76 w 306"/>
                <a:gd name="T95" fmla="*/ 6 h 290"/>
                <a:gd name="T96" fmla="*/ 86 w 306"/>
                <a:gd name="T97" fmla="*/ 14 h 290"/>
                <a:gd name="T98" fmla="*/ 96 w 306"/>
                <a:gd name="T99" fmla="*/ 12 h 290"/>
                <a:gd name="T100" fmla="*/ 102 w 306"/>
                <a:gd name="T101" fmla="*/ 14 h 290"/>
                <a:gd name="T102" fmla="*/ 108 w 306"/>
                <a:gd name="T103" fmla="*/ 24 h 290"/>
                <a:gd name="T104" fmla="*/ 114 w 306"/>
                <a:gd name="T105" fmla="*/ 30 h 290"/>
                <a:gd name="T106" fmla="*/ 124 w 306"/>
                <a:gd name="T107" fmla="*/ 36 h 290"/>
                <a:gd name="T108" fmla="*/ 132 w 306"/>
                <a:gd name="T109" fmla="*/ 50 h 290"/>
                <a:gd name="T110" fmla="*/ 144 w 306"/>
                <a:gd name="T111" fmla="*/ 62 h 290"/>
                <a:gd name="T112" fmla="*/ 156 w 306"/>
                <a:gd name="T113" fmla="*/ 7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290">
                  <a:moveTo>
                    <a:pt x="160" y="70"/>
                  </a:moveTo>
                  <a:lnTo>
                    <a:pt x="160" y="70"/>
                  </a:lnTo>
                  <a:lnTo>
                    <a:pt x="160" y="70"/>
                  </a:lnTo>
                  <a:lnTo>
                    <a:pt x="162" y="70"/>
                  </a:lnTo>
                  <a:lnTo>
                    <a:pt x="162" y="70"/>
                  </a:lnTo>
                  <a:lnTo>
                    <a:pt x="164" y="68"/>
                  </a:lnTo>
                  <a:lnTo>
                    <a:pt x="166" y="66"/>
                  </a:lnTo>
                  <a:lnTo>
                    <a:pt x="170" y="64"/>
                  </a:lnTo>
                  <a:lnTo>
                    <a:pt x="170" y="64"/>
                  </a:lnTo>
                  <a:lnTo>
                    <a:pt x="178" y="64"/>
                  </a:lnTo>
                  <a:lnTo>
                    <a:pt x="186" y="64"/>
                  </a:lnTo>
                  <a:lnTo>
                    <a:pt x="190" y="64"/>
                  </a:lnTo>
                  <a:lnTo>
                    <a:pt x="192" y="66"/>
                  </a:lnTo>
                  <a:lnTo>
                    <a:pt x="192" y="66"/>
                  </a:lnTo>
                  <a:lnTo>
                    <a:pt x="194" y="66"/>
                  </a:lnTo>
                  <a:lnTo>
                    <a:pt x="194" y="68"/>
                  </a:lnTo>
                  <a:lnTo>
                    <a:pt x="198" y="70"/>
                  </a:lnTo>
                  <a:lnTo>
                    <a:pt x="200" y="72"/>
                  </a:lnTo>
                  <a:lnTo>
                    <a:pt x="204" y="78"/>
                  </a:lnTo>
                  <a:lnTo>
                    <a:pt x="206" y="80"/>
                  </a:lnTo>
                  <a:lnTo>
                    <a:pt x="206" y="82"/>
                  </a:lnTo>
                  <a:lnTo>
                    <a:pt x="218" y="94"/>
                  </a:lnTo>
                  <a:lnTo>
                    <a:pt x="228" y="102"/>
                  </a:lnTo>
                  <a:lnTo>
                    <a:pt x="228" y="104"/>
                  </a:lnTo>
                  <a:lnTo>
                    <a:pt x="228" y="110"/>
                  </a:lnTo>
                  <a:lnTo>
                    <a:pt x="228" y="114"/>
                  </a:lnTo>
                  <a:lnTo>
                    <a:pt x="228" y="116"/>
                  </a:lnTo>
                  <a:lnTo>
                    <a:pt x="228" y="120"/>
                  </a:lnTo>
                  <a:lnTo>
                    <a:pt x="230" y="120"/>
                  </a:lnTo>
                  <a:lnTo>
                    <a:pt x="230" y="122"/>
                  </a:lnTo>
                  <a:lnTo>
                    <a:pt x="230" y="122"/>
                  </a:lnTo>
                  <a:lnTo>
                    <a:pt x="232" y="124"/>
                  </a:lnTo>
                  <a:lnTo>
                    <a:pt x="234" y="126"/>
                  </a:lnTo>
                  <a:lnTo>
                    <a:pt x="236" y="126"/>
                  </a:lnTo>
                  <a:lnTo>
                    <a:pt x="238" y="128"/>
                  </a:lnTo>
                  <a:lnTo>
                    <a:pt x="238" y="132"/>
                  </a:lnTo>
                  <a:lnTo>
                    <a:pt x="238" y="136"/>
                  </a:lnTo>
                  <a:lnTo>
                    <a:pt x="240" y="142"/>
                  </a:lnTo>
                  <a:lnTo>
                    <a:pt x="242" y="148"/>
                  </a:lnTo>
                  <a:lnTo>
                    <a:pt x="242" y="152"/>
                  </a:lnTo>
                  <a:lnTo>
                    <a:pt x="244" y="154"/>
                  </a:lnTo>
                  <a:lnTo>
                    <a:pt x="244" y="156"/>
                  </a:lnTo>
                  <a:lnTo>
                    <a:pt x="246" y="158"/>
                  </a:lnTo>
                  <a:lnTo>
                    <a:pt x="248" y="160"/>
                  </a:lnTo>
                  <a:lnTo>
                    <a:pt x="248" y="160"/>
                  </a:lnTo>
                  <a:lnTo>
                    <a:pt x="248" y="162"/>
                  </a:lnTo>
                  <a:lnTo>
                    <a:pt x="250" y="162"/>
                  </a:lnTo>
                  <a:lnTo>
                    <a:pt x="250" y="162"/>
                  </a:lnTo>
                  <a:lnTo>
                    <a:pt x="252" y="164"/>
                  </a:lnTo>
                  <a:lnTo>
                    <a:pt x="252" y="164"/>
                  </a:lnTo>
                  <a:lnTo>
                    <a:pt x="256" y="164"/>
                  </a:lnTo>
                  <a:lnTo>
                    <a:pt x="260" y="164"/>
                  </a:lnTo>
                  <a:lnTo>
                    <a:pt x="262" y="166"/>
                  </a:lnTo>
                  <a:lnTo>
                    <a:pt x="266" y="166"/>
                  </a:lnTo>
                  <a:lnTo>
                    <a:pt x="270" y="166"/>
                  </a:lnTo>
                  <a:lnTo>
                    <a:pt x="274" y="166"/>
                  </a:lnTo>
                  <a:lnTo>
                    <a:pt x="280" y="164"/>
                  </a:lnTo>
                  <a:lnTo>
                    <a:pt x="286" y="164"/>
                  </a:lnTo>
                  <a:lnTo>
                    <a:pt x="292" y="164"/>
                  </a:lnTo>
                  <a:lnTo>
                    <a:pt x="294" y="166"/>
                  </a:lnTo>
                  <a:lnTo>
                    <a:pt x="298" y="170"/>
                  </a:lnTo>
                  <a:lnTo>
                    <a:pt x="300" y="174"/>
                  </a:lnTo>
                  <a:lnTo>
                    <a:pt x="302" y="176"/>
                  </a:lnTo>
                  <a:lnTo>
                    <a:pt x="304" y="178"/>
                  </a:lnTo>
                  <a:lnTo>
                    <a:pt x="304" y="180"/>
                  </a:lnTo>
                  <a:lnTo>
                    <a:pt x="304" y="180"/>
                  </a:lnTo>
                  <a:lnTo>
                    <a:pt x="306" y="182"/>
                  </a:lnTo>
                  <a:lnTo>
                    <a:pt x="306" y="184"/>
                  </a:lnTo>
                  <a:lnTo>
                    <a:pt x="306" y="186"/>
                  </a:lnTo>
                  <a:lnTo>
                    <a:pt x="306" y="188"/>
                  </a:lnTo>
                  <a:lnTo>
                    <a:pt x="306" y="192"/>
                  </a:lnTo>
                  <a:lnTo>
                    <a:pt x="306" y="194"/>
                  </a:lnTo>
                  <a:lnTo>
                    <a:pt x="304" y="198"/>
                  </a:lnTo>
                  <a:lnTo>
                    <a:pt x="304" y="200"/>
                  </a:lnTo>
                  <a:lnTo>
                    <a:pt x="304" y="202"/>
                  </a:lnTo>
                  <a:lnTo>
                    <a:pt x="302" y="206"/>
                  </a:lnTo>
                  <a:lnTo>
                    <a:pt x="302" y="208"/>
                  </a:lnTo>
                  <a:lnTo>
                    <a:pt x="302" y="212"/>
                  </a:lnTo>
                  <a:lnTo>
                    <a:pt x="300" y="214"/>
                  </a:lnTo>
                  <a:lnTo>
                    <a:pt x="298" y="216"/>
                  </a:lnTo>
                  <a:lnTo>
                    <a:pt x="298" y="218"/>
                  </a:lnTo>
                  <a:lnTo>
                    <a:pt x="296" y="220"/>
                  </a:lnTo>
                  <a:lnTo>
                    <a:pt x="296" y="222"/>
                  </a:lnTo>
                  <a:lnTo>
                    <a:pt x="294" y="222"/>
                  </a:lnTo>
                  <a:lnTo>
                    <a:pt x="294" y="224"/>
                  </a:lnTo>
                  <a:lnTo>
                    <a:pt x="290" y="224"/>
                  </a:lnTo>
                  <a:lnTo>
                    <a:pt x="288" y="226"/>
                  </a:lnTo>
                  <a:lnTo>
                    <a:pt x="286" y="226"/>
                  </a:lnTo>
                  <a:lnTo>
                    <a:pt x="282" y="228"/>
                  </a:lnTo>
                  <a:lnTo>
                    <a:pt x="278" y="228"/>
                  </a:lnTo>
                  <a:lnTo>
                    <a:pt x="274" y="228"/>
                  </a:lnTo>
                  <a:lnTo>
                    <a:pt x="272" y="230"/>
                  </a:lnTo>
                  <a:lnTo>
                    <a:pt x="264" y="230"/>
                  </a:lnTo>
                  <a:lnTo>
                    <a:pt x="258" y="230"/>
                  </a:lnTo>
                  <a:lnTo>
                    <a:pt x="254" y="230"/>
                  </a:lnTo>
                  <a:lnTo>
                    <a:pt x="248" y="232"/>
                  </a:lnTo>
                  <a:lnTo>
                    <a:pt x="242" y="232"/>
                  </a:lnTo>
                  <a:lnTo>
                    <a:pt x="236" y="232"/>
                  </a:lnTo>
                  <a:lnTo>
                    <a:pt x="228" y="234"/>
                  </a:lnTo>
                  <a:lnTo>
                    <a:pt x="224" y="234"/>
                  </a:lnTo>
                  <a:lnTo>
                    <a:pt x="222" y="234"/>
                  </a:lnTo>
                  <a:lnTo>
                    <a:pt x="218" y="236"/>
                  </a:lnTo>
                  <a:lnTo>
                    <a:pt x="216" y="236"/>
                  </a:lnTo>
                  <a:lnTo>
                    <a:pt x="212" y="238"/>
                  </a:lnTo>
                  <a:lnTo>
                    <a:pt x="210" y="238"/>
                  </a:lnTo>
                  <a:lnTo>
                    <a:pt x="210" y="240"/>
                  </a:lnTo>
                  <a:lnTo>
                    <a:pt x="208" y="242"/>
                  </a:lnTo>
                  <a:lnTo>
                    <a:pt x="206" y="244"/>
                  </a:lnTo>
                  <a:lnTo>
                    <a:pt x="204" y="246"/>
                  </a:lnTo>
                  <a:lnTo>
                    <a:pt x="202" y="248"/>
                  </a:lnTo>
                  <a:lnTo>
                    <a:pt x="200" y="250"/>
                  </a:lnTo>
                  <a:lnTo>
                    <a:pt x="200" y="252"/>
                  </a:lnTo>
                  <a:lnTo>
                    <a:pt x="198" y="254"/>
                  </a:lnTo>
                  <a:lnTo>
                    <a:pt x="198" y="254"/>
                  </a:lnTo>
                  <a:lnTo>
                    <a:pt x="198" y="256"/>
                  </a:lnTo>
                  <a:lnTo>
                    <a:pt x="196" y="258"/>
                  </a:lnTo>
                  <a:lnTo>
                    <a:pt x="196" y="262"/>
                  </a:lnTo>
                  <a:lnTo>
                    <a:pt x="196" y="264"/>
                  </a:lnTo>
                  <a:lnTo>
                    <a:pt x="196" y="268"/>
                  </a:lnTo>
                  <a:lnTo>
                    <a:pt x="194" y="270"/>
                  </a:lnTo>
                  <a:lnTo>
                    <a:pt x="194" y="274"/>
                  </a:lnTo>
                  <a:lnTo>
                    <a:pt x="194" y="274"/>
                  </a:lnTo>
                  <a:lnTo>
                    <a:pt x="194" y="274"/>
                  </a:lnTo>
                  <a:lnTo>
                    <a:pt x="192" y="276"/>
                  </a:lnTo>
                  <a:lnTo>
                    <a:pt x="192" y="278"/>
                  </a:lnTo>
                  <a:lnTo>
                    <a:pt x="188" y="280"/>
                  </a:lnTo>
                  <a:lnTo>
                    <a:pt x="186" y="282"/>
                  </a:lnTo>
                  <a:lnTo>
                    <a:pt x="182" y="284"/>
                  </a:lnTo>
                  <a:lnTo>
                    <a:pt x="176" y="288"/>
                  </a:lnTo>
                  <a:lnTo>
                    <a:pt x="174" y="290"/>
                  </a:lnTo>
                  <a:lnTo>
                    <a:pt x="174" y="278"/>
                  </a:lnTo>
                  <a:lnTo>
                    <a:pt x="174" y="276"/>
                  </a:lnTo>
                  <a:lnTo>
                    <a:pt x="174" y="272"/>
                  </a:lnTo>
                  <a:lnTo>
                    <a:pt x="174" y="270"/>
                  </a:lnTo>
                  <a:lnTo>
                    <a:pt x="174" y="270"/>
                  </a:lnTo>
                  <a:lnTo>
                    <a:pt x="174" y="268"/>
                  </a:lnTo>
                  <a:lnTo>
                    <a:pt x="174" y="268"/>
                  </a:lnTo>
                  <a:lnTo>
                    <a:pt x="174" y="266"/>
                  </a:lnTo>
                  <a:lnTo>
                    <a:pt x="174" y="266"/>
                  </a:lnTo>
                  <a:lnTo>
                    <a:pt x="172" y="266"/>
                  </a:lnTo>
                  <a:lnTo>
                    <a:pt x="170" y="266"/>
                  </a:lnTo>
                  <a:lnTo>
                    <a:pt x="168" y="264"/>
                  </a:lnTo>
                  <a:lnTo>
                    <a:pt x="166" y="264"/>
                  </a:lnTo>
                  <a:lnTo>
                    <a:pt x="164" y="264"/>
                  </a:lnTo>
                  <a:lnTo>
                    <a:pt x="160" y="264"/>
                  </a:lnTo>
                  <a:lnTo>
                    <a:pt x="154" y="264"/>
                  </a:lnTo>
                  <a:lnTo>
                    <a:pt x="150" y="264"/>
                  </a:lnTo>
                  <a:lnTo>
                    <a:pt x="146" y="264"/>
                  </a:lnTo>
                  <a:lnTo>
                    <a:pt x="142" y="264"/>
                  </a:lnTo>
                  <a:lnTo>
                    <a:pt x="138" y="264"/>
                  </a:lnTo>
                  <a:lnTo>
                    <a:pt x="136" y="264"/>
                  </a:lnTo>
                  <a:lnTo>
                    <a:pt x="134" y="264"/>
                  </a:lnTo>
                  <a:lnTo>
                    <a:pt x="132" y="266"/>
                  </a:lnTo>
                  <a:lnTo>
                    <a:pt x="130" y="266"/>
                  </a:lnTo>
                  <a:lnTo>
                    <a:pt x="128" y="268"/>
                  </a:lnTo>
                  <a:lnTo>
                    <a:pt x="122" y="272"/>
                  </a:lnTo>
                  <a:lnTo>
                    <a:pt x="120" y="268"/>
                  </a:lnTo>
                  <a:lnTo>
                    <a:pt x="116" y="264"/>
                  </a:lnTo>
                  <a:lnTo>
                    <a:pt x="112" y="260"/>
                  </a:lnTo>
                  <a:lnTo>
                    <a:pt x="110" y="258"/>
                  </a:lnTo>
                  <a:lnTo>
                    <a:pt x="108" y="254"/>
                  </a:lnTo>
                  <a:lnTo>
                    <a:pt x="108" y="254"/>
                  </a:lnTo>
                  <a:lnTo>
                    <a:pt x="106" y="252"/>
                  </a:lnTo>
                  <a:lnTo>
                    <a:pt x="106" y="250"/>
                  </a:lnTo>
                  <a:lnTo>
                    <a:pt x="106" y="248"/>
                  </a:lnTo>
                  <a:lnTo>
                    <a:pt x="104" y="244"/>
                  </a:lnTo>
                  <a:lnTo>
                    <a:pt x="102" y="238"/>
                  </a:lnTo>
                  <a:lnTo>
                    <a:pt x="102" y="236"/>
                  </a:lnTo>
                  <a:lnTo>
                    <a:pt x="102" y="234"/>
                  </a:lnTo>
                  <a:lnTo>
                    <a:pt x="100" y="234"/>
                  </a:lnTo>
                  <a:lnTo>
                    <a:pt x="100" y="232"/>
                  </a:lnTo>
                  <a:lnTo>
                    <a:pt x="96" y="226"/>
                  </a:lnTo>
                  <a:lnTo>
                    <a:pt x="92" y="220"/>
                  </a:lnTo>
                  <a:lnTo>
                    <a:pt x="88" y="214"/>
                  </a:lnTo>
                  <a:lnTo>
                    <a:pt x="82" y="208"/>
                  </a:lnTo>
                  <a:lnTo>
                    <a:pt x="78" y="202"/>
                  </a:lnTo>
                  <a:lnTo>
                    <a:pt x="76" y="200"/>
                  </a:lnTo>
                  <a:lnTo>
                    <a:pt x="74" y="196"/>
                  </a:lnTo>
                  <a:lnTo>
                    <a:pt x="72" y="194"/>
                  </a:lnTo>
                  <a:lnTo>
                    <a:pt x="70" y="188"/>
                  </a:lnTo>
                  <a:lnTo>
                    <a:pt x="66" y="184"/>
                  </a:lnTo>
                  <a:lnTo>
                    <a:pt x="64" y="180"/>
                  </a:lnTo>
                  <a:lnTo>
                    <a:pt x="64" y="178"/>
                  </a:lnTo>
                  <a:lnTo>
                    <a:pt x="62" y="174"/>
                  </a:lnTo>
                  <a:lnTo>
                    <a:pt x="60" y="164"/>
                  </a:lnTo>
                  <a:lnTo>
                    <a:pt x="58" y="156"/>
                  </a:lnTo>
                  <a:lnTo>
                    <a:pt x="56" y="152"/>
                  </a:lnTo>
                  <a:lnTo>
                    <a:pt x="54" y="148"/>
                  </a:lnTo>
                  <a:lnTo>
                    <a:pt x="54" y="146"/>
                  </a:lnTo>
                  <a:lnTo>
                    <a:pt x="52" y="142"/>
                  </a:lnTo>
                  <a:lnTo>
                    <a:pt x="50" y="140"/>
                  </a:lnTo>
                  <a:lnTo>
                    <a:pt x="48" y="136"/>
                  </a:lnTo>
                  <a:lnTo>
                    <a:pt x="46" y="132"/>
                  </a:lnTo>
                  <a:lnTo>
                    <a:pt x="42" y="128"/>
                  </a:lnTo>
                  <a:lnTo>
                    <a:pt x="40" y="126"/>
                  </a:lnTo>
                  <a:lnTo>
                    <a:pt x="38" y="122"/>
                  </a:lnTo>
                  <a:lnTo>
                    <a:pt x="38" y="122"/>
                  </a:lnTo>
                  <a:lnTo>
                    <a:pt x="36" y="120"/>
                  </a:lnTo>
                  <a:lnTo>
                    <a:pt x="34" y="118"/>
                  </a:lnTo>
                  <a:lnTo>
                    <a:pt x="28" y="114"/>
                  </a:lnTo>
                  <a:lnTo>
                    <a:pt x="26" y="110"/>
                  </a:lnTo>
                  <a:lnTo>
                    <a:pt x="22" y="108"/>
                  </a:lnTo>
                  <a:lnTo>
                    <a:pt x="22" y="108"/>
                  </a:lnTo>
                  <a:lnTo>
                    <a:pt x="20" y="106"/>
                  </a:lnTo>
                  <a:lnTo>
                    <a:pt x="20" y="104"/>
                  </a:lnTo>
                  <a:lnTo>
                    <a:pt x="18" y="104"/>
                  </a:lnTo>
                  <a:lnTo>
                    <a:pt x="18" y="102"/>
                  </a:lnTo>
                  <a:lnTo>
                    <a:pt x="18" y="102"/>
                  </a:lnTo>
                  <a:lnTo>
                    <a:pt x="18" y="100"/>
                  </a:lnTo>
                  <a:lnTo>
                    <a:pt x="18" y="98"/>
                  </a:lnTo>
                  <a:lnTo>
                    <a:pt x="18" y="96"/>
                  </a:lnTo>
                  <a:lnTo>
                    <a:pt x="18" y="92"/>
                  </a:lnTo>
                  <a:lnTo>
                    <a:pt x="18" y="88"/>
                  </a:lnTo>
                  <a:lnTo>
                    <a:pt x="18" y="86"/>
                  </a:lnTo>
                  <a:lnTo>
                    <a:pt x="18" y="84"/>
                  </a:lnTo>
                  <a:lnTo>
                    <a:pt x="16" y="82"/>
                  </a:lnTo>
                  <a:lnTo>
                    <a:pt x="16" y="82"/>
                  </a:lnTo>
                  <a:lnTo>
                    <a:pt x="16" y="80"/>
                  </a:lnTo>
                  <a:lnTo>
                    <a:pt x="16" y="80"/>
                  </a:lnTo>
                  <a:lnTo>
                    <a:pt x="16" y="80"/>
                  </a:lnTo>
                  <a:lnTo>
                    <a:pt x="14" y="78"/>
                  </a:lnTo>
                  <a:lnTo>
                    <a:pt x="12" y="78"/>
                  </a:lnTo>
                  <a:lnTo>
                    <a:pt x="10" y="76"/>
                  </a:lnTo>
                  <a:lnTo>
                    <a:pt x="8" y="76"/>
                  </a:lnTo>
                  <a:lnTo>
                    <a:pt x="6" y="76"/>
                  </a:lnTo>
                  <a:lnTo>
                    <a:pt x="4" y="74"/>
                  </a:lnTo>
                  <a:lnTo>
                    <a:pt x="4" y="74"/>
                  </a:lnTo>
                  <a:lnTo>
                    <a:pt x="4" y="74"/>
                  </a:lnTo>
                  <a:lnTo>
                    <a:pt x="4" y="72"/>
                  </a:lnTo>
                  <a:lnTo>
                    <a:pt x="2" y="72"/>
                  </a:lnTo>
                  <a:lnTo>
                    <a:pt x="2" y="70"/>
                  </a:lnTo>
                  <a:lnTo>
                    <a:pt x="2" y="66"/>
                  </a:lnTo>
                  <a:lnTo>
                    <a:pt x="2" y="64"/>
                  </a:lnTo>
                  <a:lnTo>
                    <a:pt x="0" y="60"/>
                  </a:lnTo>
                  <a:lnTo>
                    <a:pt x="0" y="56"/>
                  </a:lnTo>
                  <a:lnTo>
                    <a:pt x="4" y="58"/>
                  </a:lnTo>
                  <a:lnTo>
                    <a:pt x="8" y="58"/>
                  </a:lnTo>
                  <a:lnTo>
                    <a:pt x="10" y="58"/>
                  </a:lnTo>
                  <a:lnTo>
                    <a:pt x="14" y="58"/>
                  </a:lnTo>
                  <a:lnTo>
                    <a:pt x="16" y="58"/>
                  </a:lnTo>
                  <a:lnTo>
                    <a:pt x="18" y="58"/>
                  </a:lnTo>
                  <a:lnTo>
                    <a:pt x="18" y="56"/>
                  </a:lnTo>
                  <a:lnTo>
                    <a:pt x="20" y="56"/>
                  </a:lnTo>
                  <a:lnTo>
                    <a:pt x="20" y="56"/>
                  </a:lnTo>
                  <a:lnTo>
                    <a:pt x="22" y="54"/>
                  </a:lnTo>
                  <a:lnTo>
                    <a:pt x="24" y="54"/>
                  </a:lnTo>
                  <a:lnTo>
                    <a:pt x="26" y="52"/>
                  </a:lnTo>
                  <a:lnTo>
                    <a:pt x="28" y="48"/>
                  </a:lnTo>
                  <a:lnTo>
                    <a:pt x="30" y="46"/>
                  </a:lnTo>
                  <a:lnTo>
                    <a:pt x="32" y="44"/>
                  </a:lnTo>
                  <a:lnTo>
                    <a:pt x="32" y="44"/>
                  </a:lnTo>
                  <a:lnTo>
                    <a:pt x="34" y="42"/>
                  </a:lnTo>
                  <a:lnTo>
                    <a:pt x="38" y="40"/>
                  </a:lnTo>
                  <a:lnTo>
                    <a:pt x="40" y="38"/>
                  </a:lnTo>
                  <a:lnTo>
                    <a:pt x="42" y="36"/>
                  </a:lnTo>
                  <a:lnTo>
                    <a:pt x="42" y="36"/>
                  </a:lnTo>
                  <a:lnTo>
                    <a:pt x="44" y="34"/>
                  </a:lnTo>
                  <a:lnTo>
                    <a:pt x="44" y="34"/>
                  </a:lnTo>
                  <a:lnTo>
                    <a:pt x="44" y="34"/>
                  </a:lnTo>
                  <a:lnTo>
                    <a:pt x="44" y="32"/>
                  </a:lnTo>
                  <a:lnTo>
                    <a:pt x="44" y="32"/>
                  </a:lnTo>
                  <a:lnTo>
                    <a:pt x="44" y="30"/>
                  </a:lnTo>
                  <a:lnTo>
                    <a:pt x="44" y="28"/>
                  </a:lnTo>
                  <a:lnTo>
                    <a:pt x="44" y="24"/>
                  </a:lnTo>
                  <a:lnTo>
                    <a:pt x="44" y="22"/>
                  </a:lnTo>
                  <a:lnTo>
                    <a:pt x="44" y="18"/>
                  </a:lnTo>
                  <a:lnTo>
                    <a:pt x="42" y="18"/>
                  </a:lnTo>
                  <a:lnTo>
                    <a:pt x="44" y="16"/>
                  </a:lnTo>
                  <a:lnTo>
                    <a:pt x="44" y="16"/>
                  </a:lnTo>
                  <a:lnTo>
                    <a:pt x="44" y="14"/>
                  </a:lnTo>
                  <a:lnTo>
                    <a:pt x="44" y="14"/>
                  </a:lnTo>
                  <a:lnTo>
                    <a:pt x="44" y="12"/>
                  </a:lnTo>
                  <a:lnTo>
                    <a:pt x="46" y="10"/>
                  </a:lnTo>
                  <a:lnTo>
                    <a:pt x="48" y="10"/>
                  </a:lnTo>
                  <a:lnTo>
                    <a:pt x="50" y="8"/>
                  </a:lnTo>
                  <a:lnTo>
                    <a:pt x="52" y="6"/>
                  </a:lnTo>
                  <a:lnTo>
                    <a:pt x="58" y="2"/>
                  </a:lnTo>
                  <a:lnTo>
                    <a:pt x="60" y="0"/>
                  </a:lnTo>
                  <a:lnTo>
                    <a:pt x="62" y="0"/>
                  </a:lnTo>
                  <a:lnTo>
                    <a:pt x="64" y="0"/>
                  </a:lnTo>
                  <a:lnTo>
                    <a:pt x="64" y="0"/>
                  </a:lnTo>
                  <a:lnTo>
                    <a:pt x="64" y="0"/>
                  </a:lnTo>
                  <a:lnTo>
                    <a:pt x="66" y="0"/>
                  </a:lnTo>
                  <a:lnTo>
                    <a:pt x="68" y="0"/>
                  </a:lnTo>
                  <a:lnTo>
                    <a:pt x="68" y="2"/>
                  </a:lnTo>
                  <a:lnTo>
                    <a:pt x="70" y="2"/>
                  </a:lnTo>
                  <a:lnTo>
                    <a:pt x="72" y="4"/>
                  </a:lnTo>
                  <a:lnTo>
                    <a:pt x="76" y="6"/>
                  </a:lnTo>
                  <a:lnTo>
                    <a:pt x="78" y="8"/>
                  </a:lnTo>
                  <a:lnTo>
                    <a:pt x="80" y="10"/>
                  </a:lnTo>
                  <a:lnTo>
                    <a:pt x="82" y="12"/>
                  </a:lnTo>
                  <a:lnTo>
                    <a:pt x="82" y="12"/>
                  </a:lnTo>
                  <a:lnTo>
                    <a:pt x="84" y="14"/>
                  </a:lnTo>
                  <a:lnTo>
                    <a:pt x="86" y="14"/>
                  </a:lnTo>
                  <a:lnTo>
                    <a:pt x="86" y="14"/>
                  </a:lnTo>
                  <a:lnTo>
                    <a:pt x="86" y="14"/>
                  </a:lnTo>
                  <a:lnTo>
                    <a:pt x="88" y="14"/>
                  </a:lnTo>
                  <a:lnTo>
                    <a:pt x="90" y="14"/>
                  </a:lnTo>
                  <a:lnTo>
                    <a:pt x="94" y="14"/>
                  </a:lnTo>
                  <a:lnTo>
                    <a:pt x="96" y="12"/>
                  </a:lnTo>
                  <a:lnTo>
                    <a:pt x="98" y="12"/>
                  </a:lnTo>
                  <a:lnTo>
                    <a:pt x="98" y="12"/>
                  </a:lnTo>
                  <a:lnTo>
                    <a:pt x="100" y="12"/>
                  </a:lnTo>
                  <a:lnTo>
                    <a:pt x="100" y="12"/>
                  </a:lnTo>
                  <a:lnTo>
                    <a:pt x="102" y="12"/>
                  </a:lnTo>
                  <a:lnTo>
                    <a:pt x="102" y="14"/>
                  </a:lnTo>
                  <a:lnTo>
                    <a:pt x="102" y="14"/>
                  </a:lnTo>
                  <a:lnTo>
                    <a:pt x="104" y="14"/>
                  </a:lnTo>
                  <a:lnTo>
                    <a:pt x="104" y="16"/>
                  </a:lnTo>
                  <a:lnTo>
                    <a:pt x="106" y="18"/>
                  </a:lnTo>
                  <a:lnTo>
                    <a:pt x="106" y="20"/>
                  </a:lnTo>
                  <a:lnTo>
                    <a:pt x="108" y="24"/>
                  </a:lnTo>
                  <a:lnTo>
                    <a:pt x="108" y="26"/>
                  </a:lnTo>
                  <a:lnTo>
                    <a:pt x="110" y="28"/>
                  </a:lnTo>
                  <a:lnTo>
                    <a:pt x="110" y="28"/>
                  </a:lnTo>
                  <a:lnTo>
                    <a:pt x="112" y="30"/>
                  </a:lnTo>
                  <a:lnTo>
                    <a:pt x="112" y="30"/>
                  </a:lnTo>
                  <a:lnTo>
                    <a:pt x="114" y="30"/>
                  </a:lnTo>
                  <a:lnTo>
                    <a:pt x="118" y="32"/>
                  </a:lnTo>
                  <a:lnTo>
                    <a:pt x="120" y="32"/>
                  </a:lnTo>
                  <a:lnTo>
                    <a:pt x="122" y="32"/>
                  </a:lnTo>
                  <a:lnTo>
                    <a:pt x="122" y="32"/>
                  </a:lnTo>
                  <a:lnTo>
                    <a:pt x="124" y="34"/>
                  </a:lnTo>
                  <a:lnTo>
                    <a:pt x="124" y="36"/>
                  </a:lnTo>
                  <a:lnTo>
                    <a:pt x="126" y="36"/>
                  </a:lnTo>
                  <a:lnTo>
                    <a:pt x="126" y="38"/>
                  </a:lnTo>
                  <a:lnTo>
                    <a:pt x="128" y="40"/>
                  </a:lnTo>
                  <a:lnTo>
                    <a:pt x="130" y="44"/>
                  </a:lnTo>
                  <a:lnTo>
                    <a:pt x="130" y="48"/>
                  </a:lnTo>
                  <a:lnTo>
                    <a:pt x="132" y="50"/>
                  </a:lnTo>
                  <a:lnTo>
                    <a:pt x="134" y="54"/>
                  </a:lnTo>
                  <a:lnTo>
                    <a:pt x="134" y="54"/>
                  </a:lnTo>
                  <a:lnTo>
                    <a:pt x="136" y="56"/>
                  </a:lnTo>
                  <a:lnTo>
                    <a:pt x="138" y="58"/>
                  </a:lnTo>
                  <a:lnTo>
                    <a:pt x="140" y="60"/>
                  </a:lnTo>
                  <a:lnTo>
                    <a:pt x="144" y="62"/>
                  </a:lnTo>
                  <a:lnTo>
                    <a:pt x="146" y="66"/>
                  </a:lnTo>
                  <a:lnTo>
                    <a:pt x="150" y="68"/>
                  </a:lnTo>
                  <a:lnTo>
                    <a:pt x="152" y="68"/>
                  </a:lnTo>
                  <a:lnTo>
                    <a:pt x="154" y="70"/>
                  </a:lnTo>
                  <a:lnTo>
                    <a:pt x="156" y="70"/>
                  </a:lnTo>
                  <a:lnTo>
                    <a:pt x="156" y="70"/>
                  </a:lnTo>
                  <a:lnTo>
                    <a:pt x="158" y="70"/>
                  </a:lnTo>
                  <a:lnTo>
                    <a:pt x="160" y="7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2" name="Freeform 149"/>
            <p:cNvSpPr>
              <a:spLocks/>
            </p:cNvSpPr>
            <p:nvPr/>
          </p:nvSpPr>
          <p:spPr bwMode="auto">
            <a:xfrm>
              <a:off x="4903151" y="3374868"/>
              <a:ext cx="464196" cy="204385"/>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3" name="Freeform 150"/>
            <p:cNvSpPr>
              <a:spLocks/>
            </p:cNvSpPr>
            <p:nvPr/>
          </p:nvSpPr>
          <p:spPr bwMode="auto">
            <a:xfrm>
              <a:off x="4903151" y="3374868"/>
              <a:ext cx="464196" cy="204385"/>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4" name="Freeform 151"/>
            <p:cNvSpPr>
              <a:spLocks/>
            </p:cNvSpPr>
            <p:nvPr/>
          </p:nvSpPr>
          <p:spPr bwMode="auto">
            <a:xfrm>
              <a:off x="5343098" y="3336762"/>
              <a:ext cx="131638" cy="152423"/>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5" name="Freeform 152"/>
            <p:cNvSpPr>
              <a:spLocks/>
            </p:cNvSpPr>
            <p:nvPr/>
          </p:nvSpPr>
          <p:spPr bwMode="auto">
            <a:xfrm>
              <a:off x="5343098" y="3336762"/>
              <a:ext cx="131638" cy="152423"/>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6" name="Freeform 153"/>
            <p:cNvSpPr>
              <a:spLocks/>
            </p:cNvSpPr>
            <p:nvPr/>
          </p:nvSpPr>
          <p:spPr bwMode="auto">
            <a:xfrm>
              <a:off x="5190676" y="3284800"/>
              <a:ext cx="152423" cy="114317"/>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7" name="Freeform 154"/>
            <p:cNvSpPr>
              <a:spLocks/>
            </p:cNvSpPr>
            <p:nvPr/>
          </p:nvSpPr>
          <p:spPr bwMode="auto">
            <a:xfrm>
              <a:off x="5190676" y="3284800"/>
              <a:ext cx="152423" cy="114317"/>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8" name="Freeform 155"/>
            <p:cNvSpPr>
              <a:spLocks/>
            </p:cNvSpPr>
            <p:nvPr/>
          </p:nvSpPr>
          <p:spPr bwMode="auto">
            <a:xfrm>
              <a:off x="5301528" y="3350619"/>
              <a:ext cx="93532" cy="135102"/>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39" name="Freeform 156"/>
            <p:cNvSpPr>
              <a:spLocks/>
            </p:cNvSpPr>
            <p:nvPr/>
          </p:nvSpPr>
          <p:spPr bwMode="auto">
            <a:xfrm>
              <a:off x="5301528" y="3350619"/>
              <a:ext cx="93532" cy="135102"/>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0" name="Freeform 183"/>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1" name="Freeform 184"/>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2" name="Freeform 185"/>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3" name="Freeform 186"/>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4" name="Freeform 187"/>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5" name="Freeform 188"/>
            <p:cNvSpPr>
              <a:spLocks/>
            </p:cNvSpPr>
            <p:nvPr/>
          </p:nvSpPr>
          <p:spPr bwMode="auto">
            <a:xfrm>
              <a:off x="6971249" y="4060770"/>
              <a:ext cx="51962" cy="72747"/>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6" name="Freeform 189"/>
            <p:cNvSpPr>
              <a:spLocks/>
            </p:cNvSpPr>
            <p:nvPr/>
          </p:nvSpPr>
          <p:spPr bwMode="auto">
            <a:xfrm>
              <a:off x="6971249" y="4060770"/>
              <a:ext cx="51962" cy="72747"/>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7" name="Freeform 190"/>
            <p:cNvSpPr>
              <a:spLocks/>
            </p:cNvSpPr>
            <p:nvPr/>
          </p:nvSpPr>
          <p:spPr bwMode="auto">
            <a:xfrm>
              <a:off x="7473550" y="4687781"/>
              <a:ext cx="31177" cy="10392"/>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8" name="Freeform 203"/>
            <p:cNvSpPr>
              <a:spLocks/>
            </p:cNvSpPr>
            <p:nvPr/>
          </p:nvSpPr>
          <p:spPr bwMode="auto">
            <a:xfrm>
              <a:off x="7203347" y="4878309"/>
              <a:ext cx="10392" cy="13857"/>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49" name="Freeform 210"/>
            <p:cNvSpPr>
              <a:spLocks/>
            </p:cNvSpPr>
            <p:nvPr/>
          </p:nvSpPr>
          <p:spPr bwMode="auto">
            <a:xfrm>
              <a:off x="7289951" y="4878309"/>
              <a:ext cx="58891" cy="27713"/>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0" name="Freeform 222"/>
            <p:cNvSpPr>
              <a:spLocks/>
            </p:cNvSpPr>
            <p:nvPr/>
          </p:nvSpPr>
          <p:spPr bwMode="auto">
            <a:xfrm>
              <a:off x="7404267" y="4691245"/>
              <a:ext cx="48498" cy="6928"/>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1" name="Freeform 223"/>
            <p:cNvSpPr>
              <a:spLocks/>
            </p:cNvSpPr>
            <p:nvPr/>
          </p:nvSpPr>
          <p:spPr bwMode="auto">
            <a:xfrm>
              <a:off x="7404267" y="4691245"/>
              <a:ext cx="48498" cy="6928"/>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2" name="Freeform 228"/>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3" name="Freeform 229"/>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4" name="Freeform 230"/>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5" name="Freeform 231"/>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6" name="Freeform 232"/>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7" name="Freeform 234"/>
            <p:cNvSpPr>
              <a:spLocks/>
            </p:cNvSpPr>
            <p:nvPr/>
          </p:nvSpPr>
          <p:spPr bwMode="auto">
            <a:xfrm>
              <a:off x="4487453" y="1871427"/>
              <a:ext cx="290989" cy="176672"/>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8" name="Freeform 235"/>
            <p:cNvSpPr>
              <a:spLocks/>
            </p:cNvSpPr>
            <p:nvPr/>
          </p:nvSpPr>
          <p:spPr bwMode="auto">
            <a:xfrm>
              <a:off x="4487453" y="1871427"/>
              <a:ext cx="290989" cy="176672"/>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59" name="Freeform 236"/>
            <p:cNvSpPr>
              <a:spLocks/>
            </p:cNvSpPr>
            <p:nvPr/>
          </p:nvSpPr>
          <p:spPr bwMode="auto">
            <a:xfrm>
              <a:off x="4677981" y="1850642"/>
              <a:ext cx="166279" cy="69283"/>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0" name="Freeform 237"/>
            <p:cNvSpPr>
              <a:spLocks/>
            </p:cNvSpPr>
            <p:nvPr/>
          </p:nvSpPr>
          <p:spPr bwMode="auto">
            <a:xfrm>
              <a:off x="4677981" y="1850642"/>
              <a:ext cx="166279" cy="69283"/>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1" name="Freeform 238"/>
            <p:cNvSpPr>
              <a:spLocks/>
            </p:cNvSpPr>
            <p:nvPr/>
          </p:nvSpPr>
          <p:spPr bwMode="auto">
            <a:xfrm>
              <a:off x="4723015" y="3364475"/>
              <a:ext cx="45034" cy="69283"/>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2" name="Freeform 239"/>
            <p:cNvSpPr>
              <a:spLocks/>
            </p:cNvSpPr>
            <p:nvPr/>
          </p:nvSpPr>
          <p:spPr bwMode="auto">
            <a:xfrm>
              <a:off x="4723015" y="3364475"/>
              <a:ext cx="45034" cy="69283"/>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3" name="Freeform 240"/>
            <p:cNvSpPr>
              <a:spLocks/>
            </p:cNvSpPr>
            <p:nvPr/>
          </p:nvSpPr>
          <p:spPr bwMode="auto">
            <a:xfrm>
              <a:off x="4643340" y="3167019"/>
              <a:ext cx="152423" cy="86604"/>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4" name="Freeform 241"/>
            <p:cNvSpPr>
              <a:spLocks/>
            </p:cNvSpPr>
            <p:nvPr/>
          </p:nvSpPr>
          <p:spPr bwMode="auto">
            <a:xfrm>
              <a:off x="4643340" y="3167019"/>
              <a:ext cx="152423" cy="86604"/>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5" name="Freeform 242"/>
            <p:cNvSpPr>
              <a:spLocks/>
            </p:cNvSpPr>
            <p:nvPr/>
          </p:nvSpPr>
          <p:spPr bwMode="auto">
            <a:xfrm>
              <a:off x="4338495" y="3063094"/>
              <a:ext cx="79675" cy="62355"/>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6" name="Freeform 243"/>
            <p:cNvSpPr>
              <a:spLocks/>
            </p:cNvSpPr>
            <p:nvPr/>
          </p:nvSpPr>
          <p:spPr bwMode="auto">
            <a:xfrm>
              <a:off x="4338495" y="3063094"/>
              <a:ext cx="79675" cy="62355"/>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7" name="Freeform 244"/>
            <p:cNvSpPr>
              <a:spLocks/>
            </p:cNvSpPr>
            <p:nvPr/>
          </p:nvSpPr>
          <p:spPr bwMode="auto">
            <a:xfrm>
              <a:off x="4418170" y="3191268"/>
              <a:ext cx="83140" cy="51962"/>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8" name="Freeform 245"/>
            <p:cNvSpPr>
              <a:spLocks/>
            </p:cNvSpPr>
            <p:nvPr/>
          </p:nvSpPr>
          <p:spPr bwMode="auto">
            <a:xfrm>
              <a:off x="4418170" y="3191268"/>
              <a:ext cx="83140" cy="51962"/>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69" name="Freeform 246"/>
            <p:cNvSpPr>
              <a:spLocks/>
            </p:cNvSpPr>
            <p:nvPr/>
          </p:nvSpPr>
          <p:spPr bwMode="auto">
            <a:xfrm>
              <a:off x="4449347" y="2841389"/>
              <a:ext cx="72747" cy="110853"/>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0" name="Freeform 247"/>
            <p:cNvSpPr>
              <a:spLocks/>
            </p:cNvSpPr>
            <p:nvPr/>
          </p:nvSpPr>
          <p:spPr bwMode="auto">
            <a:xfrm>
              <a:off x="4449347" y="2841389"/>
              <a:ext cx="72747" cy="110853"/>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1" name="Freeform 248"/>
            <p:cNvSpPr>
              <a:spLocks/>
            </p:cNvSpPr>
            <p:nvPr/>
          </p:nvSpPr>
          <p:spPr bwMode="auto">
            <a:xfrm>
              <a:off x="4477061" y="2824068"/>
              <a:ext cx="34642" cy="13857"/>
            </a:xfrm>
            <a:custGeom>
              <a:avLst/>
              <a:gdLst>
                <a:gd name="T0" fmla="*/ 2 w 20"/>
                <a:gd name="T1" fmla="*/ 8 h 8"/>
                <a:gd name="T2" fmla="*/ 2 w 20"/>
                <a:gd name="T3" fmla="*/ 8 h 8"/>
                <a:gd name="T4" fmla="*/ 2 w 20"/>
                <a:gd name="T5" fmla="*/ 8 h 8"/>
                <a:gd name="T6" fmla="*/ 2 w 20"/>
                <a:gd name="T7" fmla="*/ 6 h 8"/>
                <a:gd name="T8" fmla="*/ 0 w 20"/>
                <a:gd name="T9" fmla="*/ 6 h 8"/>
                <a:gd name="T10" fmla="*/ 2 w 20"/>
                <a:gd name="T11" fmla="*/ 4 h 8"/>
                <a:gd name="T12" fmla="*/ 2 w 20"/>
                <a:gd name="T13" fmla="*/ 4 h 8"/>
                <a:gd name="T14" fmla="*/ 2 w 20"/>
                <a:gd name="T15" fmla="*/ 2 h 8"/>
                <a:gd name="T16" fmla="*/ 2 w 20"/>
                <a:gd name="T17" fmla="*/ 2 h 8"/>
                <a:gd name="T18" fmla="*/ 4 w 20"/>
                <a:gd name="T19" fmla="*/ 0 h 8"/>
                <a:gd name="T20" fmla="*/ 4 w 20"/>
                <a:gd name="T21" fmla="*/ 0 h 8"/>
                <a:gd name="T22" fmla="*/ 4 w 20"/>
                <a:gd name="T23" fmla="*/ 0 h 8"/>
                <a:gd name="T24" fmla="*/ 6 w 20"/>
                <a:gd name="T25" fmla="*/ 0 h 8"/>
                <a:gd name="T26" fmla="*/ 8 w 20"/>
                <a:gd name="T27" fmla="*/ 0 h 8"/>
                <a:gd name="T28" fmla="*/ 8 w 20"/>
                <a:gd name="T29" fmla="*/ 0 h 8"/>
                <a:gd name="T30" fmla="*/ 12 w 20"/>
                <a:gd name="T31" fmla="*/ 0 h 8"/>
                <a:gd name="T32" fmla="*/ 14 w 20"/>
                <a:gd name="T33" fmla="*/ 0 h 8"/>
                <a:gd name="T34" fmla="*/ 14 w 20"/>
                <a:gd name="T35" fmla="*/ 0 h 8"/>
                <a:gd name="T36" fmla="*/ 18 w 20"/>
                <a:gd name="T37" fmla="*/ 0 h 8"/>
                <a:gd name="T38" fmla="*/ 18 w 20"/>
                <a:gd name="T39" fmla="*/ 0 h 8"/>
                <a:gd name="T40" fmla="*/ 20 w 20"/>
                <a:gd name="T41" fmla="*/ 0 h 8"/>
                <a:gd name="T42" fmla="*/ 20 w 20"/>
                <a:gd name="T43" fmla="*/ 0 h 8"/>
                <a:gd name="T44" fmla="*/ 20 w 20"/>
                <a:gd name="T45" fmla="*/ 0 h 8"/>
                <a:gd name="T46" fmla="*/ 20 w 20"/>
                <a:gd name="T47" fmla="*/ 0 h 8"/>
                <a:gd name="T48" fmla="*/ 20 w 20"/>
                <a:gd name="T49" fmla="*/ 0 h 8"/>
                <a:gd name="T50" fmla="*/ 20 w 20"/>
                <a:gd name="T51" fmla="*/ 2 h 8"/>
                <a:gd name="T52" fmla="*/ 18 w 20"/>
                <a:gd name="T53" fmla="*/ 2 h 8"/>
                <a:gd name="T54" fmla="*/ 18 w 20"/>
                <a:gd name="T55" fmla="*/ 4 h 8"/>
                <a:gd name="T56" fmla="*/ 16 w 20"/>
                <a:gd name="T57" fmla="*/ 4 h 8"/>
                <a:gd name="T58" fmla="*/ 16 w 20"/>
                <a:gd name="T59" fmla="*/ 6 h 8"/>
                <a:gd name="T60" fmla="*/ 14 w 20"/>
                <a:gd name="T61" fmla="*/ 6 h 8"/>
                <a:gd name="T62" fmla="*/ 12 w 20"/>
                <a:gd name="T63" fmla="*/ 6 h 8"/>
                <a:gd name="T64" fmla="*/ 10 w 20"/>
                <a:gd name="T65" fmla="*/ 8 h 8"/>
                <a:gd name="T66" fmla="*/ 10 w 20"/>
                <a:gd name="T67" fmla="*/ 8 h 8"/>
                <a:gd name="T68" fmla="*/ 8 w 20"/>
                <a:gd name="T69" fmla="*/ 8 h 8"/>
                <a:gd name="T70" fmla="*/ 6 w 20"/>
                <a:gd name="T71" fmla="*/ 8 h 8"/>
                <a:gd name="T72" fmla="*/ 4 w 20"/>
                <a:gd name="T73" fmla="*/ 8 h 8"/>
                <a:gd name="T74" fmla="*/ 4 w 20"/>
                <a:gd name="T75" fmla="*/ 8 h 8"/>
                <a:gd name="T76" fmla="*/ 2 w 20"/>
                <a:gd name="T77" fmla="*/ 8 h 8"/>
                <a:gd name="T78" fmla="*/ 2 w 20"/>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8">
                  <a:moveTo>
                    <a:pt x="2" y="8"/>
                  </a:moveTo>
                  <a:lnTo>
                    <a:pt x="2" y="8"/>
                  </a:lnTo>
                  <a:lnTo>
                    <a:pt x="2" y="8"/>
                  </a:lnTo>
                  <a:lnTo>
                    <a:pt x="2" y="6"/>
                  </a:lnTo>
                  <a:lnTo>
                    <a:pt x="0" y="6"/>
                  </a:lnTo>
                  <a:lnTo>
                    <a:pt x="2" y="4"/>
                  </a:lnTo>
                  <a:lnTo>
                    <a:pt x="2" y="4"/>
                  </a:lnTo>
                  <a:lnTo>
                    <a:pt x="2" y="2"/>
                  </a:lnTo>
                  <a:lnTo>
                    <a:pt x="2" y="2"/>
                  </a:lnTo>
                  <a:lnTo>
                    <a:pt x="4" y="0"/>
                  </a:lnTo>
                  <a:lnTo>
                    <a:pt x="4" y="0"/>
                  </a:lnTo>
                  <a:lnTo>
                    <a:pt x="4" y="0"/>
                  </a:lnTo>
                  <a:lnTo>
                    <a:pt x="6" y="0"/>
                  </a:lnTo>
                  <a:lnTo>
                    <a:pt x="8" y="0"/>
                  </a:lnTo>
                  <a:lnTo>
                    <a:pt x="8" y="0"/>
                  </a:lnTo>
                  <a:lnTo>
                    <a:pt x="12" y="0"/>
                  </a:lnTo>
                  <a:lnTo>
                    <a:pt x="14" y="0"/>
                  </a:lnTo>
                  <a:lnTo>
                    <a:pt x="14" y="0"/>
                  </a:lnTo>
                  <a:lnTo>
                    <a:pt x="18" y="0"/>
                  </a:lnTo>
                  <a:lnTo>
                    <a:pt x="18" y="0"/>
                  </a:lnTo>
                  <a:lnTo>
                    <a:pt x="20" y="0"/>
                  </a:lnTo>
                  <a:lnTo>
                    <a:pt x="20" y="0"/>
                  </a:lnTo>
                  <a:lnTo>
                    <a:pt x="20" y="0"/>
                  </a:lnTo>
                  <a:lnTo>
                    <a:pt x="20" y="0"/>
                  </a:lnTo>
                  <a:lnTo>
                    <a:pt x="20" y="0"/>
                  </a:lnTo>
                  <a:lnTo>
                    <a:pt x="20" y="2"/>
                  </a:lnTo>
                  <a:lnTo>
                    <a:pt x="18" y="2"/>
                  </a:lnTo>
                  <a:lnTo>
                    <a:pt x="18" y="4"/>
                  </a:lnTo>
                  <a:lnTo>
                    <a:pt x="16" y="4"/>
                  </a:lnTo>
                  <a:lnTo>
                    <a:pt x="16" y="6"/>
                  </a:lnTo>
                  <a:lnTo>
                    <a:pt x="14" y="6"/>
                  </a:lnTo>
                  <a:lnTo>
                    <a:pt x="12" y="6"/>
                  </a:lnTo>
                  <a:lnTo>
                    <a:pt x="10" y="8"/>
                  </a:lnTo>
                  <a:lnTo>
                    <a:pt x="10" y="8"/>
                  </a:lnTo>
                  <a:lnTo>
                    <a:pt x="8" y="8"/>
                  </a:lnTo>
                  <a:lnTo>
                    <a:pt x="6" y="8"/>
                  </a:lnTo>
                  <a:lnTo>
                    <a:pt x="4" y="8"/>
                  </a:lnTo>
                  <a:lnTo>
                    <a:pt x="4" y="8"/>
                  </a:lnTo>
                  <a:lnTo>
                    <a:pt x="2" y="8"/>
                  </a:lnTo>
                  <a:lnTo>
                    <a:pt x="2"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2" name="Freeform 249"/>
            <p:cNvSpPr>
              <a:spLocks/>
            </p:cNvSpPr>
            <p:nvPr/>
          </p:nvSpPr>
          <p:spPr bwMode="auto">
            <a:xfrm>
              <a:off x="4477061" y="2824068"/>
              <a:ext cx="34642" cy="13857"/>
            </a:xfrm>
            <a:custGeom>
              <a:avLst/>
              <a:gdLst>
                <a:gd name="T0" fmla="*/ 2 w 20"/>
                <a:gd name="T1" fmla="*/ 8 h 8"/>
                <a:gd name="T2" fmla="*/ 2 w 20"/>
                <a:gd name="T3" fmla="*/ 8 h 8"/>
                <a:gd name="T4" fmla="*/ 2 w 20"/>
                <a:gd name="T5" fmla="*/ 8 h 8"/>
                <a:gd name="T6" fmla="*/ 2 w 20"/>
                <a:gd name="T7" fmla="*/ 6 h 8"/>
                <a:gd name="T8" fmla="*/ 0 w 20"/>
                <a:gd name="T9" fmla="*/ 6 h 8"/>
                <a:gd name="T10" fmla="*/ 2 w 20"/>
                <a:gd name="T11" fmla="*/ 4 h 8"/>
                <a:gd name="T12" fmla="*/ 2 w 20"/>
                <a:gd name="T13" fmla="*/ 4 h 8"/>
                <a:gd name="T14" fmla="*/ 2 w 20"/>
                <a:gd name="T15" fmla="*/ 2 h 8"/>
                <a:gd name="T16" fmla="*/ 2 w 20"/>
                <a:gd name="T17" fmla="*/ 2 h 8"/>
                <a:gd name="T18" fmla="*/ 4 w 20"/>
                <a:gd name="T19" fmla="*/ 0 h 8"/>
                <a:gd name="T20" fmla="*/ 4 w 20"/>
                <a:gd name="T21" fmla="*/ 0 h 8"/>
                <a:gd name="T22" fmla="*/ 4 w 20"/>
                <a:gd name="T23" fmla="*/ 0 h 8"/>
                <a:gd name="T24" fmla="*/ 6 w 20"/>
                <a:gd name="T25" fmla="*/ 0 h 8"/>
                <a:gd name="T26" fmla="*/ 8 w 20"/>
                <a:gd name="T27" fmla="*/ 0 h 8"/>
                <a:gd name="T28" fmla="*/ 8 w 20"/>
                <a:gd name="T29" fmla="*/ 0 h 8"/>
                <a:gd name="T30" fmla="*/ 12 w 20"/>
                <a:gd name="T31" fmla="*/ 0 h 8"/>
                <a:gd name="T32" fmla="*/ 14 w 20"/>
                <a:gd name="T33" fmla="*/ 0 h 8"/>
                <a:gd name="T34" fmla="*/ 14 w 20"/>
                <a:gd name="T35" fmla="*/ 0 h 8"/>
                <a:gd name="T36" fmla="*/ 18 w 20"/>
                <a:gd name="T37" fmla="*/ 0 h 8"/>
                <a:gd name="T38" fmla="*/ 18 w 20"/>
                <a:gd name="T39" fmla="*/ 0 h 8"/>
                <a:gd name="T40" fmla="*/ 20 w 20"/>
                <a:gd name="T41" fmla="*/ 0 h 8"/>
                <a:gd name="T42" fmla="*/ 20 w 20"/>
                <a:gd name="T43" fmla="*/ 0 h 8"/>
                <a:gd name="T44" fmla="*/ 20 w 20"/>
                <a:gd name="T45" fmla="*/ 0 h 8"/>
                <a:gd name="T46" fmla="*/ 20 w 20"/>
                <a:gd name="T47" fmla="*/ 0 h 8"/>
                <a:gd name="T48" fmla="*/ 20 w 20"/>
                <a:gd name="T49" fmla="*/ 0 h 8"/>
                <a:gd name="T50" fmla="*/ 20 w 20"/>
                <a:gd name="T51" fmla="*/ 2 h 8"/>
                <a:gd name="T52" fmla="*/ 18 w 20"/>
                <a:gd name="T53" fmla="*/ 2 h 8"/>
                <a:gd name="T54" fmla="*/ 18 w 20"/>
                <a:gd name="T55" fmla="*/ 4 h 8"/>
                <a:gd name="T56" fmla="*/ 16 w 20"/>
                <a:gd name="T57" fmla="*/ 4 h 8"/>
                <a:gd name="T58" fmla="*/ 16 w 20"/>
                <a:gd name="T59" fmla="*/ 6 h 8"/>
                <a:gd name="T60" fmla="*/ 14 w 20"/>
                <a:gd name="T61" fmla="*/ 6 h 8"/>
                <a:gd name="T62" fmla="*/ 12 w 20"/>
                <a:gd name="T63" fmla="*/ 6 h 8"/>
                <a:gd name="T64" fmla="*/ 10 w 20"/>
                <a:gd name="T65" fmla="*/ 8 h 8"/>
                <a:gd name="T66" fmla="*/ 10 w 20"/>
                <a:gd name="T67" fmla="*/ 8 h 8"/>
                <a:gd name="T68" fmla="*/ 8 w 20"/>
                <a:gd name="T69" fmla="*/ 8 h 8"/>
                <a:gd name="T70" fmla="*/ 6 w 20"/>
                <a:gd name="T71" fmla="*/ 8 h 8"/>
                <a:gd name="T72" fmla="*/ 4 w 20"/>
                <a:gd name="T73" fmla="*/ 8 h 8"/>
                <a:gd name="T74" fmla="*/ 4 w 20"/>
                <a:gd name="T75" fmla="*/ 8 h 8"/>
                <a:gd name="T76" fmla="*/ 2 w 20"/>
                <a:gd name="T77" fmla="*/ 8 h 8"/>
                <a:gd name="T78" fmla="*/ 2 w 20"/>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8">
                  <a:moveTo>
                    <a:pt x="2" y="8"/>
                  </a:moveTo>
                  <a:lnTo>
                    <a:pt x="2" y="8"/>
                  </a:lnTo>
                  <a:lnTo>
                    <a:pt x="2" y="8"/>
                  </a:lnTo>
                  <a:lnTo>
                    <a:pt x="2" y="6"/>
                  </a:lnTo>
                  <a:lnTo>
                    <a:pt x="0" y="6"/>
                  </a:lnTo>
                  <a:lnTo>
                    <a:pt x="2" y="4"/>
                  </a:lnTo>
                  <a:lnTo>
                    <a:pt x="2" y="4"/>
                  </a:lnTo>
                  <a:lnTo>
                    <a:pt x="2" y="2"/>
                  </a:lnTo>
                  <a:lnTo>
                    <a:pt x="2" y="2"/>
                  </a:lnTo>
                  <a:lnTo>
                    <a:pt x="4" y="0"/>
                  </a:lnTo>
                  <a:lnTo>
                    <a:pt x="4" y="0"/>
                  </a:lnTo>
                  <a:lnTo>
                    <a:pt x="4" y="0"/>
                  </a:lnTo>
                  <a:lnTo>
                    <a:pt x="6" y="0"/>
                  </a:lnTo>
                  <a:lnTo>
                    <a:pt x="8" y="0"/>
                  </a:lnTo>
                  <a:lnTo>
                    <a:pt x="8" y="0"/>
                  </a:lnTo>
                  <a:lnTo>
                    <a:pt x="12" y="0"/>
                  </a:lnTo>
                  <a:lnTo>
                    <a:pt x="14" y="0"/>
                  </a:lnTo>
                  <a:lnTo>
                    <a:pt x="14" y="0"/>
                  </a:lnTo>
                  <a:lnTo>
                    <a:pt x="18" y="0"/>
                  </a:lnTo>
                  <a:lnTo>
                    <a:pt x="18" y="0"/>
                  </a:lnTo>
                  <a:lnTo>
                    <a:pt x="20" y="0"/>
                  </a:lnTo>
                  <a:lnTo>
                    <a:pt x="20" y="0"/>
                  </a:lnTo>
                  <a:lnTo>
                    <a:pt x="20" y="0"/>
                  </a:lnTo>
                  <a:lnTo>
                    <a:pt x="20" y="0"/>
                  </a:lnTo>
                  <a:lnTo>
                    <a:pt x="20" y="0"/>
                  </a:lnTo>
                  <a:lnTo>
                    <a:pt x="20" y="2"/>
                  </a:lnTo>
                  <a:lnTo>
                    <a:pt x="18" y="2"/>
                  </a:lnTo>
                  <a:lnTo>
                    <a:pt x="18" y="4"/>
                  </a:lnTo>
                  <a:lnTo>
                    <a:pt x="16" y="4"/>
                  </a:lnTo>
                  <a:lnTo>
                    <a:pt x="16" y="6"/>
                  </a:lnTo>
                  <a:lnTo>
                    <a:pt x="14" y="6"/>
                  </a:lnTo>
                  <a:lnTo>
                    <a:pt x="12" y="6"/>
                  </a:lnTo>
                  <a:lnTo>
                    <a:pt x="10" y="8"/>
                  </a:lnTo>
                  <a:lnTo>
                    <a:pt x="10" y="8"/>
                  </a:lnTo>
                  <a:lnTo>
                    <a:pt x="8" y="8"/>
                  </a:lnTo>
                  <a:lnTo>
                    <a:pt x="6" y="8"/>
                  </a:lnTo>
                  <a:lnTo>
                    <a:pt x="4" y="8"/>
                  </a:lnTo>
                  <a:lnTo>
                    <a:pt x="4" y="8"/>
                  </a:lnTo>
                  <a:lnTo>
                    <a:pt x="2" y="8"/>
                  </a:lnTo>
                  <a:lnTo>
                    <a:pt x="2"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3" name="Freeform 250"/>
            <p:cNvSpPr>
              <a:spLocks/>
            </p:cNvSpPr>
            <p:nvPr/>
          </p:nvSpPr>
          <p:spPr bwMode="auto">
            <a:xfrm>
              <a:off x="4366208" y="2993811"/>
              <a:ext cx="76211" cy="93532"/>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4" name="Freeform 251"/>
            <p:cNvSpPr>
              <a:spLocks/>
            </p:cNvSpPr>
            <p:nvPr/>
          </p:nvSpPr>
          <p:spPr bwMode="auto">
            <a:xfrm>
              <a:off x="4366208" y="2993811"/>
              <a:ext cx="76211" cy="93532"/>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5" name="Freeform 252"/>
            <p:cNvSpPr>
              <a:spLocks/>
            </p:cNvSpPr>
            <p:nvPr/>
          </p:nvSpPr>
          <p:spPr bwMode="auto">
            <a:xfrm>
              <a:off x="3725340" y="2488046"/>
              <a:ext cx="232098" cy="138566"/>
            </a:xfrm>
            <a:custGeom>
              <a:avLst/>
              <a:gdLst>
                <a:gd name="T0" fmla="*/ 38 w 134"/>
                <a:gd name="T1" fmla="*/ 14 h 80"/>
                <a:gd name="T2" fmla="*/ 34 w 134"/>
                <a:gd name="T3" fmla="*/ 10 h 80"/>
                <a:gd name="T4" fmla="*/ 28 w 134"/>
                <a:gd name="T5" fmla="*/ 2 h 80"/>
                <a:gd name="T6" fmla="*/ 22 w 134"/>
                <a:gd name="T7" fmla="*/ 0 h 80"/>
                <a:gd name="T8" fmla="*/ 16 w 134"/>
                <a:gd name="T9" fmla="*/ 2 h 80"/>
                <a:gd name="T10" fmla="*/ 8 w 134"/>
                <a:gd name="T11" fmla="*/ 8 h 80"/>
                <a:gd name="T12" fmla="*/ 4 w 134"/>
                <a:gd name="T13" fmla="*/ 18 h 80"/>
                <a:gd name="T14" fmla="*/ 0 w 134"/>
                <a:gd name="T15" fmla="*/ 24 h 80"/>
                <a:gd name="T16" fmla="*/ 0 w 134"/>
                <a:gd name="T17" fmla="*/ 32 h 80"/>
                <a:gd name="T18" fmla="*/ 2 w 134"/>
                <a:gd name="T19" fmla="*/ 36 h 80"/>
                <a:gd name="T20" fmla="*/ 4 w 134"/>
                <a:gd name="T21" fmla="*/ 38 h 80"/>
                <a:gd name="T22" fmla="*/ 12 w 134"/>
                <a:gd name="T23" fmla="*/ 36 h 80"/>
                <a:gd name="T24" fmla="*/ 22 w 134"/>
                <a:gd name="T25" fmla="*/ 32 h 80"/>
                <a:gd name="T26" fmla="*/ 28 w 134"/>
                <a:gd name="T27" fmla="*/ 32 h 80"/>
                <a:gd name="T28" fmla="*/ 30 w 134"/>
                <a:gd name="T29" fmla="*/ 34 h 80"/>
                <a:gd name="T30" fmla="*/ 30 w 134"/>
                <a:gd name="T31" fmla="*/ 42 h 80"/>
                <a:gd name="T32" fmla="*/ 28 w 134"/>
                <a:gd name="T33" fmla="*/ 52 h 80"/>
                <a:gd name="T34" fmla="*/ 22 w 134"/>
                <a:gd name="T35" fmla="*/ 58 h 80"/>
                <a:gd name="T36" fmla="*/ 20 w 134"/>
                <a:gd name="T37" fmla="*/ 64 h 80"/>
                <a:gd name="T38" fmla="*/ 20 w 134"/>
                <a:gd name="T39" fmla="*/ 66 h 80"/>
                <a:gd name="T40" fmla="*/ 26 w 134"/>
                <a:gd name="T41" fmla="*/ 66 h 80"/>
                <a:gd name="T42" fmla="*/ 38 w 134"/>
                <a:gd name="T43" fmla="*/ 60 h 80"/>
                <a:gd name="T44" fmla="*/ 42 w 134"/>
                <a:gd name="T45" fmla="*/ 60 h 80"/>
                <a:gd name="T46" fmla="*/ 54 w 134"/>
                <a:gd name="T47" fmla="*/ 64 h 80"/>
                <a:gd name="T48" fmla="*/ 66 w 134"/>
                <a:gd name="T49" fmla="*/ 70 h 80"/>
                <a:gd name="T50" fmla="*/ 70 w 134"/>
                <a:gd name="T51" fmla="*/ 78 h 80"/>
                <a:gd name="T52" fmla="*/ 72 w 134"/>
                <a:gd name="T53" fmla="*/ 80 h 80"/>
                <a:gd name="T54" fmla="*/ 76 w 134"/>
                <a:gd name="T55" fmla="*/ 80 h 80"/>
                <a:gd name="T56" fmla="*/ 80 w 134"/>
                <a:gd name="T57" fmla="*/ 74 h 80"/>
                <a:gd name="T58" fmla="*/ 90 w 134"/>
                <a:gd name="T59" fmla="*/ 62 h 80"/>
                <a:gd name="T60" fmla="*/ 94 w 134"/>
                <a:gd name="T61" fmla="*/ 60 h 80"/>
                <a:gd name="T62" fmla="*/ 102 w 134"/>
                <a:gd name="T63" fmla="*/ 60 h 80"/>
                <a:gd name="T64" fmla="*/ 110 w 134"/>
                <a:gd name="T65" fmla="*/ 60 h 80"/>
                <a:gd name="T66" fmla="*/ 118 w 134"/>
                <a:gd name="T67" fmla="*/ 56 h 80"/>
                <a:gd name="T68" fmla="*/ 126 w 134"/>
                <a:gd name="T69" fmla="*/ 48 h 80"/>
                <a:gd name="T70" fmla="*/ 132 w 134"/>
                <a:gd name="T71" fmla="*/ 40 h 80"/>
                <a:gd name="T72" fmla="*/ 132 w 134"/>
                <a:gd name="T73" fmla="*/ 30 h 80"/>
                <a:gd name="T74" fmla="*/ 132 w 134"/>
                <a:gd name="T75" fmla="*/ 18 h 80"/>
                <a:gd name="T76" fmla="*/ 130 w 134"/>
                <a:gd name="T77" fmla="*/ 8 h 80"/>
                <a:gd name="T78" fmla="*/ 128 w 134"/>
                <a:gd name="T79" fmla="*/ 4 h 80"/>
                <a:gd name="T80" fmla="*/ 122 w 134"/>
                <a:gd name="T81" fmla="*/ 2 h 80"/>
                <a:gd name="T82" fmla="*/ 112 w 134"/>
                <a:gd name="T83" fmla="*/ 2 h 80"/>
                <a:gd name="T84" fmla="*/ 100 w 134"/>
                <a:gd name="T85" fmla="*/ 4 h 80"/>
                <a:gd name="T86" fmla="*/ 84 w 134"/>
                <a:gd name="T87" fmla="*/ 10 h 80"/>
                <a:gd name="T88" fmla="*/ 76 w 134"/>
                <a:gd name="T89" fmla="*/ 12 h 80"/>
                <a:gd name="T90" fmla="*/ 68 w 134"/>
                <a:gd name="T91" fmla="*/ 8 h 80"/>
                <a:gd name="T92" fmla="*/ 56 w 134"/>
                <a:gd name="T93" fmla="*/ 2 h 80"/>
                <a:gd name="T94" fmla="*/ 50 w 134"/>
                <a:gd name="T95" fmla="*/ 2 h 80"/>
                <a:gd name="T96" fmla="*/ 48 w 134"/>
                <a:gd name="T97" fmla="*/ 4 h 80"/>
                <a:gd name="T98" fmla="*/ 42 w 134"/>
                <a:gd name="T99" fmla="*/ 12 h 80"/>
                <a:gd name="T100" fmla="*/ 40 w 134"/>
                <a:gd name="T101" fmla="*/ 1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0">
                  <a:moveTo>
                    <a:pt x="40" y="14"/>
                  </a:moveTo>
                  <a:lnTo>
                    <a:pt x="40" y="14"/>
                  </a:lnTo>
                  <a:lnTo>
                    <a:pt x="40" y="14"/>
                  </a:lnTo>
                  <a:lnTo>
                    <a:pt x="38" y="14"/>
                  </a:lnTo>
                  <a:lnTo>
                    <a:pt x="36" y="14"/>
                  </a:lnTo>
                  <a:lnTo>
                    <a:pt x="36" y="12"/>
                  </a:lnTo>
                  <a:lnTo>
                    <a:pt x="34" y="10"/>
                  </a:lnTo>
                  <a:lnTo>
                    <a:pt x="34" y="10"/>
                  </a:lnTo>
                  <a:lnTo>
                    <a:pt x="32" y="6"/>
                  </a:lnTo>
                  <a:lnTo>
                    <a:pt x="30" y="4"/>
                  </a:lnTo>
                  <a:lnTo>
                    <a:pt x="28" y="2"/>
                  </a:lnTo>
                  <a:lnTo>
                    <a:pt x="28" y="2"/>
                  </a:lnTo>
                  <a:lnTo>
                    <a:pt x="26" y="0"/>
                  </a:lnTo>
                  <a:lnTo>
                    <a:pt x="24" y="0"/>
                  </a:lnTo>
                  <a:lnTo>
                    <a:pt x="24" y="0"/>
                  </a:lnTo>
                  <a:lnTo>
                    <a:pt x="22" y="0"/>
                  </a:lnTo>
                  <a:lnTo>
                    <a:pt x="22" y="0"/>
                  </a:lnTo>
                  <a:lnTo>
                    <a:pt x="20" y="0"/>
                  </a:lnTo>
                  <a:lnTo>
                    <a:pt x="18" y="2"/>
                  </a:lnTo>
                  <a:lnTo>
                    <a:pt x="16" y="2"/>
                  </a:lnTo>
                  <a:lnTo>
                    <a:pt x="14" y="4"/>
                  </a:lnTo>
                  <a:lnTo>
                    <a:pt x="12" y="6"/>
                  </a:lnTo>
                  <a:lnTo>
                    <a:pt x="10" y="8"/>
                  </a:lnTo>
                  <a:lnTo>
                    <a:pt x="8" y="8"/>
                  </a:lnTo>
                  <a:lnTo>
                    <a:pt x="8" y="10"/>
                  </a:lnTo>
                  <a:lnTo>
                    <a:pt x="6" y="14"/>
                  </a:lnTo>
                  <a:lnTo>
                    <a:pt x="4" y="16"/>
                  </a:lnTo>
                  <a:lnTo>
                    <a:pt x="4" y="18"/>
                  </a:lnTo>
                  <a:lnTo>
                    <a:pt x="2" y="20"/>
                  </a:lnTo>
                  <a:lnTo>
                    <a:pt x="2" y="20"/>
                  </a:lnTo>
                  <a:lnTo>
                    <a:pt x="0" y="22"/>
                  </a:lnTo>
                  <a:lnTo>
                    <a:pt x="0" y="24"/>
                  </a:lnTo>
                  <a:lnTo>
                    <a:pt x="0" y="26"/>
                  </a:lnTo>
                  <a:lnTo>
                    <a:pt x="0" y="28"/>
                  </a:lnTo>
                  <a:lnTo>
                    <a:pt x="0" y="30"/>
                  </a:lnTo>
                  <a:lnTo>
                    <a:pt x="0" y="32"/>
                  </a:lnTo>
                  <a:lnTo>
                    <a:pt x="0" y="32"/>
                  </a:lnTo>
                  <a:lnTo>
                    <a:pt x="0" y="34"/>
                  </a:lnTo>
                  <a:lnTo>
                    <a:pt x="2" y="36"/>
                  </a:lnTo>
                  <a:lnTo>
                    <a:pt x="2" y="36"/>
                  </a:lnTo>
                  <a:lnTo>
                    <a:pt x="2" y="36"/>
                  </a:lnTo>
                  <a:lnTo>
                    <a:pt x="4" y="38"/>
                  </a:lnTo>
                  <a:lnTo>
                    <a:pt x="4" y="38"/>
                  </a:lnTo>
                  <a:lnTo>
                    <a:pt x="4" y="38"/>
                  </a:lnTo>
                  <a:lnTo>
                    <a:pt x="6" y="38"/>
                  </a:lnTo>
                  <a:lnTo>
                    <a:pt x="8" y="38"/>
                  </a:lnTo>
                  <a:lnTo>
                    <a:pt x="10" y="36"/>
                  </a:lnTo>
                  <a:lnTo>
                    <a:pt x="12" y="36"/>
                  </a:lnTo>
                  <a:lnTo>
                    <a:pt x="16" y="34"/>
                  </a:lnTo>
                  <a:lnTo>
                    <a:pt x="18" y="32"/>
                  </a:lnTo>
                  <a:lnTo>
                    <a:pt x="20" y="32"/>
                  </a:lnTo>
                  <a:lnTo>
                    <a:pt x="22" y="32"/>
                  </a:lnTo>
                  <a:lnTo>
                    <a:pt x="24" y="32"/>
                  </a:lnTo>
                  <a:lnTo>
                    <a:pt x="26" y="32"/>
                  </a:lnTo>
                  <a:lnTo>
                    <a:pt x="26" y="32"/>
                  </a:lnTo>
                  <a:lnTo>
                    <a:pt x="28" y="32"/>
                  </a:lnTo>
                  <a:lnTo>
                    <a:pt x="28" y="32"/>
                  </a:lnTo>
                  <a:lnTo>
                    <a:pt x="28" y="32"/>
                  </a:lnTo>
                  <a:lnTo>
                    <a:pt x="28" y="34"/>
                  </a:lnTo>
                  <a:lnTo>
                    <a:pt x="30" y="34"/>
                  </a:lnTo>
                  <a:lnTo>
                    <a:pt x="30" y="36"/>
                  </a:lnTo>
                  <a:lnTo>
                    <a:pt x="30" y="38"/>
                  </a:lnTo>
                  <a:lnTo>
                    <a:pt x="30" y="38"/>
                  </a:lnTo>
                  <a:lnTo>
                    <a:pt x="30" y="42"/>
                  </a:lnTo>
                  <a:lnTo>
                    <a:pt x="30" y="44"/>
                  </a:lnTo>
                  <a:lnTo>
                    <a:pt x="28" y="48"/>
                  </a:lnTo>
                  <a:lnTo>
                    <a:pt x="28" y="50"/>
                  </a:lnTo>
                  <a:lnTo>
                    <a:pt x="28" y="52"/>
                  </a:lnTo>
                  <a:lnTo>
                    <a:pt x="28" y="52"/>
                  </a:lnTo>
                  <a:lnTo>
                    <a:pt x="28" y="54"/>
                  </a:lnTo>
                  <a:lnTo>
                    <a:pt x="26" y="56"/>
                  </a:lnTo>
                  <a:lnTo>
                    <a:pt x="22" y="58"/>
                  </a:lnTo>
                  <a:lnTo>
                    <a:pt x="22" y="60"/>
                  </a:lnTo>
                  <a:lnTo>
                    <a:pt x="20" y="62"/>
                  </a:lnTo>
                  <a:lnTo>
                    <a:pt x="20" y="62"/>
                  </a:lnTo>
                  <a:lnTo>
                    <a:pt x="20" y="64"/>
                  </a:lnTo>
                  <a:lnTo>
                    <a:pt x="20" y="64"/>
                  </a:lnTo>
                  <a:lnTo>
                    <a:pt x="20" y="64"/>
                  </a:lnTo>
                  <a:lnTo>
                    <a:pt x="20" y="66"/>
                  </a:lnTo>
                  <a:lnTo>
                    <a:pt x="20" y="66"/>
                  </a:lnTo>
                  <a:lnTo>
                    <a:pt x="22" y="66"/>
                  </a:lnTo>
                  <a:lnTo>
                    <a:pt x="24" y="66"/>
                  </a:lnTo>
                  <a:lnTo>
                    <a:pt x="24" y="66"/>
                  </a:lnTo>
                  <a:lnTo>
                    <a:pt x="26" y="66"/>
                  </a:lnTo>
                  <a:lnTo>
                    <a:pt x="28" y="66"/>
                  </a:lnTo>
                  <a:lnTo>
                    <a:pt x="30" y="64"/>
                  </a:lnTo>
                  <a:lnTo>
                    <a:pt x="34" y="62"/>
                  </a:lnTo>
                  <a:lnTo>
                    <a:pt x="38" y="60"/>
                  </a:lnTo>
                  <a:lnTo>
                    <a:pt x="38" y="60"/>
                  </a:lnTo>
                  <a:lnTo>
                    <a:pt x="40" y="60"/>
                  </a:lnTo>
                  <a:lnTo>
                    <a:pt x="42" y="60"/>
                  </a:lnTo>
                  <a:lnTo>
                    <a:pt x="42" y="60"/>
                  </a:lnTo>
                  <a:lnTo>
                    <a:pt x="46" y="60"/>
                  </a:lnTo>
                  <a:lnTo>
                    <a:pt x="48" y="62"/>
                  </a:lnTo>
                  <a:lnTo>
                    <a:pt x="52" y="62"/>
                  </a:lnTo>
                  <a:lnTo>
                    <a:pt x="54" y="64"/>
                  </a:lnTo>
                  <a:lnTo>
                    <a:pt x="58" y="66"/>
                  </a:lnTo>
                  <a:lnTo>
                    <a:pt x="60" y="66"/>
                  </a:lnTo>
                  <a:lnTo>
                    <a:pt x="64" y="68"/>
                  </a:lnTo>
                  <a:lnTo>
                    <a:pt x="66" y="70"/>
                  </a:lnTo>
                  <a:lnTo>
                    <a:pt x="66" y="70"/>
                  </a:lnTo>
                  <a:lnTo>
                    <a:pt x="68" y="72"/>
                  </a:lnTo>
                  <a:lnTo>
                    <a:pt x="68" y="76"/>
                  </a:lnTo>
                  <a:lnTo>
                    <a:pt x="70" y="78"/>
                  </a:lnTo>
                  <a:lnTo>
                    <a:pt x="70" y="78"/>
                  </a:lnTo>
                  <a:lnTo>
                    <a:pt x="72" y="80"/>
                  </a:lnTo>
                  <a:lnTo>
                    <a:pt x="72" y="80"/>
                  </a:lnTo>
                  <a:lnTo>
                    <a:pt x="72" y="80"/>
                  </a:lnTo>
                  <a:lnTo>
                    <a:pt x="72" y="80"/>
                  </a:lnTo>
                  <a:lnTo>
                    <a:pt x="74" y="80"/>
                  </a:lnTo>
                  <a:lnTo>
                    <a:pt x="74" y="80"/>
                  </a:lnTo>
                  <a:lnTo>
                    <a:pt x="76" y="80"/>
                  </a:lnTo>
                  <a:lnTo>
                    <a:pt x="76" y="78"/>
                  </a:lnTo>
                  <a:lnTo>
                    <a:pt x="78" y="78"/>
                  </a:lnTo>
                  <a:lnTo>
                    <a:pt x="80" y="76"/>
                  </a:lnTo>
                  <a:lnTo>
                    <a:pt x="80" y="74"/>
                  </a:lnTo>
                  <a:lnTo>
                    <a:pt x="84" y="70"/>
                  </a:lnTo>
                  <a:lnTo>
                    <a:pt x="86" y="68"/>
                  </a:lnTo>
                  <a:lnTo>
                    <a:pt x="88" y="64"/>
                  </a:lnTo>
                  <a:lnTo>
                    <a:pt x="90" y="62"/>
                  </a:lnTo>
                  <a:lnTo>
                    <a:pt x="90" y="62"/>
                  </a:lnTo>
                  <a:lnTo>
                    <a:pt x="92" y="60"/>
                  </a:lnTo>
                  <a:lnTo>
                    <a:pt x="92" y="60"/>
                  </a:lnTo>
                  <a:lnTo>
                    <a:pt x="94" y="60"/>
                  </a:lnTo>
                  <a:lnTo>
                    <a:pt x="94" y="60"/>
                  </a:lnTo>
                  <a:lnTo>
                    <a:pt x="96" y="60"/>
                  </a:lnTo>
                  <a:lnTo>
                    <a:pt x="100" y="60"/>
                  </a:lnTo>
                  <a:lnTo>
                    <a:pt x="102" y="60"/>
                  </a:lnTo>
                  <a:lnTo>
                    <a:pt x="104" y="60"/>
                  </a:lnTo>
                  <a:lnTo>
                    <a:pt x="106" y="60"/>
                  </a:lnTo>
                  <a:lnTo>
                    <a:pt x="108" y="60"/>
                  </a:lnTo>
                  <a:lnTo>
                    <a:pt x="110" y="60"/>
                  </a:lnTo>
                  <a:lnTo>
                    <a:pt x="110" y="60"/>
                  </a:lnTo>
                  <a:lnTo>
                    <a:pt x="112" y="58"/>
                  </a:lnTo>
                  <a:lnTo>
                    <a:pt x="114" y="58"/>
                  </a:lnTo>
                  <a:lnTo>
                    <a:pt x="118" y="56"/>
                  </a:lnTo>
                  <a:lnTo>
                    <a:pt x="120" y="54"/>
                  </a:lnTo>
                  <a:lnTo>
                    <a:pt x="122" y="52"/>
                  </a:lnTo>
                  <a:lnTo>
                    <a:pt x="124" y="50"/>
                  </a:lnTo>
                  <a:lnTo>
                    <a:pt x="126" y="48"/>
                  </a:lnTo>
                  <a:lnTo>
                    <a:pt x="128" y="48"/>
                  </a:lnTo>
                  <a:lnTo>
                    <a:pt x="130" y="46"/>
                  </a:lnTo>
                  <a:lnTo>
                    <a:pt x="130" y="42"/>
                  </a:lnTo>
                  <a:lnTo>
                    <a:pt x="132" y="40"/>
                  </a:lnTo>
                  <a:lnTo>
                    <a:pt x="132" y="38"/>
                  </a:lnTo>
                  <a:lnTo>
                    <a:pt x="132" y="34"/>
                  </a:lnTo>
                  <a:lnTo>
                    <a:pt x="132" y="32"/>
                  </a:lnTo>
                  <a:lnTo>
                    <a:pt x="132" y="30"/>
                  </a:lnTo>
                  <a:lnTo>
                    <a:pt x="134" y="26"/>
                  </a:lnTo>
                  <a:lnTo>
                    <a:pt x="132" y="24"/>
                  </a:lnTo>
                  <a:lnTo>
                    <a:pt x="132" y="22"/>
                  </a:lnTo>
                  <a:lnTo>
                    <a:pt x="132" y="18"/>
                  </a:lnTo>
                  <a:lnTo>
                    <a:pt x="132" y="14"/>
                  </a:lnTo>
                  <a:lnTo>
                    <a:pt x="132" y="12"/>
                  </a:lnTo>
                  <a:lnTo>
                    <a:pt x="132" y="10"/>
                  </a:lnTo>
                  <a:lnTo>
                    <a:pt x="130" y="8"/>
                  </a:lnTo>
                  <a:lnTo>
                    <a:pt x="130" y="8"/>
                  </a:lnTo>
                  <a:lnTo>
                    <a:pt x="130" y="6"/>
                  </a:lnTo>
                  <a:lnTo>
                    <a:pt x="128" y="4"/>
                  </a:lnTo>
                  <a:lnTo>
                    <a:pt x="128" y="4"/>
                  </a:lnTo>
                  <a:lnTo>
                    <a:pt x="128" y="4"/>
                  </a:lnTo>
                  <a:lnTo>
                    <a:pt x="126" y="4"/>
                  </a:lnTo>
                  <a:lnTo>
                    <a:pt x="124" y="2"/>
                  </a:lnTo>
                  <a:lnTo>
                    <a:pt x="122" y="2"/>
                  </a:lnTo>
                  <a:lnTo>
                    <a:pt x="122" y="2"/>
                  </a:lnTo>
                  <a:lnTo>
                    <a:pt x="120" y="2"/>
                  </a:lnTo>
                  <a:lnTo>
                    <a:pt x="116" y="2"/>
                  </a:lnTo>
                  <a:lnTo>
                    <a:pt x="112" y="2"/>
                  </a:lnTo>
                  <a:lnTo>
                    <a:pt x="108" y="4"/>
                  </a:lnTo>
                  <a:lnTo>
                    <a:pt x="102" y="4"/>
                  </a:lnTo>
                  <a:lnTo>
                    <a:pt x="102" y="4"/>
                  </a:lnTo>
                  <a:lnTo>
                    <a:pt x="100" y="4"/>
                  </a:lnTo>
                  <a:lnTo>
                    <a:pt x="98" y="6"/>
                  </a:lnTo>
                  <a:lnTo>
                    <a:pt x="90" y="8"/>
                  </a:lnTo>
                  <a:lnTo>
                    <a:pt x="86" y="10"/>
                  </a:lnTo>
                  <a:lnTo>
                    <a:pt x="84" y="10"/>
                  </a:lnTo>
                  <a:lnTo>
                    <a:pt x="80" y="12"/>
                  </a:lnTo>
                  <a:lnTo>
                    <a:pt x="80" y="12"/>
                  </a:lnTo>
                  <a:lnTo>
                    <a:pt x="78" y="12"/>
                  </a:lnTo>
                  <a:lnTo>
                    <a:pt x="76" y="12"/>
                  </a:lnTo>
                  <a:lnTo>
                    <a:pt x="74" y="12"/>
                  </a:lnTo>
                  <a:lnTo>
                    <a:pt x="74" y="10"/>
                  </a:lnTo>
                  <a:lnTo>
                    <a:pt x="72" y="10"/>
                  </a:lnTo>
                  <a:lnTo>
                    <a:pt x="68" y="8"/>
                  </a:lnTo>
                  <a:lnTo>
                    <a:pt x="64" y="6"/>
                  </a:lnTo>
                  <a:lnTo>
                    <a:pt x="60" y="4"/>
                  </a:lnTo>
                  <a:lnTo>
                    <a:pt x="58" y="4"/>
                  </a:lnTo>
                  <a:lnTo>
                    <a:pt x="56" y="2"/>
                  </a:lnTo>
                  <a:lnTo>
                    <a:pt x="54" y="2"/>
                  </a:lnTo>
                  <a:lnTo>
                    <a:pt x="54" y="2"/>
                  </a:lnTo>
                  <a:lnTo>
                    <a:pt x="52" y="2"/>
                  </a:lnTo>
                  <a:lnTo>
                    <a:pt x="50" y="2"/>
                  </a:lnTo>
                  <a:lnTo>
                    <a:pt x="50" y="2"/>
                  </a:lnTo>
                  <a:lnTo>
                    <a:pt x="48" y="2"/>
                  </a:lnTo>
                  <a:lnTo>
                    <a:pt x="48" y="4"/>
                  </a:lnTo>
                  <a:lnTo>
                    <a:pt x="48" y="4"/>
                  </a:lnTo>
                  <a:lnTo>
                    <a:pt x="46" y="6"/>
                  </a:lnTo>
                  <a:lnTo>
                    <a:pt x="46" y="8"/>
                  </a:lnTo>
                  <a:lnTo>
                    <a:pt x="44" y="10"/>
                  </a:lnTo>
                  <a:lnTo>
                    <a:pt x="42" y="12"/>
                  </a:lnTo>
                  <a:lnTo>
                    <a:pt x="42" y="14"/>
                  </a:lnTo>
                  <a:lnTo>
                    <a:pt x="42" y="14"/>
                  </a:lnTo>
                  <a:lnTo>
                    <a:pt x="42" y="14"/>
                  </a:lnTo>
                  <a:lnTo>
                    <a:pt x="40" y="1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6" name="Freeform 253"/>
            <p:cNvSpPr>
              <a:spLocks/>
            </p:cNvSpPr>
            <p:nvPr/>
          </p:nvSpPr>
          <p:spPr bwMode="auto">
            <a:xfrm>
              <a:off x="3725340" y="2488046"/>
              <a:ext cx="232098" cy="138566"/>
            </a:xfrm>
            <a:custGeom>
              <a:avLst/>
              <a:gdLst>
                <a:gd name="T0" fmla="*/ 38 w 134"/>
                <a:gd name="T1" fmla="*/ 14 h 80"/>
                <a:gd name="T2" fmla="*/ 34 w 134"/>
                <a:gd name="T3" fmla="*/ 10 h 80"/>
                <a:gd name="T4" fmla="*/ 28 w 134"/>
                <a:gd name="T5" fmla="*/ 2 h 80"/>
                <a:gd name="T6" fmla="*/ 22 w 134"/>
                <a:gd name="T7" fmla="*/ 0 h 80"/>
                <a:gd name="T8" fmla="*/ 16 w 134"/>
                <a:gd name="T9" fmla="*/ 2 h 80"/>
                <a:gd name="T10" fmla="*/ 8 w 134"/>
                <a:gd name="T11" fmla="*/ 8 h 80"/>
                <a:gd name="T12" fmla="*/ 4 w 134"/>
                <a:gd name="T13" fmla="*/ 18 h 80"/>
                <a:gd name="T14" fmla="*/ 0 w 134"/>
                <a:gd name="T15" fmla="*/ 24 h 80"/>
                <a:gd name="T16" fmla="*/ 0 w 134"/>
                <a:gd name="T17" fmla="*/ 32 h 80"/>
                <a:gd name="T18" fmla="*/ 2 w 134"/>
                <a:gd name="T19" fmla="*/ 36 h 80"/>
                <a:gd name="T20" fmla="*/ 4 w 134"/>
                <a:gd name="T21" fmla="*/ 38 h 80"/>
                <a:gd name="T22" fmla="*/ 12 w 134"/>
                <a:gd name="T23" fmla="*/ 36 h 80"/>
                <a:gd name="T24" fmla="*/ 22 w 134"/>
                <a:gd name="T25" fmla="*/ 32 h 80"/>
                <a:gd name="T26" fmla="*/ 28 w 134"/>
                <a:gd name="T27" fmla="*/ 32 h 80"/>
                <a:gd name="T28" fmla="*/ 30 w 134"/>
                <a:gd name="T29" fmla="*/ 34 h 80"/>
                <a:gd name="T30" fmla="*/ 30 w 134"/>
                <a:gd name="T31" fmla="*/ 42 h 80"/>
                <a:gd name="T32" fmla="*/ 28 w 134"/>
                <a:gd name="T33" fmla="*/ 52 h 80"/>
                <a:gd name="T34" fmla="*/ 22 w 134"/>
                <a:gd name="T35" fmla="*/ 58 h 80"/>
                <a:gd name="T36" fmla="*/ 20 w 134"/>
                <a:gd name="T37" fmla="*/ 64 h 80"/>
                <a:gd name="T38" fmla="*/ 20 w 134"/>
                <a:gd name="T39" fmla="*/ 66 h 80"/>
                <a:gd name="T40" fmla="*/ 26 w 134"/>
                <a:gd name="T41" fmla="*/ 66 h 80"/>
                <a:gd name="T42" fmla="*/ 38 w 134"/>
                <a:gd name="T43" fmla="*/ 60 h 80"/>
                <a:gd name="T44" fmla="*/ 42 w 134"/>
                <a:gd name="T45" fmla="*/ 60 h 80"/>
                <a:gd name="T46" fmla="*/ 54 w 134"/>
                <a:gd name="T47" fmla="*/ 64 h 80"/>
                <a:gd name="T48" fmla="*/ 66 w 134"/>
                <a:gd name="T49" fmla="*/ 70 h 80"/>
                <a:gd name="T50" fmla="*/ 70 w 134"/>
                <a:gd name="T51" fmla="*/ 78 h 80"/>
                <a:gd name="T52" fmla="*/ 72 w 134"/>
                <a:gd name="T53" fmla="*/ 80 h 80"/>
                <a:gd name="T54" fmla="*/ 76 w 134"/>
                <a:gd name="T55" fmla="*/ 80 h 80"/>
                <a:gd name="T56" fmla="*/ 80 w 134"/>
                <a:gd name="T57" fmla="*/ 74 h 80"/>
                <a:gd name="T58" fmla="*/ 90 w 134"/>
                <a:gd name="T59" fmla="*/ 62 h 80"/>
                <a:gd name="T60" fmla="*/ 94 w 134"/>
                <a:gd name="T61" fmla="*/ 60 h 80"/>
                <a:gd name="T62" fmla="*/ 102 w 134"/>
                <a:gd name="T63" fmla="*/ 60 h 80"/>
                <a:gd name="T64" fmla="*/ 110 w 134"/>
                <a:gd name="T65" fmla="*/ 60 h 80"/>
                <a:gd name="T66" fmla="*/ 118 w 134"/>
                <a:gd name="T67" fmla="*/ 56 h 80"/>
                <a:gd name="T68" fmla="*/ 126 w 134"/>
                <a:gd name="T69" fmla="*/ 48 h 80"/>
                <a:gd name="T70" fmla="*/ 132 w 134"/>
                <a:gd name="T71" fmla="*/ 40 h 80"/>
                <a:gd name="T72" fmla="*/ 132 w 134"/>
                <a:gd name="T73" fmla="*/ 30 h 80"/>
                <a:gd name="T74" fmla="*/ 132 w 134"/>
                <a:gd name="T75" fmla="*/ 18 h 80"/>
                <a:gd name="T76" fmla="*/ 130 w 134"/>
                <a:gd name="T77" fmla="*/ 8 h 80"/>
                <a:gd name="T78" fmla="*/ 128 w 134"/>
                <a:gd name="T79" fmla="*/ 4 h 80"/>
                <a:gd name="T80" fmla="*/ 122 w 134"/>
                <a:gd name="T81" fmla="*/ 2 h 80"/>
                <a:gd name="T82" fmla="*/ 112 w 134"/>
                <a:gd name="T83" fmla="*/ 2 h 80"/>
                <a:gd name="T84" fmla="*/ 100 w 134"/>
                <a:gd name="T85" fmla="*/ 4 h 80"/>
                <a:gd name="T86" fmla="*/ 84 w 134"/>
                <a:gd name="T87" fmla="*/ 10 h 80"/>
                <a:gd name="T88" fmla="*/ 76 w 134"/>
                <a:gd name="T89" fmla="*/ 12 h 80"/>
                <a:gd name="T90" fmla="*/ 68 w 134"/>
                <a:gd name="T91" fmla="*/ 8 h 80"/>
                <a:gd name="T92" fmla="*/ 56 w 134"/>
                <a:gd name="T93" fmla="*/ 2 h 80"/>
                <a:gd name="T94" fmla="*/ 50 w 134"/>
                <a:gd name="T95" fmla="*/ 2 h 80"/>
                <a:gd name="T96" fmla="*/ 48 w 134"/>
                <a:gd name="T97" fmla="*/ 4 h 80"/>
                <a:gd name="T98" fmla="*/ 42 w 134"/>
                <a:gd name="T99" fmla="*/ 12 h 80"/>
                <a:gd name="T100" fmla="*/ 40 w 134"/>
                <a:gd name="T101" fmla="*/ 1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0">
                  <a:moveTo>
                    <a:pt x="40" y="14"/>
                  </a:moveTo>
                  <a:lnTo>
                    <a:pt x="40" y="14"/>
                  </a:lnTo>
                  <a:lnTo>
                    <a:pt x="40" y="14"/>
                  </a:lnTo>
                  <a:lnTo>
                    <a:pt x="38" y="14"/>
                  </a:lnTo>
                  <a:lnTo>
                    <a:pt x="36" y="14"/>
                  </a:lnTo>
                  <a:lnTo>
                    <a:pt x="36" y="12"/>
                  </a:lnTo>
                  <a:lnTo>
                    <a:pt x="34" y="10"/>
                  </a:lnTo>
                  <a:lnTo>
                    <a:pt x="34" y="10"/>
                  </a:lnTo>
                  <a:lnTo>
                    <a:pt x="32" y="6"/>
                  </a:lnTo>
                  <a:lnTo>
                    <a:pt x="30" y="4"/>
                  </a:lnTo>
                  <a:lnTo>
                    <a:pt x="28" y="2"/>
                  </a:lnTo>
                  <a:lnTo>
                    <a:pt x="28" y="2"/>
                  </a:lnTo>
                  <a:lnTo>
                    <a:pt x="26" y="0"/>
                  </a:lnTo>
                  <a:lnTo>
                    <a:pt x="24" y="0"/>
                  </a:lnTo>
                  <a:lnTo>
                    <a:pt x="24" y="0"/>
                  </a:lnTo>
                  <a:lnTo>
                    <a:pt x="22" y="0"/>
                  </a:lnTo>
                  <a:lnTo>
                    <a:pt x="22" y="0"/>
                  </a:lnTo>
                  <a:lnTo>
                    <a:pt x="20" y="0"/>
                  </a:lnTo>
                  <a:lnTo>
                    <a:pt x="18" y="2"/>
                  </a:lnTo>
                  <a:lnTo>
                    <a:pt x="16" y="2"/>
                  </a:lnTo>
                  <a:lnTo>
                    <a:pt x="14" y="4"/>
                  </a:lnTo>
                  <a:lnTo>
                    <a:pt x="12" y="6"/>
                  </a:lnTo>
                  <a:lnTo>
                    <a:pt x="10" y="8"/>
                  </a:lnTo>
                  <a:lnTo>
                    <a:pt x="8" y="8"/>
                  </a:lnTo>
                  <a:lnTo>
                    <a:pt x="8" y="10"/>
                  </a:lnTo>
                  <a:lnTo>
                    <a:pt x="6" y="14"/>
                  </a:lnTo>
                  <a:lnTo>
                    <a:pt x="4" y="16"/>
                  </a:lnTo>
                  <a:lnTo>
                    <a:pt x="4" y="18"/>
                  </a:lnTo>
                  <a:lnTo>
                    <a:pt x="2" y="20"/>
                  </a:lnTo>
                  <a:lnTo>
                    <a:pt x="2" y="20"/>
                  </a:lnTo>
                  <a:lnTo>
                    <a:pt x="0" y="22"/>
                  </a:lnTo>
                  <a:lnTo>
                    <a:pt x="0" y="24"/>
                  </a:lnTo>
                  <a:lnTo>
                    <a:pt x="0" y="26"/>
                  </a:lnTo>
                  <a:lnTo>
                    <a:pt x="0" y="28"/>
                  </a:lnTo>
                  <a:lnTo>
                    <a:pt x="0" y="30"/>
                  </a:lnTo>
                  <a:lnTo>
                    <a:pt x="0" y="32"/>
                  </a:lnTo>
                  <a:lnTo>
                    <a:pt x="0" y="32"/>
                  </a:lnTo>
                  <a:lnTo>
                    <a:pt x="0" y="34"/>
                  </a:lnTo>
                  <a:lnTo>
                    <a:pt x="2" y="36"/>
                  </a:lnTo>
                  <a:lnTo>
                    <a:pt x="2" y="36"/>
                  </a:lnTo>
                  <a:lnTo>
                    <a:pt x="2" y="36"/>
                  </a:lnTo>
                  <a:lnTo>
                    <a:pt x="4" y="38"/>
                  </a:lnTo>
                  <a:lnTo>
                    <a:pt x="4" y="38"/>
                  </a:lnTo>
                  <a:lnTo>
                    <a:pt x="4" y="38"/>
                  </a:lnTo>
                  <a:lnTo>
                    <a:pt x="6" y="38"/>
                  </a:lnTo>
                  <a:lnTo>
                    <a:pt x="8" y="38"/>
                  </a:lnTo>
                  <a:lnTo>
                    <a:pt x="10" y="36"/>
                  </a:lnTo>
                  <a:lnTo>
                    <a:pt x="12" y="36"/>
                  </a:lnTo>
                  <a:lnTo>
                    <a:pt x="16" y="34"/>
                  </a:lnTo>
                  <a:lnTo>
                    <a:pt x="18" y="32"/>
                  </a:lnTo>
                  <a:lnTo>
                    <a:pt x="20" y="32"/>
                  </a:lnTo>
                  <a:lnTo>
                    <a:pt x="22" y="32"/>
                  </a:lnTo>
                  <a:lnTo>
                    <a:pt x="24" y="32"/>
                  </a:lnTo>
                  <a:lnTo>
                    <a:pt x="26" y="32"/>
                  </a:lnTo>
                  <a:lnTo>
                    <a:pt x="26" y="32"/>
                  </a:lnTo>
                  <a:lnTo>
                    <a:pt x="28" y="32"/>
                  </a:lnTo>
                  <a:lnTo>
                    <a:pt x="28" y="32"/>
                  </a:lnTo>
                  <a:lnTo>
                    <a:pt x="28" y="32"/>
                  </a:lnTo>
                  <a:lnTo>
                    <a:pt x="28" y="34"/>
                  </a:lnTo>
                  <a:lnTo>
                    <a:pt x="30" y="34"/>
                  </a:lnTo>
                  <a:lnTo>
                    <a:pt x="30" y="36"/>
                  </a:lnTo>
                  <a:lnTo>
                    <a:pt x="30" y="38"/>
                  </a:lnTo>
                  <a:lnTo>
                    <a:pt x="30" y="38"/>
                  </a:lnTo>
                  <a:lnTo>
                    <a:pt x="30" y="42"/>
                  </a:lnTo>
                  <a:lnTo>
                    <a:pt x="30" y="44"/>
                  </a:lnTo>
                  <a:lnTo>
                    <a:pt x="28" y="48"/>
                  </a:lnTo>
                  <a:lnTo>
                    <a:pt x="28" y="50"/>
                  </a:lnTo>
                  <a:lnTo>
                    <a:pt x="28" y="52"/>
                  </a:lnTo>
                  <a:lnTo>
                    <a:pt x="28" y="52"/>
                  </a:lnTo>
                  <a:lnTo>
                    <a:pt x="28" y="54"/>
                  </a:lnTo>
                  <a:lnTo>
                    <a:pt x="26" y="56"/>
                  </a:lnTo>
                  <a:lnTo>
                    <a:pt x="22" y="58"/>
                  </a:lnTo>
                  <a:lnTo>
                    <a:pt x="22" y="60"/>
                  </a:lnTo>
                  <a:lnTo>
                    <a:pt x="20" y="62"/>
                  </a:lnTo>
                  <a:lnTo>
                    <a:pt x="20" y="62"/>
                  </a:lnTo>
                  <a:lnTo>
                    <a:pt x="20" y="64"/>
                  </a:lnTo>
                  <a:lnTo>
                    <a:pt x="20" y="64"/>
                  </a:lnTo>
                  <a:lnTo>
                    <a:pt x="20" y="64"/>
                  </a:lnTo>
                  <a:lnTo>
                    <a:pt x="20" y="66"/>
                  </a:lnTo>
                  <a:lnTo>
                    <a:pt x="20" y="66"/>
                  </a:lnTo>
                  <a:lnTo>
                    <a:pt x="22" y="66"/>
                  </a:lnTo>
                  <a:lnTo>
                    <a:pt x="24" y="66"/>
                  </a:lnTo>
                  <a:lnTo>
                    <a:pt x="24" y="66"/>
                  </a:lnTo>
                  <a:lnTo>
                    <a:pt x="26" y="66"/>
                  </a:lnTo>
                  <a:lnTo>
                    <a:pt x="28" y="66"/>
                  </a:lnTo>
                  <a:lnTo>
                    <a:pt x="30" y="64"/>
                  </a:lnTo>
                  <a:lnTo>
                    <a:pt x="34" y="62"/>
                  </a:lnTo>
                  <a:lnTo>
                    <a:pt x="38" y="60"/>
                  </a:lnTo>
                  <a:lnTo>
                    <a:pt x="38" y="60"/>
                  </a:lnTo>
                  <a:lnTo>
                    <a:pt x="40" y="60"/>
                  </a:lnTo>
                  <a:lnTo>
                    <a:pt x="42" y="60"/>
                  </a:lnTo>
                  <a:lnTo>
                    <a:pt x="42" y="60"/>
                  </a:lnTo>
                  <a:lnTo>
                    <a:pt x="46" y="60"/>
                  </a:lnTo>
                  <a:lnTo>
                    <a:pt x="48" y="62"/>
                  </a:lnTo>
                  <a:lnTo>
                    <a:pt x="52" y="62"/>
                  </a:lnTo>
                  <a:lnTo>
                    <a:pt x="54" y="64"/>
                  </a:lnTo>
                  <a:lnTo>
                    <a:pt x="58" y="66"/>
                  </a:lnTo>
                  <a:lnTo>
                    <a:pt x="60" y="66"/>
                  </a:lnTo>
                  <a:lnTo>
                    <a:pt x="64" y="68"/>
                  </a:lnTo>
                  <a:lnTo>
                    <a:pt x="66" y="70"/>
                  </a:lnTo>
                  <a:lnTo>
                    <a:pt x="66" y="70"/>
                  </a:lnTo>
                  <a:lnTo>
                    <a:pt x="68" y="72"/>
                  </a:lnTo>
                  <a:lnTo>
                    <a:pt x="68" y="76"/>
                  </a:lnTo>
                  <a:lnTo>
                    <a:pt x="70" y="78"/>
                  </a:lnTo>
                  <a:lnTo>
                    <a:pt x="70" y="78"/>
                  </a:lnTo>
                  <a:lnTo>
                    <a:pt x="72" y="80"/>
                  </a:lnTo>
                  <a:lnTo>
                    <a:pt x="72" y="80"/>
                  </a:lnTo>
                  <a:lnTo>
                    <a:pt x="72" y="80"/>
                  </a:lnTo>
                  <a:lnTo>
                    <a:pt x="72" y="80"/>
                  </a:lnTo>
                  <a:lnTo>
                    <a:pt x="74" y="80"/>
                  </a:lnTo>
                  <a:lnTo>
                    <a:pt x="74" y="80"/>
                  </a:lnTo>
                  <a:lnTo>
                    <a:pt x="76" y="80"/>
                  </a:lnTo>
                  <a:lnTo>
                    <a:pt x="76" y="78"/>
                  </a:lnTo>
                  <a:lnTo>
                    <a:pt x="78" y="78"/>
                  </a:lnTo>
                  <a:lnTo>
                    <a:pt x="80" y="76"/>
                  </a:lnTo>
                  <a:lnTo>
                    <a:pt x="80" y="74"/>
                  </a:lnTo>
                  <a:lnTo>
                    <a:pt x="84" y="70"/>
                  </a:lnTo>
                  <a:lnTo>
                    <a:pt x="86" y="68"/>
                  </a:lnTo>
                  <a:lnTo>
                    <a:pt x="88" y="64"/>
                  </a:lnTo>
                  <a:lnTo>
                    <a:pt x="90" y="62"/>
                  </a:lnTo>
                  <a:lnTo>
                    <a:pt x="90" y="62"/>
                  </a:lnTo>
                  <a:lnTo>
                    <a:pt x="92" y="60"/>
                  </a:lnTo>
                  <a:lnTo>
                    <a:pt x="92" y="60"/>
                  </a:lnTo>
                  <a:lnTo>
                    <a:pt x="94" y="60"/>
                  </a:lnTo>
                  <a:lnTo>
                    <a:pt x="94" y="60"/>
                  </a:lnTo>
                  <a:lnTo>
                    <a:pt x="96" y="60"/>
                  </a:lnTo>
                  <a:lnTo>
                    <a:pt x="100" y="60"/>
                  </a:lnTo>
                  <a:lnTo>
                    <a:pt x="102" y="60"/>
                  </a:lnTo>
                  <a:lnTo>
                    <a:pt x="104" y="60"/>
                  </a:lnTo>
                  <a:lnTo>
                    <a:pt x="106" y="60"/>
                  </a:lnTo>
                  <a:lnTo>
                    <a:pt x="108" y="60"/>
                  </a:lnTo>
                  <a:lnTo>
                    <a:pt x="110" y="60"/>
                  </a:lnTo>
                  <a:lnTo>
                    <a:pt x="110" y="60"/>
                  </a:lnTo>
                  <a:lnTo>
                    <a:pt x="112" y="58"/>
                  </a:lnTo>
                  <a:lnTo>
                    <a:pt x="114" y="58"/>
                  </a:lnTo>
                  <a:lnTo>
                    <a:pt x="118" y="56"/>
                  </a:lnTo>
                  <a:lnTo>
                    <a:pt x="120" y="54"/>
                  </a:lnTo>
                  <a:lnTo>
                    <a:pt x="122" y="52"/>
                  </a:lnTo>
                  <a:lnTo>
                    <a:pt x="124" y="50"/>
                  </a:lnTo>
                  <a:lnTo>
                    <a:pt x="126" y="48"/>
                  </a:lnTo>
                  <a:lnTo>
                    <a:pt x="128" y="48"/>
                  </a:lnTo>
                  <a:lnTo>
                    <a:pt x="130" y="46"/>
                  </a:lnTo>
                  <a:lnTo>
                    <a:pt x="130" y="42"/>
                  </a:lnTo>
                  <a:lnTo>
                    <a:pt x="132" y="40"/>
                  </a:lnTo>
                  <a:lnTo>
                    <a:pt x="132" y="38"/>
                  </a:lnTo>
                  <a:lnTo>
                    <a:pt x="132" y="34"/>
                  </a:lnTo>
                  <a:lnTo>
                    <a:pt x="132" y="32"/>
                  </a:lnTo>
                  <a:lnTo>
                    <a:pt x="132" y="30"/>
                  </a:lnTo>
                  <a:lnTo>
                    <a:pt x="134" y="26"/>
                  </a:lnTo>
                  <a:lnTo>
                    <a:pt x="132" y="24"/>
                  </a:lnTo>
                  <a:lnTo>
                    <a:pt x="132" y="22"/>
                  </a:lnTo>
                  <a:lnTo>
                    <a:pt x="132" y="18"/>
                  </a:lnTo>
                  <a:lnTo>
                    <a:pt x="132" y="14"/>
                  </a:lnTo>
                  <a:lnTo>
                    <a:pt x="132" y="12"/>
                  </a:lnTo>
                  <a:lnTo>
                    <a:pt x="132" y="10"/>
                  </a:lnTo>
                  <a:lnTo>
                    <a:pt x="130" y="8"/>
                  </a:lnTo>
                  <a:lnTo>
                    <a:pt x="130" y="8"/>
                  </a:lnTo>
                  <a:lnTo>
                    <a:pt x="130" y="6"/>
                  </a:lnTo>
                  <a:lnTo>
                    <a:pt x="128" y="4"/>
                  </a:lnTo>
                  <a:lnTo>
                    <a:pt x="128" y="4"/>
                  </a:lnTo>
                  <a:lnTo>
                    <a:pt x="128" y="4"/>
                  </a:lnTo>
                  <a:lnTo>
                    <a:pt x="126" y="4"/>
                  </a:lnTo>
                  <a:lnTo>
                    <a:pt x="124" y="2"/>
                  </a:lnTo>
                  <a:lnTo>
                    <a:pt x="122" y="2"/>
                  </a:lnTo>
                  <a:lnTo>
                    <a:pt x="122" y="2"/>
                  </a:lnTo>
                  <a:lnTo>
                    <a:pt x="120" y="2"/>
                  </a:lnTo>
                  <a:lnTo>
                    <a:pt x="116" y="2"/>
                  </a:lnTo>
                  <a:lnTo>
                    <a:pt x="112" y="2"/>
                  </a:lnTo>
                  <a:lnTo>
                    <a:pt x="108" y="4"/>
                  </a:lnTo>
                  <a:lnTo>
                    <a:pt x="102" y="4"/>
                  </a:lnTo>
                  <a:lnTo>
                    <a:pt x="102" y="4"/>
                  </a:lnTo>
                  <a:lnTo>
                    <a:pt x="100" y="4"/>
                  </a:lnTo>
                  <a:lnTo>
                    <a:pt x="98" y="6"/>
                  </a:lnTo>
                  <a:lnTo>
                    <a:pt x="90" y="8"/>
                  </a:lnTo>
                  <a:lnTo>
                    <a:pt x="86" y="10"/>
                  </a:lnTo>
                  <a:lnTo>
                    <a:pt x="84" y="10"/>
                  </a:lnTo>
                  <a:lnTo>
                    <a:pt x="80" y="12"/>
                  </a:lnTo>
                  <a:lnTo>
                    <a:pt x="80" y="12"/>
                  </a:lnTo>
                  <a:lnTo>
                    <a:pt x="78" y="12"/>
                  </a:lnTo>
                  <a:lnTo>
                    <a:pt x="76" y="12"/>
                  </a:lnTo>
                  <a:lnTo>
                    <a:pt x="74" y="12"/>
                  </a:lnTo>
                  <a:lnTo>
                    <a:pt x="74" y="10"/>
                  </a:lnTo>
                  <a:lnTo>
                    <a:pt x="72" y="10"/>
                  </a:lnTo>
                  <a:lnTo>
                    <a:pt x="68" y="8"/>
                  </a:lnTo>
                  <a:lnTo>
                    <a:pt x="64" y="6"/>
                  </a:lnTo>
                  <a:lnTo>
                    <a:pt x="60" y="4"/>
                  </a:lnTo>
                  <a:lnTo>
                    <a:pt x="58" y="4"/>
                  </a:lnTo>
                  <a:lnTo>
                    <a:pt x="56" y="2"/>
                  </a:lnTo>
                  <a:lnTo>
                    <a:pt x="54" y="2"/>
                  </a:lnTo>
                  <a:lnTo>
                    <a:pt x="54" y="2"/>
                  </a:lnTo>
                  <a:lnTo>
                    <a:pt x="52" y="2"/>
                  </a:lnTo>
                  <a:lnTo>
                    <a:pt x="50" y="2"/>
                  </a:lnTo>
                  <a:lnTo>
                    <a:pt x="50" y="2"/>
                  </a:lnTo>
                  <a:lnTo>
                    <a:pt x="48" y="2"/>
                  </a:lnTo>
                  <a:lnTo>
                    <a:pt x="48" y="4"/>
                  </a:lnTo>
                  <a:lnTo>
                    <a:pt x="48" y="4"/>
                  </a:lnTo>
                  <a:lnTo>
                    <a:pt x="46" y="6"/>
                  </a:lnTo>
                  <a:lnTo>
                    <a:pt x="46" y="8"/>
                  </a:lnTo>
                  <a:lnTo>
                    <a:pt x="44" y="10"/>
                  </a:lnTo>
                  <a:lnTo>
                    <a:pt x="42" y="12"/>
                  </a:lnTo>
                  <a:lnTo>
                    <a:pt x="42" y="14"/>
                  </a:lnTo>
                  <a:lnTo>
                    <a:pt x="42" y="14"/>
                  </a:lnTo>
                  <a:lnTo>
                    <a:pt x="42" y="14"/>
                  </a:lnTo>
                  <a:lnTo>
                    <a:pt x="40" y="1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7" name="Freeform 254"/>
            <p:cNvSpPr>
              <a:spLocks/>
            </p:cNvSpPr>
            <p:nvPr/>
          </p:nvSpPr>
          <p:spPr bwMode="auto">
            <a:xfrm>
              <a:off x="4761121" y="2785962"/>
              <a:ext cx="204385" cy="9699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8" name="Freeform 255"/>
            <p:cNvSpPr>
              <a:spLocks/>
            </p:cNvSpPr>
            <p:nvPr/>
          </p:nvSpPr>
          <p:spPr bwMode="auto">
            <a:xfrm>
              <a:off x="4761121" y="2785962"/>
              <a:ext cx="204385" cy="9699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79" name="Freeform 256"/>
            <p:cNvSpPr>
              <a:spLocks/>
            </p:cNvSpPr>
            <p:nvPr/>
          </p:nvSpPr>
          <p:spPr bwMode="auto">
            <a:xfrm>
              <a:off x="4792298" y="3302121"/>
              <a:ext cx="138566" cy="107389"/>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0" name="Freeform 257"/>
            <p:cNvSpPr>
              <a:spLocks/>
            </p:cNvSpPr>
            <p:nvPr/>
          </p:nvSpPr>
          <p:spPr bwMode="auto">
            <a:xfrm>
              <a:off x="4792298" y="3302121"/>
              <a:ext cx="138566" cy="107389"/>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1" name="Freeform 258"/>
            <p:cNvSpPr>
              <a:spLocks/>
            </p:cNvSpPr>
            <p:nvPr/>
          </p:nvSpPr>
          <p:spPr bwMode="auto">
            <a:xfrm>
              <a:off x="4802691" y="2758249"/>
              <a:ext cx="121245" cy="51962"/>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2" name="Freeform 259"/>
            <p:cNvSpPr>
              <a:spLocks/>
            </p:cNvSpPr>
            <p:nvPr/>
          </p:nvSpPr>
          <p:spPr bwMode="auto">
            <a:xfrm>
              <a:off x="4802691" y="2758249"/>
              <a:ext cx="121245" cy="51962"/>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3" name="Freeform 260"/>
            <p:cNvSpPr>
              <a:spLocks/>
            </p:cNvSpPr>
            <p:nvPr/>
          </p:nvSpPr>
          <p:spPr bwMode="auto">
            <a:xfrm>
              <a:off x="4743800" y="2339087"/>
              <a:ext cx="242491" cy="426090"/>
            </a:xfrm>
            <a:custGeom>
              <a:avLst/>
              <a:gdLst>
                <a:gd name="T0" fmla="*/ 26 w 140"/>
                <a:gd name="T1" fmla="*/ 100 h 246"/>
                <a:gd name="T2" fmla="*/ 30 w 140"/>
                <a:gd name="T3" fmla="*/ 94 h 246"/>
                <a:gd name="T4" fmla="*/ 32 w 140"/>
                <a:gd name="T5" fmla="*/ 86 h 246"/>
                <a:gd name="T6" fmla="*/ 28 w 140"/>
                <a:gd name="T7" fmla="*/ 64 h 246"/>
                <a:gd name="T8" fmla="*/ 26 w 140"/>
                <a:gd name="T9" fmla="*/ 54 h 246"/>
                <a:gd name="T10" fmla="*/ 18 w 140"/>
                <a:gd name="T11" fmla="*/ 46 h 246"/>
                <a:gd name="T12" fmla="*/ 8 w 140"/>
                <a:gd name="T13" fmla="*/ 32 h 246"/>
                <a:gd name="T14" fmla="*/ 28 w 140"/>
                <a:gd name="T15" fmla="*/ 36 h 246"/>
                <a:gd name="T16" fmla="*/ 44 w 140"/>
                <a:gd name="T17" fmla="*/ 36 h 246"/>
                <a:gd name="T18" fmla="*/ 50 w 140"/>
                <a:gd name="T19" fmla="*/ 34 h 246"/>
                <a:gd name="T20" fmla="*/ 54 w 140"/>
                <a:gd name="T21" fmla="*/ 22 h 246"/>
                <a:gd name="T22" fmla="*/ 62 w 140"/>
                <a:gd name="T23" fmla="*/ 10 h 246"/>
                <a:gd name="T24" fmla="*/ 70 w 140"/>
                <a:gd name="T25" fmla="*/ 2 h 246"/>
                <a:gd name="T26" fmla="*/ 78 w 140"/>
                <a:gd name="T27" fmla="*/ 0 h 246"/>
                <a:gd name="T28" fmla="*/ 90 w 140"/>
                <a:gd name="T29" fmla="*/ 6 h 246"/>
                <a:gd name="T30" fmla="*/ 96 w 140"/>
                <a:gd name="T31" fmla="*/ 12 h 246"/>
                <a:gd name="T32" fmla="*/ 94 w 140"/>
                <a:gd name="T33" fmla="*/ 20 h 246"/>
                <a:gd name="T34" fmla="*/ 88 w 140"/>
                <a:gd name="T35" fmla="*/ 34 h 246"/>
                <a:gd name="T36" fmla="*/ 102 w 140"/>
                <a:gd name="T37" fmla="*/ 66 h 246"/>
                <a:gd name="T38" fmla="*/ 106 w 140"/>
                <a:gd name="T39" fmla="*/ 84 h 246"/>
                <a:gd name="T40" fmla="*/ 108 w 140"/>
                <a:gd name="T41" fmla="*/ 100 h 246"/>
                <a:gd name="T42" fmla="*/ 110 w 140"/>
                <a:gd name="T43" fmla="*/ 116 h 246"/>
                <a:gd name="T44" fmla="*/ 120 w 140"/>
                <a:gd name="T45" fmla="*/ 146 h 246"/>
                <a:gd name="T46" fmla="*/ 124 w 140"/>
                <a:gd name="T47" fmla="*/ 156 h 246"/>
                <a:gd name="T48" fmla="*/ 136 w 140"/>
                <a:gd name="T49" fmla="*/ 168 h 246"/>
                <a:gd name="T50" fmla="*/ 126 w 140"/>
                <a:gd name="T51" fmla="*/ 186 h 246"/>
                <a:gd name="T52" fmla="*/ 104 w 140"/>
                <a:gd name="T53" fmla="*/ 210 h 246"/>
                <a:gd name="T54" fmla="*/ 98 w 140"/>
                <a:gd name="T55" fmla="*/ 222 h 246"/>
                <a:gd name="T56" fmla="*/ 98 w 140"/>
                <a:gd name="T57" fmla="*/ 238 h 246"/>
                <a:gd name="T58" fmla="*/ 90 w 140"/>
                <a:gd name="T59" fmla="*/ 232 h 246"/>
                <a:gd name="T60" fmla="*/ 84 w 140"/>
                <a:gd name="T61" fmla="*/ 224 h 246"/>
                <a:gd name="T62" fmla="*/ 78 w 140"/>
                <a:gd name="T63" fmla="*/ 222 h 246"/>
                <a:gd name="T64" fmla="*/ 66 w 140"/>
                <a:gd name="T65" fmla="*/ 226 h 246"/>
                <a:gd name="T66" fmla="*/ 58 w 140"/>
                <a:gd name="T67" fmla="*/ 232 h 246"/>
                <a:gd name="T68" fmla="*/ 52 w 140"/>
                <a:gd name="T69" fmla="*/ 236 h 246"/>
                <a:gd name="T70" fmla="*/ 36 w 140"/>
                <a:gd name="T71" fmla="*/ 236 h 246"/>
                <a:gd name="T72" fmla="*/ 24 w 140"/>
                <a:gd name="T73" fmla="*/ 230 h 246"/>
                <a:gd name="T74" fmla="*/ 12 w 140"/>
                <a:gd name="T75" fmla="*/ 222 h 246"/>
                <a:gd name="T76" fmla="*/ 6 w 140"/>
                <a:gd name="T77" fmla="*/ 204 h 246"/>
                <a:gd name="T78" fmla="*/ 0 w 140"/>
                <a:gd name="T79" fmla="*/ 186 h 246"/>
                <a:gd name="T80" fmla="*/ 2 w 140"/>
                <a:gd name="T81" fmla="*/ 166 h 246"/>
                <a:gd name="T82" fmla="*/ 6 w 140"/>
                <a:gd name="T83" fmla="*/ 160 h 246"/>
                <a:gd name="T84" fmla="*/ 14 w 140"/>
                <a:gd name="T85" fmla="*/ 156 h 246"/>
                <a:gd name="T86" fmla="*/ 24 w 140"/>
                <a:gd name="T87" fmla="*/ 152 h 246"/>
                <a:gd name="T88" fmla="*/ 34 w 140"/>
                <a:gd name="T89" fmla="*/ 142 h 246"/>
                <a:gd name="T90" fmla="*/ 36 w 140"/>
                <a:gd name="T91" fmla="*/ 132 h 246"/>
                <a:gd name="T92" fmla="*/ 38 w 140"/>
                <a:gd name="T93" fmla="*/ 124 h 246"/>
                <a:gd name="T94" fmla="*/ 44 w 140"/>
                <a:gd name="T95" fmla="*/ 124 h 246"/>
                <a:gd name="T96" fmla="*/ 56 w 140"/>
                <a:gd name="T97" fmla="*/ 128 h 246"/>
                <a:gd name="T98" fmla="*/ 60 w 140"/>
                <a:gd name="T99" fmla="*/ 126 h 246"/>
                <a:gd name="T100" fmla="*/ 60 w 140"/>
                <a:gd name="T101" fmla="*/ 120 h 246"/>
                <a:gd name="T102" fmla="*/ 52 w 140"/>
                <a:gd name="T103" fmla="*/ 110 h 246"/>
                <a:gd name="T104" fmla="*/ 44 w 140"/>
                <a:gd name="T105" fmla="*/ 104 h 246"/>
                <a:gd name="T106" fmla="*/ 28 w 140"/>
                <a:gd name="T107" fmla="*/ 10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46">
                  <a:moveTo>
                    <a:pt x="20" y="102"/>
                  </a:moveTo>
                  <a:lnTo>
                    <a:pt x="20" y="102"/>
                  </a:lnTo>
                  <a:lnTo>
                    <a:pt x="22" y="102"/>
                  </a:lnTo>
                  <a:lnTo>
                    <a:pt x="24" y="100"/>
                  </a:lnTo>
                  <a:lnTo>
                    <a:pt x="26" y="100"/>
                  </a:lnTo>
                  <a:lnTo>
                    <a:pt x="28" y="98"/>
                  </a:lnTo>
                  <a:lnTo>
                    <a:pt x="30" y="98"/>
                  </a:lnTo>
                  <a:lnTo>
                    <a:pt x="30" y="96"/>
                  </a:lnTo>
                  <a:lnTo>
                    <a:pt x="30" y="96"/>
                  </a:lnTo>
                  <a:lnTo>
                    <a:pt x="30" y="94"/>
                  </a:lnTo>
                  <a:lnTo>
                    <a:pt x="32" y="94"/>
                  </a:lnTo>
                  <a:lnTo>
                    <a:pt x="32" y="92"/>
                  </a:lnTo>
                  <a:lnTo>
                    <a:pt x="32" y="90"/>
                  </a:lnTo>
                  <a:lnTo>
                    <a:pt x="32" y="88"/>
                  </a:lnTo>
                  <a:lnTo>
                    <a:pt x="32" y="86"/>
                  </a:lnTo>
                  <a:lnTo>
                    <a:pt x="30" y="80"/>
                  </a:lnTo>
                  <a:lnTo>
                    <a:pt x="30" y="76"/>
                  </a:lnTo>
                  <a:lnTo>
                    <a:pt x="30" y="72"/>
                  </a:lnTo>
                  <a:lnTo>
                    <a:pt x="30" y="68"/>
                  </a:lnTo>
                  <a:lnTo>
                    <a:pt x="28" y="64"/>
                  </a:lnTo>
                  <a:lnTo>
                    <a:pt x="28" y="60"/>
                  </a:lnTo>
                  <a:lnTo>
                    <a:pt x="28" y="56"/>
                  </a:lnTo>
                  <a:lnTo>
                    <a:pt x="28" y="56"/>
                  </a:lnTo>
                  <a:lnTo>
                    <a:pt x="28" y="54"/>
                  </a:lnTo>
                  <a:lnTo>
                    <a:pt x="26" y="54"/>
                  </a:lnTo>
                  <a:lnTo>
                    <a:pt x="26" y="52"/>
                  </a:lnTo>
                  <a:lnTo>
                    <a:pt x="24" y="50"/>
                  </a:lnTo>
                  <a:lnTo>
                    <a:pt x="22" y="50"/>
                  </a:lnTo>
                  <a:lnTo>
                    <a:pt x="18" y="46"/>
                  </a:lnTo>
                  <a:lnTo>
                    <a:pt x="18" y="46"/>
                  </a:lnTo>
                  <a:lnTo>
                    <a:pt x="16" y="44"/>
                  </a:lnTo>
                  <a:lnTo>
                    <a:pt x="14" y="42"/>
                  </a:lnTo>
                  <a:lnTo>
                    <a:pt x="10" y="36"/>
                  </a:lnTo>
                  <a:lnTo>
                    <a:pt x="4" y="32"/>
                  </a:lnTo>
                  <a:lnTo>
                    <a:pt x="8" y="32"/>
                  </a:lnTo>
                  <a:lnTo>
                    <a:pt x="14" y="34"/>
                  </a:lnTo>
                  <a:lnTo>
                    <a:pt x="22" y="36"/>
                  </a:lnTo>
                  <a:lnTo>
                    <a:pt x="26" y="36"/>
                  </a:lnTo>
                  <a:lnTo>
                    <a:pt x="28" y="36"/>
                  </a:lnTo>
                  <a:lnTo>
                    <a:pt x="28" y="36"/>
                  </a:lnTo>
                  <a:lnTo>
                    <a:pt x="34" y="36"/>
                  </a:lnTo>
                  <a:lnTo>
                    <a:pt x="36" y="36"/>
                  </a:lnTo>
                  <a:lnTo>
                    <a:pt x="40" y="36"/>
                  </a:lnTo>
                  <a:lnTo>
                    <a:pt x="42" y="36"/>
                  </a:lnTo>
                  <a:lnTo>
                    <a:pt x="44" y="36"/>
                  </a:lnTo>
                  <a:lnTo>
                    <a:pt x="46" y="36"/>
                  </a:lnTo>
                  <a:lnTo>
                    <a:pt x="48" y="36"/>
                  </a:lnTo>
                  <a:lnTo>
                    <a:pt x="48" y="34"/>
                  </a:lnTo>
                  <a:lnTo>
                    <a:pt x="48" y="34"/>
                  </a:lnTo>
                  <a:lnTo>
                    <a:pt x="50" y="34"/>
                  </a:lnTo>
                  <a:lnTo>
                    <a:pt x="50" y="34"/>
                  </a:lnTo>
                  <a:lnTo>
                    <a:pt x="50" y="32"/>
                  </a:lnTo>
                  <a:lnTo>
                    <a:pt x="52" y="30"/>
                  </a:lnTo>
                  <a:lnTo>
                    <a:pt x="52" y="28"/>
                  </a:lnTo>
                  <a:lnTo>
                    <a:pt x="54" y="22"/>
                  </a:lnTo>
                  <a:lnTo>
                    <a:pt x="54" y="20"/>
                  </a:lnTo>
                  <a:lnTo>
                    <a:pt x="56" y="20"/>
                  </a:lnTo>
                  <a:lnTo>
                    <a:pt x="58" y="16"/>
                  </a:lnTo>
                  <a:lnTo>
                    <a:pt x="60" y="14"/>
                  </a:lnTo>
                  <a:lnTo>
                    <a:pt x="62" y="10"/>
                  </a:lnTo>
                  <a:lnTo>
                    <a:pt x="64" y="8"/>
                  </a:lnTo>
                  <a:lnTo>
                    <a:pt x="66" y="6"/>
                  </a:lnTo>
                  <a:lnTo>
                    <a:pt x="68" y="4"/>
                  </a:lnTo>
                  <a:lnTo>
                    <a:pt x="70" y="2"/>
                  </a:lnTo>
                  <a:lnTo>
                    <a:pt x="70" y="2"/>
                  </a:lnTo>
                  <a:lnTo>
                    <a:pt x="72" y="0"/>
                  </a:lnTo>
                  <a:lnTo>
                    <a:pt x="72" y="0"/>
                  </a:lnTo>
                  <a:lnTo>
                    <a:pt x="74" y="0"/>
                  </a:lnTo>
                  <a:lnTo>
                    <a:pt x="76" y="0"/>
                  </a:lnTo>
                  <a:lnTo>
                    <a:pt x="78" y="0"/>
                  </a:lnTo>
                  <a:lnTo>
                    <a:pt x="78" y="0"/>
                  </a:lnTo>
                  <a:lnTo>
                    <a:pt x="82" y="2"/>
                  </a:lnTo>
                  <a:lnTo>
                    <a:pt x="84" y="2"/>
                  </a:lnTo>
                  <a:lnTo>
                    <a:pt x="88" y="4"/>
                  </a:lnTo>
                  <a:lnTo>
                    <a:pt x="90" y="6"/>
                  </a:lnTo>
                  <a:lnTo>
                    <a:pt x="90" y="8"/>
                  </a:lnTo>
                  <a:lnTo>
                    <a:pt x="92" y="8"/>
                  </a:lnTo>
                  <a:lnTo>
                    <a:pt x="94" y="10"/>
                  </a:lnTo>
                  <a:lnTo>
                    <a:pt x="96" y="12"/>
                  </a:lnTo>
                  <a:lnTo>
                    <a:pt x="96" y="12"/>
                  </a:lnTo>
                  <a:lnTo>
                    <a:pt x="96" y="12"/>
                  </a:lnTo>
                  <a:lnTo>
                    <a:pt x="96" y="14"/>
                  </a:lnTo>
                  <a:lnTo>
                    <a:pt x="96" y="16"/>
                  </a:lnTo>
                  <a:lnTo>
                    <a:pt x="96" y="18"/>
                  </a:lnTo>
                  <a:lnTo>
                    <a:pt x="94" y="20"/>
                  </a:lnTo>
                  <a:lnTo>
                    <a:pt x="94" y="22"/>
                  </a:lnTo>
                  <a:lnTo>
                    <a:pt x="94" y="24"/>
                  </a:lnTo>
                  <a:lnTo>
                    <a:pt x="92" y="28"/>
                  </a:lnTo>
                  <a:lnTo>
                    <a:pt x="90" y="30"/>
                  </a:lnTo>
                  <a:lnTo>
                    <a:pt x="88" y="34"/>
                  </a:lnTo>
                  <a:lnTo>
                    <a:pt x="86" y="36"/>
                  </a:lnTo>
                  <a:lnTo>
                    <a:pt x="102" y="52"/>
                  </a:lnTo>
                  <a:lnTo>
                    <a:pt x="102" y="58"/>
                  </a:lnTo>
                  <a:lnTo>
                    <a:pt x="102" y="64"/>
                  </a:lnTo>
                  <a:lnTo>
                    <a:pt x="102" y="66"/>
                  </a:lnTo>
                  <a:lnTo>
                    <a:pt x="102" y="68"/>
                  </a:lnTo>
                  <a:lnTo>
                    <a:pt x="104" y="70"/>
                  </a:lnTo>
                  <a:lnTo>
                    <a:pt x="104" y="72"/>
                  </a:lnTo>
                  <a:lnTo>
                    <a:pt x="106" y="78"/>
                  </a:lnTo>
                  <a:lnTo>
                    <a:pt x="106" y="84"/>
                  </a:lnTo>
                  <a:lnTo>
                    <a:pt x="108" y="86"/>
                  </a:lnTo>
                  <a:lnTo>
                    <a:pt x="108" y="88"/>
                  </a:lnTo>
                  <a:lnTo>
                    <a:pt x="108" y="90"/>
                  </a:lnTo>
                  <a:lnTo>
                    <a:pt x="108" y="94"/>
                  </a:lnTo>
                  <a:lnTo>
                    <a:pt x="108" y="100"/>
                  </a:lnTo>
                  <a:lnTo>
                    <a:pt x="108" y="106"/>
                  </a:lnTo>
                  <a:lnTo>
                    <a:pt x="108" y="110"/>
                  </a:lnTo>
                  <a:lnTo>
                    <a:pt x="110" y="112"/>
                  </a:lnTo>
                  <a:lnTo>
                    <a:pt x="110" y="114"/>
                  </a:lnTo>
                  <a:lnTo>
                    <a:pt x="110" y="116"/>
                  </a:lnTo>
                  <a:lnTo>
                    <a:pt x="112" y="122"/>
                  </a:lnTo>
                  <a:lnTo>
                    <a:pt x="116" y="132"/>
                  </a:lnTo>
                  <a:lnTo>
                    <a:pt x="118" y="138"/>
                  </a:lnTo>
                  <a:lnTo>
                    <a:pt x="118" y="144"/>
                  </a:lnTo>
                  <a:lnTo>
                    <a:pt x="120" y="146"/>
                  </a:lnTo>
                  <a:lnTo>
                    <a:pt x="120" y="150"/>
                  </a:lnTo>
                  <a:lnTo>
                    <a:pt x="122" y="152"/>
                  </a:lnTo>
                  <a:lnTo>
                    <a:pt x="124" y="154"/>
                  </a:lnTo>
                  <a:lnTo>
                    <a:pt x="124" y="156"/>
                  </a:lnTo>
                  <a:lnTo>
                    <a:pt x="124" y="156"/>
                  </a:lnTo>
                  <a:lnTo>
                    <a:pt x="126" y="160"/>
                  </a:lnTo>
                  <a:lnTo>
                    <a:pt x="128" y="162"/>
                  </a:lnTo>
                  <a:lnTo>
                    <a:pt x="130" y="164"/>
                  </a:lnTo>
                  <a:lnTo>
                    <a:pt x="134" y="166"/>
                  </a:lnTo>
                  <a:lnTo>
                    <a:pt x="136" y="168"/>
                  </a:lnTo>
                  <a:lnTo>
                    <a:pt x="140" y="172"/>
                  </a:lnTo>
                  <a:lnTo>
                    <a:pt x="136" y="176"/>
                  </a:lnTo>
                  <a:lnTo>
                    <a:pt x="132" y="180"/>
                  </a:lnTo>
                  <a:lnTo>
                    <a:pt x="130" y="182"/>
                  </a:lnTo>
                  <a:lnTo>
                    <a:pt x="126" y="186"/>
                  </a:lnTo>
                  <a:lnTo>
                    <a:pt x="122" y="190"/>
                  </a:lnTo>
                  <a:lnTo>
                    <a:pt x="114" y="198"/>
                  </a:lnTo>
                  <a:lnTo>
                    <a:pt x="108" y="206"/>
                  </a:lnTo>
                  <a:lnTo>
                    <a:pt x="106" y="208"/>
                  </a:lnTo>
                  <a:lnTo>
                    <a:pt x="104" y="210"/>
                  </a:lnTo>
                  <a:lnTo>
                    <a:pt x="102" y="212"/>
                  </a:lnTo>
                  <a:lnTo>
                    <a:pt x="100" y="214"/>
                  </a:lnTo>
                  <a:lnTo>
                    <a:pt x="100" y="216"/>
                  </a:lnTo>
                  <a:lnTo>
                    <a:pt x="100" y="218"/>
                  </a:lnTo>
                  <a:lnTo>
                    <a:pt x="98" y="222"/>
                  </a:lnTo>
                  <a:lnTo>
                    <a:pt x="98" y="226"/>
                  </a:lnTo>
                  <a:lnTo>
                    <a:pt x="96" y="228"/>
                  </a:lnTo>
                  <a:lnTo>
                    <a:pt x="96" y="230"/>
                  </a:lnTo>
                  <a:lnTo>
                    <a:pt x="96" y="234"/>
                  </a:lnTo>
                  <a:lnTo>
                    <a:pt x="98" y="238"/>
                  </a:lnTo>
                  <a:lnTo>
                    <a:pt x="98" y="246"/>
                  </a:lnTo>
                  <a:lnTo>
                    <a:pt x="96" y="242"/>
                  </a:lnTo>
                  <a:lnTo>
                    <a:pt x="94" y="238"/>
                  </a:lnTo>
                  <a:lnTo>
                    <a:pt x="92" y="236"/>
                  </a:lnTo>
                  <a:lnTo>
                    <a:pt x="90" y="232"/>
                  </a:lnTo>
                  <a:lnTo>
                    <a:pt x="90" y="230"/>
                  </a:lnTo>
                  <a:lnTo>
                    <a:pt x="88" y="228"/>
                  </a:lnTo>
                  <a:lnTo>
                    <a:pt x="86" y="226"/>
                  </a:lnTo>
                  <a:lnTo>
                    <a:pt x="86" y="224"/>
                  </a:lnTo>
                  <a:lnTo>
                    <a:pt x="84" y="224"/>
                  </a:lnTo>
                  <a:lnTo>
                    <a:pt x="84" y="222"/>
                  </a:lnTo>
                  <a:lnTo>
                    <a:pt x="82" y="222"/>
                  </a:lnTo>
                  <a:lnTo>
                    <a:pt x="82" y="222"/>
                  </a:lnTo>
                  <a:lnTo>
                    <a:pt x="80" y="222"/>
                  </a:lnTo>
                  <a:lnTo>
                    <a:pt x="78" y="222"/>
                  </a:lnTo>
                  <a:lnTo>
                    <a:pt x="76" y="222"/>
                  </a:lnTo>
                  <a:lnTo>
                    <a:pt x="74" y="222"/>
                  </a:lnTo>
                  <a:lnTo>
                    <a:pt x="70" y="224"/>
                  </a:lnTo>
                  <a:lnTo>
                    <a:pt x="68" y="224"/>
                  </a:lnTo>
                  <a:lnTo>
                    <a:pt x="66" y="226"/>
                  </a:lnTo>
                  <a:lnTo>
                    <a:pt x="64" y="226"/>
                  </a:lnTo>
                  <a:lnTo>
                    <a:pt x="62" y="228"/>
                  </a:lnTo>
                  <a:lnTo>
                    <a:pt x="62" y="228"/>
                  </a:lnTo>
                  <a:lnTo>
                    <a:pt x="60" y="230"/>
                  </a:lnTo>
                  <a:lnTo>
                    <a:pt x="58" y="232"/>
                  </a:lnTo>
                  <a:lnTo>
                    <a:pt x="58" y="234"/>
                  </a:lnTo>
                  <a:lnTo>
                    <a:pt x="56" y="234"/>
                  </a:lnTo>
                  <a:lnTo>
                    <a:pt x="56" y="236"/>
                  </a:lnTo>
                  <a:lnTo>
                    <a:pt x="54" y="236"/>
                  </a:lnTo>
                  <a:lnTo>
                    <a:pt x="52" y="236"/>
                  </a:lnTo>
                  <a:lnTo>
                    <a:pt x="50" y="236"/>
                  </a:lnTo>
                  <a:lnTo>
                    <a:pt x="46" y="236"/>
                  </a:lnTo>
                  <a:lnTo>
                    <a:pt x="42" y="236"/>
                  </a:lnTo>
                  <a:lnTo>
                    <a:pt x="40" y="236"/>
                  </a:lnTo>
                  <a:lnTo>
                    <a:pt x="36" y="236"/>
                  </a:lnTo>
                  <a:lnTo>
                    <a:pt x="32" y="234"/>
                  </a:lnTo>
                  <a:lnTo>
                    <a:pt x="30" y="234"/>
                  </a:lnTo>
                  <a:lnTo>
                    <a:pt x="28" y="232"/>
                  </a:lnTo>
                  <a:lnTo>
                    <a:pt x="26" y="232"/>
                  </a:lnTo>
                  <a:lnTo>
                    <a:pt x="24" y="230"/>
                  </a:lnTo>
                  <a:lnTo>
                    <a:pt x="20" y="228"/>
                  </a:lnTo>
                  <a:lnTo>
                    <a:pt x="18" y="226"/>
                  </a:lnTo>
                  <a:lnTo>
                    <a:pt x="16" y="224"/>
                  </a:lnTo>
                  <a:lnTo>
                    <a:pt x="14" y="222"/>
                  </a:lnTo>
                  <a:lnTo>
                    <a:pt x="12" y="222"/>
                  </a:lnTo>
                  <a:lnTo>
                    <a:pt x="12" y="220"/>
                  </a:lnTo>
                  <a:lnTo>
                    <a:pt x="10" y="218"/>
                  </a:lnTo>
                  <a:lnTo>
                    <a:pt x="10" y="216"/>
                  </a:lnTo>
                  <a:lnTo>
                    <a:pt x="8" y="214"/>
                  </a:lnTo>
                  <a:lnTo>
                    <a:pt x="6" y="204"/>
                  </a:lnTo>
                  <a:lnTo>
                    <a:pt x="2" y="196"/>
                  </a:lnTo>
                  <a:lnTo>
                    <a:pt x="2" y="192"/>
                  </a:lnTo>
                  <a:lnTo>
                    <a:pt x="2" y="190"/>
                  </a:lnTo>
                  <a:lnTo>
                    <a:pt x="2" y="188"/>
                  </a:lnTo>
                  <a:lnTo>
                    <a:pt x="0" y="186"/>
                  </a:lnTo>
                  <a:lnTo>
                    <a:pt x="0" y="182"/>
                  </a:lnTo>
                  <a:lnTo>
                    <a:pt x="0" y="178"/>
                  </a:lnTo>
                  <a:lnTo>
                    <a:pt x="2" y="174"/>
                  </a:lnTo>
                  <a:lnTo>
                    <a:pt x="2" y="170"/>
                  </a:lnTo>
                  <a:lnTo>
                    <a:pt x="2" y="166"/>
                  </a:lnTo>
                  <a:lnTo>
                    <a:pt x="2" y="164"/>
                  </a:lnTo>
                  <a:lnTo>
                    <a:pt x="4" y="164"/>
                  </a:lnTo>
                  <a:lnTo>
                    <a:pt x="4" y="162"/>
                  </a:lnTo>
                  <a:lnTo>
                    <a:pt x="4" y="160"/>
                  </a:lnTo>
                  <a:lnTo>
                    <a:pt x="6" y="160"/>
                  </a:lnTo>
                  <a:lnTo>
                    <a:pt x="6" y="160"/>
                  </a:lnTo>
                  <a:lnTo>
                    <a:pt x="8" y="158"/>
                  </a:lnTo>
                  <a:lnTo>
                    <a:pt x="8" y="158"/>
                  </a:lnTo>
                  <a:lnTo>
                    <a:pt x="10" y="158"/>
                  </a:lnTo>
                  <a:lnTo>
                    <a:pt x="14" y="156"/>
                  </a:lnTo>
                  <a:lnTo>
                    <a:pt x="18" y="154"/>
                  </a:lnTo>
                  <a:lnTo>
                    <a:pt x="20" y="154"/>
                  </a:lnTo>
                  <a:lnTo>
                    <a:pt x="22" y="154"/>
                  </a:lnTo>
                  <a:lnTo>
                    <a:pt x="22" y="154"/>
                  </a:lnTo>
                  <a:lnTo>
                    <a:pt x="24" y="152"/>
                  </a:lnTo>
                  <a:lnTo>
                    <a:pt x="26" y="150"/>
                  </a:lnTo>
                  <a:lnTo>
                    <a:pt x="30" y="148"/>
                  </a:lnTo>
                  <a:lnTo>
                    <a:pt x="32" y="146"/>
                  </a:lnTo>
                  <a:lnTo>
                    <a:pt x="32" y="144"/>
                  </a:lnTo>
                  <a:lnTo>
                    <a:pt x="34" y="142"/>
                  </a:lnTo>
                  <a:lnTo>
                    <a:pt x="34" y="140"/>
                  </a:lnTo>
                  <a:lnTo>
                    <a:pt x="36" y="140"/>
                  </a:lnTo>
                  <a:lnTo>
                    <a:pt x="36" y="138"/>
                  </a:lnTo>
                  <a:lnTo>
                    <a:pt x="36" y="136"/>
                  </a:lnTo>
                  <a:lnTo>
                    <a:pt x="36" y="132"/>
                  </a:lnTo>
                  <a:lnTo>
                    <a:pt x="36" y="130"/>
                  </a:lnTo>
                  <a:lnTo>
                    <a:pt x="38" y="128"/>
                  </a:lnTo>
                  <a:lnTo>
                    <a:pt x="38" y="126"/>
                  </a:lnTo>
                  <a:lnTo>
                    <a:pt x="38" y="126"/>
                  </a:lnTo>
                  <a:lnTo>
                    <a:pt x="38" y="124"/>
                  </a:lnTo>
                  <a:lnTo>
                    <a:pt x="38" y="124"/>
                  </a:lnTo>
                  <a:lnTo>
                    <a:pt x="40" y="124"/>
                  </a:lnTo>
                  <a:lnTo>
                    <a:pt x="40" y="124"/>
                  </a:lnTo>
                  <a:lnTo>
                    <a:pt x="42" y="124"/>
                  </a:lnTo>
                  <a:lnTo>
                    <a:pt x="44" y="124"/>
                  </a:lnTo>
                  <a:lnTo>
                    <a:pt x="46" y="124"/>
                  </a:lnTo>
                  <a:lnTo>
                    <a:pt x="50" y="126"/>
                  </a:lnTo>
                  <a:lnTo>
                    <a:pt x="54" y="126"/>
                  </a:lnTo>
                  <a:lnTo>
                    <a:pt x="54" y="128"/>
                  </a:lnTo>
                  <a:lnTo>
                    <a:pt x="56" y="128"/>
                  </a:lnTo>
                  <a:lnTo>
                    <a:pt x="58" y="128"/>
                  </a:lnTo>
                  <a:lnTo>
                    <a:pt x="58" y="128"/>
                  </a:lnTo>
                  <a:lnTo>
                    <a:pt x="60" y="128"/>
                  </a:lnTo>
                  <a:lnTo>
                    <a:pt x="60" y="126"/>
                  </a:lnTo>
                  <a:lnTo>
                    <a:pt x="60" y="126"/>
                  </a:lnTo>
                  <a:lnTo>
                    <a:pt x="60" y="126"/>
                  </a:lnTo>
                  <a:lnTo>
                    <a:pt x="60" y="124"/>
                  </a:lnTo>
                  <a:lnTo>
                    <a:pt x="60" y="122"/>
                  </a:lnTo>
                  <a:lnTo>
                    <a:pt x="60" y="122"/>
                  </a:lnTo>
                  <a:lnTo>
                    <a:pt x="60" y="120"/>
                  </a:lnTo>
                  <a:lnTo>
                    <a:pt x="60" y="118"/>
                  </a:lnTo>
                  <a:lnTo>
                    <a:pt x="58" y="116"/>
                  </a:lnTo>
                  <a:lnTo>
                    <a:pt x="58" y="116"/>
                  </a:lnTo>
                  <a:lnTo>
                    <a:pt x="54" y="112"/>
                  </a:lnTo>
                  <a:lnTo>
                    <a:pt x="52" y="110"/>
                  </a:lnTo>
                  <a:lnTo>
                    <a:pt x="50" y="106"/>
                  </a:lnTo>
                  <a:lnTo>
                    <a:pt x="48" y="106"/>
                  </a:lnTo>
                  <a:lnTo>
                    <a:pt x="48" y="106"/>
                  </a:lnTo>
                  <a:lnTo>
                    <a:pt x="46" y="104"/>
                  </a:lnTo>
                  <a:lnTo>
                    <a:pt x="44" y="104"/>
                  </a:lnTo>
                  <a:lnTo>
                    <a:pt x="42" y="104"/>
                  </a:lnTo>
                  <a:lnTo>
                    <a:pt x="40" y="104"/>
                  </a:lnTo>
                  <a:lnTo>
                    <a:pt x="36" y="102"/>
                  </a:lnTo>
                  <a:lnTo>
                    <a:pt x="32" y="102"/>
                  </a:lnTo>
                  <a:lnTo>
                    <a:pt x="28" y="102"/>
                  </a:lnTo>
                  <a:lnTo>
                    <a:pt x="24" y="102"/>
                  </a:lnTo>
                  <a:lnTo>
                    <a:pt x="20" y="10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4" name="Freeform 261"/>
            <p:cNvSpPr>
              <a:spLocks/>
            </p:cNvSpPr>
            <p:nvPr/>
          </p:nvSpPr>
          <p:spPr bwMode="auto">
            <a:xfrm>
              <a:off x="4743800" y="2339087"/>
              <a:ext cx="242491" cy="426090"/>
            </a:xfrm>
            <a:custGeom>
              <a:avLst/>
              <a:gdLst>
                <a:gd name="T0" fmla="*/ 26 w 140"/>
                <a:gd name="T1" fmla="*/ 100 h 246"/>
                <a:gd name="T2" fmla="*/ 30 w 140"/>
                <a:gd name="T3" fmla="*/ 94 h 246"/>
                <a:gd name="T4" fmla="*/ 32 w 140"/>
                <a:gd name="T5" fmla="*/ 86 h 246"/>
                <a:gd name="T6" fmla="*/ 28 w 140"/>
                <a:gd name="T7" fmla="*/ 64 h 246"/>
                <a:gd name="T8" fmla="*/ 26 w 140"/>
                <a:gd name="T9" fmla="*/ 54 h 246"/>
                <a:gd name="T10" fmla="*/ 18 w 140"/>
                <a:gd name="T11" fmla="*/ 46 h 246"/>
                <a:gd name="T12" fmla="*/ 8 w 140"/>
                <a:gd name="T13" fmla="*/ 32 h 246"/>
                <a:gd name="T14" fmla="*/ 28 w 140"/>
                <a:gd name="T15" fmla="*/ 36 h 246"/>
                <a:gd name="T16" fmla="*/ 44 w 140"/>
                <a:gd name="T17" fmla="*/ 36 h 246"/>
                <a:gd name="T18" fmla="*/ 50 w 140"/>
                <a:gd name="T19" fmla="*/ 34 h 246"/>
                <a:gd name="T20" fmla="*/ 54 w 140"/>
                <a:gd name="T21" fmla="*/ 22 h 246"/>
                <a:gd name="T22" fmla="*/ 62 w 140"/>
                <a:gd name="T23" fmla="*/ 10 h 246"/>
                <a:gd name="T24" fmla="*/ 70 w 140"/>
                <a:gd name="T25" fmla="*/ 2 h 246"/>
                <a:gd name="T26" fmla="*/ 78 w 140"/>
                <a:gd name="T27" fmla="*/ 0 h 246"/>
                <a:gd name="T28" fmla="*/ 90 w 140"/>
                <a:gd name="T29" fmla="*/ 6 h 246"/>
                <a:gd name="T30" fmla="*/ 96 w 140"/>
                <a:gd name="T31" fmla="*/ 12 h 246"/>
                <a:gd name="T32" fmla="*/ 94 w 140"/>
                <a:gd name="T33" fmla="*/ 20 h 246"/>
                <a:gd name="T34" fmla="*/ 88 w 140"/>
                <a:gd name="T35" fmla="*/ 34 h 246"/>
                <a:gd name="T36" fmla="*/ 102 w 140"/>
                <a:gd name="T37" fmla="*/ 66 h 246"/>
                <a:gd name="T38" fmla="*/ 106 w 140"/>
                <a:gd name="T39" fmla="*/ 84 h 246"/>
                <a:gd name="T40" fmla="*/ 108 w 140"/>
                <a:gd name="T41" fmla="*/ 100 h 246"/>
                <a:gd name="T42" fmla="*/ 110 w 140"/>
                <a:gd name="T43" fmla="*/ 116 h 246"/>
                <a:gd name="T44" fmla="*/ 120 w 140"/>
                <a:gd name="T45" fmla="*/ 146 h 246"/>
                <a:gd name="T46" fmla="*/ 124 w 140"/>
                <a:gd name="T47" fmla="*/ 156 h 246"/>
                <a:gd name="T48" fmla="*/ 136 w 140"/>
                <a:gd name="T49" fmla="*/ 168 h 246"/>
                <a:gd name="T50" fmla="*/ 126 w 140"/>
                <a:gd name="T51" fmla="*/ 186 h 246"/>
                <a:gd name="T52" fmla="*/ 104 w 140"/>
                <a:gd name="T53" fmla="*/ 210 h 246"/>
                <a:gd name="T54" fmla="*/ 98 w 140"/>
                <a:gd name="T55" fmla="*/ 222 h 246"/>
                <a:gd name="T56" fmla="*/ 98 w 140"/>
                <a:gd name="T57" fmla="*/ 238 h 246"/>
                <a:gd name="T58" fmla="*/ 90 w 140"/>
                <a:gd name="T59" fmla="*/ 232 h 246"/>
                <a:gd name="T60" fmla="*/ 84 w 140"/>
                <a:gd name="T61" fmla="*/ 224 h 246"/>
                <a:gd name="T62" fmla="*/ 78 w 140"/>
                <a:gd name="T63" fmla="*/ 222 h 246"/>
                <a:gd name="T64" fmla="*/ 66 w 140"/>
                <a:gd name="T65" fmla="*/ 226 h 246"/>
                <a:gd name="T66" fmla="*/ 58 w 140"/>
                <a:gd name="T67" fmla="*/ 232 h 246"/>
                <a:gd name="T68" fmla="*/ 52 w 140"/>
                <a:gd name="T69" fmla="*/ 236 h 246"/>
                <a:gd name="T70" fmla="*/ 36 w 140"/>
                <a:gd name="T71" fmla="*/ 236 h 246"/>
                <a:gd name="T72" fmla="*/ 24 w 140"/>
                <a:gd name="T73" fmla="*/ 230 h 246"/>
                <a:gd name="T74" fmla="*/ 12 w 140"/>
                <a:gd name="T75" fmla="*/ 222 h 246"/>
                <a:gd name="T76" fmla="*/ 6 w 140"/>
                <a:gd name="T77" fmla="*/ 204 h 246"/>
                <a:gd name="T78" fmla="*/ 0 w 140"/>
                <a:gd name="T79" fmla="*/ 186 h 246"/>
                <a:gd name="T80" fmla="*/ 2 w 140"/>
                <a:gd name="T81" fmla="*/ 166 h 246"/>
                <a:gd name="T82" fmla="*/ 6 w 140"/>
                <a:gd name="T83" fmla="*/ 160 h 246"/>
                <a:gd name="T84" fmla="*/ 14 w 140"/>
                <a:gd name="T85" fmla="*/ 156 h 246"/>
                <a:gd name="T86" fmla="*/ 24 w 140"/>
                <a:gd name="T87" fmla="*/ 152 h 246"/>
                <a:gd name="T88" fmla="*/ 34 w 140"/>
                <a:gd name="T89" fmla="*/ 142 h 246"/>
                <a:gd name="T90" fmla="*/ 36 w 140"/>
                <a:gd name="T91" fmla="*/ 132 h 246"/>
                <a:gd name="T92" fmla="*/ 38 w 140"/>
                <a:gd name="T93" fmla="*/ 124 h 246"/>
                <a:gd name="T94" fmla="*/ 44 w 140"/>
                <a:gd name="T95" fmla="*/ 124 h 246"/>
                <a:gd name="T96" fmla="*/ 56 w 140"/>
                <a:gd name="T97" fmla="*/ 128 h 246"/>
                <a:gd name="T98" fmla="*/ 60 w 140"/>
                <a:gd name="T99" fmla="*/ 126 h 246"/>
                <a:gd name="T100" fmla="*/ 60 w 140"/>
                <a:gd name="T101" fmla="*/ 120 h 246"/>
                <a:gd name="T102" fmla="*/ 52 w 140"/>
                <a:gd name="T103" fmla="*/ 110 h 246"/>
                <a:gd name="T104" fmla="*/ 44 w 140"/>
                <a:gd name="T105" fmla="*/ 104 h 246"/>
                <a:gd name="T106" fmla="*/ 28 w 140"/>
                <a:gd name="T107" fmla="*/ 10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46">
                  <a:moveTo>
                    <a:pt x="20" y="102"/>
                  </a:moveTo>
                  <a:lnTo>
                    <a:pt x="20" y="102"/>
                  </a:lnTo>
                  <a:lnTo>
                    <a:pt x="22" y="102"/>
                  </a:lnTo>
                  <a:lnTo>
                    <a:pt x="24" y="100"/>
                  </a:lnTo>
                  <a:lnTo>
                    <a:pt x="26" y="100"/>
                  </a:lnTo>
                  <a:lnTo>
                    <a:pt x="28" y="98"/>
                  </a:lnTo>
                  <a:lnTo>
                    <a:pt x="30" y="98"/>
                  </a:lnTo>
                  <a:lnTo>
                    <a:pt x="30" y="96"/>
                  </a:lnTo>
                  <a:lnTo>
                    <a:pt x="30" y="96"/>
                  </a:lnTo>
                  <a:lnTo>
                    <a:pt x="30" y="94"/>
                  </a:lnTo>
                  <a:lnTo>
                    <a:pt x="32" y="94"/>
                  </a:lnTo>
                  <a:lnTo>
                    <a:pt x="32" y="92"/>
                  </a:lnTo>
                  <a:lnTo>
                    <a:pt x="32" y="90"/>
                  </a:lnTo>
                  <a:lnTo>
                    <a:pt x="32" y="88"/>
                  </a:lnTo>
                  <a:lnTo>
                    <a:pt x="32" y="86"/>
                  </a:lnTo>
                  <a:lnTo>
                    <a:pt x="30" y="80"/>
                  </a:lnTo>
                  <a:lnTo>
                    <a:pt x="30" y="76"/>
                  </a:lnTo>
                  <a:lnTo>
                    <a:pt x="30" y="72"/>
                  </a:lnTo>
                  <a:lnTo>
                    <a:pt x="30" y="68"/>
                  </a:lnTo>
                  <a:lnTo>
                    <a:pt x="28" y="64"/>
                  </a:lnTo>
                  <a:lnTo>
                    <a:pt x="28" y="60"/>
                  </a:lnTo>
                  <a:lnTo>
                    <a:pt x="28" y="56"/>
                  </a:lnTo>
                  <a:lnTo>
                    <a:pt x="28" y="56"/>
                  </a:lnTo>
                  <a:lnTo>
                    <a:pt x="28" y="54"/>
                  </a:lnTo>
                  <a:lnTo>
                    <a:pt x="26" y="54"/>
                  </a:lnTo>
                  <a:lnTo>
                    <a:pt x="26" y="52"/>
                  </a:lnTo>
                  <a:lnTo>
                    <a:pt x="24" y="50"/>
                  </a:lnTo>
                  <a:lnTo>
                    <a:pt x="22" y="50"/>
                  </a:lnTo>
                  <a:lnTo>
                    <a:pt x="18" y="46"/>
                  </a:lnTo>
                  <a:lnTo>
                    <a:pt x="18" y="46"/>
                  </a:lnTo>
                  <a:lnTo>
                    <a:pt x="16" y="44"/>
                  </a:lnTo>
                  <a:lnTo>
                    <a:pt x="14" y="42"/>
                  </a:lnTo>
                  <a:lnTo>
                    <a:pt x="10" y="36"/>
                  </a:lnTo>
                  <a:lnTo>
                    <a:pt x="4" y="32"/>
                  </a:lnTo>
                  <a:lnTo>
                    <a:pt x="8" y="32"/>
                  </a:lnTo>
                  <a:lnTo>
                    <a:pt x="14" y="34"/>
                  </a:lnTo>
                  <a:lnTo>
                    <a:pt x="22" y="36"/>
                  </a:lnTo>
                  <a:lnTo>
                    <a:pt x="26" y="36"/>
                  </a:lnTo>
                  <a:lnTo>
                    <a:pt x="28" y="36"/>
                  </a:lnTo>
                  <a:lnTo>
                    <a:pt x="28" y="36"/>
                  </a:lnTo>
                  <a:lnTo>
                    <a:pt x="34" y="36"/>
                  </a:lnTo>
                  <a:lnTo>
                    <a:pt x="36" y="36"/>
                  </a:lnTo>
                  <a:lnTo>
                    <a:pt x="40" y="36"/>
                  </a:lnTo>
                  <a:lnTo>
                    <a:pt x="42" y="36"/>
                  </a:lnTo>
                  <a:lnTo>
                    <a:pt x="44" y="36"/>
                  </a:lnTo>
                  <a:lnTo>
                    <a:pt x="46" y="36"/>
                  </a:lnTo>
                  <a:lnTo>
                    <a:pt x="48" y="36"/>
                  </a:lnTo>
                  <a:lnTo>
                    <a:pt x="48" y="34"/>
                  </a:lnTo>
                  <a:lnTo>
                    <a:pt x="48" y="34"/>
                  </a:lnTo>
                  <a:lnTo>
                    <a:pt x="50" y="34"/>
                  </a:lnTo>
                  <a:lnTo>
                    <a:pt x="50" y="34"/>
                  </a:lnTo>
                  <a:lnTo>
                    <a:pt x="50" y="32"/>
                  </a:lnTo>
                  <a:lnTo>
                    <a:pt x="52" y="30"/>
                  </a:lnTo>
                  <a:lnTo>
                    <a:pt x="52" y="28"/>
                  </a:lnTo>
                  <a:lnTo>
                    <a:pt x="54" y="22"/>
                  </a:lnTo>
                  <a:lnTo>
                    <a:pt x="54" y="20"/>
                  </a:lnTo>
                  <a:lnTo>
                    <a:pt x="56" y="20"/>
                  </a:lnTo>
                  <a:lnTo>
                    <a:pt x="58" y="16"/>
                  </a:lnTo>
                  <a:lnTo>
                    <a:pt x="60" y="14"/>
                  </a:lnTo>
                  <a:lnTo>
                    <a:pt x="62" y="10"/>
                  </a:lnTo>
                  <a:lnTo>
                    <a:pt x="64" y="8"/>
                  </a:lnTo>
                  <a:lnTo>
                    <a:pt x="66" y="6"/>
                  </a:lnTo>
                  <a:lnTo>
                    <a:pt x="68" y="4"/>
                  </a:lnTo>
                  <a:lnTo>
                    <a:pt x="70" y="2"/>
                  </a:lnTo>
                  <a:lnTo>
                    <a:pt x="70" y="2"/>
                  </a:lnTo>
                  <a:lnTo>
                    <a:pt x="72" y="0"/>
                  </a:lnTo>
                  <a:lnTo>
                    <a:pt x="72" y="0"/>
                  </a:lnTo>
                  <a:lnTo>
                    <a:pt x="74" y="0"/>
                  </a:lnTo>
                  <a:lnTo>
                    <a:pt x="76" y="0"/>
                  </a:lnTo>
                  <a:lnTo>
                    <a:pt x="78" y="0"/>
                  </a:lnTo>
                  <a:lnTo>
                    <a:pt x="78" y="0"/>
                  </a:lnTo>
                  <a:lnTo>
                    <a:pt x="82" y="2"/>
                  </a:lnTo>
                  <a:lnTo>
                    <a:pt x="84" y="2"/>
                  </a:lnTo>
                  <a:lnTo>
                    <a:pt x="88" y="4"/>
                  </a:lnTo>
                  <a:lnTo>
                    <a:pt x="90" y="6"/>
                  </a:lnTo>
                  <a:lnTo>
                    <a:pt x="90" y="8"/>
                  </a:lnTo>
                  <a:lnTo>
                    <a:pt x="92" y="8"/>
                  </a:lnTo>
                  <a:lnTo>
                    <a:pt x="94" y="10"/>
                  </a:lnTo>
                  <a:lnTo>
                    <a:pt x="96" y="12"/>
                  </a:lnTo>
                  <a:lnTo>
                    <a:pt x="96" y="12"/>
                  </a:lnTo>
                  <a:lnTo>
                    <a:pt x="96" y="12"/>
                  </a:lnTo>
                  <a:lnTo>
                    <a:pt x="96" y="14"/>
                  </a:lnTo>
                  <a:lnTo>
                    <a:pt x="96" y="16"/>
                  </a:lnTo>
                  <a:lnTo>
                    <a:pt x="96" y="18"/>
                  </a:lnTo>
                  <a:lnTo>
                    <a:pt x="94" y="20"/>
                  </a:lnTo>
                  <a:lnTo>
                    <a:pt x="94" y="22"/>
                  </a:lnTo>
                  <a:lnTo>
                    <a:pt x="94" y="24"/>
                  </a:lnTo>
                  <a:lnTo>
                    <a:pt x="92" y="28"/>
                  </a:lnTo>
                  <a:lnTo>
                    <a:pt x="90" y="30"/>
                  </a:lnTo>
                  <a:lnTo>
                    <a:pt x="88" y="34"/>
                  </a:lnTo>
                  <a:lnTo>
                    <a:pt x="86" y="36"/>
                  </a:lnTo>
                  <a:lnTo>
                    <a:pt x="102" y="52"/>
                  </a:lnTo>
                  <a:lnTo>
                    <a:pt x="102" y="58"/>
                  </a:lnTo>
                  <a:lnTo>
                    <a:pt x="102" y="64"/>
                  </a:lnTo>
                  <a:lnTo>
                    <a:pt x="102" y="66"/>
                  </a:lnTo>
                  <a:lnTo>
                    <a:pt x="102" y="68"/>
                  </a:lnTo>
                  <a:lnTo>
                    <a:pt x="104" y="70"/>
                  </a:lnTo>
                  <a:lnTo>
                    <a:pt x="104" y="72"/>
                  </a:lnTo>
                  <a:lnTo>
                    <a:pt x="106" y="78"/>
                  </a:lnTo>
                  <a:lnTo>
                    <a:pt x="106" y="84"/>
                  </a:lnTo>
                  <a:lnTo>
                    <a:pt x="108" y="86"/>
                  </a:lnTo>
                  <a:lnTo>
                    <a:pt x="108" y="88"/>
                  </a:lnTo>
                  <a:lnTo>
                    <a:pt x="108" y="90"/>
                  </a:lnTo>
                  <a:lnTo>
                    <a:pt x="108" y="94"/>
                  </a:lnTo>
                  <a:lnTo>
                    <a:pt x="108" y="100"/>
                  </a:lnTo>
                  <a:lnTo>
                    <a:pt x="108" y="106"/>
                  </a:lnTo>
                  <a:lnTo>
                    <a:pt x="108" y="110"/>
                  </a:lnTo>
                  <a:lnTo>
                    <a:pt x="110" y="112"/>
                  </a:lnTo>
                  <a:lnTo>
                    <a:pt x="110" y="114"/>
                  </a:lnTo>
                  <a:lnTo>
                    <a:pt x="110" y="116"/>
                  </a:lnTo>
                  <a:lnTo>
                    <a:pt x="112" y="122"/>
                  </a:lnTo>
                  <a:lnTo>
                    <a:pt x="116" y="132"/>
                  </a:lnTo>
                  <a:lnTo>
                    <a:pt x="118" y="138"/>
                  </a:lnTo>
                  <a:lnTo>
                    <a:pt x="118" y="144"/>
                  </a:lnTo>
                  <a:lnTo>
                    <a:pt x="120" y="146"/>
                  </a:lnTo>
                  <a:lnTo>
                    <a:pt x="120" y="150"/>
                  </a:lnTo>
                  <a:lnTo>
                    <a:pt x="122" y="152"/>
                  </a:lnTo>
                  <a:lnTo>
                    <a:pt x="124" y="154"/>
                  </a:lnTo>
                  <a:lnTo>
                    <a:pt x="124" y="156"/>
                  </a:lnTo>
                  <a:lnTo>
                    <a:pt x="124" y="156"/>
                  </a:lnTo>
                  <a:lnTo>
                    <a:pt x="126" y="160"/>
                  </a:lnTo>
                  <a:lnTo>
                    <a:pt x="128" y="162"/>
                  </a:lnTo>
                  <a:lnTo>
                    <a:pt x="130" y="164"/>
                  </a:lnTo>
                  <a:lnTo>
                    <a:pt x="134" y="166"/>
                  </a:lnTo>
                  <a:lnTo>
                    <a:pt x="136" y="168"/>
                  </a:lnTo>
                  <a:lnTo>
                    <a:pt x="140" y="172"/>
                  </a:lnTo>
                  <a:lnTo>
                    <a:pt x="136" y="176"/>
                  </a:lnTo>
                  <a:lnTo>
                    <a:pt x="132" y="180"/>
                  </a:lnTo>
                  <a:lnTo>
                    <a:pt x="130" y="182"/>
                  </a:lnTo>
                  <a:lnTo>
                    <a:pt x="126" y="186"/>
                  </a:lnTo>
                  <a:lnTo>
                    <a:pt x="122" y="190"/>
                  </a:lnTo>
                  <a:lnTo>
                    <a:pt x="114" y="198"/>
                  </a:lnTo>
                  <a:lnTo>
                    <a:pt x="108" y="206"/>
                  </a:lnTo>
                  <a:lnTo>
                    <a:pt x="106" y="208"/>
                  </a:lnTo>
                  <a:lnTo>
                    <a:pt x="104" y="210"/>
                  </a:lnTo>
                  <a:lnTo>
                    <a:pt x="102" y="212"/>
                  </a:lnTo>
                  <a:lnTo>
                    <a:pt x="100" y="214"/>
                  </a:lnTo>
                  <a:lnTo>
                    <a:pt x="100" y="216"/>
                  </a:lnTo>
                  <a:lnTo>
                    <a:pt x="100" y="218"/>
                  </a:lnTo>
                  <a:lnTo>
                    <a:pt x="98" y="222"/>
                  </a:lnTo>
                  <a:lnTo>
                    <a:pt x="98" y="226"/>
                  </a:lnTo>
                  <a:lnTo>
                    <a:pt x="96" y="228"/>
                  </a:lnTo>
                  <a:lnTo>
                    <a:pt x="96" y="230"/>
                  </a:lnTo>
                  <a:lnTo>
                    <a:pt x="96" y="234"/>
                  </a:lnTo>
                  <a:lnTo>
                    <a:pt x="98" y="238"/>
                  </a:lnTo>
                  <a:lnTo>
                    <a:pt x="98" y="246"/>
                  </a:lnTo>
                  <a:lnTo>
                    <a:pt x="96" y="242"/>
                  </a:lnTo>
                  <a:lnTo>
                    <a:pt x="94" y="238"/>
                  </a:lnTo>
                  <a:lnTo>
                    <a:pt x="92" y="236"/>
                  </a:lnTo>
                  <a:lnTo>
                    <a:pt x="90" y="232"/>
                  </a:lnTo>
                  <a:lnTo>
                    <a:pt x="90" y="230"/>
                  </a:lnTo>
                  <a:lnTo>
                    <a:pt x="88" y="228"/>
                  </a:lnTo>
                  <a:lnTo>
                    <a:pt x="86" y="226"/>
                  </a:lnTo>
                  <a:lnTo>
                    <a:pt x="86" y="224"/>
                  </a:lnTo>
                  <a:lnTo>
                    <a:pt x="84" y="224"/>
                  </a:lnTo>
                  <a:lnTo>
                    <a:pt x="84" y="222"/>
                  </a:lnTo>
                  <a:lnTo>
                    <a:pt x="82" y="222"/>
                  </a:lnTo>
                  <a:lnTo>
                    <a:pt x="82" y="222"/>
                  </a:lnTo>
                  <a:lnTo>
                    <a:pt x="80" y="222"/>
                  </a:lnTo>
                  <a:lnTo>
                    <a:pt x="78" y="222"/>
                  </a:lnTo>
                  <a:lnTo>
                    <a:pt x="76" y="222"/>
                  </a:lnTo>
                  <a:lnTo>
                    <a:pt x="74" y="222"/>
                  </a:lnTo>
                  <a:lnTo>
                    <a:pt x="70" y="224"/>
                  </a:lnTo>
                  <a:lnTo>
                    <a:pt x="68" y="224"/>
                  </a:lnTo>
                  <a:lnTo>
                    <a:pt x="66" y="226"/>
                  </a:lnTo>
                  <a:lnTo>
                    <a:pt x="64" y="226"/>
                  </a:lnTo>
                  <a:lnTo>
                    <a:pt x="62" y="228"/>
                  </a:lnTo>
                  <a:lnTo>
                    <a:pt x="62" y="228"/>
                  </a:lnTo>
                  <a:lnTo>
                    <a:pt x="60" y="230"/>
                  </a:lnTo>
                  <a:lnTo>
                    <a:pt x="58" y="232"/>
                  </a:lnTo>
                  <a:lnTo>
                    <a:pt x="58" y="234"/>
                  </a:lnTo>
                  <a:lnTo>
                    <a:pt x="56" y="234"/>
                  </a:lnTo>
                  <a:lnTo>
                    <a:pt x="56" y="236"/>
                  </a:lnTo>
                  <a:lnTo>
                    <a:pt x="54" y="236"/>
                  </a:lnTo>
                  <a:lnTo>
                    <a:pt x="52" y="236"/>
                  </a:lnTo>
                  <a:lnTo>
                    <a:pt x="50" y="236"/>
                  </a:lnTo>
                  <a:lnTo>
                    <a:pt x="46" y="236"/>
                  </a:lnTo>
                  <a:lnTo>
                    <a:pt x="42" y="236"/>
                  </a:lnTo>
                  <a:lnTo>
                    <a:pt x="40" y="236"/>
                  </a:lnTo>
                  <a:lnTo>
                    <a:pt x="36" y="236"/>
                  </a:lnTo>
                  <a:lnTo>
                    <a:pt x="32" y="234"/>
                  </a:lnTo>
                  <a:lnTo>
                    <a:pt x="30" y="234"/>
                  </a:lnTo>
                  <a:lnTo>
                    <a:pt x="28" y="232"/>
                  </a:lnTo>
                  <a:lnTo>
                    <a:pt x="26" y="232"/>
                  </a:lnTo>
                  <a:lnTo>
                    <a:pt x="24" y="230"/>
                  </a:lnTo>
                  <a:lnTo>
                    <a:pt x="20" y="228"/>
                  </a:lnTo>
                  <a:lnTo>
                    <a:pt x="18" y="226"/>
                  </a:lnTo>
                  <a:lnTo>
                    <a:pt x="16" y="224"/>
                  </a:lnTo>
                  <a:lnTo>
                    <a:pt x="14" y="222"/>
                  </a:lnTo>
                  <a:lnTo>
                    <a:pt x="12" y="222"/>
                  </a:lnTo>
                  <a:lnTo>
                    <a:pt x="12" y="220"/>
                  </a:lnTo>
                  <a:lnTo>
                    <a:pt x="10" y="218"/>
                  </a:lnTo>
                  <a:lnTo>
                    <a:pt x="10" y="216"/>
                  </a:lnTo>
                  <a:lnTo>
                    <a:pt x="8" y="214"/>
                  </a:lnTo>
                  <a:lnTo>
                    <a:pt x="6" y="204"/>
                  </a:lnTo>
                  <a:lnTo>
                    <a:pt x="2" y="196"/>
                  </a:lnTo>
                  <a:lnTo>
                    <a:pt x="2" y="192"/>
                  </a:lnTo>
                  <a:lnTo>
                    <a:pt x="2" y="190"/>
                  </a:lnTo>
                  <a:lnTo>
                    <a:pt x="2" y="188"/>
                  </a:lnTo>
                  <a:lnTo>
                    <a:pt x="0" y="186"/>
                  </a:lnTo>
                  <a:lnTo>
                    <a:pt x="0" y="182"/>
                  </a:lnTo>
                  <a:lnTo>
                    <a:pt x="0" y="178"/>
                  </a:lnTo>
                  <a:lnTo>
                    <a:pt x="2" y="174"/>
                  </a:lnTo>
                  <a:lnTo>
                    <a:pt x="2" y="170"/>
                  </a:lnTo>
                  <a:lnTo>
                    <a:pt x="2" y="166"/>
                  </a:lnTo>
                  <a:lnTo>
                    <a:pt x="2" y="164"/>
                  </a:lnTo>
                  <a:lnTo>
                    <a:pt x="4" y="164"/>
                  </a:lnTo>
                  <a:lnTo>
                    <a:pt x="4" y="162"/>
                  </a:lnTo>
                  <a:lnTo>
                    <a:pt x="4" y="160"/>
                  </a:lnTo>
                  <a:lnTo>
                    <a:pt x="6" y="160"/>
                  </a:lnTo>
                  <a:lnTo>
                    <a:pt x="6" y="160"/>
                  </a:lnTo>
                  <a:lnTo>
                    <a:pt x="8" y="158"/>
                  </a:lnTo>
                  <a:lnTo>
                    <a:pt x="8" y="158"/>
                  </a:lnTo>
                  <a:lnTo>
                    <a:pt x="10" y="158"/>
                  </a:lnTo>
                  <a:lnTo>
                    <a:pt x="14" y="156"/>
                  </a:lnTo>
                  <a:lnTo>
                    <a:pt x="18" y="154"/>
                  </a:lnTo>
                  <a:lnTo>
                    <a:pt x="20" y="154"/>
                  </a:lnTo>
                  <a:lnTo>
                    <a:pt x="22" y="154"/>
                  </a:lnTo>
                  <a:lnTo>
                    <a:pt x="22" y="154"/>
                  </a:lnTo>
                  <a:lnTo>
                    <a:pt x="24" y="152"/>
                  </a:lnTo>
                  <a:lnTo>
                    <a:pt x="26" y="150"/>
                  </a:lnTo>
                  <a:lnTo>
                    <a:pt x="30" y="148"/>
                  </a:lnTo>
                  <a:lnTo>
                    <a:pt x="32" y="146"/>
                  </a:lnTo>
                  <a:lnTo>
                    <a:pt x="32" y="144"/>
                  </a:lnTo>
                  <a:lnTo>
                    <a:pt x="34" y="142"/>
                  </a:lnTo>
                  <a:lnTo>
                    <a:pt x="34" y="140"/>
                  </a:lnTo>
                  <a:lnTo>
                    <a:pt x="36" y="140"/>
                  </a:lnTo>
                  <a:lnTo>
                    <a:pt x="36" y="138"/>
                  </a:lnTo>
                  <a:lnTo>
                    <a:pt x="36" y="136"/>
                  </a:lnTo>
                  <a:lnTo>
                    <a:pt x="36" y="132"/>
                  </a:lnTo>
                  <a:lnTo>
                    <a:pt x="36" y="130"/>
                  </a:lnTo>
                  <a:lnTo>
                    <a:pt x="38" y="128"/>
                  </a:lnTo>
                  <a:lnTo>
                    <a:pt x="38" y="126"/>
                  </a:lnTo>
                  <a:lnTo>
                    <a:pt x="38" y="126"/>
                  </a:lnTo>
                  <a:lnTo>
                    <a:pt x="38" y="124"/>
                  </a:lnTo>
                  <a:lnTo>
                    <a:pt x="38" y="124"/>
                  </a:lnTo>
                  <a:lnTo>
                    <a:pt x="40" y="124"/>
                  </a:lnTo>
                  <a:lnTo>
                    <a:pt x="40" y="124"/>
                  </a:lnTo>
                  <a:lnTo>
                    <a:pt x="42" y="124"/>
                  </a:lnTo>
                  <a:lnTo>
                    <a:pt x="44" y="124"/>
                  </a:lnTo>
                  <a:lnTo>
                    <a:pt x="46" y="124"/>
                  </a:lnTo>
                  <a:lnTo>
                    <a:pt x="50" y="126"/>
                  </a:lnTo>
                  <a:lnTo>
                    <a:pt x="54" y="126"/>
                  </a:lnTo>
                  <a:lnTo>
                    <a:pt x="54" y="128"/>
                  </a:lnTo>
                  <a:lnTo>
                    <a:pt x="56" y="128"/>
                  </a:lnTo>
                  <a:lnTo>
                    <a:pt x="58" y="128"/>
                  </a:lnTo>
                  <a:lnTo>
                    <a:pt x="58" y="128"/>
                  </a:lnTo>
                  <a:lnTo>
                    <a:pt x="60" y="128"/>
                  </a:lnTo>
                  <a:lnTo>
                    <a:pt x="60" y="126"/>
                  </a:lnTo>
                  <a:lnTo>
                    <a:pt x="60" y="126"/>
                  </a:lnTo>
                  <a:lnTo>
                    <a:pt x="60" y="126"/>
                  </a:lnTo>
                  <a:lnTo>
                    <a:pt x="60" y="124"/>
                  </a:lnTo>
                  <a:lnTo>
                    <a:pt x="60" y="122"/>
                  </a:lnTo>
                  <a:lnTo>
                    <a:pt x="60" y="122"/>
                  </a:lnTo>
                  <a:lnTo>
                    <a:pt x="60" y="120"/>
                  </a:lnTo>
                  <a:lnTo>
                    <a:pt x="60" y="118"/>
                  </a:lnTo>
                  <a:lnTo>
                    <a:pt x="58" y="116"/>
                  </a:lnTo>
                  <a:lnTo>
                    <a:pt x="58" y="116"/>
                  </a:lnTo>
                  <a:lnTo>
                    <a:pt x="54" y="112"/>
                  </a:lnTo>
                  <a:lnTo>
                    <a:pt x="52" y="110"/>
                  </a:lnTo>
                  <a:lnTo>
                    <a:pt x="50" y="106"/>
                  </a:lnTo>
                  <a:lnTo>
                    <a:pt x="48" y="106"/>
                  </a:lnTo>
                  <a:lnTo>
                    <a:pt x="48" y="106"/>
                  </a:lnTo>
                  <a:lnTo>
                    <a:pt x="46" y="104"/>
                  </a:lnTo>
                  <a:lnTo>
                    <a:pt x="44" y="104"/>
                  </a:lnTo>
                  <a:lnTo>
                    <a:pt x="42" y="104"/>
                  </a:lnTo>
                  <a:lnTo>
                    <a:pt x="40" y="104"/>
                  </a:lnTo>
                  <a:lnTo>
                    <a:pt x="36" y="102"/>
                  </a:lnTo>
                  <a:lnTo>
                    <a:pt x="32" y="102"/>
                  </a:lnTo>
                  <a:lnTo>
                    <a:pt x="28" y="102"/>
                  </a:lnTo>
                  <a:lnTo>
                    <a:pt x="24" y="102"/>
                  </a:lnTo>
                  <a:lnTo>
                    <a:pt x="20" y="10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5" name="Freeform 262"/>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6" name="Freeform 263"/>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7" name="Freeform 264"/>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8" name="Freeform 265"/>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89" name="Freeform 266"/>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0" name="Freeform 267"/>
            <p:cNvSpPr>
              <a:spLocks/>
            </p:cNvSpPr>
            <p:nvPr/>
          </p:nvSpPr>
          <p:spPr bwMode="auto">
            <a:xfrm>
              <a:off x="4023257" y="2934921"/>
              <a:ext cx="103925" cy="131638"/>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1" name="Freeform 268"/>
            <p:cNvSpPr>
              <a:spLocks/>
            </p:cNvSpPr>
            <p:nvPr/>
          </p:nvSpPr>
          <p:spPr bwMode="auto">
            <a:xfrm>
              <a:off x="4023257" y="2934921"/>
              <a:ext cx="103925" cy="131638"/>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2" name="Freeform 269"/>
            <p:cNvSpPr>
              <a:spLocks/>
            </p:cNvSpPr>
            <p:nvPr/>
          </p:nvSpPr>
          <p:spPr bwMode="auto">
            <a:xfrm>
              <a:off x="4580985" y="2373729"/>
              <a:ext cx="31177" cy="20785"/>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3" name="Freeform 270"/>
            <p:cNvSpPr>
              <a:spLocks/>
            </p:cNvSpPr>
            <p:nvPr/>
          </p:nvSpPr>
          <p:spPr bwMode="auto">
            <a:xfrm>
              <a:off x="4580985" y="2373729"/>
              <a:ext cx="31177" cy="20785"/>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4" name="Freeform 271"/>
            <p:cNvSpPr>
              <a:spLocks/>
            </p:cNvSpPr>
            <p:nvPr/>
          </p:nvSpPr>
          <p:spPr bwMode="auto">
            <a:xfrm>
              <a:off x="4629483" y="2349480"/>
              <a:ext cx="27713" cy="58891"/>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5" name="Freeform 272"/>
            <p:cNvSpPr>
              <a:spLocks/>
            </p:cNvSpPr>
            <p:nvPr/>
          </p:nvSpPr>
          <p:spPr bwMode="auto">
            <a:xfrm>
              <a:off x="4629483" y="2349480"/>
              <a:ext cx="27713" cy="58891"/>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6" name="Freeform 273"/>
            <p:cNvSpPr>
              <a:spLocks/>
            </p:cNvSpPr>
            <p:nvPr/>
          </p:nvSpPr>
          <p:spPr bwMode="auto">
            <a:xfrm>
              <a:off x="4674517" y="2352944"/>
              <a:ext cx="17321" cy="20785"/>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7" name="Freeform 274"/>
            <p:cNvSpPr>
              <a:spLocks/>
            </p:cNvSpPr>
            <p:nvPr/>
          </p:nvSpPr>
          <p:spPr bwMode="auto">
            <a:xfrm>
              <a:off x="4674517" y="2352944"/>
              <a:ext cx="17321" cy="20785"/>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8" name="Line 275"/>
            <p:cNvSpPr>
              <a:spLocks noChangeShapeType="1"/>
            </p:cNvSpPr>
            <p:nvPr/>
          </p:nvSpPr>
          <p:spPr bwMode="auto">
            <a:xfrm>
              <a:off x="4910079" y="2363336"/>
              <a:ext cx="3464" cy="0"/>
            </a:xfrm>
            <a:prstGeom prst="line">
              <a:avLst/>
            </a:prstGeom>
            <a:solidFill>
              <a:srgbClr val="66AA44"/>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699" name="Line 276"/>
            <p:cNvSpPr>
              <a:spLocks noChangeShapeType="1"/>
            </p:cNvSpPr>
            <p:nvPr/>
          </p:nvSpPr>
          <p:spPr bwMode="auto">
            <a:xfrm>
              <a:off x="4910079" y="2363336"/>
              <a:ext cx="3464" cy="0"/>
            </a:xfrm>
            <a:prstGeom prst="line">
              <a:avLst/>
            </a:prstGeom>
            <a:solidFill>
              <a:srgbClr val="66AA44"/>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0" name="Freeform 277"/>
            <p:cNvSpPr>
              <a:spLocks/>
            </p:cNvSpPr>
            <p:nvPr/>
          </p:nvSpPr>
          <p:spPr bwMode="auto">
            <a:xfrm>
              <a:off x="4373136" y="2287125"/>
              <a:ext cx="620083" cy="536943"/>
            </a:xfrm>
            <a:custGeom>
              <a:avLst/>
              <a:gdLst>
                <a:gd name="T0" fmla="*/ 310 w 358"/>
                <a:gd name="T1" fmla="*/ 44 h 310"/>
                <a:gd name="T2" fmla="*/ 290 w 358"/>
                <a:gd name="T3" fmla="*/ 30 h 310"/>
                <a:gd name="T4" fmla="*/ 270 w 358"/>
                <a:gd name="T5" fmla="*/ 50 h 310"/>
                <a:gd name="T6" fmla="*/ 260 w 358"/>
                <a:gd name="T7" fmla="*/ 66 h 310"/>
                <a:gd name="T8" fmla="*/ 216 w 358"/>
                <a:gd name="T9" fmla="*/ 66 h 310"/>
                <a:gd name="T10" fmla="*/ 198 w 358"/>
                <a:gd name="T11" fmla="*/ 80 h 310"/>
                <a:gd name="T12" fmla="*/ 174 w 358"/>
                <a:gd name="T13" fmla="*/ 86 h 310"/>
                <a:gd name="T14" fmla="*/ 158 w 358"/>
                <a:gd name="T15" fmla="*/ 88 h 310"/>
                <a:gd name="T16" fmla="*/ 154 w 358"/>
                <a:gd name="T17" fmla="*/ 100 h 310"/>
                <a:gd name="T18" fmla="*/ 146 w 358"/>
                <a:gd name="T19" fmla="*/ 110 h 310"/>
                <a:gd name="T20" fmla="*/ 138 w 358"/>
                <a:gd name="T21" fmla="*/ 120 h 310"/>
                <a:gd name="T22" fmla="*/ 130 w 358"/>
                <a:gd name="T23" fmla="*/ 132 h 310"/>
                <a:gd name="T24" fmla="*/ 120 w 358"/>
                <a:gd name="T25" fmla="*/ 142 h 310"/>
                <a:gd name="T26" fmla="*/ 114 w 358"/>
                <a:gd name="T27" fmla="*/ 166 h 310"/>
                <a:gd name="T28" fmla="*/ 122 w 358"/>
                <a:gd name="T29" fmla="*/ 176 h 310"/>
                <a:gd name="T30" fmla="*/ 110 w 358"/>
                <a:gd name="T31" fmla="*/ 178 h 310"/>
                <a:gd name="T32" fmla="*/ 100 w 358"/>
                <a:gd name="T33" fmla="*/ 184 h 310"/>
                <a:gd name="T34" fmla="*/ 104 w 358"/>
                <a:gd name="T35" fmla="*/ 230 h 310"/>
                <a:gd name="T36" fmla="*/ 116 w 358"/>
                <a:gd name="T37" fmla="*/ 262 h 310"/>
                <a:gd name="T38" fmla="*/ 104 w 358"/>
                <a:gd name="T39" fmla="*/ 270 h 310"/>
                <a:gd name="T40" fmla="*/ 94 w 358"/>
                <a:gd name="T41" fmla="*/ 296 h 310"/>
                <a:gd name="T42" fmla="*/ 72 w 358"/>
                <a:gd name="T43" fmla="*/ 294 h 310"/>
                <a:gd name="T44" fmla="*/ 44 w 358"/>
                <a:gd name="T45" fmla="*/ 306 h 310"/>
                <a:gd name="T46" fmla="*/ 20 w 358"/>
                <a:gd name="T47" fmla="*/ 308 h 310"/>
                <a:gd name="T48" fmla="*/ 18 w 358"/>
                <a:gd name="T49" fmla="*/ 290 h 310"/>
                <a:gd name="T50" fmla="*/ 14 w 358"/>
                <a:gd name="T51" fmla="*/ 274 h 310"/>
                <a:gd name="T52" fmla="*/ 12 w 358"/>
                <a:gd name="T53" fmla="*/ 260 h 310"/>
                <a:gd name="T54" fmla="*/ 0 w 358"/>
                <a:gd name="T55" fmla="*/ 246 h 310"/>
                <a:gd name="T56" fmla="*/ 6 w 358"/>
                <a:gd name="T57" fmla="*/ 220 h 310"/>
                <a:gd name="T58" fmla="*/ 18 w 358"/>
                <a:gd name="T59" fmla="*/ 210 h 310"/>
                <a:gd name="T60" fmla="*/ 40 w 358"/>
                <a:gd name="T61" fmla="*/ 204 h 310"/>
                <a:gd name="T62" fmla="*/ 52 w 358"/>
                <a:gd name="T63" fmla="*/ 192 h 310"/>
                <a:gd name="T64" fmla="*/ 66 w 358"/>
                <a:gd name="T65" fmla="*/ 190 h 310"/>
                <a:gd name="T66" fmla="*/ 70 w 358"/>
                <a:gd name="T67" fmla="*/ 172 h 310"/>
                <a:gd name="T68" fmla="*/ 88 w 358"/>
                <a:gd name="T69" fmla="*/ 166 h 310"/>
                <a:gd name="T70" fmla="*/ 98 w 358"/>
                <a:gd name="T71" fmla="*/ 148 h 310"/>
                <a:gd name="T72" fmla="*/ 106 w 358"/>
                <a:gd name="T73" fmla="*/ 120 h 310"/>
                <a:gd name="T74" fmla="*/ 134 w 358"/>
                <a:gd name="T75" fmla="*/ 90 h 310"/>
                <a:gd name="T76" fmla="*/ 164 w 358"/>
                <a:gd name="T77" fmla="*/ 76 h 310"/>
                <a:gd name="T78" fmla="*/ 192 w 358"/>
                <a:gd name="T79" fmla="*/ 68 h 310"/>
                <a:gd name="T80" fmla="*/ 204 w 358"/>
                <a:gd name="T81" fmla="*/ 58 h 310"/>
                <a:gd name="T82" fmla="*/ 216 w 358"/>
                <a:gd name="T83" fmla="*/ 48 h 310"/>
                <a:gd name="T84" fmla="*/ 214 w 358"/>
                <a:gd name="T85" fmla="*/ 32 h 310"/>
                <a:gd name="T86" fmla="*/ 206 w 358"/>
                <a:gd name="T87" fmla="*/ 24 h 310"/>
                <a:gd name="T88" fmla="*/ 220 w 358"/>
                <a:gd name="T89" fmla="*/ 18 h 310"/>
                <a:gd name="T90" fmla="*/ 226 w 358"/>
                <a:gd name="T91" fmla="*/ 14 h 310"/>
                <a:gd name="T92" fmla="*/ 232 w 358"/>
                <a:gd name="T93" fmla="*/ 26 h 310"/>
                <a:gd name="T94" fmla="*/ 234 w 358"/>
                <a:gd name="T95" fmla="*/ 18 h 310"/>
                <a:gd name="T96" fmla="*/ 244 w 358"/>
                <a:gd name="T97" fmla="*/ 22 h 310"/>
                <a:gd name="T98" fmla="*/ 256 w 358"/>
                <a:gd name="T99" fmla="*/ 26 h 310"/>
                <a:gd name="T100" fmla="*/ 258 w 358"/>
                <a:gd name="T101" fmla="*/ 14 h 310"/>
                <a:gd name="T102" fmla="*/ 256 w 358"/>
                <a:gd name="T103" fmla="*/ 6 h 310"/>
                <a:gd name="T104" fmla="*/ 272 w 358"/>
                <a:gd name="T105" fmla="*/ 10 h 310"/>
                <a:gd name="T106" fmla="*/ 282 w 358"/>
                <a:gd name="T107" fmla="*/ 4 h 310"/>
                <a:gd name="T108" fmla="*/ 288 w 358"/>
                <a:gd name="T109" fmla="*/ 10 h 310"/>
                <a:gd name="T110" fmla="*/ 300 w 358"/>
                <a:gd name="T111" fmla="*/ 16 h 310"/>
                <a:gd name="T112" fmla="*/ 316 w 358"/>
                <a:gd name="T113" fmla="*/ 6 h 310"/>
                <a:gd name="T114" fmla="*/ 332 w 358"/>
                <a:gd name="T115" fmla="*/ 16 h 310"/>
                <a:gd name="T116" fmla="*/ 332 w 358"/>
                <a:gd name="T117" fmla="*/ 30 h 310"/>
                <a:gd name="T118" fmla="*/ 340 w 358"/>
                <a:gd name="T119" fmla="*/ 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302" y="68"/>
                  </a:moveTo>
                  <a:lnTo>
                    <a:pt x="302" y="68"/>
                  </a:lnTo>
                  <a:lnTo>
                    <a:pt x="304" y="64"/>
                  </a:lnTo>
                  <a:lnTo>
                    <a:pt x="304" y="62"/>
                  </a:lnTo>
                  <a:lnTo>
                    <a:pt x="306" y="58"/>
                  </a:lnTo>
                  <a:lnTo>
                    <a:pt x="308" y="54"/>
                  </a:lnTo>
                  <a:lnTo>
                    <a:pt x="308" y="52"/>
                  </a:lnTo>
                  <a:lnTo>
                    <a:pt x="310" y="50"/>
                  </a:lnTo>
                  <a:lnTo>
                    <a:pt x="310" y="48"/>
                  </a:lnTo>
                  <a:lnTo>
                    <a:pt x="310" y="46"/>
                  </a:lnTo>
                  <a:lnTo>
                    <a:pt x="310" y="44"/>
                  </a:lnTo>
                  <a:lnTo>
                    <a:pt x="310" y="44"/>
                  </a:lnTo>
                  <a:lnTo>
                    <a:pt x="310" y="42"/>
                  </a:lnTo>
                  <a:lnTo>
                    <a:pt x="310" y="42"/>
                  </a:lnTo>
                  <a:lnTo>
                    <a:pt x="308" y="40"/>
                  </a:lnTo>
                  <a:lnTo>
                    <a:pt x="308" y="40"/>
                  </a:lnTo>
                  <a:lnTo>
                    <a:pt x="306" y="38"/>
                  </a:lnTo>
                  <a:lnTo>
                    <a:pt x="304" y="36"/>
                  </a:lnTo>
                  <a:lnTo>
                    <a:pt x="302" y="36"/>
                  </a:lnTo>
                  <a:lnTo>
                    <a:pt x="298" y="34"/>
                  </a:lnTo>
                  <a:lnTo>
                    <a:pt x="296" y="32"/>
                  </a:lnTo>
                  <a:lnTo>
                    <a:pt x="294" y="32"/>
                  </a:lnTo>
                  <a:lnTo>
                    <a:pt x="292" y="32"/>
                  </a:lnTo>
                  <a:lnTo>
                    <a:pt x="290" y="30"/>
                  </a:lnTo>
                  <a:lnTo>
                    <a:pt x="288" y="30"/>
                  </a:lnTo>
                  <a:lnTo>
                    <a:pt x="288" y="30"/>
                  </a:lnTo>
                  <a:lnTo>
                    <a:pt x="286" y="32"/>
                  </a:lnTo>
                  <a:lnTo>
                    <a:pt x="286" y="32"/>
                  </a:lnTo>
                  <a:lnTo>
                    <a:pt x="284" y="32"/>
                  </a:lnTo>
                  <a:lnTo>
                    <a:pt x="282" y="34"/>
                  </a:lnTo>
                  <a:lnTo>
                    <a:pt x="280" y="36"/>
                  </a:lnTo>
                  <a:lnTo>
                    <a:pt x="278" y="38"/>
                  </a:lnTo>
                  <a:lnTo>
                    <a:pt x="276" y="40"/>
                  </a:lnTo>
                  <a:lnTo>
                    <a:pt x="274" y="44"/>
                  </a:lnTo>
                  <a:lnTo>
                    <a:pt x="272" y="48"/>
                  </a:lnTo>
                  <a:lnTo>
                    <a:pt x="270" y="50"/>
                  </a:lnTo>
                  <a:lnTo>
                    <a:pt x="270" y="52"/>
                  </a:lnTo>
                  <a:lnTo>
                    <a:pt x="268" y="54"/>
                  </a:lnTo>
                  <a:lnTo>
                    <a:pt x="268" y="58"/>
                  </a:lnTo>
                  <a:lnTo>
                    <a:pt x="266" y="60"/>
                  </a:lnTo>
                  <a:lnTo>
                    <a:pt x="266" y="62"/>
                  </a:lnTo>
                  <a:lnTo>
                    <a:pt x="264" y="64"/>
                  </a:lnTo>
                  <a:lnTo>
                    <a:pt x="264" y="64"/>
                  </a:lnTo>
                  <a:lnTo>
                    <a:pt x="264" y="64"/>
                  </a:lnTo>
                  <a:lnTo>
                    <a:pt x="262" y="66"/>
                  </a:lnTo>
                  <a:lnTo>
                    <a:pt x="262" y="66"/>
                  </a:lnTo>
                  <a:lnTo>
                    <a:pt x="260" y="66"/>
                  </a:lnTo>
                  <a:lnTo>
                    <a:pt x="260" y="66"/>
                  </a:lnTo>
                  <a:lnTo>
                    <a:pt x="256" y="68"/>
                  </a:lnTo>
                  <a:lnTo>
                    <a:pt x="254" y="68"/>
                  </a:lnTo>
                  <a:lnTo>
                    <a:pt x="252" y="68"/>
                  </a:lnTo>
                  <a:lnTo>
                    <a:pt x="248" y="68"/>
                  </a:lnTo>
                  <a:lnTo>
                    <a:pt x="244" y="68"/>
                  </a:lnTo>
                  <a:lnTo>
                    <a:pt x="242" y="68"/>
                  </a:lnTo>
                  <a:lnTo>
                    <a:pt x="240" y="68"/>
                  </a:lnTo>
                  <a:lnTo>
                    <a:pt x="236" y="66"/>
                  </a:lnTo>
                  <a:lnTo>
                    <a:pt x="230" y="64"/>
                  </a:lnTo>
                  <a:lnTo>
                    <a:pt x="224" y="64"/>
                  </a:lnTo>
                  <a:lnTo>
                    <a:pt x="220" y="62"/>
                  </a:lnTo>
                  <a:lnTo>
                    <a:pt x="216" y="66"/>
                  </a:lnTo>
                  <a:lnTo>
                    <a:pt x="214" y="68"/>
                  </a:lnTo>
                  <a:lnTo>
                    <a:pt x="210" y="70"/>
                  </a:lnTo>
                  <a:lnTo>
                    <a:pt x="210" y="70"/>
                  </a:lnTo>
                  <a:lnTo>
                    <a:pt x="208" y="72"/>
                  </a:lnTo>
                  <a:lnTo>
                    <a:pt x="208" y="74"/>
                  </a:lnTo>
                  <a:lnTo>
                    <a:pt x="206" y="76"/>
                  </a:lnTo>
                  <a:lnTo>
                    <a:pt x="206" y="78"/>
                  </a:lnTo>
                  <a:lnTo>
                    <a:pt x="204" y="78"/>
                  </a:lnTo>
                  <a:lnTo>
                    <a:pt x="204" y="78"/>
                  </a:lnTo>
                  <a:lnTo>
                    <a:pt x="202" y="80"/>
                  </a:lnTo>
                  <a:lnTo>
                    <a:pt x="200" y="80"/>
                  </a:lnTo>
                  <a:lnTo>
                    <a:pt x="198" y="80"/>
                  </a:lnTo>
                  <a:lnTo>
                    <a:pt x="196" y="80"/>
                  </a:lnTo>
                  <a:lnTo>
                    <a:pt x="192" y="78"/>
                  </a:lnTo>
                  <a:lnTo>
                    <a:pt x="190" y="78"/>
                  </a:lnTo>
                  <a:lnTo>
                    <a:pt x="190" y="78"/>
                  </a:lnTo>
                  <a:lnTo>
                    <a:pt x="184" y="80"/>
                  </a:lnTo>
                  <a:lnTo>
                    <a:pt x="182" y="80"/>
                  </a:lnTo>
                  <a:lnTo>
                    <a:pt x="180" y="80"/>
                  </a:lnTo>
                  <a:lnTo>
                    <a:pt x="180" y="80"/>
                  </a:lnTo>
                  <a:lnTo>
                    <a:pt x="178" y="80"/>
                  </a:lnTo>
                  <a:lnTo>
                    <a:pt x="178" y="82"/>
                  </a:lnTo>
                  <a:lnTo>
                    <a:pt x="176" y="84"/>
                  </a:lnTo>
                  <a:lnTo>
                    <a:pt x="174" y="86"/>
                  </a:lnTo>
                  <a:lnTo>
                    <a:pt x="172" y="86"/>
                  </a:lnTo>
                  <a:lnTo>
                    <a:pt x="172" y="88"/>
                  </a:lnTo>
                  <a:lnTo>
                    <a:pt x="170" y="88"/>
                  </a:lnTo>
                  <a:lnTo>
                    <a:pt x="168" y="90"/>
                  </a:lnTo>
                  <a:lnTo>
                    <a:pt x="166" y="90"/>
                  </a:lnTo>
                  <a:lnTo>
                    <a:pt x="164" y="92"/>
                  </a:lnTo>
                  <a:lnTo>
                    <a:pt x="164" y="92"/>
                  </a:lnTo>
                  <a:lnTo>
                    <a:pt x="164" y="92"/>
                  </a:lnTo>
                  <a:lnTo>
                    <a:pt x="162" y="90"/>
                  </a:lnTo>
                  <a:lnTo>
                    <a:pt x="160" y="90"/>
                  </a:lnTo>
                  <a:lnTo>
                    <a:pt x="158" y="90"/>
                  </a:lnTo>
                  <a:lnTo>
                    <a:pt x="158" y="88"/>
                  </a:lnTo>
                  <a:lnTo>
                    <a:pt x="156" y="88"/>
                  </a:lnTo>
                  <a:lnTo>
                    <a:pt x="156" y="88"/>
                  </a:lnTo>
                  <a:lnTo>
                    <a:pt x="156" y="88"/>
                  </a:lnTo>
                  <a:lnTo>
                    <a:pt x="154" y="90"/>
                  </a:lnTo>
                  <a:lnTo>
                    <a:pt x="154" y="90"/>
                  </a:lnTo>
                  <a:lnTo>
                    <a:pt x="154" y="90"/>
                  </a:lnTo>
                  <a:lnTo>
                    <a:pt x="154" y="92"/>
                  </a:lnTo>
                  <a:lnTo>
                    <a:pt x="154" y="92"/>
                  </a:lnTo>
                  <a:lnTo>
                    <a:pt x="154" y="94"/>
                  </a:lnTo>
                  <a:lnTo>
                    <a:pt x="154" y="96"/>
                  </a:lnTo>
                  <a:lnTo>
                    <a:pt x="154" y="98"/>
                  </a:lnTo>
                  <a:lnTo>
                    <a:pt x="154" y="100"/>
                  </a:lnTo>
                  <a:lnTo>
                    <a:pt x="154" y="100"/>
                  </a:lnTo>
                  <a:lnTo>
                    <a:pt x="154" y="102"/>
                  </a:lnTo>
                  <a:lnTo>
                    <a:pt x="154" y="102"/>
                  </a:lnTo>
                  <a:lnTo>
                    <a:pt x="152" y="102"/>
                  </a:lnTo>
                  <a:lnTo>
                    <a:pt x="150" y="104"/>
                  </a:lnTo>
                  <a:lnTo>
                    <a:pt x="148" y="106"/>
                  </a:lnTo>
                  <a:lnTo>
                    <a:pt x="148" y="106"/>
                  </a:lnTo>
                  <a:lnTo>
                    <a:pt x="146" y="106"/>
                  </a:lnTo>
                  <a:lnTo>
                    <a:pt x="146" y="108"/>
                  </a:lnTo>
                  <a:lnTo>
                    <a:pt x="146" y="108"/>
                  </a:lnTo>
                  <a:lnTo>
                    <a:pt x="146" y="110"/>
                  </a:lnTo>
                  <a:lnTo>
                    <a:pt x="146" y="110"/>
                  </a:lnTo>
                  <a:lnTo>
                    <a:pt x="146" y="112"/>
                  </a:lnTo>
                  <a:lnTo>
                    <a:pt x="146" y="114"/>
                  </a:lnTo>
                  <a:lnTo>
                    <a:pt x="146" y="116"/>
                  </a:lnTo>
                  <a:lnTo>
                    <a:pt x="144" y="118"/>
                  </a:lnTo>
                  <a:lnTo>
                    <a:pt x="144" y="118"/>
                  </a:lnTo>
                  <a:lnTo>
                    <a:pt x="144" y="120"/>
                  </a:lnTo>
                  <a:lnTo>
                    <a:pt x="144" y="120"/>
                  </a:lnTo>
                  <a:lnTo>
                    <a:pt x="144" y="120"/>
                  </a:lnTo>
                  <a:lnTo>
                    <a:pt x="142" y="120"/>
                  </a:lnTo>
                  <a:lnTo>
                    <a:pt x="140" y="120"/>
                  </a:lnTo>
                  <a:lnTo>
                    <a:pt x="140" y="120"/>
                  </a:lnTo>
                  <a:lnTo>
                    <a:pt x="138" y="120"/>
                  </a:lnTo>
                  <a:lnTo>
                    <a:pt x="136" y="120"/>
                  </a:lnTo>
                  <a:lnTo>
                    <a:pt x="134" y="120"/>
                  </a:lnTo>
                  <a:lnTo>
                    <a:pt x="134" y="120"/>
                  </a:lnTo>
                  <a:lnTo>
                    <a:pt x="134" y="120"/>
                  </a:lnTo>
                  <a:lnTo>
                    <a:pt x="134" y="120"/>
                  </a:lnTo>
                  <a:lnTo>
                    <a:pt x="134" y="122"/>
                  </a:lnTo>
                  <a:lnTo>
                    <a:pt x="132" y="122"/>
                  </a:lnTo>
                  <a:lnTo>
                    <a:pt x="132" y="124"/>
                  </a:lnTo>
                  <a:lnTo>
                    <a:pt x="132" y="126"/>
                  </a:lnTo>
                  <a:lnTo>
                    <a:pt x="132" y="130"/>
                  </a:lnTo>
                  <a:lnTo>
                    <a:pt x="130" y="130"/>
                  </a:lnTo>
                  <a:lnTo>
                    <a:pt x="130" y="132"/>
                  </a:lnTo>
                  <a:lnTo>
                    <a:pt x="130" y="132"/>
                  </a:lnTo>
                  <a:lnTo>
                    <a:pt x="130" y="132"/>
                  </a:lnTo>
                  <a:lnTo>
                    <a:pt x="128" y="132"/>
                  </a:lnTo>
                  <a:lnTo>
                    <a:pt x="126" y="134"/>
                  </a:lnTo>
                  <a:lnTo>
                    <a:pt x="124" y="134"/>
                  </a:lnTo>
                  <a:lnTo>
                    <a:pt x="124" y="134"/>
                  </a:lnTo>
                  <a:lnTo>
                    <a:pt x="122" y="136"/>
                  </a:lnTo>
                  <a:lnTo>
                    <a:pt x="122" y="136"/>
                  </a:lnTo>
                  <a:lnTo>
                    <a:pt x="122" y="136"/>
                  </a:lnTo>
                  <a:lnTo>
                    <a:pt x="122" y="138"/>
                  </a:lnTo>
                  <a:lnTo>
                    <a:pt x="122" y="140"/>
                  </a:lnTo>
                  <a:lnTo>
                    <a:pt x="120" y="142"/>
                  </a:lnTo>
                  <a:lnTo>
                    <a:pt x="120" y="144"/>
                  </a:lnTo>
                  <a:lnTo>
                    <a:pt x="120" y="150"/>
                  </a:lnTo>
                  <a:lnTo>
                    <a:pt x="120" y="152"/>
                  </a:lnTo>
                  <a:lnTo>
                    <a:pt x="120" y="154"/>
                  </a:lnTo>
                  <a:lnTo>
                    <a:pt x="120" y="156"/>
                  </a:lnTo>
                  <a:lnTo>
                    <a:pt x="118" y="158"/>
                  </a:lnTo>
                  <a:lnTo>
                    <a:pt x="116" y="160"/>
                  </a:lnTo>
                  <a:lnTo>
                    <a:pt x="116" y="162"/>
                  </a:lnTo>
                  <a:lnTo>
                    <a:pt x="114" y="164"/>
                  </a:lnTo>
                  <a:lnTo>
                    <a:pt x="114" y="166"/>
                  </a:lnTo>
                  <a:lnTo>
                    <a:pt x="114" y="166"/>
                  </a:lnTo>
                  <a:lnTo>
                    <a:pt x="114" y="166"/>
                  </a:lnTo>
                  <a:lnTo>
                    <a:pt x="114" y="168"/>
                  </a:lnTo>
                  <a:lnTo>
                    <a:pt x="114" y="168"/>
                  </a:lnTo>
                  <a:lnTo>
                    <a:pt x="116" y="168"/>
                  </a:lnTo>
                  <a:lnTo>
                    <a:pt x="116" y="170"/>
                  </a:lnTo>
                  <a:lnTo>
                    <a:pt x="118" y="170"/>
                  </a:lnTo>
                  <a:lnTo>
                    <a:pt x="120" y="172"/>
                  </a:lnTo>
                  <a:lnTo>
                    <a:pt x="122" y="172"/>
                  </a:lnTo>
                  <a:lnTo>
                    <a:pt x="122" y="172"/>
                  </a:lnTo>
                  <a:lnTo>
                    <a:pt x="122" y="174"/>
                  </a:lnTo>
                  <a:lnTo>
                    <a:pt x="122" y="174"/>
                  </a:lnTo>
                  <a:lnTo>
                    <a:pt x="122" y="174"/>
                  </a:lnTo>
                  <a:lnTo>
                    <a:pt x="122" y="176"/>
                  </a:lnTo>
                  <a:lnTo>
                    <a:pt x="122" y="176"/>
                  </a:lnTo>
                  <a:lnTo>
                    <a:pt x="122" y="176"/>
                  </a:lnTo>
                  <a:lnTo>
                    <a:pt x="120" y="178"/>
                  </a:lnTo>
                  <a:lnTo>
                    <a:pt x="120" y="178"/>
                  </a:lnTo>
                  <a:lnTo>
                    <a:pt x="118" y="178"/>
                  </a:lnTo>
                  <a:lnTo>
                    <a:pt x="118" y="180"/>
                  </a:lnTo>
                  <a:lnTo>
                    <a:pt x="116" y="180"/>
                  </a:lnTo>
                  <a:lnTo>
                    <a:pt x="116" y="180"/>
                  </a:lnTo>
                  <a:lnTo>
                    <a:pt x="114" y="180"/>
                  </a:lnTo>
                  <a:lnTo>
                    <a:pt x="114" y="180"/>
                  </a:lnTo>
                  <a:lnTo>
                    <a:pt x="112" y="178"/>
                  </a:lnTo>
                  <a:lnTo>
                    <a:pt x="110" y="178"/>
                  </a:lnTo>
                  <a:lnTo>
                    <a:pt x="108" y="178"/>
                  </a:lnTo>
                  <a:lnTo>
                    <a:pt x="106" y="176"/>
                  </a:lnTo>
                  <a:lnTo>
                    <a:pt x="104" y="176"/>
                  </a:lnTo>
                  <a:lnTo>
                    <a:pt x="104" y="176"/>
                  </a:lnTo>
                  <a:lnTo>
                    <a:pt x="102" y="176"/>
                  </a:lnTo>
                  <a:lnTo>
                    <a:pt x="102" y="176"/>
                  </a:lnTo>
                  <a:lnTo>
                    <a:pt x="102" y="178"/>
                  </a:lnTo>
                  <a:lnTo>
                    <a:pt x="102" y="178"/>
                  </a:lnTo>
                  <a:lnTo>
                    <a:pt x="100" y="178"/>
                  </a:lnTo>
                  <a:lnTo>
                    <a:pt x="100" y="180"/>
                  </a:lnTo>
                  <a:lnTo>
                    <a:pt x="100" y="182"/>
                  </a:lnTo>
                  <a:lnTo>
                    <a:pt x="100" y="184"/>
                  </a:lnTo>
                  <a:lnTo>
                    <a:pt x="98" y="188"/>
                  </a:lnTo>
                  <a:lnTo>
                    <a:pt x="98" y="188"/>
                  </a:lnTo>
                  <a:lnTo>
                    <a:pt x="98" y="190"/>
                  </a:lnTo>
                  <a:lnTo>
                    <a:pt x="98" y="194"/>
                  </a:lnTo>
                  <a:lnTo>
                    <a:pt x="100" y="196"/>
                  </a:lnTo>
                  <a:lnTo>
                    <a:pt x="100" y="200"/>
                  </a:lnTo>
                  <a:lnTo>
                    <a:pt x="102" y="208"/>
                  </a:lnTo>
                  <a:lnTo>
                    <a:pt x="102" y="214"/>
                  </a:lnTo>
                  <a:lnTo>
                    <a:pt x="104" y="222"/>
                  </a:lnTo>
                  <a:lnTo>
                    <a:pt x="104" y="226"/>
                  </a:lnTo>
                  <a:lnTo>
                    <a:pt x="104" y="228"/>
                  </a:lnTo>
                  <a:lnTo>
                    <a:pt x="104" y="230"/>
                  </a:lnTo>
                  <a:lnTo>
                    <a:pt x="106" y="232"/>
                  </a:lnTo>
                  <a:lnTo>
                    <a:pt x="106" y="234"/>
                  </a:lnTo>
                  <a:lnTo>
                    <a:pt x="108" y="238"/>
                  </a:lnTo>
                  <a:lnTo>
                    <a:pt x="110" y="242"/>
                  </a:lnTo>
                  <a:lnTo>
                    <a:pt x="112" y="244"/>
                  </a:lnTo>
                  <a:lnTo>
                    <a:pt x="112" y="246"/>
                  </a:lnTo>
                  <a:lnTo>
                    <a:pt x="114" y="250"/>
                  </a:lnTo>
                  <a:lnTo>
                    <a:pt x="114" y="252"/>
                  </a:lnTo>
                  <a:lnTo>
                    <a:pt x="116" y="256"/>
                  </a:lnTo>
                  <a:lnTo>
                    <a:pt x="116" y="258"/>
                  </a:lnTo>
                  <a:lnTo>
                    <a:pt x="116" y="260"/>
                  </a:lnTo>
                  <a:lnTo>
                    <a:pt x="116" y="262"/>
                  </a:lnTo>
                  <a:lnTo>
                    <a:pt x="116" y="262"/>
                  </a:lnTo>
                  <a:lnTo>
                    <a:pt x="116" y="262"/>
                  </a:lnTo>
                  <a:lnTo>
                    <a:pt x="116" y="264"/>
                  </a:lnTo>
                  <a:lnTo>
                    <a:pt x="116" y="264"/>
                  </a:lnTo>
                  <a:lnTo>
                    <a:pt x="116" y="266"/>
                  </a:lnTo>
                  <a:lnTo>
                    <a:pt x="114" y="266"/>
                  </a:lnTo>
                  <a:lnTo>
                    <a:pt x="114" y="266"/>
                  </a:lnTo>
                  <a:lnTo>
                    <a:pt x="112" y="268"/>
                  </a:lnTo>
                  <a:lnTo>
                    <a:pt x="110" y="268"/>
                  </a:lnTo>
                  <a:lnTo>
                    <a:pt x="108" y="268"/>
                  </a:lnTo>
                  <a:lnTo>
                    <a:pt x="106" y="270"/>
                  </a:lnTo>
                  <a:lnTo>
                    <a:pt x="104" y="270"/>
                  </a:lnTo>
                  <a:lnTo>
                    <a:pt x="102" y="270"/>
                  </a:lnTo>
                  <a:lnTo>
                    <a:pt x="102" y="272"/>
                  </a:lnTo>
                  <a:lnTo>
                    <a:pt x="102" y="272"/>
                  </a:lnTo>
                  <a:lnTo>
                    <a:pt x="102" y="274"/>
                  </a:lnTo>
                  <a:lnTo>
                    <a:pt x="100" y="276"/>
                  </a:lnTo>
                  <a:lnTo>
                    <a:pt x="100" y="278"/>
                  </a:lnTo>
                  <a:lnTo>
                    <a:pt x="100" y="280"/>
                  </a:lnTo>
                  <a:lnTo>
                    <a:pt x="98" y="284"/>
                  </a:lnTo>
                  <a:lnTo>
                    <a:pt x="98" y="288"/>
                  </a:lnTo>
                  <a:lnTo>
                    <a:pt x="98" y="290"/>
                  </a:lnTo>
                  <a:lnTo>
                    <a:pt x="96" y="292"/>
                  </a:lnTo>
                  <a:lnTo>
                    <a:pt x="94" y="296"/>
                  </a:lnTo>
                  <a:lnTo>
                    <a:pt x="92" y="300"/>
                  </a:lnTo>
                  <a:lnTo>
                    <a:pt x="92" y="298"/>
                  </a:lnTo>
                  <a:lnTo>
                    <a:pt x="88" y="296"/>
                  </a:lnTo>
                  <a:lnTo>
                    <a:pt x="86" y="296"/>
                  </a:lnTo>
                  <a:lnTo>
                    <a:pt x="86" y="294"/>
                  </a:lnTo>
                  <a:lnTo>
                    <a:pt x="84" y="294"/>
                  </a:lnTo>
                  <a:lnTo>
                    <a:pt x="82" y="292"/>
                  </a:lnTo>
                  <a:lnTo>
                    <a:pt x="82" y="292"/>
                  </a:lnTo>
                  <a:lnTo>
                    <a:pt x="80" y="292"/>
                  </a:lnTo>
                  <a:lnTo>
                    <a:pt x="78" y="292"/>
                  </a:lnTo>
                  <a:lnTo>
                    <a:pt x="74" y="294"/>
                  </a:lnTo>
                  <a:lnTo>
                    <a:pt x="72" y="294"/>
                  </a:lnTo>
                  <a:lnTo>
                    <a:pt x="68" y="294"/>
                  </a:lnTo>
                  <a:lnTo>
                    <a:pt x="66" y="296"/>
                  </a:lnTo>
                  <a:lnTo>
                    <a:pt x="64" y="296"/>
                  </a:lnTo>
                  <a:lnTo>
                    <a:pt x="60" y="296"/>
                  </a:lnTo>
                  <a:lnTo>
                    <a:pt x="60" y="298"/>
                  </a:lnTo>
                  <a:lnTo>
                    <a:pt x="58" y="298"/>
                  </a:lnTo>
                  <a:lnTo>
                    <a:pt x="56" y="300"/>
                  </a:lnTo>
                  <a:lnTo>
                    <a:pt x="52" y="302"/>
                  </a:lnTo>
                  <a:lnTo>
                    <a:pt x="50" y="304"/>
                  </a:lnTo>
                  <a:lnTo>
                    <a:pt x="50" y="304"/>
                  </a:lnTo>
                  <a:lnTo>
                    <a:pt x="46" y="306"/>
                  </a:lnTo>
                  <a:lnTo>
                    <a:pt x="44" y="306"/>
                  </a:lnTo>
                  <a:lnTo>
                    <a:pt x="40" y="308"/>
                  </a:lnTo>
                  <a:lnTo>
                    <a:pt x="38" y="308"/>
                  </a:lnTo>
                  <a:lnTo>
                    <a:pt x="34" y="308"/>
                  </a:lnTo>
                  <a:lnTo>
                    <a:pt x="32" y="310"/>
                  </a:lnTo>
                  <a:lnTo>
                    <a:pt x="30" y="310"/>
                  </a:lnTo>
                  <a:lnTo>
                    <a:pt x="26" y="310"/>
                  </a:lnTo>
                  <a:lnTo>
                    <a:pt x="24" y="310"/>
                  </a:lnTo>
                  <a:lnTo>
                    <a:pt x="24" y="310"/>
                  </a:lnTo>
                  <a:lnTo>
                    <a:pt x="22" y="310"/>
                  </a:lnTo>
                  <a:lnTo>
                    <a:pt x="22" y="310"/>
                  </a:lnTo>
                  <a:lnTo>
                    <a:pt x="20" y="310"/>
                  </a:lnTo>
                  <a:lnTo>
                    <a:pt x="20" y="308"/>
                  </a:lnTo>
                  <a:lnTo>
                    <a:pt x="20" y="308"/>
                  </a:lnTo>
                  <a:lnTo>
                    <a:pt x="20" y="306"/>
                  </a:lnTo>
                  <a:lnTo>
                    <a:pt x="20" y="306"/>
                  </a:lnTo>
                  <a:lnTo>
                    <a:pt x="20" y="304"/>
                  </a:lnTo>
                  <a:lnTo>
                    <a:pt x="20" y="300"/>
                  </a:lnTo>
                  <a:lnTo>
                    <a:pt x="20" y="298"/>
                  </a:lnTo>
                  <a:lnTo>
                    <a:pt x="20" y="296"/>
                  </a:lnTo>
                  <a:lnTo>
                    <a:pt x="20" y="294"/>
                  </a:lnTo>
                  <a:lnTo>
                    <a:pt x="20" y="294"/>
                  </a:lnTo>
                  <a:lnTo>
                    <a:pt x="20" y="292"/>
                  </a:lnTo>
                  <a:lnTo>
                    <a:pt x="20" y="292"/>
                  </a:lnTo>
                  <a:lnTo>
                    <a:pt x="18" y="290"/>
                  </a:lnTo>
                  <a:lnTo>
                    <a:pt x="18" y="290"/>
                  </a:lnTo>
                  <a:lnTo>
                    <a:pt x="16" y="290"/>
                  </a:lnTo>
                  <a:lnTo>
                    <a:pt x="14" y="288"/>
                  </a:lnTo>
                  <a:lnTo>
                    <a:pt x="14" y="288"/>
                  </a:lnTo>
                  <a:lnTo>
                    <a:pt x="12" y="288"/>
                  </a:lnTo>
                  <a:lnTo>
                    <a:pt x="12" y="286"/>
                  </a:lnTo>
                  <a:lnTo>
                    <a:pt x="12" y="286"/>
                  </a:lnTo>
                  <a:lnTo>
                    <a:pt x="12" y="284"/>
                  </a:lnTo>
                  <a:lnTo>
                    <a:pt x="12" y="282"/>
                  </a:lnTo>
                  <a:lnTo>
                    <a:pt x="12" y="280"/>
                  </a:lnTo>
                  <a:lnTo>
                    <a:pt x="12" y="276"/>
                  </a:lnTo>
                  <a:lnTo>
                    <a:pt x="14" y="274"/>
                  </a:lnTo>
                  <a:lnTo>
                    <a:pt x="16" y="270"/>
                  </a:lnTo>
                  <a:lnTo>
                    <a:pt x="16" y="268"/>
                  </a:lnTo>
                  <a:lnTo>
                    <a:pt x="16" y="266"/>
                  </a:lnTo>
                  <a:lnTo>
                    <a:pt x="16" y="264"/>
                  </a:lnTo>
                  <a:lnTo>
                    <a:pt x="16" y="262"/>
                  </a:lnTo>
                  <a:lnTo>
                    <a:pt x="16" y="262"/>
                  </a:lnTo>
                  <a:lnTo>
                    <a:pt x="16" y="260"/>
                  </a:lnTo>
                  <a:lnTo>
                    <a:pt x="16" y="260"/>
                  </a:lnTo>
                  <a:lnTo>
                    <a:pt x="16" y="260"/>
                  </a:lnTo>
                  <a:lnTo>
                    <a:pt x="14" y="260"/>
                  </a:lnTo>
                  <a:lnTo>
                    <a:pt x="14" y="260"/>
                  </a:lnTo>
                  <a:lnTo>
                    <a:pt x="12" y="260"/>
                  </a:lnTo>
                  <a:lnTo>
                    <a:pt x="10" y="260"/>
                  </a:lnTo>
                  <a:lnTo>
                    <a:pt x="8" y="260"/>
                  </a:lnTo>
                  <a:lnTo>
                    <a:pt x="8" y="260"/>
                  </a:lnTo>
                  <a:lnTo>
                    <a:pt x="6" y="260"/>
                  </a:lnTo>
                  <a:lnTo>
                    <a:pt x="6" y="260"/>
                  </a:lnTo>
                  <a:lnTo>
                    <a:pt x="6" y="258"/>
                  </a:lnTo>
                  <a:lnTo>
                    <a:pt x="4" y="258"/>
                  </a:lnTo>
                  <a:lnTo>
                    <a:pt x="4" y="256"/>
                  </a:lnTo>
                  <a:lnTo>
                    <a:pt x="2" y="254"/>
                  </a:lnTo>
                  <a:lnTo>
                    <a:pt x="2" y="252"/>
                  </a:lnTo>
                  <a:lnTo>
                    <a:pt x="2" y="248"/>
                  </a:lnTo>
                  <a:lnTo>
                    <a:pt x="0" y="246"/>
                  </a:lnTo>
                  <a:lnTo>
                    <a:pt x="0" y="244"/>
                  </a:lnTo>
                  <a:lnTo>
                    <a:pt x="0" y="240"/>
                  </a:lnTo>
                  <a:lnTo>
                    <a:pt x="0" y="238"/>
                  </a:lnTo>
                  <a:lnTo>
                    <a:pt x="0" y="234"/>
                  </a:lnTo>
                  <a:lnTo>
                    <a:pt x="0" y="232"/>
                  </a:lnTo>
                  <a:lnTo>
                    <a:pt x="2" y="230"/>
                  </a:lnTo>
                  <a:lnTo>
                    <a:pt x="2" y="226"/>
                  </a:lnTo>
                  <a:lnTo>
                    <a:pt x="2" y="224"/>
                  </a:lnTo>
                  <a:lnTo>
                    <a:pt x="4" y="222"/>
                  </a:lnTo>
                  <a:lnTo>
                    <a:pt x="4" y="222"/>
                  </a:lnTo>
                  <a:lnTo>
                    <a:pt x="4" y="220"/>
                  </a:lnTo>
                  <a:lnTo>
                    <a:pt x="6" y="220"/>
                  </a:lnTo>
                  <a:lnTo>
                    <a:pt x="6" y="220"/>
                  </a:lnTo>
                  <a:lnTo>
                    <a:pt x="8" y="220"/>
                  </a:lnTo>
                  <a:lnTo>
                    <a:pt x="10" y="218"/>
                  </a:lnTo>
                  <a:lnTo>
                    <a:pt x="12" y="218"/>
                  </a:lnTo>
                  <a:lnTo>
                    <a:pt x="14" y="218"/>
                  </a:lnTo>
                  <a:lnTo>
                    <a:pt x="14" y="218"/>
                  </a:lnTo>
                  <a:lnTo>
                    <a:pt x="16" y="218"/>
                  </a:lnTo>
                  <a:lnTo>
                    <a:pt x="16" y="218"/>
                  </a:lnTo>
                  <a:lnTo>
                    <a:pt x="16" y="216"/>
                  </a:lnTo>
                  <a:lnTo>
                    <a:pt x="16" y="216"/>
                  </a:lnTo>
                  <a:lnTo>
                    <a:pt x="16" y="212"/>
                  </a:lnTo>
                  <a:lnTo>
                    <a:pt x="18" y="210"/>
                  </a:lnTo>
                  <a:lnTo>
                    <a:pt x="18" y="210"/>
                  </a:lnTo>
                  <a:lnTo>
                    <a:pt x="18" y="208"/>
                  </a:lnTo>
                  <a:lnTo>
                    <a:pt x="20" y="208"/>
                  </a:lnTo>
                  <a:lnTo>
                    <a:pt x="20" y="206"/>
                  </a:lnTo>
                  <a:lnTo>
                    <a:pt x="22" y="206"/>
                  </a:lnTo>
                  <a:lnTo>
                    <a:pt x="24" y="206"/>
                  </a:lnTo>
                  <a:lnTo>
                    <a:pt x="28" y="204"/>
                  </a:lnTo>
                  <a:lnTo>
                    <a:pt x="32" y="204"/>
                  </a:lnTo>
                  <a:lnTo>
                    <a:pt x="34" y="204"/>
                  </a:lnTo>
                  <a:lnTo>
                    <a:pt x="34" y="204"/>
                  </a:lnTo>
                  <a:lnTo>
                    <a:pt x="38" y="204"/>
                  </a:lnTo>
                  <a:lnTo>
                    <a:pt x="40" y="204"/>
                  </a:lnTo>
                  <a:lnTo>
                    <a:pt x="42" y="202"/>
                  </a:lnTo>
                  <a:lnTo>
                    <a:pt x="44" y="202"/>
                  </a:lnTo>
                  <a:lnTo>
                    <a:pt x="44" y="202"/>
                  </a:lnTo>
                  <a:lnTo>
                    <a:pt x="46" y="202"/>
                  </a:lnTo>
                  <a:lnTo>
                    <a:pt x="46" y="200"/>
                  </a:lnTo>
                  <a:lnTo>
                    <a:pt x="48" y="198"/>
                  </a:lnTo>
                  <a:lnTo>
                    <a:pt x="48" y="196"/>
                  </a:lnTo>
                  <a:lnTo>
                    <a:pt x="50" y="196"/>
                  </a:lnTo>
                  <a:lnTo>
                    <a:pt x="50" y="194"/>
                  </a:lnTo>
                  <a:lnTo>
                    <a:pt x="50" y="194"/>
                  </a:lnTo>
                  <a:lnTo>
                    <a:pt x="52" y="194"/>
                  </a:lnTo>
                  <a:lnTo>
                    <a:pt x="52" y="192"/>
                  </a:lnTo>
                  <a:lnTo>
                    <a:pt x="54" y="192"/>
                  </a:lnTo>
                  <a:lnTo>
                    <a:pt x="56" y="192"/>
                  </a:lnTo>
                  <a:lnTo>
                    <a:pt x="58" y="194"/>
                  </a:lnTo>
                  <a:lnTo>
                    <a:pt x="60" y="194"/>
                  </a:lnTo>
                  <a:lnTo>
                    <a:pt x="62" y="194"/>
                  </a:lnTo>
                  <a:lnTo>
                    <a:pt x="64" y="194"/>
                  </a:lnTo>
                  <a:lnTo>
                    <a:pt x="64" y="192"/>
                  </a:lnTo>
                  <a:lnTo>
                    <a:pt x="66" y="192"/>
                  </a:lnTo>
                  <a:lnTo>
                    <a:pt x="66" y="192"/>
                  </a:lnTo>
                  <a:lnTo>
                    <a:pt x="66" y="192"/>
                  </a:lnTo>
                  <a:lnTo>
                    <a:pt x="66" y="190"/>
                  </a:lnTo>
                  <a:lnTo>
                    <a:pt x="66" y="190"/>
                  </a:lnTo>
                  <a:lnTo>
                    <a:pt x="66" y="188"/>
                  </a:lnTo>
                  <a:lnTo>
                    <a:pt x="66" y="186"/>
                  </a:lnTo>
                  <a:lnTo>
                    <a:pt x="66" y="184"/>
                  </a:lnTo>
                  <a:lnTo>
                    <a:pt x="66" y="180"/>
                  </a:lnTo>
                  <a:lnTo>
                    <a:pt x="66" y="178"/>
                  </a:lnTo>
                  <a:lnTo>
                    <a:pt x="66" y="176"/>
                  </a:lnTo>
                  <a:lnTo>
                    <a:pt x="66" y="176"/>
                  </a:lnTo>
                  <a:lnTo>
                    <a:pt x="66" y="176"/>
                  </a:lnTo>
                  <a:lnTo>
                    <a:pt x="68" y="174"/>
                  </a:lnTo>
                  <a:lnTo>
                    <a:pt x="68" y="174"/>
                  </a:lnTo>
                  <a:lnTo>
                    <a:pt x="68" y="174"/>
                  </a:lnTo>
                  <a:lnTo>
                    <a:pt x="70" y="172"/>
                  </a:lnTo>
                  <a:lnTo>
                    <a:pt x="72" y="172"/>
                  </a:lnTo>
                  <a:lnTo>
                    <a:pt x="74" y="172"/>
                  </a:lnTo>
                  <a:lnTo>
                    <a:pt x="78" y="172"/>
                  </a:lnTo>
                  <a:lnTo>
                    <a:pt x="80" y="170"/>
                  </a:lnTo>
                  <a:lnTo>
                    <a:pt x="84" y="170"/>
                  </a:lnTo>
                  <a:lnTo>
                    <a:pt x="84" y="170"/>
                  </a:lnTo>
                  <a:lnTo>
                    <a:pt x="86" y="170"/>
                  </a:lnTo>
                  <a:lnTo>
                    <a:pt x="86" y="168"/>
                  </a:lnTo>
                  <a:lnTo>
                    <a:pt x="88" y="168"/>
                  </a:lnTo>
                  <a:lnTo>
                    <a:pt x="88" y="168"/>
                  </a:lnTo>
                  <a:lnTo>
                    <a:pt x="88" y="166"/>
                  </a:lnTo>
                  <a:lnTo>
                    <a:pt x="88" y="166"/>
                  </a:lnTo>
                  <a:lnTo>
                    <a:pt x="88" y="164"/>
                  </a:lnTo>
                  <a:lnTo>
                    <a:pt x="88" y="162"/>
                  </a:lnTo>
                  <a:lnTo>
                    <a:pt x="88" y="160"/>
                  </a:lnTo>
                  <a:lnTo>
                    <a:pt x="88" y="158"/>
                  </a:lnTo>
                  <a:lnTo>
                    <a:pt x="90" y="156"/>
                  </a:lnTo>
                  <a:lnTo>
                    <a:pt x="90" y="154"/>
                  </a:lnTo>
                  <a:lnTo>
                    <a:pt x="90" y="154"/>
                  </a:lnTo>
                  <a:lnTo>
                    <a:pt x="90" y="154"/>
                  </a:lnTo>
                  <a:lnTo>
                    <a:pt x="92" y="152"/>
                  </a:lnTo>
                  <a:lnTo>
                    <a:pt x="94" y="152"/>
                  </a:lnTo>
                  <a:lnTo>
                    <a:pt x="94" y="150"/>
                  </a:lnTo>
                  <a:lnTo>
                    <a:pt x="98" y="148"/>
                  </a:lnTo>
                  <a:lnTo>
                    <a:pt x="100" y="148"/>
                  </a:lnTo>
                  <a:lnTo>
                    <a:pt x="100" y="146"/>
                  </a:lnTo>
                  <a:lnTo>
                    <a:pt x="100" y="146"/>
                  </a:lnTo>
                  <a:lnTo>
                    <a:pt x="102" y="144"/>
                  </a:lnTo>
                  <a:lnTo>
                    <a:pt x="102" y="142"/>
                  </a:lnTo>
                  <a:lnTo>
                    <a:pt x="102" y="140"/>
                  </a:lnTo>
                  <a:lnTo>
                    <a:pt x="102" y="136"/>
                  </a:lnTo>
                  <a:lnTo>
                    <a:pt x="104" y="132"/>
                  </a:lnTo>
                  <a:lnTo>
                    <a:pt x="104" y="130"/>
                  </a:lnTo>
                  <a:lnTo>
                    <a:pt x="106" y="126"/>
                  </a:lnTo>
                  <a:lnTo>
                    <a:pt x="106" y="122"/>
                  </a:lnTo>
                  <a:lnTo>
                    <a:pt x="106" y="120"/>
                  </a:lnTo>
                  <a:lnTo>
                    <a:pt x="108" y="120"/>
                  </a:lnTo>
                  <a:lnTo>
                    <a:pt x="108" y="118"/>
                  </a:lnTo>
                  <a:lnTo>
                    <a:pt x="110" y="116"/>
                  </a:lnTo>
                  <a:lnTo>
                    <a:pt x="112" y="114"/>
                  </a:lnTo>
                  <a:lnTo>
                    <a:pt x="114" y="112"/>
                  </a:lnTo>
                  <a:lnTo>
                    <a:pt x="120" y="108"/>
                  </a:lnTo>
                  <a:lnTo>
                    <a:pt x="120" y="106"/>
                  </a:lnTo>
                  <a:lnTo>
                    <a:pt x="122" y="104"/>
                  </a:lnTo>
                  <a:lnTo>
                    <a:pt x="126" y="100"/>
                  </a:lnTo>
                  <a:lnTo>
                    <a:pt x="128" y="96"/>
                  </a:lnTo>
                  <a:lnTo>
                    <a:pt x="132" y="92"/>
                  </a:lnTo>
                  <a:lnTo>
                    <a:pt x="134" y="90"/>
                  </a:lnTo>
                  <a:lnTo>
                    <a:pt x="136" y="88"/>
                  </a:lnTo>
                  <a:lnTo>
                    <a:pt x="138" y="86"/>
                  </a:lnTo>
                  <a:lnTo>
                    <a:pt x="142" y="84"/>
                  </a:lnTo>
                  <a:lnTo>
                    <a:pt x="144" y="82"/>
                  </a:lnTo>
                  <a:lnTo>
                    <a:pt x="146" y="80"/>
                  </a:lnTo>
                  <a:lnTo>
                    <a:pt x="148" y="80"/>
                  </a:lnTo>
                  <a:lnTo>
                    <a:pt x="150" y="78"/>
                  </a:lnTo>
                  <a:lnTo>
                    <a:pt x="152" y="78"/>
                  </a:lnTo>
                  <a:lnTo>
                    <a:pt x="154" y="78"/>
                  </a:lnTo>
                  <a:lnTo>
                    <a:pt x="156" y="78"/>
                  </a:lnTo>
                  <a:lnTo>
                    <a:pt x="158" y="78"/>
                  </a:lnTo>
                  <a:lnTo>
                    <a:pt x="164" y="76"/>
                  </a:lnTo>
                  <a:lnTo>
                    <a:pt x="168" y="76"/>
                  </a:lnTo>
                  <a:lnTo>
                    <a:pt x="170" y="76"/>
                  </a:lnTo>
                  <a:lnTo>
                    <a:pt x="170" y="76"/>
                  </a:lnTo>
                  <a:lnTo>
                    <a:pt x="172" y="74"/>
                  </a:lnTo>
                  <a:lnTo>
                    <a:pt x="174" y="74"/>
                  </a:lnTo>
                  <a:lnTo>
                    <a:pt x="178" y="72"/>
                  </a:lnTo>
                  <a:lnTo>
                    <a:pt x="180" y="70"/>
                  </a:lnTo>
                  <a:lnTo>
                    <a:pt x="180" y="70"/>
                  </a:lnTo>
                  <a:lnTo>
                    <a:pt x="182" y="70"/>
                  </a:lnTo>
                  <a:lnTo>
                    <a:pt x="182" y="70"/>
                  </a:lnTo>
                  <a:lnTo>
                    <a:pt x="186" y="70"/>
                  </a:lnTo>
                  <a:lnTo>
                    <a:pt x="192" y="68"/>
                  </a:lnTo>
                  <a:lnTo>
                    <a:pt x="194" y="68"/>
                  </a:lnTo>
                  <a:lnTo>
                    <a:pt x="198" y="68"/>
                  </a:lnTo>
                  <a:lnTo>
                    <a:pt x="198" y="68"/>
                  </a:lnTo>
                  <a:lnTo>
                    <a:pt x="200" y="68"/>
                  </a:lnTo>
                  <a:lnTo>
                    <a:pt x="202" y="66"/>
                  </a:lnTo>
                  <a:lnTo>
                    <a:pt x="202" y="66"/>
                  </a:lnTo>
                  <a:lnTo>
                    <a:pt x="202" y="66"/>
                  </a:lnTo>
                  <a:lnTo>
                    <a:pt x="202" y="64"/>
                  </a:lnTo>
                  <a:lnTo>
                    <a:pt x="204" y="64"/>
                  </a:lnTo>
                  <a:lnTo>
                    <a:pt x="204" y="62"/>
                  </a:lnTo>
                  <a:lnTo>
                    <a:pt x="204" y="60"/>
                  </a:lnTo>
                  <a:lnTo>
                    <a:pt x="204" y="58"/>
                  </a:lnTo>
                  <a:lnTo>
                    <a:pt x="204" y="56"/>
                  </a:lnTo>
                  <a:lnTo>
                    <a:pt x="206" y="54"/>
                  </a:lnTo>
                  <a:lnTo>
                    <a:pt x="206" y="54"/>
                  </a:lnTo>
                  <a:lnTo>
                    <a:pt x="206" y="54"/>
                  </a:lnTo>
                  <a:lnTo>
                    <a:pt x="206" y="54"/>
                  </a:lnTo>
                  <a:lnTo>
                    <a:pt x="206" y="52"/>
                  </a:lnTo>
                  <a:lnTo>
                    <a:pt x="208" y="52"/>
                  </a:lnTo>
                  <a:lnTo>
                    <a:pt x="210" y="52"/>
                  </a:lnTo>
                  <a:lnTo>
                    <a:pt x="212" y="50"/>
                  </a:lnTo>
                  <a:lnTo>
                    <a:pt x="214" y="50"/>
                  </a:lnTo>
                  <a:lnTo>
                    <a:pt x="216" y="50"/>
                  </a:lnTo>
                  <a:lnTo>
                    <a:pt x="216" y="48"/>
                  </a:lnTo>
                  <a:lnTo>
                    <a:pt x="218" y="48"/>
                  </a:lnTo>
                  <a:lnTo>
                    <a:pt x="218" y="48"/>
                  </a:lnTo>
                  <a:lnTo>
                    <a:pt x="218" y="48"/>
                  </a:lnTo>
                  <a:lnTo>
                    <a:pt x="218" y="46"/>
                  </a:lnTo>
                  <a:lnTo>
                    <a:pt x="218" y="46"/>
                  </a:lnTo>
                  <a:lnTo>
                    <a:pt x="218" y="44"/>
                  </a:lnTo>
                  <a:lnTo>
                    <a:pt x="218" y="42"/>
                  </a:lnTo>
                  <a:lnTo>
                    <a:pt x="218" y="40"/>
                  </a:lnTo>
                  <a:lnTo>
                    <a:pt x="218" y="38"/>
                  </a:lnTo>
                  <a:lnTo>
                    <a:pt x="216" y="36"/>
                  </a:lnTo>
                  <a:lnTo>
                    <a:pt x="216" y="34"/>
                  </a:lnTo>
                  <a:lnTo>
                    <a:pt x="214" y="32"/>
                  </a:lnTo>
                  <a:lnTo>
                    <a:pt x="214" y="32"/>
                  </a:lnTo>
                  <a:lnTo>
                    <a:pt x="214" y="32"/>
                  </a:lnTo>
                  <a:lnTo>
                    <a:pt x="212" y="30"/>
                  </a:lnTo>
                  <a:lnTo>
                    <a:pt x="208" y="28"/>
                  </a:lnTo>
                  <a:lnTo>
                    <a:pt x="208" y="28"/>
                  </a:lnTo>
                  <a:lnTo>
                    <a:pt x="206" y="26"/>
                  </a:lnTo>
                  <a:lnTo>
                    <a:pt x="206" y="26"/>
                  </a:lnTo>
                  <a:lnTo>
                    <a:pt x="204" y="26"/>
                  </a:lnTo>
                  <a:lnTo>
                    <a:pt x="204" y="26"/>
                  </a:lnTo>
                  <a:lnTo>
                    <a:pt x="204" y="24"/>
                  </a:lnTo>
                  <a:lnTo>
                    <a:pt x="204" y="24"/>
                  </a:lnTo>
                  <a:lnTo>
                    <a:pt x="206" y="24"/>
                  </a:lnTo>
                  <a:lnTo>
                    <a:pt x="206" y="22"/>
                  </a:lnTo>
                  <a:lnTo>
                    <a:pt x="206" y="22"/>
                  </a:lnTo>
                  <a:lnTo>
                    <a:pt x="208" y="22"/>
                  </a:lnTo>
                  <a:lnTo>
                    <a:pt x="212" y="22"/>
                  </a:lnTo>
                  <a:lnTo>
                    <a:pt x="214" y="22"/>
                  </a:lnTo>
                  <a:lnTo>
                    <a:pt x="216" y="20"/>
                  </a:lnTo>
                  <a:lnTo>
                    <a:pt x="218" y="20"/>
                  </a:lnTo>
                  <a:lnTo>
                    <a:pt x="220" y="20"/>
                  </a:lnTo>
                  <a:lnTo>
                    <a:pt x="220" y="20"/>
                  </a:lnTo>
                  <a:lnTo>
                    <a:pt x="220" y="20"/>
                  </a:lnTo>
                  <a:lnTo>
                    <a:pt x="220" y="18"/>
                  </a:lnTo>
                  <a:lnTo>
                    <a:pt x="220" y="18"/>
                  </a:lnTo>
                  <a:lnTo>
                    <a:pt x="222" y="14"/>
                  </a:lnTo>
                  <a:lnTo>
                    <a:pt x="222" y="12"/>
                  </a:lnTo>
                  <a:lnTo>
                    <a:pt x="222" y="10"/>
                  </a:lnTo>
                  <a:lnTo>
                    <a:pt x="224" y="10"/>
                  </a:lnTo>
                  <a:lnTo>
                    <a:pt x="224" y="10"/>
                  </a:lnTo>
                  <a:lnTo>
                    <a:pt x="224" y="10"/>
                  </a:lnTo>
                  <a:lnTo>
                    <a:pt x="224" y="10"/>
                  </a:lnTo>
                  <a:lnTo>
                    <a:pt x="226" y="10"/>
                  </a:lnTo>
                  <a:lnTo>
                    <a:pt x="226" y="10"/>
                  </a:lnTo>
                  <a:lnTo>
                    <a:pt x="226" y="10"/>
                  </a:lnTo>
                  <a:lnTo>
                    <a:pt x="226" y="12"/>
                  </a:lnTo>
                  <a:lnTo>
                    <a:pt x="226" y="14"/>
                  </a:lnTo>
                  <a:lnTo>
                    <a:pt x="226" y="16"/>
                  </a:lnTo>
                  <a:lnTo>
                    <a:pt x="226" y="18"/>
                  </a:lnTo>
                  <a:lnTo>
                    <a:pt x="226" y="20"/>
                  </a:lnTo>
                  <a:lnTo>
                    <a:pt x="226" y="20"/>
                  </a:lnTo>
                  <a:lnTo>
                    <a:pt x="226" y="22"/>
                  </a:lnTo>
                  <a:lnTo>
                    <a:pt x="226" y="22"/>
                  </a:lnTo>
                  <a:lnTo>
                    <a:pt x="228" y="24"/>
                  </a:lnTo>
                  <a:lnTo>
                    <a:pt x="228" y="24"/>
                  </a:lnTo>
                  <a:lnTo>
                    <a:pt x="228" y="24"/>
                  </a:lnTo>
                  <a:lnTo>
                    <a:pt x="230" y="26"/>
                  </a:lnTo>
                  <a:lnTo>
                    <a:pt x="230" y="26"/>
                  </a:lnTo>
                  <a:lnTo>
                    <a:pt x="232" y="26"/>
                  </a:lnTo>
                  <a:lnTo>
                    <a:pt x="232" y="26"/>
                  </a:lnTo>
                  <a:lnTo>
                    <a:pt x="234" y="26"/>
                  </a:lnTo>
                  <a:lnTo>
                    <a:pt x="234" y="26"/>
                  </a:lnTo>
                  <a:lnTo>
                    <a:pt x="236" y="26"/>
                  </a:lnTo>
                  <a:lnTo>
                    <a:pt x="236" y="26"/>
                  </a:lnTo>
                  <a:lnTo>
                    <a:pt x="236" y="24"/>
                  </a:lnTo>
                  <a:lnTo>
                    <a:pt x="236" y="24"/>
                  </a:lnTo>
                  <a:lnTo>
                    <a:pt x="234" y="22"/>
                  </a:lnTo>
                  <a:lnTo>
                    <a:pt x="234" y="20"/>
                  </a:lnTo>
                  <a:lnTo>
                    <a:pt x="234" y="20"/>
                  </a:lnTo>
                  <a:lnTo>
                    <a:pt x="234" y="18"/>
                  </a:lnTo>
                  <a:lnTo>
                    <a:pt x="234" y="18"/>
                  </a:lnTo>
                  <a:lnTo>
                    <a:pt x="234" y="18"/>
                  </a:lnTo>
                  <a:lnTo>
                    <a:pt x="236" y="18"/>
                  </a:lnTo>
                  <a:lnTo>
                    <a:pt x="236" y="18"/>
                  </a:lnTo>
                  <a:lnTo>
                    <a:pt x="238" y="18"/>
                  </a:lnTo>
                  <a:lnTo>
                    <a:pt x="238" y="18"/>
                  </a:lnTo>
                  <a:lnTo>
                    <a:pt x="240" y="18"/>
                  </a:lnTo>
                  <a:lnTo>
                    <a:pt x="240" y="18"/>
                  </a:lnTo>
                  <a:lnTo>
                    <a:pt x="242" y="18"/>
                  </a:lnTo>
                  <a:lnTo>
                    <a:pt x="242" y="18"/>
                  </a:lnTo>
                  <a:lnTo>
                    <a:pt x="242" y="18"/>
                  </a:lnTo>
                  <a:lnTo>
                    <a:pt x="242" y="20"/>
                  </a:lnTo>
                  <a:lnTo>
                    <a:pt x="244" y="22"/>
                  </a:lnTo>
                  <a:lnTo>
                    <a:pt x="244" y="24"/>
                  </a:lnTo>
                  <a:lnTo>
                    <a:pt x="244" y="24"/>
                  </a:lnTo>
                  <a:lnTo>
                    <a:pt x="244" y="24"/>
                  </a:lnTo>
                  <a:lnTo>
                    <a:pt x="246" y="26"/>
                  </a:lnTo>
                  <a:lnTo>
                    <a:pt x="246" y="26"/>
                  </a:lnTo>
                  <a:lnTo>
                    <a:pt x="248" y="26"/>
                  </a:lnTo>
                  <a:lnTo>
                    <a:pt x="250" y="26"/>
                  </a:lnTo>
                  <a:lnTo>
                    <a:pt x="252" y="28"/>
                  </a:lnTo>
                  <a:lnTo>
                    <a:pt x="252" y="28"/>
                  </a:lnTo>
                  <a:lnTo>
                    <a:pt x="254" y="28"/>
                  </a:lnTo>
                  <a:lnTo>
                    <a:pt x="254" y="28"/>
                  </a:lnTo>
                  <a:lnTo>
                    <a:pt x="256" y="26"/>
                  </a:lnTo>
                  <a:lnTo>
                    <a:pt x="256" y="26"/>
                  </a:lnTo>
                  <a:lnTo>
                    <a:pt x="256" y="26"/>
                  </a:lnTo>
                  <a:lnTo>
                    <a:pt x="258" y="24"/>
                  </a:lnTo>
                  <a:lnTo>
                    <a:pt x="258" y="22"/>
                  </a:lnTo>
                  <a:lnTo>
                    <a:pt x="260" y="20"/>
                  </a:lnTo>
                  <a:lnTo>
                    <a:pt x="260" y="18"/>
                  </a:lnTo>
                  <a:lnTo>
                    <a:pt x="260" y="18"/>
                  </a:lnTo>
                  <a:lnTo>
                    <a:pt x="260" y="16"/>
                  </a:lnTo>
                  <a:lnTo>
                    <a:pt x="260" y="16"/>
                  </a:lnTo>
                  <a:lnTo>
                    <a:pt x="260" y="16"/>
                  </a:lnTo>
                  <a:lnTo>
                    <a:pt x="260" y="16"/>
                  </a:lnTo>
                  <a:lnTo>
                    <a:pt x="258" y="14"/>
                  </a:lnTo>
                  <a:lnTo>
                    <a:pt x="258" y="14"/>
                  </a:lnTo>
                  <a:lnTo>
                    <a:pt x="256" y="14"/>
                  </a:lnTo>
                  <a:lnTo>
                    <a:pt x="254" y="12"/>
                  </a:lnTo>
                  <a:lnTo>
                    <a:pt x="254" y="12"/>
                  </a:lnTo>
                  <a:lnTo>
                    <a:pt x="252" y="12"/>
                  </a:lnTo>
                  <a:lnTo>
                    <a:pt x="252" y="12"/>
                  </a:lnTo>
                  <a:lnTo>
                    <a:pt x="252" y="10"/>
                  </a:lnTo>
                  <a:lnTo>
                    <a:pt x="252" y="10"/>
                  </a:lnTo>
                  <a:lnTo>
                    <a:pt x="252" y="10"/>
                  </a:lnTo>
                  <a:lnTo>
                    <a:pt x="254" y="8"/>
                  </a:lnTo>
                  <a:lnTo>
                    <a:pt x="254" y="8"/>
                  </a:lnTo>
                  <a:lnTo>
                    <a:pt x="256" y="6"/>
                  </a:lnTo>
                  <a:lnTo>
                    <a:pt x="258" y="6"/>
                  </a:lnTo>
                  <a:lnTo>
                    <a:pt x="260" y="4"/>
                  </a:lnTo>
                  <a:lnTo>
                    <a:pt x="262" y="4"/>
                  </a:lnTo>
                  <a:lnTo>
                    <a:pt x="264" y="4"/>
                  </a:lnTo>
                  <a:lnTo>
                    <a:pt x="264" y="4"/>
                  </a:lnTo>
                  <a:lnTo>
                    <a:pt x="266" y="4"/>
                  </a:lnTo>
                  <a:lnTo>
                    <a:pt x="266" y="4"/>
                  </a:lnTo>
                  <a:lnTo>
                    <a:pt x="268" y="4"/>
                  </a:lnTo>
                  <a:lnTo>
                    <a:pt x="268" y="4"/>
                  </a:lnTo>
                  <a:lnTo>
                    <a:pt x="270" y="6"/>
                  </a:lnTo>
                  <a:lnTo>
                    <a:pt x="272" y="8"/>
                  </a:lnTo>
                  <a:lnTo>
                    <a:pt x="272" y="10"/>
                  </a:lnTo>
                  <a:lnTo>
                    <a:pt x="274" y="12"/>
                  </a:lnTo>
                  <a:lnTo>
                    <a:pt x="276" y="12"/>
                  </a:lnTo>
                  <a:lnTo>
                    <a:pt x="276" y="12"/>
                  </a:lnTo>
                  <a:lnTo>
                    <a:pt x="276" y="14"/>
                  </a:lnTo>
                  <a:lnTo>
                    <a:pt x="278" y="14"/>
                  </a:lnTo>
                  <a:lnTo>
                    <a:pt x="278" y="12"/>
                  </a:lnTo>
                  <a:lnTo>
                    <a:pt x="278" y="12"/>
                  </a:lnTo>
                  <a:lnTo>
                    <a:pt x="280" y="12"/>
                  </a:lnTo>
                  <a:lnTo>
                    <a:pt x="280" y="10"/>
                  </a:lnTo>
                  <a:lnTo>
                    <a:pt x="280" y="8"/>
                  </a:lnTo>
                  <a:lnTo>
                    <a:pt x="282" y="6"/>
                  </a:lnTo>
                  <a:lnTo>
                    <a:pt x="282" y="4"/>
                  </a:lnTo>
                  <a:lnTo>
                    <a:pt x="282" y="2"/>
                  </a:lnTo>
                  <a:lnTo>
                    <a:pt x="284" y="2"/>
                  </a:lnTo>
                  <a:lnTo>
                    <a:pt x="284" y="0"/>
                  </a:lnTo>
                  <a:lnTo>
                    <a:pt x="284" y="0"/>
                  </a:lnTo>
                  <a:lnTo>
                    <a:pt x="286" y="0"/>
                  </a:lnTo>
                  <a:lnTo>
                    <a:pt x="286" y="0"/>
                  </a:lnTo>
                  <a:lnTo>
                    <a:pt x="286" y="2"/>
                  </a:lnTo>
                  <a:lnTo>
                    <a:pt x="286" y="2"/>
                  </a:lnTo>
                  <a:lnTo>
                    <a:pt x="286" y="2"/>
                  </a:lnTo>
                  <a:lnTo>
                    <a:pt x="288" y="4"/>
                  </a:lnTo>
                  <a:lnTo>
                    <a:pt x="288" y="6"/>
                  </a:lnTo>
                  <a:lnTo>
                    <a:pt x="288" y="10"/>
                  </a:lnTo>
                  <a:lnTo>
                    <a:pt x="288" y="12"/>
                  </a:lnTo>
                  <a:lnTo>
                    <a:pt x="288" y="12"/>
                  </a:lnTo>
                  <a:lnTo>
                    <a:pt x="288" y="14"/>
                  </a:lnTo>
                  <a:lnTo>
                    <a:pt x="288" y="14"/>
                  </a:lnTo>
                  <a:lnTo>
                    <a:pt x="288" y="14"/>
                  </a:lnTo>
                  <a:lnTo>
                    <a:pt x="290" y="16"/>
                  </a:lnTo>
                  <a:lnTo>
                    <a:pt x="292" y="16"/>
                  </a:lnTo>
                  <a:lnTo>
                    <a:pt x="294" y="16"/>
                  </a:lnTo>
                  <a:lnTo>
                    <a:pt x="294" y="16"/>
                  </a:lnTo>
                  <a:lnTo>
                    <a:pt x="296" y="16"/>
                  </a:lnTo>
                  <a:lnTo>
                    <a:pt x="298" y="16"/>
                  </a:lnTo>
                  <a:lnTo>
                    <a:pt x="300" y="16"/>
                  </a:lnTo>
                  <a:lnTo>
                    <a:pt x="302" y="16"/>
                  </a:lnTo>
                  <a:lnTo>
                    <a:pt x="302" y="16"/>
                  </a:lnTo>
                  <a:lnTo>
                    <a:pt x="304" y="16"/>
                  </a:lnTo>
                  <a:lnTo>
                    <a:pt x="304" y="14"/>
                  </a:lnTo>
                  <a:lnTo>
                    <a:pt x="306" y="12"/>
                  </a:lnTo>
                  <a:lnTo>
                    <a:pt x="308" y="10"/>
                  </a:lnTo>
                  <a:lnTo>
                    <a:pt x="310" y="8"/>
                  </a:lnTo>
                  <a:lnTo>
                    <a:pt x="312" y="8"/>
                  </a:lnTo>
                  <a:lnTo>
                    <a:pt x="312" y="6"/>
                  </a:lnTo>
                  <a:lnTo>
                    <a:pt x="314" y="6"/>
                  </a:lnTo>
                  <a:lnTo>
                    <a:pt x="314" y="6"/>
                  </a:lnTo>
                  <a:lnTo>
                    <a:pt x="316" y="6"/>
                  </a:lnTo>
                  <a:lnTo>
                    <a:pt x="316" y="6"/>
                  </a:lnTo>
                  <a:lnTo>
                    <a:pt x="318" y="6"/>
                  </a:lnTo>
                  <a:lnTo>
                    <a:pt x="320" y="6"/>
                  </a:lnTo>
                  <a:lnTo>
                    <a:pt x="322" y="8"/>
                  </a:lnTo>
                  <a:lnTo>
                    <a:pt x="324" y="10"/>
                  </a:lnTo>
                  <a:lnTo>
                    <a:pt x="326" y="10"/>
                  </a:lnTo>
                  <a:lnTo>
                    <a:pt x="330" y="12"/>
                  </a:lnTo>
                  <a:lnTo>
                    <a:pt x="330" y="14"/>
                  </a:lnTo>
                  <a:lnTo>
                    <a:pt x="330" y="14"/>
                  </a:lnTo>
                  <a:lnTo>
                    <a:pt x="332" y="14"/>
                  </a:lnTo>
                  <a:lnTo>
                    <a:pt x="332" y="16"/>
                  </a:lnTo>
                  <a:lnTo>
                    <a:pt x="332" y="16"/>
                  </a:lnTo>
                  <a:lnTo>
                    <a:pt x="332" y="16"/>
                  </a:lnTo>
                  <a:lnTo>
                    <a:pt x="332" y="18"/>
                  </a:lnTo>
                  <a:lnTo>
                    <a:pt x="332" y="20"/>
                  </a:lnTo>
                  <a:lnTo>
                    <a:pt x="330" y="22"/>
                  </a:lnTo>
                  <a:lnTo>
                    <a:pt x="330" y="24"/>
                  </a:lnTo>
                  <a:lnTo>
                    <a:pt x="330" y="24"/>
                  </a:lnTo>
                  <a:lnTo>
                    <a:pt x="328" y="26"/>
                  </a:lnTo>
                  <a:lnTo>
                    <a:pt x="328" y="26"/>
                  </a:lnTo>
                  <a:lnTo>
                    <a:pt x="330" y="28"/>
                  </a:lnTo>
                  <a:lnTo>
                    <a:pt x="330" y="28"/>
                  </a:lnTo>
                  <a:lnTo>
                    <a:pt x="330" y="28"/>
                  </a:lnTo>
                  <a:lnTo>
                    <a:pt x="332" y="30"/>
                  </a:lnTo>
                  <a:lnTo>
                    <a:pt x="334" y="30"/>
                  </a:lnTo>
                  <a:lnTo>
                    <a:pt x="336" y="32"/>
                  </a:lnTo>
                  <a:lnTo>
                    <a:pt x="338" y="32"/>
                  </a:lnTo>
                  <a:lnTo>
                    <a:pt x="340" y="34"/>
                  </a:lnTo>
                  <a:lnTo>
                    <a:pt x="344" y="34"/>
                  </a:lnTo>
                  <a:lnTo>
                    <a:pt x="350" y="36"/>
                  </a:lnTo>
                  <a:lnTo>
                    <a:pt x="354" y="38"/>
                  </a:lnTo>
                  <a:lnTo>
                    <a:pt x="358" y="38"/>
                  </a:lnTo>
                  <a:lnTo>
                    <a:pt x="350" y="42"/>
                  </a:lnTo>
                  <a:lnTo>
                    <a:pt x="344" y="46"/>
                  </a:lnTo>
                  <a:lnTo>
                    <a:pt x="342" y="48"/>
                  </a:lnTo>
                  <a:lnTo>
                    <a:pt x="340" y="48"/>
                  </a:lnTo>
                  <a:lnTo>
                    <a:pt x="336" y="52"/>
                  </a:lnTo>
                  <a:lnTo>
                    <a:pt x="332" y="58"/>
                  </a:lnTo>
                  <a:lnTo>
                    <a:pt x="330" y="60"/>
                  </a:lnTo>
                  <a:lnTo>
                    <a:pt x="328" y="62"/>
                  </a:lnTo>
                  <a:lnTo>
                    <a:pt x="326" y="64"/>
                  </a:lnTo>
                  <a:lnTo>
                    <a:pt x="324" y="66"/>
                  </a:lnTo>
                  <a:lnTo>
                    <a:pt x="322" y="68"/>
                  </a:lnTo>
                  <a:lnTo>
                    <a:pt x="322" y="70"/>
                  </a:lnTo>
                  <a:lnTo>
                    <a:pt x="320" y="76"/>
                  </a:lnTo>
                  <a:lnTo>
                    <a:pt x="318" y="82"/>
                  </a:lnTo>
                  <a:lnTo>
                    <a:pt x="302" y="6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1" name="Freeform 278"/>
            <p:cNvSpPr>
              <a:spLocks/>
            </p:cNvSpPr>
            <p:nvPr/>
          </p:nvSpPr>
          <p:spPr bwMode="auto">
            <a:xfrm>
              <a:off x="4373136" y="2287125"/>
              <a:ext cx="620083" cy="536943"/>
            </a:xfrm>
            <a:custGeom>
              <a:avLst/>
              <a:gdLst>
                <a:gd name="T0" fmla="*/ 310 w 358"/>
                <a:gd name="T1" fmla="*/ 44 h 310"/>
                <a:gd name="T2" fmla="*/ 290 w 358"/>
                <a:gd name="T3" fmla="*/ 30 h 310"/>
                <a:gd name="T4" fmla="*/ 270 w 358"/>
                <a:gd name="T5" fmla="*/ 50 h 310"/>
                <a:gd name="T6" fmla="*/ 260 w 358"/>
                <a:gd name="T7" fmla="*/ 66 h 310"/>
                <a:gd name="T8" fmla="*/ 216 w 358"/>
                <a:gd name="T9" fmla="*/ 66 h 310"/>
                <a:gd name="T10" fmla="*/ 198 w 358"/>
                <a:gd name="T11" fmla="*/ 80 h 310"/>
                <a:gd name="T12" fmla="*/ 174 w 358"/>
                <a:gd name="T13" fmla="*/ 86 h 310"/>
                <a:gd name="T14" fmla="*/ 158 w 358"/>
                <a:gd name="T15" fmla="*/ 88 h 310"/>
                <a:gd name="T16" fmla="*/ 154 w 358"/>
                <a:gd name="T17" fmla="*/ 100 h 310"/>
                <a:gd name="T18" fmla="*/ 146 w 358"/>
                <a:gd name="T19" fmla="*/ 110 h 310"/>
                <a:gd name="T20" fmla="*/ 138 w 358"/>
                <a:gd name="T21" fmla="*/ 120 h 310"/>
                <a:gd name="T22" fmla="*/ 130 w 358"/>
                <a:gd name="T23" fmla="*/ 132 h 310"/>
                <a:gd name="T24" fmla="*/ 120 w 358"/>
                <a:gd name="T25" fmla="*/ 142 h 310"/>
                <a:gd name="T26" fmla="*/ 114 w 358"/>
                <a:gd name="T27" fmla="*/ 166 h 310"/>
                <a:gd name="T28" fmla="*/ 122 w 358"/>
                <a:gd name="T29" fmla="*/ 176 h 310"/>
                <a:gd name="T30" fmla="*/ 110 w 358"/>
                <a:gd name="T31" fmla="*/ 178 h 310"/>
                <a:gd name="T32" fmla="*/ 100 w 358"/>
                <a:gd name="T33" fmla="*/ 184 h 310"/>
                <a:gd name="T34" fmla="*/ 104 w 358"/>
                <a:gd name="T35" fmla="*/ 230 h 310"/>
                <a:gd name="T36" fmla="*/ 116 w 358"/>
                <a:gd name="T37" fmla="*/ 262 h 310"/>
                <a:gd name="T38" fmla="*/ 104 w 358"/>
                <a:gd name="T39" fmla="*/ 270 h 310"/>
                <a:gd name="T40" fmla="*/ 94 w 358"/>
                <a:gd name="T41" fmla="*/ 296 h 310"/>
                <a:gd name="T42" fmla="*/ 72 w 358"/>
                <a:gd name="T43" fmla="*/ 294 h 310"/>
                <a:gd name="T44" fmla="*/ 44 w 358"/>
                <a:gd name="T45" fmla="*/ 306 h 310"/>
                <a:gd name="T46" fmla="*/ 20 w 358"/>
                <a:gd name="T47" fmla="*/ 308 h 310"/>
                <a:gd name="T48" fmla="*/ 18 w 358"/>
                <a:gd name="T49" fmla="*/ 290 h 310"/>
                <a:gd name="T50" fmla="*/ 14 w 358"/>
                <a:gd name="T51" fmla="*/ 274 h 310"/>
                <a:gd name="T52" fmla="*/ 12 w 358"/>
                <a:gd name="T53" fmla="*/ 260 h 310"/>
                <a:gd name="T54" fmla="*/ 0 w 358"/>
                <a:gd name="T55" fmla="*/ 246 h 310"/>
                <a:gd name="T56" fmla="*/ 6 w 358"/>
                <a:gd name="T57" fmla="*/ 220 h 310"/>
                <a:gd name="T58" fmla="*/ 18 w 358"/>
                <a:gd name="T59" fmla="*/ 210 h 310"/>
                <a:gd name="T60" fmla="*/ 40 w 358"/>
                <a:gd name="T61" fmla="*/ 204 h 310"/>
                <a:gd name="T62" fmla="*/ 52 w 358"/>
                <a:gd name="T63" fmla="*/ 192 h 310"/>
                <a:gd name="T64" fmla="*/ 66 w 358"/>
                <a:gd name="T65" fmla="*/ 190 h 310"/>
                <a:gd name="T66" fmla="*/ 70 w 358"/>
                <a:gd name="T67" fmla="*/ 172 h 310"/>
                <a:gd name="T68" fmla="*/ 88 w 358"/>
                <a:gd name="T69" fmla="*/ 166 h 310"/>
                <a:gd name="T70" fmla="*/ 98 w 358"/>
                <a:gd name="T71" fmla="*/ 148 h 310"/>
                <a:gd name="T72" fmla="*/ 106 w 358"/>
                <a:gd name="T73" fmla="*/ 120 h 310"/>
                <a:gd name="T74" fmla="*/ 134 w 358"/>
                <a:gd name="T75" fmla="*/ 90 h 310"/>
                <a:gd name="T76" fmla="*/ 164 w 358"/>
                <a:gd name="T77" fmla="*/ 76 h 310"/>
                <a:gd name="T78" fmla="*/ 192 w 358"/>
                <a:gd name="T79" fmla="*/ 68 h 310"/>
                <a:gd name="T80" fmla="*/ 204 w 358"/>
                <a:gd name="T81" fmla="*/ 58 h 310"/>
                <a:gd name="T82" fmla="*/ 216 w 358"/>
                <a:gd name="T83" fmla="*/ 48 h 310"/>
                <a:gd name="T84" fmla="*/ 214 w 358"/>
                <a:gd name="T85" fmla="*/ 32 h 310"/>
                <a:gd name="T86" fmla="*/ 206 w 358"/>
                <a:gd name="T87" fmla="*/ 24 h 310"/>
                <a:gd name="T88" fmla="*/ 220 w 358"/>
                <a:gd name="T89" fmla="*/ 18 h 310"/>
                <a:gd name="T90" fmla="*/ 226 w 358"/>
                <a:gd name="T91" fmla="*/ 14 h 310"/>
                <a:gd name="T92" fmla="*/ 232 w 358"/>
                <a:gd name="T93" fmla="*/ 26 h 310"/>
                <a:gd name="T94" fmla="*/ 234 w 358"/>
                <a:gd name="T95" fmla="*/ 18 h 310"/>
                <a:gd name="T96" fmla="*/ 244 w 358"/>
                <a:gd name="T97" fmla="*/ 22 h 310"/>
                <a:gd name="T98" fmla="*/ 256 w 358"/>
                <a:gd name="T99" fmla="*/ 26 h 310"/>
                <a:gd name="T100" fmla="*/ 258 w 358"/>
                <a:gd name="T101" fmla="*/ 14 h 310"/>
                <a:gd name="T102" fmla="*/ 256 w 358"/>
                <a:gd name="T103" fmla="*/ 6 h 310"/>
                <a:gd name="T104" fmla="*/ 272 w 358"/>
                <a:gd name="T105" fmla="*/ 10 h 310"/>
                <a:gd name="T106" fmla="*/ 282 w 358"/>
                <a:gd name="T107" fmla="*/ 4 h 310"/>
                <a:gd name="T108" fmla="*/ 288 w 358"/>
                <a:gd name="T109" fmla="*/ 10 h 310"/>
                <a:gd name="T110" fmla="*/ 300 w 358"/>
                <a:gd name="T111" fmla="*/ 16 h 310"/>
                <a:gd name="T112" fmla="*/ 316 w 358"/>
                <a:gd name="T113" fmla="*/ 6 h 310"/>
                <a:gd name="T114" fmla="*/ 332 w 358"/>
                <a:gd name="T115" fmla="*/ 16 h 310"/>
                <a:gd name="T116" fmla="*/ 332 w 358"/>
                <a:gd name="T117" fmla="*/ 30 h 310"/>
                <a:gd name="T118" fmla="*/ 340 w 358"/>
                <a:gd name="T119" fmla="*/ 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302" y="68"/>
                  </a:moveTo>
                  <a:lnTo>
                    <a:pt x="302" y="68"/>
                  </a:lnTo>
                  <a:lnTo>
                    <a:pt x="304" y="64"/>
                  </a:lnTo>
                  <a:lnTo>
                    <a:pt x="304" y="62"/>
                  </a:lnTo>
                  <a:lnTo>
                    <a:pt x="306" y="58"/>
                  </a:lnTo>
                  <a:lnTo>
                    <a:pt x="308" y="54"/>
                  </a:lnTo>
                  <a:lnTo>
                    <a:pt x="308" y="52"/>
                  </a:lnTo>
                  <a:lnTo>
                    <a:pt x="310" y="50"/>
                  </a:lnTo>
                  <a:lnTo>
                    <a:pt x="310" y="48"/>
                  </a:lnTo>
                  <a:lnTo>
                    <a:pt x="310" y="46"/>
                  </a:lnTo>
                  <a:lnTo>
                    <a:pt x="310" y="44"/>
                  </a:lnTo>
                  <a:lnTo>
                    <a:pt x="310" y="44"/>
                  </a:lnTo>
                  <a:lnTo>
                    <a:pt x="310" y="42"/>
                  </a:lnTo>
                  <a:lnTo>
                    <a:pt x="310" y="42"/>
                  </a:lnTo>
                  <a:lnTo>
                    <a:pt x="308" y="40"/>
                  </a:lnTo>
                  <a:lnTo>
                    <a:pt x="308" y="40"/>
                  </a:lnTo>
                  <a:lnTo>
                    <a:pt x="306" y="38"/>
                  </a:lnTo>
                  <a:lnTo>
                    <a:pt x="304" y="36"/>
                  </a:lnTo>
                  <a:lnTo>
                    <a:pt x="302" y="36"/>
                  </a:lnTo>
                  <a:lnTo>
                    <a:pt x="298" y="34"/>
                  </a:lnTo>
                  <a:lnTo>
                    <a:pt x="296" y="32"/>
                  </a:lnTo>
                  <a:lnTo>
                    <a:pt x="294" y="32"/>
                  </a:lnTo>
                  <a:lnTo>
                    <a:pt x="292" y="32"/>
                  </a:lnTo>
                  <a:lnTo>
                    <a:pt x="290" y="30"/>
                  </a:lnTo>
                  <a:lnTo>
                    <a:pt x="288" y="30"/>
                  </a:lnTo>
                  <a:lnTo>
                    <a:pt x="288" y="30"/>
                  </a:lnTo>
                  <a:lnTo>
                    <a:pt x="286" y="32"/>
                  </a:lnTo>
                  <a:lnTo>
                    <a:pt x="286" y="32"/>
                  </a:lnTo>
                  <a:lnTo>
                    <a:pt x="284" y="32"/>
                  </a:lnTo>
                  <a:lnTo>
                    <a:pt x="282" y="34"/>
                  </a:lnTo>
                  <a:lnTo>
                    <a:pt x="280" y="36"/>
                  </a:lnTo>
                  <a:lnTo>
                    <a:pt x="278" y="38"/>
                  </a:lnTo>
                  <a:lnTo>
                    <a:pt x="276" y="40"/>
                  </a:lnTo>
                  <a:lnTo>
                    <a:pt x="274" y="44"/>
                  </a:lnTo>
                  <a:lnTo>
                    <a:pt x="272" y="48"/>
                  </a:lnTo>
                  <a:lnTo>
                    <a:pt x="270" y="50"/>
                  </a:lnTo>
                  <a:lnTo>
                    <a:pt x="270" y="52"/>
                  </a:lnTo>
                  <a:lnTo>
                    <a:pt x="268" y="54"/>
                  </a:lnTo>
                  <a:lnTo>
                    <a:pt x="268" y="58"/>
                  </a:lnTo>
                  <a:lnTo>
                    <a:pt x="266" y="60"/>
                  </a:lnTo>
                  <a:lnTo>
                    <a:pt x="266" y="62"/>
                  </a:lnTo>
                  <a:lnTo>
                    <a:pt x="264" y="64"/>
                  </a:lnTo>
                  <a:lnTo>
                    <a:pt x="264" y="64"/>
                  </a:lnTo>
                  <a:lnTo>
                    <a:pt x="264" y="64"/>
                  </a:lnTo>
                  <a:lnTo>
                    <a:pt x="262" y="66"/>
                  </a:lnTo>
                  <a:lnTo>
                    <a:pt x="262" y="66"/>
                  </a:lnTo>
                  <a:lnTo>
                    <a:pt x="260" y="66"/>
                  </a:lnTo>
                  <a:lnTo>
                    <a:pt x="260" y="66"/>
                  </a:lnTo>
                  <a:lnTo>
                    <a:pt x="256" y="68"/>
                  </a:lnTo>
                  <a:lnTo>
                    <a:pt x="254" y="68"/>
                  </a:lnTo>
                  <a:lnTo>
                    <a:pt x="252" y="68"/>
                  </a:lnTo>
                  <a:lnTo>
                    <a:pt x="248" y="68"/>
                  </a:lnTo>
                  <a:lnTo>
                    <a:pt x="244" y="68"/>
                  </a:lnTo>
                  <a:lnTo>
                    <a:pt x="242" y="68"/>
                  </a:lnTo>
                  <a:lnTo>
                    <a:pt x="240" y="68"/>
                  </a:lnTo>
                  <a:lnTo>
                    <a:pt x="236" y="66"/>
                  </a:lnTo>
                  <a:lnTo>
                    <a:pt x="230" y="64"/>
                  </a:lnTo>
                  <a:lnTo>
                    <a:pt x="224" y="64"/>
                  </a:lnTo>
                  <a:lnTo>
                    <a:pt x="220" y="62"/>
                  </a:lnTo>
                  <a:lnTo>
                    <a:pt x="216" y="66"/>
                  </a:lnTo>
                  <a:lnTo>
                    <a:pt x="214" y="68"/>
                  </a:lnTo>
                  <a:lnTo>
                    <a:pt x="210" y="70"/>
                  </a:lnTo>
                  <a:lnTo>
                    <a:pt x="210" y="70"/>
                  </a:lnTo>
                  <a:lnTo>
                    <a:pt x="208" y="72"/>
                  </a:lnTo>
                  <a:lnTo>
                    <a:pt x="208" y="74"/>
                  </a:lnTo>
                  <a:lnTo>
                    <a:pt x="206" y="76"/>
                  </a:lnTo>
                  <a:lnTo>
                    <a:pt x="206" y="78"/>
                  </a:lnTo>
                  <a:lnTo>
                    <a:pt x="204" y="78"/>
                  </a:lnTo>
                  <a:lnTo>
                    <a:pt x="204" y="78"/>
                  </a:lnTo>
                  <a:lnTo>
                    <a:pt x="202" y="80"/>
                  </a:lnTo>
                  <a:lnTo>
                    <a:pt x="200" y="80"/>
                  </a:lnTo>
                  <a:lnTo>
                    <a:pt x="198" y="80"/>
                  </a:lnTo>
                  <a:lnTo>
                    <a:pt x="196" y="80"/>
                  </a:lnTo>
                  <a:lnTo>
                    <a:pt x="192" y="78"/>
                  </a:lnTo>
                  <a:lnTo>
                    <a:pt x="190" y="78"/>
                  </a:lnTo>
                  <a:lnTo>
                    <a:pt x="190" y="78"/>
                  </a:lnTo>
                  <a:lnTo>
                    <a:pt x="184" y="80"/>
                  </a:lnTo>
                  <a:lnTo>
                    <a:pt x="182" y="80"/>
                  </a:lnTo>
                  <a:lnTo>
                    <a:pt x="180" y="80"/>
                  </a:lnTo>
                  <a:lnTo>
                    <a:pt x="180" y="80"/>
                  </a:lnTo>
                  <a:lnTo>
                    <a:pt x="178" y="80"/>
                  </a:lnTo>
                  <a:lnTo>
                    <a:pt x="178" y="82"/>
                  </a:lnTo>
                  <a:lnTo>
                    <a:pt x="176" y="84"/>
                  </a:lnTo>
                  <a:lnTo>
                    <a:pt x="174" y="86"/>
                  </a:lnTo>
                  <a:lnTo>
                    <a:pt x="172" y="86"/>
                  </a:lnTo>
                  <a:lnTo>
                    <a:pt x="172" y="88"/>
                  </a:lnTo>
                  <a:lnTo>
                    <a:pt x="170" y="88"/>
                  </a:lnTo>
                  <a:lnTo>
                    <a:pt x="168" y="90"/>
                  </a:lnTo>
                  <a:lnTo>
                    <a:pt x="166" y="90"/>
                  </a:lnTo>
                  <a:lnTo>
                    <a:pt x="164" y="92"/>
                  </a:lnTo>
                  <a:lnTo>
                    <a:pt x="164" y="92"/>
                  </a:lnTo>
                  <a:lnTo>
                    <a:pt x="164" y="92"/>
                  </a:lnTo>
                  <a:lnTo>
                    <a:pt x="162" y="90"/>
                  </a:lnTo>
                  <a:lnTo>
                    <a:pt x="160" y="90"/>
                  </a:lnTo>
                  <a:lnTo>
                    <a:pt x="158" y="90"/>
                  </a:lnTo>
                  <a:lnTo>
                    <a:pt x="158" y="88"/>
                  </a:lnTo>
                  <a:lnTo>
                    <a:pt x="156" y="88"/>
                  </a:lnTo>
                  <a:lnTo>
                    <a:pt x="156" y="88"/>
                  </a:lnTo>
                  <a:lnTo>
                    <a:pt x="156" y="88"/>
                  </a:lnTo>
                  <a:lnTo>
                    <a:pt x="154" y="90"/>
                  </a:lnTo>
                  <a:lnTo>
                    <a:pt x="154" y="90"/>
                  </a:lnTo>
                  <a:lnTo>
                    <a:pt x="154" y="90"/>
                  </a:lnTo>
                  <a:lnTo>
                    <a:pt x="154" y="92"/>
                  </a:lnTo>
                  <a:lnTo>
                    <a:pt x="154" y="92"/>
                  </a:lnTo>
                  <a:lnTo>
                    <a:pt x="154" y="94"/>
                  </a:lnTo>
                  <a:lnTo>
                    <a:pt x="154" y="96"/>
                  </a:lnTo>
                  <a:lnTo>
                    <a:pt x="154" y="98"/>
                  </a:lnTo>
                  <a:lnTo>
                    <a:pt x="154" y="100"/>
                  </a:lnTo>
                  <a:lnTo>
                    <a:pt x="154" y="100"/>
                  </a:lnTo>
                  <a:lnTo>
                    <a:pt x="154" y="102"/>
                  </a:lnTo>
                  <a:lnTo>
                    <a:pt x="154" y="102"/>
                  </a:lnTo>
                  <a:lnTo>
                    <a:pt x="152" y="102"/>
                  </a:lnTo>
                  <a:lnTo>
                    <a:pt x="150" y="104"/>
                  </a:lnTo>
                  <a:lnTo>
                    <a:pt x="148" y="106"/>
                  </a:lnTo>
                  <a:lnTo>
                    <a:pt x="148" y="106"/>
                  </a:lnTo>
                  <a:lnTo>
                    <a:pt x="146" y="106"/>
                  </a:lnTo>
                  <a:lnTo>
                    <a:pt x="146" y="108"/>
                  </a:lnTo>
                  <a:lnTo>
                    <a:pt x="146" y="108"/>
                  </a:lnTo>
                  <a:lnTo>
                    <a:pt x="146" y="110"/>
                  </a:lnTo>
                  <a:lnTo>
                    <a:pt x="146" y="110"/>
                  </a:lnTo>
                  <a:lnTo>
                    <a:pt x="146" y="112"/>
                  </a:lnTo>
                  <a:lnTo>
                    <a:pt x="146" y="114"/>
                  </a:lnTo>
                  <a:lnTo>
                    <a:pt x="146" y="116"/>
                  </a:lnTo>
                  <a:lnTo>
                    <a:pt x="144" y="118"/>
                  </a:lnTo>
                  <a:lnTo>
                    <a:pt x="144" y="118"/>
                  </a:lnTo>
                  <a:lnTo>
                    <a:pt x="144" y="120"/>
                  </a:lnTo>
                  <a:lnTo>
                    <a:pt x="144" y="120"/>
                  </a:lnTo>
                  <a:lnTo>
                    <a:pt x="144" y="120"/>
                  </a:lnTo>
                  <a:lnTo>
                    <a:pt x="142" y="120"/>
                  </a:lnTo>
                  <a:lnTo>
                    <a:pt x="140" y="120"/>
                  </a:lnTo>
                  <a:lnTo>
                    <a:pt x="140" y="120"/>
                  </a:lnTo>
                  <a:lnTo>
                    <a:pt x="138" y="120"/>
                  </a:lnTo>
                  <a:lnTo>
                    <a:pt x="136" y="120"/>
                  </a:lnTo>
                  <a:lnTo>
                    <a:pt x="134" y="120"/>
                  </a:lnTo>
                  <a:lnTo>
                    <a:pt x="134" y="120"/>
                  </a:lnTo>
                  <a:lnTo>
                    <a:pt x="134" y="120"/>
                  </a:lnTo>
                  <a:lnTo>
                    <a:pt x="134" y="120"/>
                  </a:lnTo>
                  <a:lnTo>
                    <a:pt x="134" y="122"/>
                  </a:lnTo>
                  <a:lnTo>
                    <a:pt x="132" y="122"/>
                  </a:lnTo>
                  <a:lnTo>
                    <a:pt x="132" y="124"/>
                  </a:lnTo>
                  <a:lnTo>
                    <a:pt x="132" y="126"/>
                  </a:lnTo>
                  <a:lnTo>
                    <a:pt x="132" y="130"/>
                  </a:lnTo>
                  <a:lnTo>
                    <a:pt x="130" y="130"/>
                  </a:lnTo>
                  <a:lnTo>
                    <a:pt x="130" y="132"/>
                  </a:lnTo>
                  <a:lnTo>
                    <a:pt x="130" y="132"/>
                  </a:lnTo>
                  <a:lnTo>
                    <a:pt x="130" y="132"/>
                  </a:lnTo>
                  <a:lnTo>
                    <a:pt x="128" y="132"/>
                  </a:lnTo>
                  <a:lnTo>
                    <a:pt x="126" y="134"/>
                  </a:lnTo>
                  <a:lnTo>
                    <a:pt x="124" y="134"/>
                  </a:lnTo>
                  <a:lnTo>
                    <a:pt x="124" y="134"/>
                  </a:lnTo>
                  <a:lnTo>
                    <a:pt x="122" y="136"/>
                  </a:lnTo>
                  <a:lnTo>
                    <a:pt x="122" y="136"/>
                  </a:lnTo>
                  <a:lnTo>
                    <a:pt x="122" y="136"/>
                  </a:lnTo>
                  <a:lnTo>
                    <a:pt x="122" y="138"/>
                  </a:lnTo>
                  <a:lnTo>
                    <a:pt x="122" y="140"/>
                  </a:lnTo>
                  <a:lnTo>
                    <a:pt x="120" y="142"/>
                  </a:lnTo>
                  <a:lnTo>
                    <a:pt x="120" y="144"/>
                  </a:lnTo>
                  <a:lnTo>
                    <a:pt x="120" y="150"/>
                  </a:lnTo>
                  <a:lnTo>
                    <a:pt x="120" y="152"/>
                  </a:lnTo>
                  <a:lnTo>
                    <a:pt x="120" y="154"/>
                  </a:lnTo>
                  <a:lnTo>
                    <a:pt x="120" y="156"/>
                  </a:lnTo>
                  <a:lnTo>
                    <a:pt x="118" y="158"/>
                  </a:lnTo>
                  <a:lnTo>
                    <a:pt x="116" y="160"/>
                  </a:lnTo>
                  <a:lnTo>
                    <a:pt x="116" y="162"/>
                  </a:lnTo>
                  <a:lnTo>
                    <a:pt x="114" y="164"/>
                  </a:lnTo>
                  <a:lnTo>
                    <a:pt x="114" y="166"/>
                  </a:lnTo>
                  <a:lnTo>
                    <a:pt x="114" y="166"/>
                  </a:lnTo>
                  <a:lnTo>
                    <a:pt x="114" y="166"/>
                  </a:lnTo>
                  <a:lnTo>
                    <a:pt x="114" y="168"/>
                  </a:lnTo>
                  <a:lnTo>
                    <a:pt x="114" y="168"/>
                  </a:lnTo>
                  <a:lnTo>
                    <a:pt x="116" y="168"/>
                  </a:lnTo>
                  <a:lnTo>
                    <a:pt x="116" y="170"/>
                  </a:lnTo>
                  <a:lnTo>
                    <a:pt x="118" y="170"/>
                  </a:lnTo>
                  <a:lnTo>
                    <a:pt x="120" y="172"/>
                  </a:lnTo>
                  <a:lnTo>
                    <a:pt x="122" y="172"/>
                  </a:lnTo>
                  <a:lnTo>
                    <a:pt x="122" y="172"/>
                  </a:lnTo>
                  <a:lnTo>
                    <a:pt x="122" y="174"/>
                  </a:lnTo>
                  <a:lnTo>
                    <a:pt x="122" y="174"/>
                  </a:lnTo>
                  <a:lnTo>
                    <a:pt x="122" y="174"/>
                  </a:lnTo>
                  <a:lnTo>
                    <a:pt x="122" y="176"/>
                  </a:lnTo>
                  <a:lnTo>
                    <a:pt x="122" y="176"/>
                  </a:lnTo>
                  <a:lnTo>
                    <a:pt x="122" y="176"/>
                  </a:lnTo>
                  <a:lnTo>
                    <a:pt x="120" y="178"/>
                  </a:lnTo>
                  <a:lnTo>
                    <a:pt x="120" y="178"/>
                  </a:lnTo>
                  <a:lnTo>
                    <a:pt x="118" y="178"/>
                  </a:lnTo>
                  <a:lnTo>
                    <a:pt x="118" y="180"/>
                  </a:lnTo>
                  <a:lnTo>
                    <a:pt x="116" y="180"/>
                  </a:lnTo>
                  <a:lnTo>
                    <a:pt x="116" y="180"/>
                  </a:lnTo>
                  <a:lnTo>
                    <a:pt x="114" y="180"/>
                  </a:lnTo>
                  <a:lnTo>
                    <a:pt x="114" y="180"/>
                  </a:lnTo>
                  <a:lnTo>
                    <a:pt x="112" y="178"/>
                  </a:lnTo>
                  <a:lnTo>
                    <a:pt x="110" y="178"/>
                  </a:lnTo>
                  <a:lnTo>
                    <a:pt x="108" y="178"/>
                  </a:lnTo>
                  <a:lnTo>
                    <a:pt x="106" y="176"/>
                  </a:lnTo>
                  <a:lnTo>
                    <a:pt x="104" y="176"/>
                  </a:lnTo>
                  <a:lnTo>
                    <a:pt x="104" y="176"/>
                  </a:lnTo>
                  <a:lnTo>
                    <a:pt x="102" y="176"/>
                  </a:lnTo>
                  <a:lnTo>
                    <a:pt x="102" y="176"/>
                  </a:lnTo>
                  <a:lnTo>
                    <a:pt x="102" y="178"/>
                  </a:lnTo>
                  <a:lnTo>
                    <a:pt x="102" y="178"/>
                  </a:lnTo>
                  <a:lnTo>
                    <a:pt x="100" y="178"/>
                  </a:lnTo>
                  <a:lnTo>
                    <a:pt x="100" y="180"/>
                  </a:lnTo>
                  <a:lnTo>
                    <a:pt x="100" y="182"/>
                  </a:lnTo>
                  <a:lnTo>
                    <a:pt x="100" y="184"/>
                  </a:lnTo>
                  <a:lnTo>
                    <a:pt x="98" y="188"/>
                  </a:lnTo>
                  <a:lnTo>
                    <a:pt x="98" y="188"/>
                  </a:lnTo>
                  <a:lnTo>
                    <a:pt x="98" y="190"/>
                  </a:lnTo>
                  <a:lnTo>
                    <a:pt x="98" y="194"/>
                  </a:lnTo>
                  <a:lnTo>
                    <a:pt x="100" y="196"/>
                  </a:lnTo>
                  <a:lnTo>
                    <a:pt x="100" y="200"/>
                  </a:lnTo>
                  <a:lnTo>
                    <a:pt x="102" y="208"/>
                  </a:lnTo>
                  <a:lnTo>
                    <a:pt x="102" y="214"/>
                  </a:lnTo>
                  <a:lnTo>
                    <a:pt x="104" y="222"/>
                  </a:lnTo>
                  <a:lnTo>
                    <a:pt x="104" y="226"/>
                  </a:lnTo>
                  <a:lnTo>
                    <a:pt x="104" y="228"/>
                  </a:lnTo>
                  <a:lnTo>
                    <a:pt x="104" y="230"/>
                  </a:lnTo>
                  <a:lnTo>
                    <a:pt x="106" y="232"/>
                  </a:lnTo>
                  <a:lnTo>
                    <a:pt x="106" y="234"/>
                  </a:lnTo>
                  <a:lnTo>
                    <a:pt x="108" y="238"/>
                  </a:lnTo>
                  <a:lnTo>
                    <a:pt x="110" y="242"/>
                  </a:lnTo>
                  <a:lnTo>
                    <a:pt x="112" y="244"/>
                  </a:lnTo>
                  <a:lnTo>
                    <a:pt x="112" y="246"/>
                  </a:lnTo>
                  <a:lnTo>
                    <a:pt x="114" y="250"/>
                  </a:lnTo>
                  <a:lnTo>
                    <a:pt x="114" y="252"/>
                  </a:lnTo>
                  <a:lnTo>
                    <a:pt x="116" y="256"/>
                  </a:lnTo>
                  <a:lnTo>
                    <a:pt x="116" y="258"/>
                  </a:lnTo>
                  <a:lnTo>
                    <a:pt x="116" y="260"/>
                  </a:lnTo>
                  <a:lnTo>
                    <a:pt x="116" y="262"/>
                  </a:lnTo>
                  <a:lnTo>
                    <a:pt x="116" y="262"/>
                  </a:lnTo>
                  <a:lnTo>
                    <a:pt x="116" y="262"/>
                  </a:lnTo>
                  <a:lnTo>
                    <a:pt x="116" y="264"/>
                  </a:lnTo>
                  <a:lnTo>
                    <a:pt x="116" y="264"/>
                  </a:lnTo>
                  <a:lnTo>
                    <a:pt x="116" y="266"/>
                  </a:lnTo>
                  <a:lnTo>
                    <a:pt x="114" y="266"/>
                  </a:lnTo>
                  <a:lnTo>
                    <a:pt x="114" y="266"/>
                  </a:lnTo>
                  <a:lnTo>
                    <a:pt x="112" y="268"/>
                  </a:lnTo>
                  <a:lnTo>
                    <a:pt x="110" y="268"/>
                  </a:lnTo>
                  <a:lnTo>
                    <a:pt x="108" y="268"/>
                  </a:lnTo>
                  <a:lnTo>
                    <a:pt x="106" y="270"/>
                  </a:lnTo>
                  <a:lnTo>
                    <a:pt x="104" y="270"/>
                  </a:lnTo>
                  <a:lnTo>
                    <a:pt x="102" y="270"/>
                  </a:lnTo>
                  <a:lnTo>
                    <a:pt x="102" y="272"/>
                  </a:lnTo>
                  <a:lnTo>
                    <a:pt x="102" y="272"/>
                  </a:lnTo>
                  <a:lnTo>
                    <a:pt x="102" y="274"/>
                  </a:lnTo>
                  <a:lnTo>
                    <a:pt x="100" y="276"/>
                  </a:lnTo>
                  <a:lnTo>
                    <a:pt x="100" y="278"/>
                  </a:lnTo>
                  <a:lnTo>
                    <a:pt x="100" y="280"/>
                  </a:lnTo>
                  <a:lnTo>
                    <a:pt x="98" y="284"/>
                  </a:lnTo>
                  <a:lnTo>
                    <a:pt x="98" y="288"/>
                  </a:lnTo>
                  <a:lnTo>
                    <a:pt x="98" y="290"/>
                  </a:lnTo>
                  <a:lnTo>
                    <a:pt x="96" y="292"/>
                  </a:lnTo>
                  <a:lnTo>
                    <a:pt x="94" y="296"/>
                  </a:lnTo>
                  <a:lnTo>
                    <a:pt x="92" y="300"/>
                  </a:lnTo>
                  <a:lnTo>
                    <a:pt x="92" y="298"/>
                  </a:lnTo>
                  <a:lnTo>
                    <a:pt x="88" y="296"/>
                  </a:lnTo>
                  <a:lnTo>
                    <a:pt x="86" y="296"/>
                  </a:lnTo>
                  <a:lnTo>
                    <a:pt x="86" y="294"/>
                  </a:lnTo>
                  <a:lnTo>
                    <a:pt x="84" y="294"/>
                  </a:lnTo>
                  <a:lnTo>
                    <a:pt x="82" y="292"/>
                  </a:lnTo>
                  <a:lnTo>
                    <a:pt x="82" y="292"/>
                  </a:lnTo>
                  <a:lnTo>
                    <a:pt x="80" y="292"/>
                  </a:lnTo>
                  <a:lnTo>
                    <a:pt x="78" y="292"/>
                  </a:lnTo>
                  <a:lnTo>
                    <a:pt x="74" y="294"/>
                  </a:lnTo>
                  <a:lnTo>
                    <a:pt x="72" y="294"/>
                  </a:lnTo>
                  <a:lnTo>
                    <a:pt x="68" y="294"/>
                  </a:lnTo>
                  <a:lnTo>
                    <a:pt x="66" y="296"/>
                  </a:lnTo>
                  <a:lnTo>
                    <a:pt x="64" y="296"/>
                  </a:lnTo>
                  <a:lnTo>
                    <a:pt x="60" y="296"/>
                  </a:lnTo>
                  <a:lnTo>
                    <a:pt x="60" y="298"/>
                  </a:lnTo>
                  <a:lnTo>
                    <a:pt x="58" y="298"/>
                  </a:lnTo>
                  <a:lnTo>
                    <a:pt x="56" y="300"/>
                  </a:lnTo>
                  <a:lnTo>
                    <a:pt x="52" y="302"/>
                  </a:lnTo>
                  <a:lnTo>
                    <a:pt x="50" y="304"/>
                  </a:lnTo>
                  <a:lnTo>
                    <a:pt x="50" y="304"/>
                  </a:lnTo>
                  <a:lnTo>
                    <a:pt x="46" y="306"/>
                  </a:lnTo>
                  <a:lnTo>
                    <a:pt x="44" y="306"/>
                  </a:lnTo>
                  <a:lnTo>
                    <a:pt x="40" y="308"/>
                  </a:lnTo>
                  <a:lnTo>
                    <a:pt x="38" y="308"/>
                  </a:lnTo>
                  <a:lnTo>
                    <a:pt x="34" y="308"/>
                  </a:lnTo>
                  <a:lnTo>
                    <a:pt x="32" y="310"/>
                  </a:lnTo>
                  <a:lnTo>
                    <a:pt x="30" y="310"/>
                  </a:lnTo>
                  <a:lnTo>
                    <a:pt x="26" y="310"/>
                  </a:lnTo>
                  <a:lnTo>
                    <a:pt x="24" y="310"/>
                  </a:lnTo>
                  <a:lnTo>
                    <a:pt x="24" y="310"/>
                  </a:lnTo>
                  <a:lnTo>
                    <a:pt x="22" y="310"/>
                  </a:lnTo>
                  <a:lnTo>
                    <a:pt x="22" y="310"/>
                  </a:lnTo>
                  <a:lnTo>
                    <a:pt x="20" y="310"/>
                  </a:lnTo>
                  <a:lnTo>
                    <a:pt x="20" y="308"/>
                  </a:lnTo>
                  <a:lnTo>
                    <a:pt x="20" y="308"/>
                  </a:lnTo>
                  <a:lnTo>
                    <a:pt x="20" y="306"/>
                  </a:lnTo>
                  <a:lnTo>
                    <a:pt x="20" y="306"/>
                  </a:lnTo>
                  <a:lnTo>
                    <a:pt x="20" y="304"/>
                  </a:lnTo>
                  <a:lnTo>
                    <a:pt x="20" y="300"/>
                  </a:lnTo>
                  <a:lnTo>
                    <a:pt x="20" y="298"/>
                  </a:lnTo>
                  <a:lnTo>
                    <a:pt x="20" y="296"/>
                  </a:lnTo>
                  <a:lnTo>
                    <a:pt x="20" y="294"/>
                  </a:lnTo>
                  <a:lnTo>
                    <a:pt x="20" y="294"/>
                  </a:lnTo>
                  <a:lnTo>
                    <a:pt x="20" y="292"/>
                  </a:lnTo>
                  <a:lnTo>
                    <a:pt x="20" y="292"/>
                  </a:lnTo>
                  <a:lnTo>
                    <a:pt x="18" y="290"/>
                  </a:lnTo>
                  <a:lnTo>
                    <a:pt x="18" y="290"/>
                  </a:lnTo>
                  <a:lnTo>
                    <a:pt x="16" y="290"/>
                  </a:lnTo>
                  <a:lnTo>
                    <a:pt x="14" y="288"/>
                  </a:lnTo>
                  <a:lnTo>
                    <a:pt x="14" y="288"/>
                  </a:lnTo>
                  <a:lnTo>
                    <a:pt x="12" y="288"/>
                  </a:lnTo>
                  <a:lnTo>
                    <a:pt x="12" y="286"/>
                  </a:lnTo>
                  <a:lnTo>
                    <a:pt x="12" y="286"/>
                  </a:lnTo>
                  <a:lnTo>
                    <a:pt x="12" y="284"/>
                  </a:lnTo>
                  <a:lnTo>
                    <a:pt x="12" y="282"/>
                  </a:lnTo>
                  <a:lnTo>
                    <a:pt x="12" y="280"/>
                  </a:lnTo>
                  <a:lnTo>
                    <a:pt x="12" y="276"/>
                  </a:lnTo>
                  <a:lnTo>
                    <a:pt x="14" y="274"/>
                  </a:lnTo>
                  <a:lnTo>
                    <a:pt x="16" y="270"/>
                  </a:lnTo>
                  <a:lnTo>
                    <a:pt x="16" y="268"/>
                  </a:lnTo>
                  <a:lnTo>
                    <a:pt x="16" y="266"/>
                  </a:lnTo>
                  <a:lnTo>
                    <a:pt x="16" y="264"/>
                  </a:lnTo>
                  <a:lnTo>
                    <a:pt x="16" y="262"/>
                  </a:lnTo>
                  <a:lnTo>
                    <a:pt x="16" y="262"/>
                  </a:lnTo>
                  <a:lnTo>
                    <a:pt x="16" y="260"/>
                  </a:lnTo>
                  <a:lnTo>
                    <a:pt x="16" y="260"/>
                  </a:lnTo>
                  <a:lnTo>
                    <a:pt x="16" y="260"/>
                  </a:lnTo>
                  <a:lnTo>
                    <a:pt x="14" y="260"/>
                  </a:lnTo>
                  <a:lnTo>
                    <a:pt x="14" y="260"/>
                  </a:lnTo>
                  <a:lnTo>
                    <a:pt x="12" y="260"/>
                  </a:lnTo>
                  <a:lnTo>
                    <a:pt x="10" y="260"/>
                  </a:lnTo>
                  <a:lnTo>
                    <a:pt x="8" y="260"/>
                  </a:lnTo>
                  <a:lnTo>
                    <a:pt x="8" y="260"/>
                  </a:lnTo>
                  <a:lnTo>
                    <a:pt x="6" y="260"/>
                  </a:lnTo>
                  <a:lnTo>
                    <a:pt x="6" y="260"/>
                  </a:lnTo>
                  <a:lnTo>
                    <a:pt x="6" y="258"/>
                  </a:lnTo>
                  <a:lnTo>
                    <a:pt x="4" y="258"/>
                  </a:lnTo>
                  <a:lnTo>
                    <a:pt x="4" y="256"/>
                  </a:lnTo>
                  <a:lnTo>
                    <a:pt x="2" y="254"/>
                  </a:lnTo>
                  <a:lnTo>
                    <a:pt x="2" y="252"/>
                  </a:lnTo>
                  <a:lnTo>
                    <a:pt x="2" y="248"/>
                  </a:lnTo>
                  <a:lnTo>
                    <a:pt x="0" y="246"/>
                  </a:lnTo>
                  <a:lnTo>
                    <a:pt x="0" y="244"/>
                  </a:lnTo>
                  <a:lnTo>
                    <a:pt x="0" y="240"/>
                  </a:lnTo>
                  <a:lnTo>
                    <a:pt x="0" y="238"/>
                  </a:lnTo>
                  <a:lnTo>
                    <a:pt x="0" y="234"/>
                  </a:lnTo>
                  <a:lnTo>
                    <a:pt x="0" y="232"/>
                  </a:lnTo>
                  <a:lnTo>
                    <a:pt x="2" y="230"/>
                  </a:lnTo>
                  <a:lnTo>
                    <a:pt x="2" y="226"/>
                  </a:lnTo>
                  <a:lnTo>
                    <a:pt x="2" y="224"/>
                  </a:lnTo>
                  <a:lnTo>
                    <a:pt x="4" y="222"/>
                  </a:lnTo>
                  <a:lnTo>
                    <a:pt x="4" y="222"/>
                  </a:lnTo>
                  <a:lnTo>
                    <a:pt x="4" y="220"/>
                  </a:lnTo>
                  <a:lnTo>
                    <a:pt x="6" y="220"/>
                  </a:lnTo>
                  <a:lnTo>
                    <a:pt x="6" y="220"/>
                  </a:lnTo>
                  <a:lnTo>
                    <a:pt x="8" y="220"/>
                  </a:lnTo>
                  <a:lnTo>
                    <a:pt x="10" y="218"/>
                  </a:lnTo>
                  <a:lnTo>
                    <a:pt x="12" y="218"/>
                  </a:lnTo>
                  <a:lnTo>
                    <a:pt x="14" y="218"/>
                  </a:lnTo>
                  <a:lnTo>
                    <a:pt x="14" y="218"/>
                  </a:lnTo>
                  <a:lnTo>
                    <a:pt x="16" y="218"/>
                  </a:lnTo>
                  <a:lnTo>
                    <a:pt x="16" y="218"/>
                  </a:lnTo>
                  <a:lnTo>
                    <a:pt x="16" y="216"/>
                  </a:lnTo>
                  <a:lnTo>
                    <a:pt x="16" y="216"/>
                  </a:lnTo>
                  <a:lnTo>
                    <a:pt x="16" y="212"/>
                  </a:lnTo>
                  <a:lnTo>
                    <a:pt x="18" y="210"/>
                  </a:lnTo>
                  <a:lnTo>
                    <a:pt x="18" y="210"/>
                  </a:lnTo>
                  <a:lnTo>
                    <a:pt x="18" y="208"/>
                  </a:lnTo>
                  <a:lnTo>
                    <a:pt x="20" y="208"/>
                  </a:lnTo>
                  <a:lnTo>
                    <a:pt x="20" y="206"/>
                  </a:lnTo>
                  <a:lnTo>
                    <a:pt x="22" y="206"/>
                  </a:lnTo>
                  <a:lnTo>
                    <a:pt x="24" y="206"/>
                  </a:lnTo>
                  <a:lnTo>
                    <a:pt x="28" y="204"/>
                  </a:lnTo>
                  <a:lnTo>
                    <a:pt x="32" y="204"/>
                  </a:lnTo>
                  <a:lnTo>
                    <a:pt x="34" y="204"/>
                  </a:lnTo>
                  <a:lnTo>
                    <a:pt x="34" y="204"/>
                  </a:lnTo>
                  <a:lnTo>
                    <a:pt x="38" y="204"/>
                  </a:lnTo>
                  <a:lnTo>
                    <a:pt x="40" y="204"/>
                  </a:lnTo>
                  <a:lnTo>
                    <a:pt x="42" y="202"/>
                  </a:lnTo>
                  <a:lnTo>
                    <a:pt x="44" y="202"/>
                  </a:lnTo>
                  <a:lnTo>
                    <a:pt x="44" y="202"/>
                  </a:lnTo>
                  <a:lnTo>
                    <a:pt x="46" y="202"/>
                  </a:lnTo>
                  <a:lnTo>
                    <a:pt x="46" y="200"/>
                  </a:lnTo>
                  <a:lnTo>
                    <a:pt x="48" y="198"/>
                  </a:lnTo>
                  <a:lnTo>
                    <a:pt x="48" y="196"/>
                  </a:lnTo>
                  <a:lnTo>
                    <a:pt x="50" y="196"/>
                  </a:lnTo>
                  <a:lnTo>
                    <a:pt x="50" y="194"/>
                  </a:lnTo>
                  <a:lnTo>
                    <a:pt x="50" y="194"/>
                  </a:lnTo>
                  <a:lnTo>
                    <a:pt x="52" y="194"/>
                  </a:lnTo>
                  <a:lnTo>
                    <a:pt x="52" y="192"/>
                  </a:lnTo>
                  <a:lnTo>
                    <a:pt x="54" y="192"/>
                  </a:lnTo>
                  <a:lnTo>
                    <a:pt x="56" y="192"/>
                  </a:lnTo>
                  <a:lnTo>
                    <a:pt x="58" y="194"/>
                  </a:lnTo>
                  <a:lnTo>
                    <a:pt x="60" y="194"/>
                  </a:lnTo>
                  <a:lnTo>
                    <a:pt x="62" y="194"/>
                  </a:lnTo>
                  <a:lnTo>
                    <a:pt x="64" y="194"/>
                  </a:lnTo>
                  <a:lnTo>
                    <a:pt x="64" y="192"/>
                  </a:lnTo>
                  <a:lnTo>
                    <a:pt x="66" y="192"/>
                  </a:lnTo>
                  <a:lnTo>
                    <a:pt x="66" y="192"/>
                  </a:lnTo>
                  <a:lnTo>
                    <a:pt x="66" y="192"/>
                  </a:lnTo>
                  <a:lnTo>
                    <a:pt x="66" y="190"/>
                  </a:lnTo>
                  <a:lnTo>
                    <a:pt x="66" y="190"/>
                  </a:lnTo>
                  <a:lnTo>
                    <a:pt x="66" y="188"/>
                  </a:lnTo>
                  <a:lnTo>
                    <a:pt x="66" y="186"/>
                  </a:lnTo>
                  <a:lnTo>
                    <a:pt x="66" y="184"/>
                  </a:lnTo>
                  <a:lnTo>
                    <a:pt x="66" y="180"/>
                  </a:lnTo>
                  <a:lnTo>
                    <a:pt x="66" y="178"/>
                  </a:lnTo>
                  <a:lnTo>
                    <a:pt x="66" y="176"/>
                  </a:lnTo>
                  <a:lnTo>
                    <a:pt x="66" y="176"/>
                  </a:lnTo>
                  <a:lnTo>
                    <a:pt x="66" y="176"/>
                  </a:lnTo>
                  <a:lnTo>
                    <a:pt x="68" y="174"/>
                  </a:lnTo>
                  <a:lnTo>
                    <a:pt x="68" y="174"/>
                  </a:lnTo>
                  <a:lnTo>
                    <a:pt x="68" y="174"/>
                  </a:lnTo>
                  <a:lnTo>
                    <a:pt x="70" y="172"/>
                  </a:lnTo>
                  <a:lnTo>
                    <a:pt x="72" y="172"/>
                  </a:lnTo>
                  <a:lnTo>
                    <a:pt x="74" y="172"/>
                  </a:lnTo>
                  <a:lnTo>
                    <a:pt x="78" y="172"/>
                  </a:lnTo>
                  <a:lnTo>
                    <a:pt x="80" y="170"/>
                  </a:lnTo>
                  <a:lnTo>
                    <a:pt x="84" y="170"/>
                  </a:lnTo>
                  <a:lnTo>
                    <a:pt x="84" y="170"/>
                  </a:lnTo>
                  <a:lnTo>
                    <a:pt x="86" y="170"/>
                  </a:lnTo>
                  <a:lnTo>
                    <a:pt x="86" y="168"/>
                  </a:lnTo>
                  <a:lnTo>
                    <a:pt x="88" y="168"/>
                  </a:lnTo>
                  <a:lnTo>
                    <a:pt x="88" y="168"/>
                  </a:lnTo>
                  <a:lnTo>
                    <a:pt x="88" y="166"/>
                  </a:lnTo>
                  <a:lnTo>
                    <a:pt x="88" y="166"/>
                  </a:lnTo>
                  <a:lnTo>
                    <a:pt x="88" y="164"/>
                  </a:lnTo>
                  <a:lnTo>
                    <a:pt x="88" y="162"/>
                  </a:lnTo>
                  <a:lnTo>
                    <a:pt x="88" y="160"/>
                  </a:lnTo>
                  <a:lnTo>
                    <a:pt x="88" y="158"/>
                  </a:lnTo>
                  <a:lnTo>
                    <a:pt x="90" y="156"/>
                  </a:lnTo>
                  <a:lnTo>
                    <a:pt x="90" y="154"/>
                  </a:lnTo>
                  <a:lnTo>
                    <a:pt x="90" y="154"/>
                  </a:lnTo>
                  <a:lnTo>
                    <a:pt x="90" y="154"/>
                  </a:lnTo>
                  <a:lnTo>
                    <a:pt x="92" y="152"/>
                  </a:lnTo>
                  <a:lnTo>
                    <a:pt x="94" y="152"/>
                  </a:lnTo>
                  <a:lnTo>
                    <a:pt x="94" y="150"/>
                  </a:lnTo>
                  <a:lnTo>
                    <a:pt x="98" y="148"/>
                  </a:lnTo>
                  <a:lnTo>
                    <a:pt x="100" y="148"/>
                  </a:lnTo>
                  <a:lnTo>
                    <a:pt x="100" y="146"/>
                  </a:lnTo>
                  <a:lnTo>
                    <a:pt x="100" y="146"/>
                  </a:lnTo>
                  <a:lnTo>
                    <a:pt x="102" y="144"/>
                  </a:lnTo>
                  <a:lnTo>
                    <a:pt x="102" y="142"/>
                  </a:lnTo>
                  <a:lnTo>
                    <a:pt x="102" y="140"/>
                  </a:lnTo>
                  <a:lnTo>
                    <a:pt x="102" y="136"/>
                  </a:lnTo>
                  <a:lnTo>
                    <a:pt x="104" y="132"/>
                  </a:lnTo>
                  <a:lnTo>
                    <a:pt x="104" y="130"/>
                  </a:lnTo>
                  <a:lnTo>
                    <a:pt x="106" y="126"/>
                  </a:lnTo>
                  <a:lnTo>
                    <a:pt x="106" y="122"/>
                  </a:lnTo>
                  <a:lnTo>
                    <a:pt x="106" y="120"/>
                  </a:lnTo>
                  <a:lnTo>
                    <a:pt x="108" y="120"/>
                  </a:lnTo>
                  <a:lnTo>
                    <a:pt x="108" y="118"/>
                  </a:lnTo>
                  <a:lnTo>
                    <a:pt x="110" y="116"/>
                  </a:lnTo>
                  <a:lnTo>
                    <a:pt x="112" y="114"/>
                  </a:lnTo>
                  <a:lnTo>
                    <a:pt x="114" y="112"/>
                  </a:lnTo>
                  <a:lnTo>
                    <a:pt x="120" y="108"/>
                  </a:lnTo>
                  <a:lnTo>
                    <a:pt x="120" y="106"/>
                  </a:lnTo>
                  <a:lnTo>
                    <a:pt x="122" y="104"/>
                  </a:lnTo>
                  <a:lnTo>
                    <a:pt x="126" y="100"/>
                  </a:lnTo>
                  <a:lnTo>
                    <a:pt x="128" y="96"/>
                  </a:lnTo>
                  <a:lnTo>
                    <a:pt x="132" y="92"/>
                  </a:lnTo>
                  <a:lnTo>
                    <a:pt x="134" y="90"/>
                  </a:lnTo>
                  <a:lnTo>
                    <a:pt x="136" y="88"/>
                  </a:lnTo>
                  <a:lnTo>
                    <a:pt x="138" y="86"/>
                  </a:lnTo>
                  <a:lnTo>
                    <a:pt x="142" y="84"/>
                  </a:lnTo>
                  <a:lnTo>
                    <a:pt x="144" y="82"/>
                  </a:lnTo>
                  <a:lnTo>
                    <a:pt x="146" y="80"/>
                  </a:lnTo>
                  <a:lnTo>
                    <a:pt x="148" y="80"/>
                  </a:lnTo>
                  <a:lnTo>
                    <a:pt x="150" y="78"/>
                  </a:lnTo>
                  <a:lnTo>
                    <a:pt x="152" y="78"/>
                  </a:lnTo>
                  <a:lnTo>
                    <a:pt x="154" y="78"/>
                  </a:lnTo>
                  <a:lnTo>
                    <a:pt x="156" y="78"/>
                  </a:lnTo>
                  <a:lnTo>
                    <a:pt x="158" y="78"/>
                  </a:lnTo>
                  <a:lnTo>
                    <a:pt x="164" y="76"/>
                  </a:lnTo>
                  <a:lnTo>
                    <a:pt x="168" y="76"/>
                  </a:lnTo>
                  <a:lnTo>
                    <a:pt x="170" y="76"/>
                  </a:lnTo>
                  <a:lnTo>
                    <a:pt x="170" y="76"/>
                  </a:lnTo>
                  <a:lnTo>
                    <a:pt x="172" y="74"/>
                  </a:lnTo>
                  <a:lnTo>
                    <a:pt x="174" y="74"/>
                  </a:lnTo>
                  <a:lnTo>
                    <a:pt x="178" y="72"/>
                  </a:lnTo>
                  <a:lnTo>
                    <a:pt x="180" y="70"/>
                  </a:lnTo>
                  <a:lnTo>
                    <a:pt x="180" y="70"/>
                  </a:lnTo>
                  <a:lnTo>
                    <a:pt x="182" y="70"/>
                  </a:lnTo>
                  <a:lnTo>
                    <a:pt x="182" y="70"/>
                  </a:lnTo>
                  <a:lnTo>
                    <a:pt x="186" y="70"/>
                  </a:lnTo>
                  <a:lnTo>
                    <a:pt x="192" y="68"/>
                  </a:lnTo>
                  <a:lnTo>
                    <a:pt x="194" y="68"/>
                  </a:lnTo>
                  <a:lnTo>
                    <a:pt x="198" y="68"/>
                  </a:lnTo>
                  <a:lnTo>
                    <a:pt x="198" y="68"/>
                  </a:lnTo>
                  <a:lnTo>
                    <a:pt x="200" y="68"/>
                  </a:lnTo>
                  <a:lnTo>
                    <a:pt x="202" y="66"/>
                  </a:lnTo>
                  <a:lnTo>
                    <a:pt x="202" y="66"/>
                  </a:lnTo>
                  <a:lnTo>
                    <a:pt x="202" y="66"/>
                  </a:lnTo>
                  <a:lnTo>
                    <a:pt x="202" y="64"/>
                  </a:lnTo>
                  <a:lnTo>
                    <a:pt x="204" y="64"/>
                  </a:lnTo>
                  <a:lnTo>
                    <a:pt x="204" y="62"/>
                  </a:lnTo>
                  <a:lnTo>
                    <a:pt x="204" y="60"/>
                  </a:lnTo>
                  <a:lnTo>
                    <a:pt x="204" y="58"/>
                  </a:lnTo>
                  <a:lnTo>
                    <a:pt x="204" y="56"/>
                  </a:lnTo>
                  <a:lnTo>
                    <a:pt x="206" y="54"/>
                  </a:lnTo>
                  <a:lnTo>
                    <a:pt x="206" y="54"/>
                  </a:lnTo>
                  <a:lnTo>
                    <a:pt x="206" y="54"/>
                  </a:lnTo>
                  <a:lnTo>
                    <a:pt x="206" y="54"/>
                  </a:lnTo>
                  <a:lnTo>
                    <a:pt x="206" y="52"/>
                  </a:lnTo>
                  <a:lnTo>
                    <a:pt x="208" y="52"/>
                  </a:lnTo>
                  <a:lnTo>
                    <a:pt x="210" y="52"/>
                  </a:lnTo>
                  <a:lnTo>
                    <a:pt x="212" y="50"/>
                  </a:lnTo>
                  <a:lnTo>
                    <a:pt x="214" y="50"/>
                  </a:lnTo>
                  <a:lnTo>
                    <a:pt x="216" y="50"/>
                  </a:lnTo>
                  <a:lnTo>
                    <a:pt x="216" y="48"/>
                  </a:lnTo>
                  <a:lnTo>
                    <a:pt x="218" y="48"/>
                  </a:lnTo>
                  <a:lnTo>
                    <a:pt x="218" y="48"/>
                  </a:lnTo>
                  <a:lnTo>
                    <a:pt x="218" y="48"/>
                  </a:lnTo>
                  <a:lnTo>
                    <a:pt x="218" y="46"/>
                  </a:lnTo>
                  <a:lnTo>
                    <a:pt x="218" y="46"/>
                  </a:lnTo>
                  <a:lnTo>
                    <a:pt x="218" y="44"/>
                  </a:lnTo>
                  <a:lnTo>
                    <a:pt x="218" y="42"/>
                  </a:lnTo>
                  <a:lnTo>
                    <a:pt x="218" y="40"/>
                  </a:lnTo>
                  <a:lnTo>
                    <a:pt x="218" y="38"/>
                  </a:lnTo>
                  <a:lnTo>
                    <a:pt x="216" y="36"/>
                  </a:lnTo>
                  <a:lnTo>
                    <a:pt x="216" y="34"/>
                  </a:lnTo>
                  <a:lnTo>
                    <a:pt x="214" y="32"/>
                  </a:lnTo>
                  <a:lnTo>
                    <a:pt x="214" y="32"/>
                  </a:lnTo>
                  <a:lnTo>
                    <a:pt x="214" y="32"/>
                  </a:lnTo>
                  <a:lnTo>
                    <a:pt x="212" y="30"/>
                  </a:lnTo>
                  <a:lnTo>
                    <a:pt x="208" y="28"/>
                  </a:lnTo>
                  <a:lnTo>
                    <a:pt x="208" y="28"/>
                  </a:lnTo>
                  <a:lnTo>
                    <a:pt x="206" y="26"/>
                  </a:lnTo>
                  <a:lnTo>
                    <a:pt x="206" y="26"/>
                  </a:lnTo>
                  <a:lnTo>
                    <a:pt x="204" y="26"/>
                  </a:lnTo>
                  <a:lnTo>
                    <a:pt x="204" y="26"/>
                  </a:lnTo>
                  <a:lnTo>
                    <a:pt x="204" y="24"/>
                  </a:lnTo>
                  <a:lnTo>
                    <a:pt x="204" y="24"/>
                  </a:lnTo>
                  <a:lnTo>
                    <a:pt x="206" y="24"/>
                  </a:lnTo>
                  <a:lnTo>
                    <a:pt x="206" y="22"/>
                  </a:lnTo>
                  <a:lnTo>
                    <a:pt x="206" y="22"/>
                  </a:lnTo>
                  <a:lnTo>
                    <a:pt x="208" y="22"/>
                  </a:lnTo>
                  <a:lnTo>
                    <a:pt x="212" y="22"/>
                  </a:lnTo>
                  <a:lnTo>
                    <a:pt x="214" y="22"/>
                  </a:lnTo>
                  <a:lnTo>
                    <a:pt x="216" y="20"/>
                  </a:lnTo>
                  <a:lnTo>
                    <a:pt x="218" y="20"/>
                  </a:lnTo>
                  <a:lnTo>
                    <a:pt x="220" y="20"/>
                  </a:lnTo>
                  <a:lnTo>
                    <a:pt x="220" y="20"/>
                  </a:lnTo>
                  <a:lnTo>
                    <a:pt x="220" y="20"/>
                  </a:lnTo>
                  <a:lnTo>
                    <a:pt x="220" y="18"/>
                  </a:lnTo>
                  <a:lnTo>
                    <a:pt x="220" y="18"/>
                  </a:lnTo>
                  <a:lnTo>
                    <a:pt x="222" y="14"/>
                  </a:lnTo>
                  <a:lnTo>
                    <a:pt x="222" y="12"/>
                  </a:lnTo>
                  <a:lnTo>
                    <a:pt x="222" y="10"/>
                  </a:lnTo>
                  <a:lnTo>
                    <a:pt x="224" y="10"/>
                  </a:lnTo>
                  <a:lnTo>
                    <a:pt x="224" y="10"/>
                  </a:lnTo>
                  <a:lnTo>
                    <a:pt x="224" y="10"/>
                  </a:lnTo>
                  <a:lnTo>
                    <a:pt x="224" y="10"/>
                  </a:lnTo>
                  <a:lnTo>
                    <a:pt x="226" y="10"/>
                  </a:lnTo>
                  <a:lnTo>
                    <a:pt x="226" y="10"/>
                  </a:lnTo>
                  <a:lnTo>
                    <a:pt x="226" y="10"/>
                  </a:lnTo>
                  <a:lnTo>
                    <a:pt x="226" y="12"/>
                  </a:lnTo>
                  <a:lnTo>
                    <a:pt x="226" y="14"/>
                  </a:lnTo>
                  <a:lnTo>
                    <a:pt x="226" y="16"/>
                  </a:lnTo>
                  <a:lnTo>
                    <a:pt x="226" y="18"/>
                  </a:lnTo>
                  <a:lnTo>
                    <a:pt x="226" y="20"/>
                  </a:lnTo>
                  <a:lnTo>
                    <a:pt x="226" y="20"/>
                  </a:lnTo>
                  <a:lnTo>
                    <a:pt x="226" y="22"/>
                  </a:lnTo>
                  <a:lnTo>
                    <a:pt x="226" y="22"/>
                  </a:lnTo>
                  <a:lnTo>
                    <a:pt x="228" y="24"/>
                  </a:lnTo>
                  <a:lnTo>
                    <a:pt x="228" y="24"/>
                  </a:lnTo>
                  <a:lnTo>
                    <a:pt x="228" y="24"/>
                  </a:lnTo>
                  <a:lnTo>
                    <a:pt x="230" y="26"/>
                  </a:lnTo>
                  <a:lnTo>
                    <a:pt x="230" y="26"/>
                  </a:lnTo>
                  <a:lnTo>
                    <a:pt x="232" y="26"/>
                  </a:lnTo>
                  <a:lnTo>
                    <a:pt x="232" y="26"/>
                  </a:lnTo>
                  <a:lnTo>
                    <a:pt x="234" y="26"/>
                  </a:lnTo>
                  <a:lnTo>
                    <a:pt x="234" y="26"/>
                  </a:lnTo>
                  <a:lnTo>
                    <a:pt x="236" y="26"/>
                  </a:lnTo>
                  <a:lnTo>
                    <a:pt x="236" y="26"/>
                  </a:lnTo>
                  <a:lnTo>
                    <a:pt x="236" y="24"/>
                  </a:lnTo>
                  <a:lnTo>
                    <a:pt x="236" y="24"/>
                  </a:lnTo>
                  <a:lnTo>
                    <a:pt x="234" y="22"/>
                  </a:lnTo>
                  <a:lnTo>
                    <a:pt x="234" y="20"/>
                  </a:lnTo>
                  <a:lnTo>
                    <a:pt x="234" y="20"/>
                  </a:lnTo>
                  <a:lnTo>
                    <a:pt x="234" y="18"/>
                  </a:lnTo>
                  <a:lnTo>
                    <a:pt x="234" y="18"/>
                  </a:lnTo>
                  <a:lnTo>
                    <a:pt x="234" y="18"/>
                  </a:lnTo>
                  <a:lnTo>
                    <a:pt x="236" y="18"/>
                  </a:lnTo>
                  <a:lnTo>
                    <a:pt x="236" y="18"/>
                  </a:lnTo>
                  <a:lnTo>
                    <a:pt x="238" y="18"/>
                  </a:lnTo>
                  <a:lnTo>
                    <a:pt x="238" y="18"/>
                  </a:lnTo>
                  <a:lnTo>
                    <a:pt x="240" y="18"/>
                  </a:lnTo>
                  <a:lnTo>
                    <a:pt x="240" y="18"/>
                  </a:lnTo>
                  <a:lnTo>
                    <a:pt x="242" y="18"/>
                  </a:lnTo>
                  <a:lnTo>
                    <a:pt x="242" y="18"/>
                  </a:lnTo>
                  <a:lnTo>
                    <a:pt x="242" y="18"/>
                  </a:lnTo>
                  <a:lnTo>
                    <a:pt x="242" y="20"/>
                  </a:lnTo>
                  <a:lnTo>
                    <a:pt x="244" y="22"/>
                  </a:lnTo>
                  <a:lnTo>
                    <a:pt x="244" y="24"/>
                  </a:lnTo>
                  <a:lnTo>
                    <a:pt x="244" y="24"/>
                  </a:lnTo>
                  <a:lnTo>
                    <a:pt x="244" y="24"/>
                  </a:lnTo>
                  <a:lnTo>
                    <a:pt x="246" y="26"/>
                  </a:lnTo>
                  <a:lnTo>
                    <a:pt x="246" y="26"/>
                  </a:lnTo>
                  <a:lnTo>
                    <a:pt x="248" y="26"/>
                  </a:lnTo>
                  <a:lnTo>
                    <a:pt x="250" y="26"/>
                  </a:lnTo>
                  <a:lnTo>
                    <a:pt x="252" y="28"/>
                  </a:lnTo>
                  <a:lnTo>
                    <a:pt x="252" y="28"/>
                  </a:lnTo>
                  <a:lnTo>
                    <a:pt x="254" y="28"/>
                  </a:lnTo>
                  <a:lnTo>
                    <a:pt x="254" y="28"/>
                  </a:lnTo>
                  <a:lnTo>
                    <a:pt x="256" y="26"/>
                  </a:lnTo>
                  <a:lnTo>
                    <a:pt x="256" y="26"/>
                  </a:lnTo>
                  <a:lnTo>
                    <a:pt x="256" y="26"/>
                  </a:lnTo>
                  <a:lnTo>
                    <a:pt x="258" y="24"/>
                  </a:lnTo>
                  <a:lnTo>
                    <a:pt x="258" y="22"/>
                  </a:lnTo>
                  <a:lnTo>
                    <a:pt x="260" y="20"/>
                  </a:lnTo>
                  <a:lnTo>
                    <a:pt x="260" y="18"/>
                  </a:lnTo>
                  <a:lnTo>
                    <a:pt x="260" y="18"/>
                  </a:lnTo>
                  <a:lnTo>
                    <a:pt x="260" y="16"/>
                  </a:lnTo>
                  <a:lnTo>
                    <a:pt x="260" y="16"/>
                  </a:lnTo>
                  <a:lnTo>
                    <a:pt x="260" y="16"/>
                  </a:lnTo>
                  <a:lnTo>
                    <a:pt x="260" y="16"/>
                  </a:lnTo>
                  <a:lnTo>
                    <a:pt x="258" y="14"/>
                  </a:lnTo>
                  <a:lnTo>
                    <a:pt x="258" y="14"/>
                  </a:lnTo>
                  <a:lnTo>
                    <a:pt x="256" y="14"/>
                  </a:lnTo>
                  <a:lnTo>
                    <a:pt x="254" y="12"/>
                  </a:lnTo>
                  <a:lnTo>
                    <a:pt x="254" y="12"/>
                  </a:lnTo>
                  <a:lnTo>
                    <a:pt x="252" y="12"/>
                  </a:lnTo>
                  <a:lnTo>
                    <a:pt x="252" y="12"/>
                  </a:lnTo>
                  <a:lnTo>
                    <a:pt x="252" y="10"/>
                  </a:lnTo>
                  <a:lnTo>
                    <a:pt x="252" y="10"/>
                  </a:lnTo>
                  <a:lnTo>
                    <a:pt x="252" y="10"/>
                  </a:lnTo>
                  <a:lnTo>
                    <a:pt x="254" y="8"/>
                  </a:lnTo>
                  <a:lnTo>
                    <a:pt x="254" y="8"/>
                  </a:lnTo>
                  <a:lnTo>
                    <a:pt x="256" y="6"/>
                  </a:lnTo>
                  <a:lnTo>
                    <a:pt x="258" y="6"/>
                  </a:lnTo>
                  <a:lnTo>
                    <a:pt x="260" y="4"/>
                  </a:lnTo>
                  <a:lnTo>
                    <a:pt x="262" y="4"/>
                  </a:lnTo>
                  <a:lnTo>
                    <a:pt x="264" y="4"/>
                  </a:lnTo>
                  <a:lnTo>
                    <a:pt x="264" y="4"/>
                  </a:lnTo>
                  <a:lnTo>
                    <a:pt x="266" y="4"/>
                  </a:lnTo>
                  <a:lnTo>
                    <a:pt x="266" y="4"/>
                  </a:lnTo>
                  <a:lnTo>
                    <a:pt x="268" y="4"/>
                  </a:lnTo>
                  <a:lnTo>
                    <a:pt x="268" y="4"/>
                  </a:lnTo>
                  <a:lnTo>
                    <a:pt x="270" y="6"/>
                  </a:lnTo>
                  <a:lnTo>
                    <a:pt x="272" y="8"/>
                  </a:lnTo>
                  <a:lnTo>
                    <a:pt x="272" y="10"/>
                  </a:lnTo>
                  <a:lnTo>
                    <a:pt x="274" y="12"/>
                  </a:lnTo>
                  <a:lnTo>
                    <a:pt x="276" y="12"/>
                  </a:lnTo>
                  <a:lnTo>
                    <a:pt x="276" y="12"/>
                  </a:lnTo>
                  <a:lnTo>
                    <a:pt x="276" y="14"/>
                  </a:lnTo>
                  <a:lnTo>
                    <a:pt x="278" y="14"/>
                  </a:lnTo>
                  <a:lnTo>
                    <a:pt x="278" y="12"/>
                  </a:lnTo>
                  <a:lnTo>
                    <a:pt x="278" y="12"/>
                  </a:lnTo>
                  <a:lnTo>
                    <a:pt x="280" y="12"/>
                  </a:lnTo>
                  <a:lnTo>
                    <a:pt x="280" y="10"/>
                  </a:lnTo>
                  <a:lnTo>
                    <a:pt x="280" y="8"/>
                  </a:lnTo>
                  <a:lnTo>
                    <a:pt x="282" y="6"/>
                  </a:lnTo>
                  <a:lnTo>
                    <a:pt x="282" y="4"/>
                  </a:lnTo>
                  <a:lnTo>
                    <a:pt x="282" y="2"/>
                  </a:lnTo>
                  <a:lnTo>
                    <a:pt x="284" y="2"/>
                  </a:lnTo>
                  <a:lnTo>
                    <a:pt x="284" y="0"/>
                  </a:lnTo>
                  <a:lnTo>
                    <a:pt x="284" y="0"/>
                  </a:lnTo>
                  <a:lnTo>
                    <a:pt x="286" y="0"/>
                  </a:lnTo>
                  <a:lnTo>
                    <a:pt x="286" y="0"/>
                  </a:lnTo>
                  <a:lnTo>
                    <a:pt x="286" y="2"/>
                  </a:lnTo>
                  <a:lnTo>
                    <a:pt x="286" y="2"/>
                  </a:lnTo>
                  <a:lnTo>
                    <a:pt x="286" y="2"/>
                  </a:lnTo>
                  <a:lnTo>
                    <a:pt x="288" y="4"/>
                  </a:lnTo>
                  <a:lnTo>
                    <a:pt x="288" y="6"/>
                  </a:lnTo>
                  <a:lnTo>
                    <a:pt x="288" y="10"/>
                  </a:lnTo>
                  <a:lnTo>
                    <a:pt x="288" y="12"/>
                  </a:lnTo>
                  <a:lnTo>
                    <a:pt x="288" y="12"/>
                  </a:lnTo>
                  <a:lnTo>
                    <a:pt x="288" y="14"/>
                  </a:lnTo>
                  <a:lnTo>
                    <a:pt x="288" y="14"/>
                  </a:lnTo>
                  <a:lnTo>
                    <a:pt x="288" y="14"/>
                  </a:lnTo>
                  <a:lnTo>
                    <a:pt x="290" y="16"/>
                  </a:lnTo>
                  <a:lnTo>
                    <a:pt x="292" y="16"/>
                  </a:lnTo>
                  <a:lnTo>
                    <a:pt x="294" y="16"/>
                  </a:lnTo>
                  <a:lnTo>
                    <a:pt x="294" y="16"/>
                  </a:lnTo>
                  <a:lnTo>
                    <a:pt x="296" y="16"/>
                  </a:lnTo>
                  <a:lnTo>
                    <a:pt x="298" y="16"/>
                  </a:lnTo>
                  <a:lnTo>
                    <a:pt x="300" y="16"/>
                  </a:lnTo>
                  <a:lnTo>
                    <a:pt x="302" y="16"/>
                  </a:lnTo>
                  <a:lnTo>
                    <a:pt x="302" y="16"/>
                  </a:lnTo>
                  <a:lnTo>
                    <a:pt x="304" y="16"/>
                  </a:lnTo>
                  <a:lnTo>
                    <a:pt x="304" y="14"/>
                  </a:lnTo>
                  <a:lnTo>
                    <a:pt x="306" y="12"/>
                  </a:lnTo>
                  <a:lnTo>
                    <a:pt x="308" y="10"/>
                  </a:lnTo>
                  <a:lnTo>
                    <a:pt x="310" y="8"/>
                  </a:lnTo>
                  <a:lnTo>
                    <a:pt x="312" y="8"/>
                  </a:lnTo>
                  <a:lnTo>
                    <a:pt x="312" y="6"/>
                  </a:lnTo>
                  <a:lnTo>
                    <a:pt x="314" y="6"/>
                  </a:lnTo>
                  <a:lnTo>
                    <a:pt x="314" y="6"/>
                  </a:lnTo>
                  <a:lnTo>
                    <a:pt x="316" y="6"/>
                  </a:lnTo>
                  <a:lnTo>
                    <a:pt x="316" y="6"/>
                  </a:lnTo>
                  <a:lnTo>
                    <a:pt x="318" y="6"/>
                  </a:lnTo>
                  <a:lnTo>
                    <a:pt x="320" y="6"/>
                  </a:lnTo>
                  <a:lnTo>
                    <a:pt x="322" y="8"/>
                  </a:lnTo>
                  <a:lnTo>
                    <a:pt x="324" y="10"/>
                  </a:lnTo>
                  <a:lnTo>
                    <a:pt x="326" y="10"/>
                  </a:lnTo>
                  <a:lnTo>
                    <a:pt x="330" y="12"/>
                  </a:lnTo>
                  <a:lnTo>
                    <a:pt x="330" y="14"/>
                  </a:lnTo>
                  <a:lnTo>
                    <a:pt x="330" y="14"/>
                  </a:lnTo>
                  <a:lnTo>
                    <a:pt x="332" y="14"/>
                  </a:lnTo>
                  <a:lnTo>
                    <a:pt x="332" y="16"/>
                  </a:lnTo>
                  <a:lnTo>
                    <a:pt x="332" y="16"/>
                  </a:lnTo>
                  <a:lnTo>
                    <a:pt x="332" y="16"/>
                  </a:lnTo>
                  <a:lnTo>
                    <a:pt x="332" y="18"/>
                  </a:lnTo>
                  <a:lnTo>
                    <a:pt x="332" y="20"/>
                  </a:lnTo>
                  <a:lnTo>
                    <a:pt x="330" y="22"/>
                  </a:lnTo>
                  <a:lnTo>
                    <a:pt x="330" y="24"/>
                  </a:lnTo>
                  <a:lnTo>
                    <a:pt x="330" y="24"/>
                  </a:lnTo>
                  <a:lnTo>
                    <a:pt x="328" y="26"/>
                  </a:lnTo>
                  <a:lnTo>
                    <a:pt x="328" y="26"/>
                  </a:lnTo>
                  <a:lnTo>
                    <a:pt x="330" y="28"/>
                  </a:lnTo>
                  <a:lnTo>
                    <a:pt x="330" y="28"/>
                  </a:lnTo>
                  <a:lnTo>
                    <a:pt x="330" y="28"/>
                  </a:lnTo>
                  <a:lnTo>
                    <a:pt x="332" y="30"/>
                  </a:lnTo>
                  <a:lnTo>
                    <a:pt x="334" y="30"/>
                  </a:lnTo>
                  <a:lnTo>
                    <a:pt x="336" y="32"/>
                  </a:lnTo>
                  <a:lnTo>
                    <a:pt x="338" y="32"/>
                  </a:lnTo>
                  <a:lnTo>
                    <a:pt x="340" y="34"/>
                  </a:lnTo>
                  <a:lnTo>
                    <a:pt x="344" y="34"/>
                  </a:lnTo>
                  <a:lnTo>
                    <a:pt x="350" y="36"/>
                  </a:lnTo>
                  <a:lnTo>
                    <a:pt x="354" y="38"/>
                  </a:lnTo>
                  <a:lnTo>
                    <a:pt x="358" y="38"/>
                  </a:lnTo>
                  <a:lnTo>
                    <a:pt x="350" y="42"/>
                  </a:lnTo>
                  <a:lnTo>
                    <a:pt x="344" y="46"/>
                  </a:lnTo>
                  <a:lnTo>
                    <a:pt x="342" y="48"/>
                  </a:lnTo>
                  <a:lnTo>
                    <a:pt x="340" y="48"/>
                  </a:lnTo>
                  <a:lnTo>
                    <a:pt x="336" y="52"/>
                  </a:lnTo>
                  <a:lnTo>
                    <a:pt x="332" y="58"/>
                  </a:lnTo>
                  <a:lnTo>
                    <a:pt x="330" y="60"/>
                  </a:lnTo>
                  <a:lnTo>
                    <a:pt x="328" y="62"/>
                  </a:lnTo>
                  <a:lnTo>
                    <a:pt x="326" y="64"/>
                  </a:lnTo>
                  <a:lnTo>
                    <a:pt x="324" y="66"/>
                  </a:lnTo>
                  <a:lnTo>
                    <a:pt x="322" y="68"/>
                  </a:lnTo>
                  <a:lnTo>
                    <a:pt x="322" y="70"/>
                  </a:lnTo>
                  <a:lnTo>
                    <a:pt x="320" y="76"/>
                  </a:lnTo>
                  <a:lnTo>
                    <a:pt x="318" y="82"/>
                  </a:lnTo>
                  <a:lnTo>
                    <a:pt x="302" y="6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2" name="Freeform 279"/>
            <p:cNvSpPr>
              <a:spLocks/>
            </p:cNvSpPr>
            <p:nvPr/>
          </p:nvSpPr>
          <p:spPr bwMode="auto">
            <a:xfrm>
              <a:off x="4044042" y="3322906"/>
              <a:ext cx="304845" cy="249419"/>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3" name="Freeform 280"/>
            <p:cNvSpPr>
              <a:spLocks/>
            </p:cNvSpPr>
            <p:nvPr/>
          </p:nvSpPr>
          <p:spPr bwMode="auto">
            <a:xfrm>
              <a:off x="4044042" y="3322906"/>
              <a:ext cx="304845" cy="249419"/>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4" name="Freeform 281"/>
            <p:cNvSpPr>
              <a:spLocks/>
            </p:cNvSpPr>
            <p:nvPr/>
          </p:nvSpPr>
          <p:spPr bwMode="auto">
            <a:xfrm>
              <a:off x="4026721" y="3381796"/>
              <a:ext cx="86604" cy="166279"/>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5" name="Freeform 282"/>
            <p:cNvSpPr>
              <a:spLocks/>
            </p:cNvSpPr>
            <p:nvPr/>
          </p:nvSpPr>
          <p:spPr bwMode="auto">
            <a:xfrm>
              <a:off x="4026721" y="3381796"/>
              <a:ext cx="86604" cy="166279"/>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6" name="Freeform 283"/>
            <p:cNvSpPr>
              <a:spLocks/>
            </p:cNvSpPr>
            <p:nvPr/>
          </p:nvSpPr>
          <p:spPr bwMode="auto">
            <a:xfrm>
              <a:off x="4161823" y="3066559"/>
              <a:ext cx="294453" cy="311773"/>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7" name="Freeform 284"/>
            <p:cNvSpPr>
              <a:spLocks/>
            </p:cNvSpPr>
            <p:nvPr/>
          </p:nvSpPr>
          <p:spPr bwMode="auto">
            <a:xfrm>
              <a:off x="4161823" y="3066559"/>
              <a:ext cx="294453" cy="311773"/>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8" name="Freeform 285"/>
            <p:cNvSpPr>
              <a:spLocks/>
            </p:cNvSpPr>
            <p:nvPr/>
          </p:nvSpPr>
          <p:spPr bwMode="auto">
            <a:xfrm>
              <a:off x="4480525" y="3361011"/>
              <a:ext cx="27713" cy="48498"/>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09" name="Freeform 286"/>
            <p:cNvSpPr>
              <a:spLocks/>
            </p:cNvSpPr>
            <p:nvPr/>
          </p:nvSpPr>
          <p:spPr bwMode="auto">
            <a:xfrm>
              <a:off x="4480525" y="3361011"/>
              <a:ext cx="27713" cy="48498"/>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0" name="Freeform 287"/>
            <p:cNvSpPr>
              <a:spLocks/>
            </p:cNvSpPr>
            <p:nvPr/>
          </p:nvSpPr>
          <p:spPr bwMode="auto">
            <a:xfrm>
              <a:off x="4594842" y="3509970"/>
              <a:ext cx="55426" cy="34641"/>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1" name="Freeform 288"/>
            <p:cNvSpPr>
              <a:spLocks/>
            </p:cNvSpPr>
            <p:nvPr/>
          </p:nvSpPr>
          <p:spPr bwMode="auto">
            <a:xfrm>
              <a:off x="4594842" y="3509970"/>
              <a:ext cx="55426" cy="34641"/>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2" name="Freeform 289"/>
            <p:cNvSpPr>
              <a:spLocks/>
            </p:cNvSpPr>
            <p:nvPr/>
          </p:nvSpPr>
          <p:spPr bwMode="auto">
            <a:xfrm>
              <a:off x="4421634" y="3215517"/>
              <a:ext cx="301381" cy="294453"/>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3" name="Freeform 290"/>
            <p:cNvSpPr>
              <a:spLocks/>
            </p:cNvSpPr>
            <p:nvPr/>
          </p:nvSpPr>
          <p:spPr bwMode="auto">
            <a:xfrm>
              <a:off x="4421634" y="3215517"/>
              <a:ext cx="301381" cy="294453"/>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4" name="Freeform 291"/>
            <p:cNvSpPr>
              <a:spLocks/>
            </p:cNvSpPr>
            <p:nvPr/>
          </p:nvSpPr>
          <p:spPr bwMode="auto">
            <a:xfrm>
              <a:off x="4470132" y="3423366"/>
              <a:ext cx="34642" cy="58891"/>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5" name="Freeform 292"/>
            <p:cNvSpPr>
              <a:spLocks/>
            </p:cNvSpPr>
            <p:nvPr/>
          </p:nvSpPr>
          <p:spPr bwMode="auto">
            <a:xfrm>
              <a:off x="4470132" y="3423366"/>
              <a:ext cx="34642" cy="58891"/>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6" name="Freeform 293"/>
            <p:cNvSpPr>
              <a:spLocks/>
            </p:cNvSpPr>
            <p:nvPr/>
          </p:nvSpPr>
          <p:spPr bwMode="auto">
            <a:xfrm>
              <a:off x="4400849" y="2945313"/>
              <a:ext cx="211313" cy="259811"/>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7" name="Freeform 294"/>
            <p:cNvSpPr>
              <a:spLocks/>
            </p:cNvSpPr>
            <p:nvPr/>
          </p:nvSpPr>
          <p:spPr bwMode="auto">
            <a:xfrm>
              <a:off x="4400849" y="2945313"/>
              <a:ext cx="211313" cy="259811"/>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8" name="Freeform 295"/>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19" name="Freeform 296"/>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0" name="Freeform 297"/>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1" name="Freeform 298"/>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2" name="Freeform 299"/>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3" name="Freeform 300"/>
            <p:cNvSpPr>
              <a:spLocks/>
            </p:cNvSpPr>
            <p:nvPr/>
          </p:nvSpPr>
          <p:spPr bwMode="auto">
            <a:xfrm>
              <a:off x="4532487" y="2394513"/>
              <a:ext cx="266740" cy="526551"/>
            </a:xfrm>
            <a:custGeom>
              <a:avLst/>
              <a:gdLst>
                <a:gd name="T0" fmla="*/ 6 w 154"/>
                <a:gd name="T1" fmla="*/ 222 h 304"/>
                <a:gd name="T2" fmla="*/ 10 w 154"/>
                <a:gd name="T3" fmla="*/ 208 h 304"/>
                <a:gd name="T4" fmla="*/ 22 w 154"/>
                <a:gd name="T5" fmla="*/ 204 h 304"/>
                <a:gd name="T6" fmla="*/ 24 w 154"/>
                <a:gd name="T7" fmla="*/ 198 h 304"/>
                <a:gd name="T8" fmla="*/ 18 w 154"/>
                <a:gd name="T9" fmla="*/ 180 h 304"/>
                <a:gd name="T10" fmla="*/ 12 w 154"/>
                <a:gd name="T11" fmla="*/ 160 h 304"/>
                <a:gd name="T12" fmla="*/ 6 w 154"/>
                <a:gd name="T13" fmla="*/ 126 h 304"/>
                <a:gd name="T14" fmla="*/ 10 w 154"/>
                <a:gd name="T15" fmla="*/ 116 h 304"/>
                <a:gd name="T16" fmla="*/ 16 w 154"/>
                <a:gd name="T17" fmla="*/ 116 h 304"/>
                <a:gd name="T18" fmla="*/ 26 w 154"/>
                <a:gd name="T19" fmla="*/ 116 h 304"/>
                <a:gd name="T20" fmla="*/ 30 w 154"/>
                <a:gd name="T21" fmla="*/ 112 h 304"/>
                <a:gd name="T22" fmla="*/ 22 w 154"/>
                <a:gd name="T23" fmla="*/ 106 h 304"/>
                <a:gd name="T24" fmla="*/ 22 w 154"/>
                <a:gd name="T25" fmla="*/ 100 h 304"/>
                <a:gd name="T26" fmla="*/ 28 w 154"/>
                <a:gd name="T27" fmla="*/ 82 h 304"/>
                <a:gd name="T28" fmla="*/ 30 w 154"/>
                <a:gd name="T29" fmla="*/ 72 h 304"/>
                <a:gd name="T30" fmla="*/ 38 w 154"/>
                <a:gd name="T31" fmla="*/ 68 h 304"/>
                <a:gd name="T32" fmla="*/ 42 w 154"/>
                <a:gd name="T33" fmla="*/ 58 h 304"/>
                <a:gd name="T34" fmla="*/ 50 w 154"/>
                <a:gd name="T35" fmla="*/ 58 h 304"/>
                <a:gd name="T36" fmla="*/ 52 w 154"/>
                <a:gd name="T37" fmla="*/ 52 h 304"/>
                <a:gd name="T38" fmla="*/ 54 w 154"/>
                <a:gd name="T39" fmla="*/ 44 h 304"/>
                <a:gd name="T40" fmla="*/ 62 w 154"/>
                <a:gd name="T41" fmla="*/ 38 h 304"/>
                <a:gd name="T42" fmla="*/ 62 w 154"/>
                <a:gd name="T43" fmla="*/ 28 h 304"/>
                <a:gd name="T44" fmla="*/ 68 w 154"/>
                <a:gd name="T45" fmla="*/ 28 h 304"/>
                <a:gd name="T46" fmla="*/ 78 w 154"/>
                <a:gd name="T47" fmla="*/ 26 h 304"/>
                <a:gd name="T48" fmla="*/ 86 w 154"/>
                <a:gd name="T49" fmla="*/ 18 h 304"/>
                <a:gd name="T50" fmla="*/ 104 w 154"/>
                <a:gd name="T51" fmla="*/ 18 h 304"/>
                <a:gd name="T52" fmla="*/ 114 w 154"/>
                <a:gd name="T53" fmla="*/ 14 h 304"/>
                <a:gd name="T54" fmla="*/ 128 w 154"/>
                <a:gd name="T55" fmla="*/ 0 h 304"/>
                <a:gd name="T56" fmla="*/ 146 w 154"/>
                <a:gd name="T57" fmla="*/ 20 h 304"/>
                <a:gd name="T58" fmla="*/ 150 w 154"/>
                <a:gd name="T59" fmla="*/ 34 h 304"/>
                <a:gd name="T60" fmla="*/ 154 w 154"/>
                <a:gd name="T61" fmla="*/ 58 h 304"/>
                <a:gd name="T62" fmla="*/ 150 w 154"/>
                <a:gd name="T63" fmla="*/ 66 h 304"/>
                <a:gd name="T64" fmla="*/ 136 w 154"/>
                <a:gd name="T65" fmla="*/ 76 h 304"/>
                <a:gd name="T66" fmla="*/ 128 w 154"/>
                <a:gd name="T67" fmla="*/ 88 h 304"/>
                <a:gd name="T68" fmla="*/ 128 w 154"/>
                <a:gd name="T69" fmla="*/ 106 h 304"/>
                <a:gd name="T70" fmla="*/ 126 w 154"/>
                <a:gd name="T71" fmla="*/ 112 h 304"/>
                <a:gd name="T72" fmla="*/ 112 w 154"/>
                <a:gd name="T73" fmla="*/ 122 h 304"/>
                <a:gd name="T74" fmla="*/ 102 w 154"/>
                <a:gd name="T75" fmla="*/ 130 h 304"/>
                <a:gd name="T76" fmla="*/ 86 w 154"/>
                <a:gd name="T77" fmla="*/ 132 h 304"/>
                <a:gd name="T78" fmla="*/ 80 w 154"/>
                <a:gd name="T79" fmla="*/ 142 h 304"/>
                <a:gd name="T80" fmla="*/ 76 w 154"/>
                <a:gd name="T81" fmla="*/ 164 h 304"/>
                <a:gd name="T82" fmla="*/ 78 w 154"/>
                <a:gd name="T83" fmla="*/ 180 h 304"/>
                <a:gd name="T84" fmla="*/ 90 w 154"/>
                <a:gd name="T85" fmla="*/ 194 h 304"/>
                <a:gd name="T86" fmla="*/ 92 w 154"/>
                <a:gd name="T87" fmla="*/ 204 h 304"/>
                <a:gd name="T88" fmla="*/ 80 w 154"/>
                <a:gd name="T89" fmla="*/ 208 h 304"/>
                <a:gd name="T90" fmla="*/ 70 w 154"/>
                <a:gd name="T91" fmla="*/ 212 h 304"/>
                <a:gd name="T92" fmla="*/ 72 w 154"/>
                <a:gd name="T93" fmla="*/ 216 h 304"/>
                <a:gd name="T94" fmla="*/ 82 w 154"/>
                <a:gd name="T95" fmla="*/ 216 h 304"/>
                <a:gd name="T96" fmla="*/ 90 w 154"/>
                <a:gd name="T97" fmla="*/ 228 h 304"/>
                <a:gd name="T98" fmla="*/ 86 w 154"/>
                <a:gd name="T99" fmla="*/ 234 h 304"/>
                <a:gd name="T100" fmla="*/ 74 w 154"/>
                <a:gd name="T101" fmla="*/ 246 h 304"/>
                <a:gd name="T102" fmla="*/ 72 w 154"/>
                <a:gd name="T103" fmla="*/ 258 h 304"/>
                <a:gd name="T104" fmla="*/ 72 w 154"/>
                <a:gd name="T105" fmla="*/ 268 h 304"/>
                <a:gd name="T106" fmla="*/ 60 w 154"/>
                <a:gd name="T107" fmla="*/ 276 h 304"/>
                <a:gd name="T108" fmla="*/ 56 w 154"/>
                <a:gd name="T109" fmla="*/ 286 h 304"/>
                <a:gd name="T110" fmla="*/ 44 w 154"/>
                <a:gd name="T111" fmla="*/ 296 h 304"/>
                <a:gd name="T112" fmla="*/ 38 w 154"/>
                <a:gd name="T113" fmla="*/ 304 h 304"/>
                <a:gd name="T114" fmla="*/ 26 w 154"/>
                <a:gd name="T115" fmla="*/ 300 h 304"/>
                <a:gd name="T116" fmla="*/ 22 w 154"/>
                <a:gd name="T117" fmla="*/ 294 h 304"/>
                <a:gd name="T118" fmla="*/ 24 w 154"/>
                <a:gd name="T119" fmla="*/ 280 h 304"/>
                <a:gd name="T120" fmla="*/ 16 w 154"/>
                <a:gd name="T121" fmla="*/ 276 h 304"/>
                <a:gd name="T122" fmla="*/ 14 w 154"/>
                <a:gd name="T123" fmla="*/ 272 h 304"/>
                <a:gd name="T124" fmla="*/ 6 w 154"/>
                <a:gd name="T125" fmla="*/ 25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304">
                  <a:moveTo>
                    <a:pt x="0" y="236"/>
                  </a:moveTo>
                  <a:lnTo>
                    <a:pt x="0" y="236"/>
                  </a:lnTo>
                  <a:lnTo>
                    <a:pt x="2" y="232"/>
                  </a:lnTo>
                  <a:lnTo>
                    <a:pt x="4" y="230"/>
                  </a:lnTo>
                  <a:lnTo>
                    <a:pt x="6" y="226"/>
                  </a:lnTo>
                  <a:lnTo>
                    <a:pt x="6" y="224"/>
                  </a:lnTo>
                  <a:lnTo>
                    <a:pt x="6" y="222"/>
                  </a:lnTo>
                  <a:lnTo>
                    <a:pt x="6" y="218"/>
                  </a:lnTo>
                  <a:lnTo>
                    <a:pt x="8" y="216"/>
                  </a:lnTo>
                  <a:lnTo>
                    <a:pt x="8" y="212"/>
                  </a:lnTo>
                  <a:lnTo>
                    <a:pt x="10" y="210"/>
                  </a:lnTo>
                  <a:lnTo>
                    <a:pt x="10" y="210"/>
                  </a:lnTo>
                  <a:lnTo>
                    <a:pt x="10" y="210"/>
                  </a:lnTo>
                  <a:lnTo>
                    <a:pt x="10" y="208"/>
                  </a:lnTo>
                  <a:lnTo>
                    <a:pt x="12" y="208"/>
                  </a:lnTo>
                  <a:lnTo>
                    <a:pt x="12" y="208"/>
                  </a:lnTo>
                  <a:lnTo>
                    <a:pt x="16" y="206"/>
                  </a:lnTo>
                  <a:lnTo>
                    <a:pt x="18" y="206"/>
                  </a:lnTo>
                  <a:lnTo>
                    <a:pt x="20" y="204"/>
                  </a:lnTo>
                  <a:lnTo>
                    <a:pt x="22" y="204"/>
                  </a:lnTo>
                  <a:lnTo>
                    <a:pt x="22" y="204"/>
                  </a:lnTo>
                  <a:lnTo>
                    <a:pt x="22" y="202"/>
                  </a:lnTo>
                  <a:lnTo>
                    <a:pt x="24" y="202"/>
                  </a:lnTo>
                  <a:lnTo>
                    <a:pt x="24" y="202"/>
                  </a:lnTo>
                  <a:lnTo>
                    <a:pt x="24" y="200"/>
                  </a:lnTo>
                  <a:lnTo>
                    <a:pt x="24" y="200"/>
                  </a:lnTo>
                  <a:lnTo>
                    <a:pt x="24" y="198"/>
                  </a:lnTo>
                  <a:lnTo>
                    <a:pt x="24" y="198"/>
                  </a:lnTo>
                  <a:lnTo>
                    <a:pt x="24" y="196"/>
                  </a:lnTo>
                  <a:lnTo>
                    <a:pt x="24" y="192"/>
                  </a:lnTo>
                  <a:lnTo>
                    <a:pt x="22" y="190"/>
                  </a:lnTo>
                  <a:lnTo>
                    <a:pt x="22" y="188"/>
                  </a:lnTo>
                  <a:lnTo>
                    <a:pt x="20" y="184"/>
                  </a:lnTo>
                  <a:lnTo>
                    <a:pt x="20" y="182"/>
                  </a:lnTo>
                  <a:lnTo>
                    <a:pt x="18" y="180"/>
                  </a:lnTo>
                  <a:lnTo>
                    <a:pt x="16" y="176"/>
                  </a:lnTo>
                  <a:lnTo>
                    <a:pt x="14" y="172"/>
                  </a:lnTo>
                  <a:lnTo>
                    <a:pt x="14" y="170"/>
                  </a:lnTo>
                  <a:lnTo>
                    <a:pt x="12" y="168"/>
                  </a:lnTo>
                  <a:lnTo>
                    <a:pt x="12" y="166"/>
                  </a:lnTo>
                  <a:lnTo>
                    <a:pt x="12" y="164"/>
                  </a:lnTo>
                  <a:lnTo>
                    <a:pt x="12" y="160"/>
                  </a:lnTo>
                  <a:lnTo>
                    <a:pt x="10" y="152"/>
                  </a:lnTo>
                  <a:lnTo>
                    <a:pt x="8" y="146"/>
                  </a:lnTo>
                  <a:lnTo>
                    <a:pt x="8" y="138"/>
                  </a:lnTo>
                  <a:lnTo>
                    <a:pt x="6" y="134"/>
                  </a:lnTo>
                  <a:lnTo>
                    <a:pt x="6" y="130"/>
                  </a:lnTo>
                  <a:lnTo>
                    <a:pt x="6" y="128"/>
                  </a:lnTo>
                  <a:lnTo>
                    <a:pt x="6" y="126"/>
                  </a:lnTo>
                  <a:lnTo>
                    <a:pt x="6" y="124"/>
                  </a:lnTo>
                  <a:lnTo>
                    <a:pt x="6" y="122"/>
                  </a:lnTo>
                  <a:lnTo>
                    <a:pt x="8" y="120"/>
                  </a:lnTo>
                  <a:lnTo>
                    <a:pt x="8" y="118"/>
                  </a:lnTo>
                  <a:lnTo>
                    <a:pt x="8" y="116"/>
                  </a:lnTo>
                  <a:lnTo>
                    <a:pt x="10" y="116"/>
                  </a:lnTo>
                  <a:lnTo>
                    <a:pt x="10" y="116"/>
                  </a:lnTo>
                  <a:lnTo>
                    <a:pt x="10" y="114"/>
                  </a:lnTo>
                  <a:lnTo>
                    <a:pt x="10" y="114"/>
                  </a:lnTo>
                  <a:lnTo>
                    <a:pt x="12" y="114"/>
                  </a:lnTo>
                  <a:lnTo>
                    <a:pt x="12" y="114"/>
                  </a:lnTo>
                  <a:lnTo>
                    <a:pt x="12" y="114"/>
                  </a:lnTo>
                  <a:lnTo>
                    <a:pt x="14" y="116"/>
                  </a:lnTo>
                  <a:lnTo>
                    <a:pt x="16" y="116"/>
                  </a:lnTo>
                  <a:lnTo>
                    <a:pt x="18" y="116"/>
                  </a:lnTo>
                  <a:lnTo>
                    <a:pt x="20" y="118"/>
                  </a:lnTo>
                  <a:lnTo>
                    <a:pt x="22" y="118"/>
                  </a:lnTo>
                  <a:lnTo>
                    <a:pt x="24" y="118"/>
                  </a:lnTo>
                  <a:lnTo>
                    <a:pt x="24" y="118"/>
                  </a:lnTo>
                  <a:lnTo>
                    <a:pt x="24" y="118"/>
                  </a:lnTo>
                  <a:lnTo>
                    <a:pt x="26" y="116"/>
                  </a:lnTo>
                  <a:lnTo>
                    <a:pt x="26" y="116"/>
                  </a:lnTo>
                  <a:lnTo>
                    <a:pt x="28" y="116"/>
                  </a:lnTo>
                  <a:lnTo>
                    <a:pt x="28" y="114"/>
                  </a:lnTo>
                  <a:lnTo>
                    <a:pt x="30" y="114"/>
                  </a:lnTo>
                  <a:lnTo>
                    <a:pt x="30" y="114"/>
                  </a:lnTo>
                  <a:lnTo>
                    <a:pt x="30" y="112"/>
                  </a:lnTo>
                  <a:lnTo>
                    <a:pt x="30" y="112"/>
                  </a:lnTo>
                  <a:lnTo>
                    <a:pt x="30" y="112"/>
                  </a:lnTo>
                  <a:lnTo>
                    <a:pt x="30" y="110"/>
                  </a:lnTo>
                  <a:lnTo>
                    <a:pt x="28" y="110"/>
                  </a:lnTo>
                  <a:lnTo>
                    <a:pt x="28" y="110"/>
                  </a:lnTo>
                  <a:lnTo>
                    <a:pt x="26" y="108"/>
                  </a:lnTo>
                  <a:lnTo>
                    <a:pt x="24" y="108"/>
                  </a:lnTo>
                  <a:lnTo>
                    <a:pt x="22" y="106"/>
                  </a:lnTo>
                  <a:lnTo>
                    <a:pt x="22" y="106"/>
                  </a:lnTo>
                  <a:lnTo>
                    <a:pt x="22" y="106"/>
                  </a:lnTo>
                  <a:lnTo>
                    <a:pt x="22" y="104"/>
                  </a:lnTo>
                  <a:lnTo>
                    <a:pt x="22" y="104"/>
                  </a:lnTo>
                  <a:lnTo>
                    <a:pt x="22" y="104"/>
                  </a:lnTo>
                  <a:lnTo>
                    <a:pt x="22" y="102"/>
                  </a:lnTo>
                  <a:lnTo>
                    <a:pt x="22" y="100"/>
                  </a:lnTo>
                  <a:lnTo>
                    <a:pt x="24" y="98"/>
                  </a:lnTo>
                  <a:lnTo>
                    <a:pt x="26" y="96"/>
                  </a:lnTo>
                  <a:lnTo>
                    <a:pt x="28" y="94"/>
                  </a:lnTo>
                  <a:lnTo>
                    <a:pt x="28" y="92"/>
                  </a:lnTo>
                  <a:lnTo>
                    <a:pt x="28" y="90"/>
                  </a:lnTo>
                  <a:lnTo>
                    <a:pt x="28" y="88"/>
                  </a:lnTo>
                  <a:lnTo>
                    <a:pt x="28" y="82"/>
                  </a:lnTo>
                  <a:lnTo>
                    <a:pt x="28" y="80"/>
                  </a:lnTo>
                  <a:lnTo>
                    <a:pt x="28" y="78"/>
                  </a:lnTo>
                  <a:lnTo>
                    <a:pt x="28" y="76"/>
                  </a:lnTo>
                  <a:lnTo>
                    <a:pt x="30" y="74"/>
                  </a:lnTo>
                  <a:lnTo>
                    <a:pt x="30" y="74"/>
                  </a:lnTo>
                  <a:lnTo>
                    <a:pt x="30" y="74"/>
                  </a:lnTo>
                  <a:lnTo>
                    <a:pt x="30" y="72"/>
                  </a:lnTo>
                  <a:lnTo>
                    <a:pt x="32" y="72"/>
                  </a:lnTo>
                  <a:lnTo>
                    <a:pt x="34" y="72"/>
                  </a:lnTo>
                  <a:lnTo>
                    <a:pt x="36" y="70"/>
                  </a:lnTo>
                  <a:lnTo>
                    <a:pt x="38" y="70"/>
                  </a:lnTo>
                  <a:lnTo>
                    <a:pt x="38" y="70"/>
                  </a:lnTo>
                  <a:lnTo>
                    <a:pt x="38" y="70"/>
                  </a:lnTo>
                  <a:lnTo>
                    <a:pt x="38" y="68"/>
                  </a:lnTo>
                  <a:lnTo>
                    <a:pt x="38" y="68"/>
                  </a:lnTo>
                  <a:lnTo>
                    <a:pt x="40" y="64"/>
                  </a:lnTo>
                  <a:lnTo>
                    <a:pt x="40" y="62"/>
                  </a:lnTo>
                  <a:lnTo>
                    <a:pt x="40" y="60"/>
                  </a:lnTo>
                  <a:lnTo>
                    <a:pt x="40" y="60"/>
                  </a:lnTo>
                  <a:lnTo>
                    <a:pt x="42" y="58"/>
                  </a:lnTo>
                  <a:lnTo>
                    <a:pt x="42" y="58"/>
                  </a:lnTo>
                  <a:lnTo>
                    <a:pt x="42" y="58"/>
                  </a:lnTo>
                  <a:lnTo>
                    <a:pt x="42" y="58"/>
                  </a:lnTo>
                  <a:lnTo>
                    <a:pt x="44" y="58"/>
                  </a:lnTo>
                  <a:lnTo>
                    <a:pt x="44" y="58"/>
                  </a:lnTo>
                  <a:lnTo>
                    <a:pt x="46" y="58"/>
                  </a:lnTo>
                  <a:lnTo>
                    <a:pt x="48" y="58"/>
                  </a:lnTo>
                  <a:lnTo>
                    <a:pt x="50" y="58"/>
                  </a:lnTo>
                  <a:lnTo>
                    <a:pt x="50" y="58"/>
                  </a:lnTo>
                  <a:lnTo>
                    <a:pt x="52" y="58"/>
                  </a:lnTo>
                  <a:lnTo>
                    <a:pt x="52" y="58"/>
                  </a:lnTo>
                  <a:lnTo>
                    <a:pt x="52" y="56"/>
                  </a:lnTo>
                  <a:lnTo>
                    <a:pt x="52" y="56"/>
                  </a:lnTo>
                  <a:lnTo>
                    <a:pt x="52" y="54"/>
                  </a:lnTo>
                  <a:lnTo>
                    <a:pt x="52" y="52"/>
                  </a:lnTo>
                  <a:lnTo>
                    <a:pt x="54" y="50"/>
                  </a:lnTo>
                  <a:lnTo>
                    <a:pt x="54" y="48"/>
                  </a:lnTo>
                  <a:lnTo>
                    <a:pt x="54" y="48"/>
                  </a:lnTo>
                  <a:lnTo>
                    <a:pt x="54" y="46"/>
                  </a:lnTo>
                  <a:lnTo>
                    <a:pt x="54" y="46"/>
                  </a:lnTo>
                  <a:lnTo>
                    <a:pt x="54" y="44"/>
                  </a:lnTo>
                  <a:lnTo>
                    <a:pt x="54" y="44"/>
                  </a:lnTo>
                  <a:lnTo>
                    <a:pt x="56" y="44"/>
                  </a:lnTo>
                  <a:lnTo>
                    <a:pt x="58" y="42"/>
                  </a:lnTo>
                  <a:lnTo>
                    <a:pt x="60" y="40"/>
                  </a:lnTo>
                  <a:lnTo>
                    <a:pt x="62" y="40"/>
                  </a:lnTo>
                  <a:lnTo>
                    <a:pt x="62" y="40"/>
                  </a:lnTo>
                  <a:lnTo>
                    <a:pt x="62" y="38"/>
                  </a:lnTo>
                  <a:lnTo>
                    <a:pt x="62" y="38"/>
                  </a:lnTo>
                  <a:lnTo>
                    <a:pt x="62" y="36"/>
                  </a:lnTo>
                  <a:lnTo>
                    <a:pt x="62" y="34"/>
                  </a:lnTo>
                  <a:lnTo>
                    <a:pt x="62" y="32"/>
                  </a:lnTo>
                  <a:lnTo>
                    <a:pt x="62" y="30"/>
                  </a:lnTo>
                  <a:lnTo>
                    <a:pt x="62" y="30"/>
                  </a:lnTo>
                  <a:lnTo>
                    <a:pt x="62" y="28"/>
                  </a:lnTo>
                  <a:lnTo>
                    <a:pt x="62" y="28"/>
                  </a:lnTo>
                  <a:lnTo>
                    <a:pt x="62" y="28"/>
                  </a:lnTo>
                  <a:lnTo>
                    <a:pt x="62" y="26"/>
                  </a:lnTo>
                  <a:lnTo>
                    <a:pt x="64" y="26"/>
                  </a:lnTo>
                  <a:lnTo>
                    <a:pt x="64" y="26"/>
                  </a:lnTo>
                  <a:lnTo>
                    <a:pt x="64" y="26"/>
                  </a:lnTo>
                  <a:lnTo>
                    <a:pt x="66" y="28"/>
                  </a:lnTo>
                  <a:lnTo>
                    <a:pt x="68" y="28"/>
                  </a:lnTo>
                  <a:lnTo>
                    <a:pt x="70" y="28"/>
                  </a:lnTo>
                  <a:lnTo>
                    <a:pt x="70" y="30"/>
                  </a:lnTo>
                  <a:lnTo>
                    <a:pt x="72" y="30"/>
                  </a:lnTo>
                  <a:lnTo>
                    <a:pt x="72" y="30"/>
                  </a:lnTo>
                  <a:lnTo>
                    <a:pt x="74" y="28"/>
                  </a:lnTo>
                  <a:lnTo>
                    <a:pt x="76" y="28"/>
                  </a:lnTo>
                  <a:lnTo>
                    <a:pt x="78" y="26"/>
                  </a:lnTo>
                  <a:lnTo>
                    <a:pt x="80" y="26"/>
                  </a:lnTo>
                  <a:lnTo>
                    <a:pt x="80" y="24"/>
                  </a:lnTo>
                  <a:lnTo>
                    <a:pt x="82" y="24"/>
                  </a:lnTo>
                  <a:lnTo>
                    <a:pt x="82" y="22"/>
                  </a:lnTo>
                  <a:lnTo>
                    <a:pt x="84" y="20"/>
                  </a:lnTo>
                  <a:lnTo>
                    <a:pt x="86" y="18"/>
                  </a:lnTo>
                  <a:lnTo>
                    <a:pt x="86" y="18"/>
                  </a:lnTo>
                  <a:lnTo>
                    <a:pt x="88" y="18"/>
                  </a:lnTo>
                  <a:lnTo>
                    <a:pt x="90" y="18"/>
                  </a:lnTo>
                  <a:lnTo>
                    <a:pt x="92" y="18"/>
                  </a:lnTo>
                  <a:lnTo>
                    <a:pt x="96" y="16"/>
                  </a:lnTo>
                  <a:lnTo>
                    <a:pt x="98" y="16"/>
                  </a:lnTo>
                  <a:lnTo>
                    <a:pt x="100" y="16"/>
                  </a:lnTo>
                  <a:lnTo>
                    <a:pt x="104" y="18"/>
                  </a:lnTo>
                  <a:lnTo>
                    <a:pt x="106" y="18"/>
                  </a:lnTo>
                  <a:lnTo>
                    <a:pt x="108" y="18"/>
                  </a:lnTo>
                  <a:lnTo>
                    <a:pt x="110" y="18"/>
                  </a:lnTo>
                  <a:lnTo>
                    <a:pt x="110" y="16"/>
                  </a:lnTo>
                  <a:lnTo>
                    <a:pt x="112" y="16"/>
                  </a:lnTo>
                  <a:lnTo>
                    <a:pt x="112" y="16"/>
                  </a:lnTo>
                  <a:lnTo>
                    <a:pt x="114" y="14"/>
                  </a:lnTo>
                  <a:lnTo>
                    <a:pt x="114" y="12"/>
                  </a:lnTo>
                  <a:lnTo>
                    <a:pt x="116" y="10"/>
                  </a:lnTo>
                  <a:lnTo>
                    <a:pt x="118" y="8"/>
                  </a:lnTo>
                  <a:lnTo>
                    <a:pt x="118" y="8"/>
                  </a:lnTo>
                  <a:lnTo>
                    <a:pt x="120" y="6"/>
                  </a:lnTo>
                  <a:lnTo>
                    <a:pt x="124" y="4"/>
                  </a:lnTo>
                  <a:lnTo>
                    <a:pt x="128" y="0"/>
                  </a:lnTo>
                  <a:lnTo>
                    <a:pt x="132" y="6"/>
                  </a:lnTo>
                  <a:lnTo>
                    <a:pt x="136" y="10"/>
                  </a:lnTo>
                  <a:lnTo>
                    <a:pt x="138" y="14"/>
                  </a:lnTo>
                  <a:lnTo>
                    <a:pt x="140" y="14"/>
                  </a:lnTo>
                  <a:lnTo>
                    <a:pt x="142" y="16"/>
                  </a:lnTo>
                  <a:lnTo>
                    <a:pt x="144" y="18"/>
                  </a:lnTo>
                  <a:lnTo>
                    <a:pt x="146" y="20"/>
                  </a:lnTo>
                  <a:lnTo>
                    <a:pt x="148" y="20"/>
                  </a:lnTo>
                  <a:lnTo>
                    <a:pt x="148" y="22"/>
                  </a:lnTo>
                  <a:lnTo>
                    <a:pt x="150" y="24"/>
                  </a:lnTo>
                  <a:lnTo>
                    <a:pt x="150" y="24"/>
                  </a:lnTo>
                  <a:lnTo>
                    <a:pt x="150" y="26"/>
                  </a:lnTo>
                  <a:lnTo>
                    <a:pt x="150" y="28"/>
                  </a:lnTo>
                  <a:lnTo>
                    <a:pt x="150" y="34"/>
                  </a:lnTo>
                  <a:lnTo>
                    <a:pt x="152" y="36"/>
                  </a:lnTo>
                  <a:lnTo>
                    <a:pt x="152" y="40"/>
                  </a:lnTo>
                  <a:lnTo>
                    <a:pt x="152" y="44"/>
                  </a:lnTo>
                  <a:lnTo>
                    <a:pt x="154" y="50"/>
                  </a:lnTo>
                  <a:lnTo>
                    <a:pt x="154" y="54"/>
                  </a:lnTo>
                  <a:lnTo>
                    <a:pt x="154" y="56"/>
                  </a:lnTo>
                  <a:lnTo>
                    <a:pt x="154" y="58"/>
                  </a:lnTo>
                  <a:lnTo>
                    <a:pt x="154" y="60"/>
                  </a:lnTo>
                  <a:lnTo>
                    <a:pt x="154" y="62"/>
                  </a:lnTo>
                  <a:lnTo>
                    <a:pt x="152" y="64"/>
                  </a:lnTo>
                  <a:lnTo>
                    <a:pt x="152" y="64"/>
                  </a:lnTo>
                  <a:lnTo>
                    <a:pt x="152" y="64"/>
                  </a:lnTo>
                  <a:lnTo>
                    <a:pt x="152" y="66"/>
                  </a:lnTo>
                  <a:lnTo>
                    <a:pt x="150" y="66"/>
                  </a:lnTo>
                  <a:lnTo>
                    <a:pt x="148" y="68"/>
                  </a:lnTo>
                  <a:lnTo>
                    <a:pt x="146" y="68"/>
                  </a:lnTo>
                  <a:lnTo>
                    <a:pt x="144" y="70"/>
                  </a:lnTo>
                  <a:lnTo>
                    <a:pt x="142" y="70"/>
                  </a:lnTo>
                  <a:lnTo>
                    <a:pt x="140" y="72"/>
                  </a:lnTo>
                  <a:lnTo>
                    <a:pt x="138" y="74"/>
                  </a:lnTo>
                  <a:lnTo>
                    <a:pt x="136" y="76"/>
                  </a:lnTo>
                  <a:lnTo>
                    <a:pt x="134" y="76"/>
                  </a:lnTo>
                  <a:lnTo>
                    <a:pt x="132" y="78"/>
                  </a:lnTo>
                  <a:lnTo>
                    <a:pt x="130" y="80"/>
                  </a:lnTo>
                  <a:lnTo>
                    <a:pt x="130" y="82"/>
                  </a:lnTo>
                  <a:lnTo>
                    <a:pt x="130" y="84"/>
                  </a:lnTo>
                  <a:lnTo>
                    <a:pt x="128" y="86"/>
                  </a:lnTo>
                  <a:lnTo>
                    <a:pt x="128" y="88"/>
                  </a:lnTo>
                  <a:lnTo>
                    <a:pt x="128" y="94"/>
                  </a:lnTo>
                  <a:lnTo>
                    <a:pt x="128" y="98"/>
                  </a:lnTo>
                  <a:lnTo>
                    <a:pt x="128" y="98"/>
                  </a:lnTo>
                  <a:lnTo>
                    <a:pt x="128" y="100"/>
                  </a:lnTo>
                  <a:lnTo>
                    <a:pt x="128" y="102"/>
                  </a:lnTo>
                  <a:lnTo>
                    <a:pt x="128" y="104"/>
                  </a:lnTo>
                  <a:lnTo>
                    <a:pt x="128" y="106"/>
                  </a:lnTo>
                  <a:lnTo>
                    <a:pt x="128" y="108"/>
                  </a:lnTo>
                  <a:lnTo>
                    <a:pt x="128" y="108"/>
                  </a:lnTo>
                  <a:lnTo>
                    <a:pt x="128" y="108"/>
                  </a:lnTo>
                  <a:lnTo>
                    <a:pt x="128" y="110"/>
                  </a:lnTo>
                  <a:lnTo>
                    <a:pt x="128" y="110"/>
                  </a:lnTo>
                  <a:lnTo>
                    <a:pt x="126" y="110"/>
                  </a:lnTo>
                  <a:lnTo>
                    <a:pt x="126" y="112"/>
                  </a:lnTo>
                  <a:lnTo>
                    <a:pt x="124" y="112"/>
                  </a:lnTo>
                  <a:lnTo>
                    <a:pt x="122" y="114"/>
                  </a:lnTo>
                  <a:lnTo>
                    <a:pt x="116" y="116"/>
                  </a:lnTo>
                  <a:lnTo>
                    <a:pt x="114" y="118"/>
                  </a:lnTo>
                  <a:lnTo>
                    <a:pt x="114" y="118"/>
                  </a:lnTo>
                  <a:lnTo>
                    <a:pt x="112" y="120"/>
                  </a:lnTo>
                  <a:lnTo>
                    <a:pt x="112" y="122"/>
                  </a:lnTo>
                  <a:lnTo>
                    <a:pt x="108" y="124"/>
                  </a:lnTo>
                  <a:lnTo>
                    <a:pt x="108" y="126"/>
                  </a:lnTo>
                  <a:lnTo>
                    <a:pt x="106" y="128"/>
                  </a:lnTo>
                  <a:lnTo>
                    <a:pt x="106" y="130"/>
                  </a:lnTo>
                  <a:lnTo>
                    <a:pt x="104" y="130"/>
                  </a:lnTo>
                  <a:lnTo>
                    <a:pt x="104" y="130"/>
                  </a:lnTo>
                  <a:lnTo>
                    <a:pt x="102" y="130"/>
                  </a:lnTo>
                  <a:lnTo>
                    <a:pt x="100" y="132"/>
                  </a:lnTo>
                  <a:lnTo>
                    <a:pt x="98" y="132"/>
                  </a:lnTo>
                  <a:lnTo>
                    <a:pt x="94" y="132"/>
                  </a:lnTo>
                  <a:lnTo>
                    <a:pt x="92" y="132"/>
                  </a:lnTo>
                  <a:lnTo>
                    <a:pt x="88" y="132"/>
                  </a:lnTo>
                  <a:lnTo>
                    <a:pt x="88" y="132"/>
                  </a:lnTo>
                  <a:lnTo>
                    <a:pt x="86" y="132"/>
                  </a:lnTo>
                  <a:lnTo>
                    <a:pt x="86" y="134"/>
                  </a:lnTo>
                  <a:lnTo>
                    <a:pt x="84" y="134"/>
                  </a:lnTo>
                  <a:lnTo>
                    <a:pt x="84" y="134"/>
                  </a:lnTo>
                  <a:lnTo>
                    <a:pt x="82" y="136"/>
                  </a:lnTo>
                  <a:lnTo>
                    <a:pt x="82" y="136"/>
                  </a:lnTo>
                  <a:lnTo>
                    <a:pt x="80" y="138"/>
                  </a:lnTo>
                  <a:lnTo>
                    <a:pt x="80" y="142"/>
                  </a:lnTo>
                  <a:lnTo>
                    <a:pt x="78" y="144"/>
                  </a:lnTo>
                  <a:lnTo>
                    <a:pt x="78" y="146"/>
                  </a:lnTo>
                  <a:lnTo>
                    <a:pt x="76" y="150"/>
                  </a:lnTo>
                  <a:lnTo>
                    <a:pt x="76" y="152"/>
                  </a:lnTo>
                  <a:lnTo>
                    <a:pt x="76" y="156"/>
                  </a:lnTo>
                  <a:lnTo>
                    <a:pt x="76" y="160"/>
                  </a:lnTo>
                  <a:lnTo>
                    <a:pt x="76" y="164"/>
                  </a:lnTo>
                  <a:lnTo>
                    <a:pt x="76" y="168"/>
                  </a:lnTo>
                  <a:lnTo>
                    <a:pt x="76" y="172"/>
                  </a:lnTo>
                  <a:lnTo>
                    <a:pt x="76" y="174"/>
                  </a:lnTo>
                  <a:lnTo>
                    <a:pt x="76" y="176"/>
                  </a:lnTo>
                  <a:lnTo>
                    <a:pt x="76" y="178"/>
                  </a:lnTo>
                  <a:lnTo>
                    <a:pt x="78" y="178"/>
                  </a:lnTo>
                  <a:lnTo>
                    <a:pt x="78" y="180"/>
                  </a:lnTo>
                  <a:lnTo>
                    <a:pt x="78" y="182"/>
                  </a:lnTo>
                  <a:lnTo>
                    <a:pt x="80" y="182"/>
                  </a:lnTo>
                  <a:lnTo>
                    <a:pt x="82" y="184"/>
                  </a:lnTo>
                  <a:lnTo>
                    <a:pt x="86" y="188"/>
                  </a:lnTo>
                  <a:lnTo>
                    <a:pt x="88" y="190"/>
                  </a:lnTo>
                  <a:lnTo>
                    <a:pt x="88" y="192"/>
                  </a:lnTo>
                  <a:lnTo>
                    <a:pt x="90" y="194"/>
                  </a:lnTo>
                  <a:lnTo>
                    <a:pt x="92" y="198"/>
                  </a:lnTo>
                  <a:lnTo>
                    <a:pt x="92" y="198"/>
                  </a:lnTo>
                  <a:lnTo>
                    <a:pt x="92" y="200"/>
                  </a:lnTo>
                  <a:lnTo>
                    <a:pt x="94" y="202"/>
                  </a:lnTo>
                  <a:lnTo>
                    <a:pt x="94" y="202"/>
                  </a:lnTo>
                  <a:lnTo>
                    <a:pt x="94" y="202"/>
                  </a:lnTo>
                  <a:lnTo>
                    <a:pt x="92" y="204"/>
                  </a:lnTo>
                  <a:lnTo>
                    <a:pt x="92" y="204"/>
                  </a:lnTo>
                  <a:lnTo>
                    <a:pt x="92" y="204"/>
                  </a:lnTo>
                  <a:lnTo>
                    <a:pt x="90" y="206"/>
                  </a:lnTo>
                  <a:lnTo>
                    <a:pt x="88" y="206"/>
                  </a:lnTo>
                  <a:lnTo>
                    <a:pt x="86" y="206"/>
                  </a:lnTo>
                  <a:lnTo>
                    <a:pt x="84" y="208"/>
                  </a:lnTo>
                  <a:lnTo>
                    <a:pt x="80" y="208"/>
                  </a:lnTo>
                  <a:lnTo>
                    <a:pt x="76" y="210"/>
                  </a:lnTo>
                  <a:lnTo>
                    <a:pt x="74" y="210"/>
                  </a:lnTo>
                  <a:lnTo>
                    <a:pt x="72" y="210"/>
                  </a:lnTo>
                  <a:lnTo>
                    <a:pt x="70" y="212"/>
                  </a:lnTo>
                  <a:lnTo>
                    <a:pt x="70" y="212"/>
                  </a:lnTo>
                  <a:lnTo>
                    <a:pt x="70" y="212"/>
                  </a:lnTo>
                  <a:lnTo>
                    <a:pt x="70" y="212"/>
                  </a:lnTo>
                  <a:lnTo>
                    <a:pt x="70" y="214"/>
                  </a:lnTo>
                  <a:lnTo>
                    <a:pt x="70" y="214"/>
                  </a:lnTo>
                  <a:lnTo>
                    <a:pt x="70" y="214"/>
                  </a:lnTo>
                  <a:lnTo>
                    <a:pt x="70" y="214"/>
                  </a:lnTo>
                  <a:lnTo>
                    <a:pt x="70" y="216"/>
                  </a:lnTo>
                  <a:lnTo>
                    <a:pt x="70" y="216"/>
                  </a:lnTo>
                  <a:lnTo>
                    <a:pt x="72" y="216"/>
                  </a:lnTo>
                  <a:lnTo>
                    <a:pt x="74" y="214"/>
                  </a:lnTo>
                  <a:lnTo>
                    <a:pt x="78" y="214"/>
                  </a:lnTo>
                  <a:lnTo>
                    <a:pt x="80" y="214"/>
                  </a:lnTo>
                  <a:lnTo>
                    <a:pt x="80" y="214"/>
                  </a:lnTo>
                  <a:lnTo>
                    <a:pt x="80" y="214"/>
                  </a:lnTo>
                  <a:lnTo>
                    <a:pt x="82" y="214"/>
                  </a:lnTo>
                  <a:lnTo>
                    <a:pt x="82" y="216"/>
                  </a:lnTo>
                  <a:lnTo>
                    <a:pt x="84" y="216"/>
                  </a:lnTo>
                  <a:lnTo>
                    <a:pt x="86" y="218"/>
                  </a:lnTo>
                  <a:lnTo>
                    <a:pt x="86" y="220"/>
                  </a:lnTo>
                  <a:lnTo>
                    <a:pt x="88" y="222"/>
                  </a:lnTo>
                  <a:lnTo>
                    <a:pt x="90" y="226"/>
                  </a:lnTo>
                  <a:lnTo>
                    <a:pt x="90" y="226"/>
                  </a:lnTo>
                  <a:lnTo>
                    <a:pt x="90" y="228"/>
                  </a:lnTo>
                  <a:lnTo>
                    <a:pt x="90" y="230"/>
                  </a:lnTo>
                  <a:lnTo>
                    <a:pt x="90" y="230"/>
                  </a:lnTo>
                  <a:lnTo>
                    <a:pt x="90" y="230"/>
                  </a:lnTo>
                  <a:lnTo>
                    <a:pt x="90" y="232"/>
                  </a:lnTo>
                  <a:lnTo>
                    <a:pt x="90" y="232"/>
                  </a:lnTo>
                  <a:lnTo>
                    <a:pt x="88" y="234"/>
                  </a:lnTo>
                  <a:lnTo>
                    <a:pt x="86" y="234"/>
                  </a:lnTo>
                  <a:lnTo>
                    <a:pt x="84" y="236"/>
                  </a:lnTo>
                  <a:lnTo>
                    <a:pt x="82" y="236"/>
                  </a:lnTo>
                  <a:lnTo>
                    <a:pt x="82" y="236"/>
                  </a:lnTo>
                  <a:lnTo>
                    <a:pt x="80" y="240"/>
                  </a:lnTo>
                  <a:lnTo>
                    <a:pt x="76" y="242"/>
                  </a:lnTo>
                  <a:lnTo>
                    <a:pt x="74" y="244"/>
                  </a:lnTo>
                  <a:lnTo>
                    <a:pt x="74" y="246"/>
                  </a:lnTo>
                  <a:lnTo>
                    <a:pt x="72" y="246"/>
                  </a:lnTo>
                  <a:lnTo>
                    <a:pt x="72" y="248"/>
                  </a:lnTo>
                  <a:lnTo>
                    <a:pt x="72" y="248"/>
                  </a:lnTo>
                  <a:lnTo>
                    <a:pt x="72" y="250"/>
                  </a:lnTo>
                  <a:lnTo>
                    <a:pt x="72" y="252"/>
                  </a:lnTo>
                  <a:lnTo>
                    <a:pt x="72" y="254"/>
                  </a:lnTo>
                  <a:lnTo>
                    <a:pt x="72" y="258"/>
                  </a:lnTo>
                  <a:lnTo>
                    <a:pt x="72" y="260"/>
                  </a:lnTo>
                  <a:lnTo>
                    <a:pt x="72" y="262"/>
                  </a:lnTo>
                  <a:lnTo>
                    <a:pt x="72" y="264"/>
                  </a:lnTo>
                  <a:lnTo>
                    <a:pt x="72" y="266"/>
                  </a:lnTo>
                  <a:lnTo>
                    <a:pt x="72" y="266"/>
                  </a:lnTo>
                  <a:lnTo>
                    <a:pt x="72" y="268"/>
                  </a:lnTo>
                  <a:lnTo>
                    <a:pt x="72" y="268"/>
                  </a:lnTo>
                  <a:lnTo>
                    <a:pt x="70" y="268"/>
                  </a:lnTo>
                  <a:lnTo>
                    <a:pt x="70" y="270"/>
                  </a:lnTo>
                  <a:lnTo>
                    <a:pt x="68" y="270"/>
                  </a:lnTo>
                  <a:lnTo>
                    <a:pt x="66" y="272"/>
                  </a:lnTo>
                  <a:lnTo>
                    <a:pt x="62" y="274"/>
                  </a:lnTo>
                  <a:lnTo>
                    <a:pt x="62" y="274"/>
                  </a:lnTo>
                  <a:lnTo>
                    <a:pt x="60" y="276"/>
                  </a:lnTo>
                  <a:lnTo>
                    <a:pt x="60" y="276"/>
                  </a:lnTo>
                  <a:lnTo>
                    <a:pt x="60" y="278"/>
                  </a:lnTo>
                  <a:lnTo>
                    <a:pt x="58" y="280"/>
                  </a:lnTo>
                  <a:lnTo>
                    <a:pt x="58" y="284"/>
                  </a:lnTo>
                  <a:lnTo>
                    <a:pt x="58" y="284"/>
                  </a:lnTo>
                  <a:lnTo>
                    <a:pt x="56" y="286"/>
                  </a:lnTo>
                  <a:lnTo>
                    <a:pt x="56" y="286"/>
                  </a:lnTo>
                  <a:lnTo>
                    <a:pt x="54" y="288"/>
                  </a:lnTo>
                  <a:lnTo>
                    <a:pt x="50" y="290"/>
                  </a:lnTo>
                  <a:lnTo>
                    <a:pt x="48" y="292"/>
                  </a:lnTo>
                  <a:lnTo>
                    <a:pt x="46" y="292"/>
                  </a:lnTo>
                  <a:lnTo>
                    <a:pt x="46" y="294"/>
                  </a:lnTo>
                  <a:lnTo>
                    <a:pt x="44" y="294"/>
                  </a:lnTo>
                  <a:lnTo>
                    <a:pt x="44" y="296"/>
                  </a:lnTo>
                  <a:lnTo>
                    <a:pt x="42" y="298"/>
                  </a:lnTo>
                  <a:lnTo>
                    <a:pt x="42" y="300"/>
                  </a:lnTo>
                  <a:lnTo>
                    <a:pt x="40" y="302"/>
                  </a:lnTo>
                  <a:lnTo>
                    <a:pt x="40" y="302"/>
                  </a:lnTo>
                  <a:lnTo>
                    <a:pt x="40" y="304"/>
                  </a:lnTo>
                  <a:lnTo>
                    <a:pt x="40" y="304"/>
                  </a:lnTo>
                  <a:lnTo>
                    <a:pt x="38" y="304"/>
                  </a:lnTo>
                  <a:lnTo>
                    <a:pt x="38" y="304"/>
                  </a:lnTo>
                  <a:lnTo>
                    <a:pt x="36" y="304"/>
                  </a:lnTo>
                  <a:lnTo>
                    <a:pt x="34" y="304"/>
                  </a:lnTo>
                  <a:lnTo>
                    <a:pt x="32" y="302"/>
                  </a:lnTo>
                  <a:lnTo>
                    <a:pt x="30" y="302"/>
                  </a:lnTo>
                  <a:lnTo>
                    <a:pt x="28" y="302"/>
                  </a:lnTo>
                  <a:lnTo>
                    <a:pt x="26" y="300"/>
                  </a:lnTo>
                  <a:lnTo>
                    <a:pt x="24" y="298"/>
                  </a:lnTo>
                  <a:lnTo>
                    <a:pt x="24" y="298"/>
                  </a:lnTo>
                  <a:lnTo>
                    <a:pt x="22" y="298"/>
                  </a:lnTo>
                  <a:lnTo>
                    <a:pt x="22" y="296"/>
                  </a:lnTo>
                  <a:lnTo>
                    <a:pt x="22" y="296"/>
                  </a:lnTo>
                  <a:lnTo>
                    <a:pt x="22" y="294"/>
                  </a:lnTo>
                  <a:lnTo>
                    <a:pt x="22" y="294"/>
                  </a:lnTo>
                  <a:lnTo>
                    <a:pt x="22" y="290"/>
                  </a:lnTo>
                  <a:lnTo>
                    <a:pt x="24" y="288"/>
                  </a:lnTo>
                  <a:lnTo>
                    <a:pt x="24" y="284"/>
                  </a:lnTo>
                  <a:lnTo>
                    <a:pt x="24" y="282"/>
                  </a:lnTo>
                  <a:lnTo>
                    <a:pt x="24" y="282"/>
                  </a:lnTo>
                  <a:lnTo>
                    <a:pt x="24" y="280"/>
                  </a:lnTo>
                  <a:lnTo>
                    <a:pt x="24" y="280"/>
                  </a:lnTo>
                  <a:lnTo>
                    <a:pt x="24" y="278"/>
                  </a:lnTo>
                  <a:lnTo>
                    <a:pt x="24" y="278"/>
                  </a:lnTo>
                  <a:lnTo>
                    <a:pt x="24" y="278"/>
                  </a:lnTo>
                  <a:lnTo>
                    <a:pt x="22" y="278"/>
                  </a:lnTo>
                  <a:lnTo>
                    <a:pt x="22" y="278"/>
                  </a:lnTo>
                  <a:lnTo>
                    <a:pt x="20" y="276"/>
                  </a:lnTo>
                  <a:lnTo>
                    <a:pt x="16" y="276"/>
                  </a:lnTo>
                  <a:lnTo>
                    <a:pt x="16" y="276"/>
                  </a:lnTo>
                  <a:lnTo>
                    <a:pt x="16" y="276"/>
                  </a:lnTo>
                  <a:lnTo>
                    <a:pt x="16" y="276"/>
                  </a:lnTo>
                  <a:lnTo>
                    <a:pt x="14" y="276"/>
                  </a:lnTo>
                  <a:lnTo>
                    <a:pt x="14" y="274"/>
                  </a:lnTo>
                  <a:lnTo>
                    <a:pt x="14" y="274"/>
                  </a:lnTo>
                  <a:lnTo>
                    <a:pt x="14" y="272"/>
                  </a:lnTo>
                  <a:lnTo>
                    <a:pt x="14" y="270"/>
                  </a:lnTo>
                  <a:lnTo>
                    <a:pt x="12" y="268"/>
                  </a:lnTo>
                  <a:lnTo>
                    <a:pt x="12" y="266"/>
                  </a:lnTo>
                  <a:lnTo>
                    <a:pt x="12" y="264"/>
                  </a:lnTo>
                  <a:lnTo>
                    <a:pt x="12" y="260"/>
                  </a:lnTo>
                  <a:lnTo>
                    <a:pt x="10" y="256"/>
                  </a:lnTo>
                  <a:lnTo>
                    <a:pt x="6" y="250"/>
                  </a:lnTo>
                  <a:lnTo>
                    <a:pt x="2" y="242"/>
                  </a:lnTo>
                  <a:lnTo>
                    <a:pt x="0" y="23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4" name="Freeform 301"/>
            <p:cNvSpPr>
              <a:spLocks/>
            </p:cNvSpPr>
            <p:nvPr/>
          </p:nvSpPr>
          <p:spPr bwMode="auto">
            <a:xfrm>
              <a:off x="4532487" y="2394513"/>
              <a:ext cx="266740" cy="526551"/>
            </a:xfrm>
            <a:custGeom>
              <a:avLst/>
              <a:gdLst>
                <a:gd name="T0" fmla="*/ 6 w 154"/>
                <a:gd name="T1" fmla="*/ 222 h 304"/>
                <a:gd name="T2" fmla="*/ 10 w 154"/>
                <a:gd name="T3" fmla="*/ 208 h 304"/>
                <a:gd name="T4" fmla="*/ 22 w 154"/>
                <a:gd name="T5" fmla="*/ 204 h 304"/>
                <a:gd name="T6" fmla="*/ 24 w 154"/>
                <a:gd name="T7" fmla="*/ 198 h 304"/>
                <a:gd name="T8" fmla="*/ 18 w 154"/>
                <a:gd name="T9" fmla="*/ 180 h 304"/>
                <a:gd name="T10" fmla="*/ 12 w 154"/>
                <a:gd name="T11" fmla="*/ 160 h 304"/>
                <a:gd name="T12" fmla="*/ 6 w 154"/>
                <a:gd name="T13" fmla="*/ 126 h 304"/>
                <a:gd name="T14" fmla="*/ 10 w 154"/>
                <a:gd name="T15" fmla="*/ 116 h 304"/>
                <a:gd name="T16" fmla="*/ 16 w 154"/>
                <a:gd name="T17" fmla="*/ 116 h 304"/>
                <a:gd name="T18" fmla="*/ 26 w 154"/>
                <a:gd name="T19" fmla="*/ 116 h 304"/>
                <a:gd name="T20" fmla="*/ 30 w 154"/>
                <a:gd name="T21" fmla="*/ 112 h 304"/>
                <a:gd name="T22" fmla="*/ 22 w 154"/>
                <a:gd name="T23" fmla="*/ 106 h 304"/>
                <a:gd name="T24" fmla="*/ 22 w 154"/>
                <a:gd name="T25" fmla="*/ 100 h 304"/>
                <a:gd name="T26" fmla="*/ 28 w 154"/>
                <a:gd name="T27" fmla="*/ 82 h 304"/>
                <a:gd name="T28" fmla="*/ 30 w 154"/>
                <a:gd name="T29" fmla="*/ 72 h 304"/>
                <a:gd name="T30" fmla="*/ 38 w 154"/>
                <a:gd name="T31" fmla="*/ 68 h 304"/>
                <a:gd name="T32" fmla="*/ 42 w 154"/>
                <a:gd name="T33" fmla="*/ 58 h 304"/>
                <a:gd name="T34" fmla="*/ 50 w 154"/>
                <a:gd name="T35" fmla="*/ 58 h 304"/>
                <a:gd name="T36" fmla="*/ 52 w 154"/>
                <a:gd name="T37" fmla="*/ 52 h 304"/>
                <a:gd name="T38" fmla="*/ 54 w 154"/>
                <a:gd name="T39" fmla="*/ 44 h 304"/>
                <a:gd name="T40" fmla="*/ 62 w 154"/>
                <a:gd name="T41" fmla="*/ 38 h 304"/>
                <a:gd name="T42" fmla="*/ 62 w 154"/>
                <a:gd name="T43" fmla="*/ 28 h 304"/>
                <a:gd name="T44" fmla="*/ 68 w 154"/>
                <a:gd name="T45" fmla="*/ 28 h 304"/>
                <a:gd name="T46" fmla="*/ 78 w 154"/>
                <a:gd name="T47" fmla="*/ 26 h 304"/>
                <a:gd name="T48" fmla="*/ 86 w 154"/>
                <a:gd name="T49" fmla="*/ 18 h 304"/>
                <a:gd name="T50" fmla="*/ 104 w 154"/>
                <a:gd name="T51" fmla="*/ 18 h 304"/>
                <a:gd name="T52" fmla="*/ 114 w 154"/>
                <a:gd name="T53" fmla="*/ 14 h 304"/>
                <a:gd name="T54" fmla="*/ 128 w 154"/>
                <a:gd name="T55" fmla="*/ 0 h 304"/>
                <a:gd name="T56" fmla="*/ 146 w 154"/>
                <a:gd name="T57" fmla="*/ 20 h 304"/>
                <a:gd name="T58" fmla="*/ 150 w 154"/>
                <a:gd name="T59" fmla="*/ 34 h 304"/>
                <a:gd name="T60" fmla="*/ 154 w 154"/>
                <a:gd name="T61" fmla="*/ 58 h 304"/>
                <a:gd name="T62" fmla="*/ 150 w 154"/>
                <a:gd name="T63" fmla="*/ 66 h 304"/>
                <a:gd name="T64" fmla="*/ 136 w 154"/>
                <a:gd name="T65" fmla="*/ 76 h 304"/>
                <a:gd name="T66" fmla="*/ 128 w 154"/>
                <a:gd name="T67" fmla="*/ 88 h 304"/>
                <a:gd name="T68" fmla="*/ 128 w 154"/>
                <a:gd name="T69" fmla="*/ 106 h 304"/>
                <a:gd name="T70" fmla="*/ 126 w 154"/>
                <a:gd name="T71" fmla="*/ 112 h 304"/>
                <a:gd name="T72" fmla="*/ 112 w 154"/>
                <a:gd name="T73" fmla="*/ 122 h 304"/>
                <a:gd name="T74" fmla="*/ 102 w 154"/>
                <a:gd name="T75" fmla="*/ 130 h 304"/>
                <a:gd name="T76" fmla="*/ 86 w 154"/>
                <a:gd name="T77" fmla="*/ 132 h 304"/>
                <a:gd name="T78" fmla="*/ 80 w 154"/>
                <a:gd name="T79" fmla="*/ 142 h 304"/>
                <a:gd name="T80" fmla="*/ 76 w 154"/>
                <a:gd name="T81" fmla="*/ 164 h 304"/>
                <a:gd name="T82" fmla="*/ 78 w 154"/>
                <a:gd name="T83" fmla="*/ 180 h 304"/>
                <a:gd name="T84" fmla="*/ 90 w 154"/>
                <a:gd name="T85" fmla="*/ 194 h 304"/>
                <a:gd name="T86" fmla="*/ 92 w 154"/>
                <a:gd name="T87" fmla="*/ 204 h 304"/>
                <a:gd name="T88" fmla="*/ 80 w 154"/>
                <a:gd name="T89" fmla="*/ 208 h 304"/>
                <a:gd name="T90" fmla="*/ 70 w 154"/>
                <a:gd name="T91" fmla="*/ 212 h 304"/>
                <a:gd name="T92" fmla="*/ 72 w 154"/>
                <a:gd name="T93" fmla="*/ 216 h 304"/>
                <a:gd name="T94" fmla="*/ 82 w 154"/>
                <a:gd name="T95" fmla="*/ 216 h 304"/>
                <a:gd name="T96" fmla="*/ 90 w 154"/>
                <a:gd name="T97" fmla="*/ 228 h 304"/>
                <a:gd name="T98" fmla="*/ 86 w 154"/>
                <a:gd name="T99" fmla="*/ 234 h 304"/>
                <a:gd name="T100" fmla="*/ 74 w 154"/>
                <a:gd name="T101" fmla="*/ 246 h 304"/>
                <a:gd name="T102" fmla="*/ 72 w 154"/>
                <a:gd name="T103" fmla="*/ 258 h 304"/>
                <a:gd name="T104" fmla="*/ 72 w 154"/>
                <a:gd name="T105" fmla="*/ 268 h 304"/>
                <a:gd name="T106" fmla="*/ 60 w 154"/>
                <a:gd name="T107" fmla="*/ 276 h 304"/>
                <a:gd name="T108" fmla="*/ 56 w 154"/>
                <a:gd name="T109" fmla="*/ 286 h 304"/>
                <a:gd name="T110" fmla="*/ 44 w 154"/>
                <a:gd name="T111" fmla="*/ 296 h 304"/>
                <a:gd name="T112" fmla="*/ 38 w 154"/>
                <a:gd name="T113" fmla="*/ 304 h 304"/>
                <a:gd name="T114" fmla="*/ 26 w 154"/>
                <a:gd name="T115" fmla="*/ 300 h 304"/>
                <a:gd name="T116" fmla="*/ 22 w 154"/>
                <a:gd name="T117" fmla="*/ 294 h 304"/>
                <a:gd name="T118" fmla="*/ 24 w 154"/>
                <a:gd name="T119" fmla="*/ 280 h 304"/>
                <a:gd name="T120" fmla="*/ 16 w 154"/>
                <a:gd name="T121" fmla="*/ 276 h 304"/>
                <a:gd name="T122" fmla="*/ 14 w 154"/>
                <a:gd name="T123" fmla="*/ 272 h 304"/>
                <a:gd name="T124" fmla="*/ 6 w 154"/>
                <a:gd name="T125" fmla="*/ 25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304">
                  <a:moveTo>
                    <a:pt x="0" y="236"/>
                  </a:moveTo>
                  <a:lnTo>
                    <a:pt x="0" y="236"/>
                  </a:lnTo>
                  <a:lnTo>
                    <a:pt x="2" y="232"/>
                  </a:lnTo>
                  <a:lnTo>
                    <a:pt x="4" y="230"/>
                  </a:lnTo>
                  <a:lnTo>
                    <a:pt x="6" y="226"/>
                  </a:lnTo>
                  <a:lnTo>
                    <a:pt x="6" y="224"/>
                  </a:lnTo>
                  <a:lnTo>
                    <a:pt x="6" y="222"/>
                  </a:lnTo>
                  <a:lnTo>
                    <a:pt x="6" y="218"/>
                  </a:lnTo>
                  <a:lnTo>
                    <a:pt x="8" y="216"/>
                  </a:lnTo>
                  <a:lnTo>
                    <a:pt x="8" y="212"/>
                  </a:lnTo>
                  <a:lnTo>
                    <a:pt x="10" y="210"/>
                  </a:lnTo>
                  <a:lnTo>
                    <a:pt x="10" y="210"/>
                  </a:lnTo>
                  <a:lnTo>
                    <a:pt x="10" y="210"/>
                  </a:lnTo>
                  <a:lnTo>
                    <a:pt x="10" y="208"/>
                  </a:lnTo>
                  <a:lnTo>
                    <a:pt x="12" y="208"/>
                  </a:lnTo>
                  <a:lnTo>
                    <a:pt x="12" y="208"/>
                  </a:lnTo>
                  <a:lnTo>
                    <a:pt x="16" y="206"/>
                  </a:lnTo>
                  <a:lnTo>
                    <a:pt x="18" y="206"/>
                  </a:lnTo>
                  <a:lnTo>
                    <a:pt x="20" y="204"/>
                  </a:lnTo>
                  <a:lnTo>
                    <a:pt x="22" y="204"/>
                  </a:lnTo>
                  <a:lnTo>
                    <a:pt x="22" y="204"/>
                  </a:lnTo>
                  <a:lnTo>
                    <a:pt x="22" y="202"/>
                  </a:lnTo>
                  <a:lnTo>
                    <a:pt x="24" y="202"/>
                  </a:lnTo>
                  <a:lnTo>
                    <a:pt x="24" y="202"/>
                  </a:lnTo>
                  <a:lnTo>
                    <a:pt x="24" y="200"/>
                  </a:lnTo>
                  <a:lnTo>
                    <a:pt x="24" y="200"/>
                  </a:lnTo>
                  <a:lnTo>
                    <a:pt x="24" y="198"/>
                  </a:lnTo>
                  <a:lnTo>
                    <a:pt x="24" y="198"/>
                  </a:lnTo>
                  <a:lnTo>
                    <a:pt x="24" y="196"/>
                  </a:lnTo>
                  <a:lnTo>
                    <a:pt x="24" y="192"/>
                  </a:lnTo>
                  <a:lnTo>
                    <a:pt x="22" y="190"/>
                  </a:lnTo>
                  <a:lnTo>
                    <a:pt x="22" y="188"/>
                  </a:lnTo>
                  <a:lnTo>
                    <a:pt x="20" y="184"/>
                  </a:lnTo>
                  <a:lnTo>
                    <a:pt x="20" y="182"/>
                  </a:lnTo>
                  <a:lnTo>
                    <a:pt x="18" y="180"/>
                  </a:lnTo>
                  <a:lnTo>
                    <a:pt x="16" y="176"/>
                  </a:lnTo>
                  <a:lnTo>
                    <a:pt x="14" y="172"/>
                  </a:lnTo>
                  <a:lnTo>
                    <a:pt x="14" y="170"/>
                  </a:lnTo>
                  <a:lnTo>
                    <a:pt x="12" y="168"/>
                  </a:lnTo>
                  <a:lnTo>
                    <a:pt x="12" y="166"/>
                  </a:lnTo>
                  <a:lnTo>
                    <a:pt x="12" y="164"/>
                  </a:lnTo>
                  <a:lnTo>
                    <a:pt x="12" y="160"/>
                  </a:lnTo>
                  <a:lnTo>
                    <a:pt x="10" y="152"/>
                  </a:lnTo>
                  <a:lnTo>
                    <a:pt x="8" y="146"/>
                  </a:lnTo>
                  <a:lnTo>
                    <a:pt x="8" y="138"/>
                  </a:lnTo>
                  <a:lnTo>
                    <a:pt x="6" y="134"/>
                  </a:lnTo>
                  <a:lnTo>
                    <a:pt x="6" y="130"/>
                  </a:lnTo>
                  <a:lnTo>
                    <a:pt x="6" y="128"/>
                  </a:lnTo>
                  <a:lnTo>
                    <a:pt x="6" y="126"/>
                  </a:lnTo>
                  <a:lnTo>
                    <a:pt x="6" y="124"/>
                  </a:lnTo>
                  <a:lnTo>
                    <a:pt x="6" y="122"/>
                  </a:lnTo>
                  <a:lnTo>
                    <a:pt x="8" y="120"/>
                  </a:lnTo>
                  <a:lnTo>
                    <a:pt x="8" y="118"/>
                  </a:lnTo>
                  <a:lnTo>
                    <a:pt x="8" y="116"/>
                  </a:lnTo>
                  <a:lnTo>
                    <a:pt x="10" y="116"/>
                  </a:lnTo>
                  <a:lnTo>
                    <a:pt x="10" y="116"/>
                  </a:lnTo>
                  <a:lnTo>
                    <a:pt x="10" y="114"/>
                  </a:lnTo>
                  <a:lnTo>
                    <a:pt x="10" y="114"/>
                  </a:lnTo>
                  <a:lnTo>
                    <a:pt x="12" y="114"/>
                  </a:lnTo>
                  <a:lnTo>
                    <a:pt x="12" y="114"/>
                  </a:lnTo>
                  <a:lnTo>
                    <a:pt x="12" y="114"/>
                  </a:lnTo>
                  <a:lnTo>
                    <a:pt x="14" y="116"/>
                  </a:lnTo>
                  <a:lnTo>
                    <a:pt x="16" y="116"/>
                  </a:lnTo>
                  <a:lnTo>
                    <a:pt x="18" y="116"/>
                  </a:lnTo>
                  <a:lnTo>
                    <a:pt x="20" y="118"/>
                  </a:lnTo>
                  <a:lnTo>
                    <a:pt x="22" y="118"/>
                  </a:lnTo>
                  <a:lnTo>
                    <a:pt x="24" y="118"/>
                  </a:lnTo>
                  <a:lnTo>
                    <a:pt x="24" y="118"/>
                  </a:lnTo>
                  <a:lnTo>
                    <a:pt x="24" y="118"/>
                  </a:lnTo>
                  <a:lnTo>
                    <a:pt x="26" y="116"/>
                  </a:lnTo>
                  <a:lnTo>
                    <a:pt x="26" y="116"/>
                  </a:lnTo>
                  <a:lnTo>
                    <a:pt x="28" y="116"/>
                  </a:lnTo>
                  <a:lnTo>
                    <a:pt x="28" y="114"/>
                  </a:lnTo>
                  <a:lnTo>
                    <a:pt x="30" y="114"/>
                  </a:lnTo>
                  <a:lnTo>
                    <a:pt x="30" y="114"/>
                  </a:lnTo>
                  <a:lnTo>
                    <a:pt x="30" y="112"/>
                  </a:lnTo>
                  <a:lnTo>
                    <a:pt x="30" y="112"/>
                  </a:lnTo>
                  <a:lnTo>
                    <a:pt x="30" y="112"/>
                  </a:lnTo>
                  <a:lnTo>
                    <a:pt x="30" y="110"/>
                  </a:lnTo>
                  <a:lnTo>
                    <a:pt x="28" y="110"/>
                  </a:lnTo>
                  <a:lnTo>
                    <a:pt x="28" y="110"/>
                  </a:lnTo>
                  <a:lnTo>
                    <a:pt x="26" y="108"/>
                  </a:lnTo>
                  <a:lnTo>
                    <a:pt x="24" y="108"/>
                  </a:lnTo>
                  <a:lnTo>
                    <a:pt x="22" y="106"/>
                  </a:lnTo>
                  <a:lnTo>
                    <a:pt x="22" y="106"/>
                  </a:lnTo>
                  <a:lnTo>
                    <a:pt x="22" y="106"/>
                  </a:lnTo>
                  <a:lnTo>
                    <a:pt x="22" y="104"/>
                  </a:lnTo>
                  <a:lnTo>
                    <a:pt x="22" y="104"/>
                  </a:lnTo>
                  <a:lnTo>
                    <a:pt x="22" y="104"/>
                  </a:lnTo>
                  <a:lnTo>
                    <a:pt x="22" y="102"/>
                  </a:lnTo>
                  <a:lnTo>
                    <a:pt x="22" y="100"/>
                  </a:lnTo>
                  <a:lnTo>
                    <a:pt x="24" y="98"/>
                  </a:lnTo>
                  <a:lnTo>
                    <a:pt x="26" y="96"/>
                  </a:lnTo>
                  <a:lnTo>
                    <a:pt x="28" y="94"/>
                  </a:lnTo>
                  <a:lnTo>
                    <a:pt x="28" y="92"/>
                  </a:lnTo>
                  <a:lnTo>
                    <a:pt x="28" y="90"/>
                  </a:lnTo>
                  <a:lnTo>
                    <a:pt x="28" y="88"/>
                  </a:lnTo>
                  <a:lnTo>
                    <a:pt x="28" y="82"/>
                  </a:lnTo>
                  <a:lnTo>
                    <a:pt x="28" y="80"/>
                  </a:lnTo>
                  <a:lnTo>
                    <a:pt x="28" y="78"/>
                  </a:lnTo>
                  <a:lnTo>
                    <a:pt x="28" y="76"/>
                  </a:lnTo>
                  <a:lnTo>
                    <a:pt x="30" y="74"/>
                  </a:lnTo>
                  <a:lnTo>
                    <a:pt x="30" y="74"/>
                  </a:lnTo>
                  <a:lnTo>
                    <a:pt x="30" y="74"/>
                  </a:lnTo>
                  <a:lnTo>
                    <a:pt x="30" y="72"/>
                  </a:lnTo>
                  <a:lnTo>
                    <a:pt x="32" y="72"/>
                  </a:lnTo>
                  <a:lnTo>
                    <a:pt x="34" y="72"/>
                  </a:lnTo>
                  <a:lnTo>
                    <a:pt x="36" y="70"/>
                  </a:lnTo>
                  <a:lnTo>
                    <a:pt x="38" y="70"/>
                  </a:lnTo>
                  <a:lnTo>
                    <a:pt x="38" y="70"/>
                  </a:lnTo>
                  <a:lnTo>
                    <a:pt x="38" y="70"/>
                  </a:lnTo>
                  <a:lnTo>
                    <a:pt x="38" y="68"/>
                  </a:lnTo>
                  <a:lnTo>
                    <a:pt x="38" y="68"/>
                  </a:lnTo>
                  <a:lnTo>
                    <a:pt x="40" y="64"/>
                  </a:lnTo>
                  <a:lnTo>
                    <a:pt x="40" y="62"/>
                  </a:lnTo>
                  <a:lnTo>
                    <a:pt x="40" y="60"/>
                  </a:lnTo>
                  <a:lnTo>
                    <a:pt x="40" y="60"/>
                  </a:lnTo>
                  <a:lnTo>
                    <a:pt x="42" y="58"/>
                  </a:lnTo>
                  <a:lnTo>
                    <a:pt x="42" y="58"/>
                  </a:lnTo>
                  <a:lnTo>
                    <a:pt x="42" y="58"/>
                  </a:lnTo>
                  <a:lnTo>
                    <a:pt x="42" y="58"/>
                  </a:lnTo>
                  <a:lnTo>
                    <a:pt x="44" y="58"/>
                  </a:lnTo>
                  <a:lnTo>
                    <a:pt x="44" y="58"/>
                  </a:lnTo>
                  <a:lnTo>
                    <a:pt x="46" y="58"/>
                  </a:lnTo>
                  <a:lnTo>
                    <a:pt x="48" y="58"/>
                  </a:lnTo>
                  <a:lnTo>
                    <a:pt x="50" y="58"/>
                  </a:lnTo>
                  <a:lnTo>
                    <a:pt x="50" y="58"/>
                  </a:lnTo>
                  <a:lnTo>
                    <a:pt x="52" y="58"/>
                  </a:lnTo>
                  <a:lnTo>
                    <a:pt x="52" y="58"/>
                  </a:lnTo>
                  <a:lnTo>
                    <a:pt x="52" y="56"/>
                  </a:lnTo>
                  <a:lnTo>
                    <a:pt x="52" y="56"/>
                  </a:lnTo>
                  <a:lnTo>
                    <a:pt x="52" y="54"/>
                  </a:lnTo>
                  <a:lnTo>
                    <a:pt x="52" y="52"/>
                  </a:lnTo>
                  <a:lnTo>
                    <a:pt x="54" y="50"/>
                  </a:lnTo>
                  <a:lnTo>
                    <a:pt x="54" y="48"/>
                  </a:lnTo>
                  <a:lnTo>
                    <a:pt x="54" y="48"/>
                  </a:lnTo>
                  <a:lnTo>
                    <a:pt x="54" y="46"/>
                  </a:lnTo>
                  <a:lnTo>
                    <a:pt x="54" y="46"/>
                  </a:lnTo>
                  <a:lnTo>
                    <a:pt x="54" y="44"/>
                  </a:lnTo>
                  <a:lnTo>
                    <a:pt x="54" y="44"/>
                  </a:lnTo>
                  <a:lnTo>
                    <a:pt x="56" y="44"/>
                  </a:lnTo>
                  <a:lnTo>
                    <a:pt x="58" y="42"/>
                  </a:lnTo>
                  <a:lnTo>
                    <a:pt x="60" y="40"/>
                  </a:lnTo>
                  <a:lnTo>
                    <a:pt x="62" y="40"/>
                  </a:lnTo>
                  <a:lnTo>
                    <a:pt x="62" y="40"/>
                  </a:lnTo>
                  <a:lnTo>
                    <a:pt x="62" y="38"/>
                  </a:lnTo>
                  <a:lnTo>
                    <a:pt x="62" y="38"/>
                  </a:lnTo>
                  <a:lnTo>
                    <a:pt x="62" y="36"/>
                  </a:lnTo>
                  <a:lnTo>
                    <a:pt x="62" y="34"/>
                  </a:lnTo>
                  <a:lnTo>
                    <a:pt x="62" y="32"/>
                  </a:lnTo>
                  <a:lnTo>
                    <a:pt x="62" y="30"/>
                  </a:lnTo>
                  <a:lnTo>
                    <a:pt x="62" y="30"/>
                  </a:lnTo>
                  <a:lnTo>
                    <a:pt x="62" y="28"/>
                  </a:lnTo>
                  <a:lnTo>
                    <a:pt x="62" y="28"/>
                  </a:lnTo>
                  <a:lnTo>
                    <a:pt x="62" y="28"/>
                  </a:lnTo>
                  <a:lnTo>
                    <a:pt x="62" y="26"/>
                  </a:lnTo>
                  <a:lnTo>
                    <a:pt x="64" y="26"/>
                  </a:lnTo>
                  <a:lnTo>
                    <a:pt x="64" y="26"/>
                  </a:lnTo>
                  <a:lnTo>
                    <a:pt x="64" y="26"/>
                  </a:lnTo>
                  <a:lnTo>
                    <a:pt x="66" y="28"/>
                  </a:lnTo>
                  <a:lnTo>
                    <a:pt x="68" y="28"/>
                  </a:lnTo>
                  <a:lnTo>
                    <a:pt x="70" y="28"/>
                  </a:lnTo>
                  <a:lnTo>
                    <a:pt x="70" y="30"/>
                  </a:lnTo>
                  <a:lnTo>
                    <a:pt x="72" y="30"/>
                  </a:lnTo>
                  <a:lnTo>
                    <a:pt x="72" y="30"/>
                  </a:lnTo>
                  <a:lnTo>
                    <a:pt x="74" y="28"/>
                  </a:lnTo>
                  <a:lnTo>
                    <a:pt x="76" y="28"/>
                  </a:lnTo>
                  <a:lnTo>
                    <a:pt x="78" y="26"/>
                  </a:lnTo>
                  <a:lnTo>
                    <a:pt x="80" y="26"/>
                  </a:lnTo>
                  <a:lnTo>
                    <a:pt x="80" y="24"/>
                  </a:lnTo>
                  <a:lnTo>
                    <a:pt x="82" y="24"/>
                  </a:lnTo>
                  <a:lnTo>
                    <a:pt x="82" y="22"/>
                  </a:lnTo>
                  <a:lnTo>
                    <a:pt x="84" y="20"/>
                  </a:lnTo>
                  <a:lnTo>
                    <a:pt x="86" y="18"/>
                  </a:lnTo>
                  <a:lnTo>
                    <a:pt x="86" y="18"/>
                  </a:lnTo>
                  <a:lnTo>
                    <a:pt x="88" y="18"/>
                  </a:lnTo>
                  <a:lnTo>
                    <a:pt x="90" y="18"/>
                  </a:lnTo>
                  <a:lnTo>
                    <a:pt x="92" y="18"/>
                  </a:lnTo>
                  <a:lnTo>
                    <a:pt x="96" y="16"/>
                  </a:lnTo>
                  <a:lnTo>
                    <a:pt x="98" y="16"/>
                  </a:lnTo>
                  <a:lnTo>
                    <a:pt x="100" y="16"/>
                  </a:lnTo>
                  <a:lnTo>
                    <a:pt x="104" y="18"/>
                  </a:lnTo>
                  <a:lnTo>
                    <a:pt x="106" y="18"/>
                  </a:lnTo>
                  <a:lnTo>
                    <a:pt x="108" y="18"/>
                  </a:lnTo>
                  <a:lnTo>
                    <a:pt x="110" y="18"/>
                  </a:lnTo>
                  <a:lnTo>
                    <a:pt x="110" y="16"/>
                  </a:lnTo>
                  <a:lnTo>
                    <a:pt x="112" y="16"/>
                  </a:lnTo>
                  <a:lnTo>
                    <a:pt x="112" y="16"/>
                  </a:lnTo>
                  <a:lnTo>
                    <a:pt x="114" y="14"/>
                  </a:lnTo>
                  <a:lnTo>
                    <a:pt x="114" y="12"/>
                  </a:lnTo>
                  <a:lnTo>
                    <a:pt x="116" y="10"/>
                  </a:lnTo>
                  <a:lnTo>
                    <a:pt x="118" y="8"/>
                  </a:lnTo>
                  <a:lnTo>
                    <a:pt x="118" y="8"/>
                  </a:lnTo>
                  <a:lnTo>
                    <a:pt x="120" y="6"/>
                  </a:lnTo>
                  <a:lnTo>
                    <a:pt x="124" y="4"/>
                  </a:lnTo>
                  <a:lnTo>
                    <a:pt x="128" y="0"/>
                  </a:lnTo>
                  <a:lnTo>
                    <a:pt x="132" y="6"/>
                  </a:lnTo>
                  <a:lnTo>
                    <a:pt x="136" y="10"/>
                  </a:lnTo>
                  <a:lnTo>
                    <a:pt x="138" y="14"/>
                  </a:lnTo>
                  <a:lnTo>
                    <a:pt x="140" y="14"/>
                  </a:lnTo>
                  <a:lnTo>
                    <a:pt x="142" y="16"/>
                  </a:lnTo>
                  <a:lnTo>
                    <a:pt x="144" y="18"/>
                  </a:lnTo>
                  <a:lnTo>
                    <a:pt x="146" y="20"/>
                  </a:lnTo>
                  <a:lnTo>
                    <a:pt x="148" y="20"/>
                  </a:lnTo>
                  <a:lnTo>
                    <a:pt x="148" y="22"/>
                  </a:lnTo>
                  <a:lnTo>
                    <a:pt x="150" y="24"/>
                  </a:lnTo>
                  <a:lnTo>
                    <a:pt x="150" y="24"/>
                  </a:lnTo>
                  <a:lnTo>
                    <a:pt x="150" y="26"/>
                  </a:lnTo>
                  <a:lnTo>
                    <a:pt x="150" y="28"/>
                  </a:lnTo>
                  <a:lnTo>
                    <a:pt x="150" y="34"/>
                  </a:lnTo>
                  <a:lnTo>
                    <a:pt x="152" y="36"/>
                  </a:lnTo>
                  <a:lnTo>
                    <a:pt x="152" y="40"/>
                  </a:lnTo>
                  <a:lnTo>
                    <a:pt x="152" y="44"/>
                  </a:lnTo>
                  <a:lnTo>
                    <a:pt x="154" y="50"/>
                  </a:lnTo>
                  <a:lnTo>
                    <a:pt x="154" y="54"/>
                  </a:lnTo>
                  <a:lnTo>
                    <a:pt x="154" y="56"/>
                  </a:lnTo>
                  <a:lnTo>
                    <a:pt x="154" y="58"/>
                  </a:lnTo>
                  <a:lnTo>
                    <a:pt x="154" y="60"/>
                  </a:lnTo>
                  <a:lnTo>
                    <a:pt x="154" y="62"/>
                  </a:lnTo>
                  <a:lnTo>
                    <a:pt x="152" y="64"/>
                  </a:lnTo>
                  <a:lnTo>
                    <a:pt x="152" y="64"/>
                  </a:lnTo>
                  <a:lnTo>
                    <a:pt x="152" y="64"/>
                  </a:lnTo>
                  <a:lnTo>
                    <a:pt x="152" y="66"/>
                  </a:lnTo>
                  <a:lnTo>
                    <a:pt x="150" y="66"/>
                  </a:lnTo>
                  <a:lnTo>
                    <a:pt x="148" y="68"/>
                  </a:lnTo>
                  <a:lnTo>
                    <a:pt x="146" y="68"/>
                  </a:lnTo>
                  <a:lnTo>
                    <a:pt x="144" y="70"/>
                  </a:lnTo>
                  <a:lnTo>
                    <a:pt x="142" y="70"/>
                  </a:lnTo>
                  <a:lnTo>
                    <a:pt x="140" y="72"/>
                  </a:lnTo>
                  <a:lnTo>
                    <a:pt x="138" y="74"/>
                  </a:lnTo>
                  <a:lnTo>
                    <a:pt x="136" y="76"/>
                  </a:lnTo>
                  <a:lnTo>
                    <a:pt x="134" y="76"/>
                  </a:lnTo>
                  <a:lnTo>
                    <a:pt x="132" y="78"/>
                  </a:lnTo>
                  <a:lnTo>
                    <a:pt x="130" y="80"/>
                  </a:lnTo>
                  <a:lnTo>
                    <a:pt x="130" y="82"/>
                  </a:lnTo>
                  <a:lnTo>
                    <a:pt x="130" y="84"/>
                  </a:lnTo>
                  <a:lnTo>
                    <a:pt x="128" y="86"/>
                  </a:lnTo>
                  <a:lnTo>
                    <a:pt x="128" y="88"/>
                  </a:lnTo>
                  <a:lnTo>
                    <a:pt x="128" y="94"/>
                  </a:lnTo>
                  <a:lnTo>
                    <a:pt x="128" y="98"/>
                  </a:lnTo>
                  <a:lnTo>
                    <a:pt x="128" y="98"/>
                  </a:lnTo>
                  <a:lnTo>
                    <a:pt x="128" y="100"/>
                  </a:lnTo>
                  <a:lnTo>
                    <a:pt x="128" y="102"/>
                  </a:lnTo>
                  <a:lnTo>
                    <a:pt x="128" y="104"/>
                  </a:lnTo>
                  <a:lnTo>
                    <a:pt x="128" y="106"/>
                  </a:lnTo>
                  <a:lnTo>
                    <a:pt x="128" y="108"/>
                  </a:lnTo>
                  <a:lnTo>
                    <a:pt x="128" y="108"/>
                  </a:lnTo>
                  <a:lnTo>
                    <a:pt x="128" y="108"/>
                  </a:lnTo>
                  <a:lnTo>
                    <a:pt x="128" y="110"/>
                  </a:lnTo>
                  <a:lnTo>
                    <a:pt x="128" y="110"/>
                  </a:lnTo>
                  <a:lnTo>
                    <a:pt x="126" y="110"/>
                  </a:lnTo>
                  <a:lnTo>
                    <a:pt x="126" y="112"/>
                  </a:lnTo>
                  <a:lnTo>
                    <a:pt x="124" y="112"/>
                  </a:lnTo>
                  <a:lnTo>
                    <a:pt x="122" y="114"/>
                  </a:lnTo>
                  <a:lnTo>
                    <a:pt x="116" y="116"/>
                  </a:lnTo>
                  <a:lnTo>
                    <a:pt x="114" y="118"/>
                  </a:lnTo>
                  <a:lnTo>
                    <a:pt x="114" y="118"/>
                  </a:lnTo>
                  <a:lnTo>
                    <a:pt x="112" y="120"/>
                  </a:lnTo>
                  <a:lnTo>
                    <a:pt x="112" y="122"/>
                  </a:lnTo>
                  <a:lnTo>
                    <a:pt x="108" y="124"/>
                  </a:lnTo>
                  <a:lnTo>
                    <a:pt x="108" y="126"/>
                  </a:lnTo>
                  <a:lnTo>
                    <a:pt x="106" y="128"/>
                  </a:lnTo>
                  <a:lnTo>
                    <a:pt x="106" y="130"/>
                  </a:lnTo>
                  <a:lnTo>
                    <a:pt x="104" y="130"/>
                  </a:lnTo>
                  <a:lnTo>
                    <a:pt x="104" y="130"/>
                  </a:lnTo>
                  <a:lnTo>
                    <a:pt x="102" y="130"/>
                  </a:lnTo>
                  <a:lnTo>
                    <a:pt x="100" y="132"/>
                  </a:lnTo>
                  <a:lnTo>
                    <a:pt x="98" y="132"/>
                  </a:lnTo>
                  <a:lnTo>
                    <a:pt x="94" y="132"/>
                  </a:lnTo>
                  <a:lnTo>
                    <a:pt x="92" y="132"/>
                  </a:lnTo>
                  <a:lnTo>
                    <a:pt x="88" y="132"/>
                  </a:lnTo>
                  <a:lnTo>
                    <a:pt x="88" y="132"/>
                  </a:lnTo>
                  <a:lnTo>
                    <a:pt x="86" y="132"/>
                  </a:lnTo>
                  <a:lnTo>
                    <a:pt x="86" y="134"/>
                  </a:lnTo>
                  <a:lnTo>
                    <a:pt x="84" y="134"/>
                  </a:lnTo>
                  <a:lnTo>
                    <a:pt x="84" y="134"/>
                  </a:lnTo>
                  <a:lnTo>
                    <a:pt x="82" y="136"/>
                  </a:lnTo>
                  <a:lnTo>
                    <a:pt x="82" y="136"/>
                  </a:lnTo>
                  <a:lnTo>
                    <a:pt x="80" y="138"/>
                  </a:lnTo>
                  <a:lnTo>
                    <a:pt x="80" y="142"/>
                  </a:lnTo>
                  <a:lnTo>
                    <a:pt x="78" y="144"/>
                  </a:lnTo>
                  <a:lnTo>
                    <a:pt x="78" y="146"/>
                  </a:lnTo>
                  <a:lnTo>
                    <a:pt x="76" y="150"/>
                  </a:lnTo>
                  <a:lnTo>
                    <a:pt x="76" y="152"/>
                  </a:lnTo>
                  <a:lnTo>
                    <a:pt x="76" y="156"/>
                  </a:lnTo>
                  <a:lnTo>
                    <a:pt x="76" y="160"/>
                  </a:lnTo>
                  <a:lnTo>
                    <a:pt x="76" y="164"/>
                  </a:lnTo>
                  <a:lnTo>
                    <a:pt x="76" y="168"/>
                  </a:lnTo>
                  <a:lnTo>
                    <a:pt x="76" y="172"/>
                  </a:lnTo>
                  <a:lnTo>
                    <a:pt x="76" y="174"/>
                  </a:lnTo>
                  <a:lnTo>
                    <a:pt x="76" y="176"/>
                  </a:lnTo>
                  <a:lnTo>
                    <a:pt x="76" y="178"/>
                  </a:lnTo>
                  <a:lnTo>
                    <a:pt x="78" y="178"/>
                  </a:lnTo>
                  <a:lnTo>
                    <a:pt x="78" y="180"/>
                  </a:lnTo>
                  <a:lnTo>
                    <a:pt x="78" y="182"/>
                  </a:lnTo>
                  <a:lnTo>
                    <a:pt x="80" y="182"/>
                  </a:lnTo>
                  <a:lnTo>
                    <a:pt x="82" y="184"/>
                  </a:lnTo>
                  <a:lnTo>
                    <a:pt x="86" y="188"/>
                  </a:lnTo>
                  <a:lnTo>
                    <a:pt x="88" y="190"/>
                  </a:lnTo>
                  <a:lnTo>
                    <a:pt x="88" y="192"/>
                  </a:lnTo>
                  <a:lnTo>
                    <a:pt x="90" y="194"/>
                  </a:lnTo>
                  <a:lnTo>
                    <a:pt x="92" y="198"/>
                  </a:lnTo>
                  <a:lnTo>
                    <a:pt x="92" y="198"/>
                  </a:lnTo>
                  <a:lnTo>
                    <a:pt x="92" y="200"/>
                  </a:lnTo>
                  <a:lnTo>
                    <a:pt x="94" y="202"/>
                  </a:lnTo>
                  <a:lnTo>
                    <a:pt x="94" y="202"/>
                  </a:lnTo>
                  <a:lnTo>
                    <a:pt x="94" y="202"/>
                  </a:lnTo>
                  <a:lnTo>
                    <a:pt x="92" y="204"/>
                  </a:lnTo>
                  <a:lnTo>
                    <a:pt x="92" y="204"/>
                  </a:lnTo>
                  <a:lnTo>
                    <a:pt x="92" y="204"/>
                  </a:lnTo>
                  <a:lnTo>
                    <a:pt x="90" y="206"/>
                  </a:lnTo>
                  <a:lnTo>
                    <a:pt x="88" y="206"/>
                  </a:lnTo>
                  <a:lnTo>
                    <a:pt x="86" y="206"/>
                  </a:lnTo>
                  <a:lnTo>
                    <a:pt x="84" y="208"/>
                  </a:lnTo>
                  <a:lnTo>
                    <a:pt x="80" y="208"/>
                  </a:lnTo>
                  <a:lnTo>
                    <a:pt x="76" y="210"/>
                  </a:lnTo>
                  <a:lnTo>
                    <a:pt x="74" y="210"/>
                  </a:lnTo>
                  <a:lnTo>
                    <a:pt x="72" y="210"/>
                  </a:lnTo>
                  <a:lnTo>
                    <a:pt x="70" y="212"/>
                  </a:lnTo>
                  <a:lnTo>
                    <a:pt x="70" y="212"/>
                  </a:lnTo>
                  <a:lnTo>
                    <a:pt x="70" y="212"/>
                  </a:lnTo>
                  <a:lnTo>
                    <a:pt x="70" y="212"/>
                  </a:lnTo>
                  <a:lnTo>
                    <a:pt x="70" y="214"/>
                  </a:lnTo>
                  <a:lnTo>
                    <a:pt x="70" y="214"/>
                  </a:lnTo>
                  <a:lnTo>
                    <a:pt x="70" y="214"/>
                  </a:lnTo>
                  <a:lnTo>
                    <a:pt x="70" y="214"/>
                  </a:lnTo>
                  <a:lnTo>
                    <a:pt x="70" y="216"/>
                  </a:lnTo>
                  <a:lnTo>
                    <a:pt x="70" y="216"/>
                  </a:lnTo>
                  <a:lnTo>
                    <a:pt x="72" y="216"/>
                  </a:lnTo>
                  <a:lnTo>
                    <a:pt x="74" y="214"/>
                  </a:lnTo>
                  <a:lnTo>
                    <a:pt x="78" y="214"/>
                  </a:lnTo>
                  <a:lnTo>
                    <a:pt x="80" y="214"/>
                  </a:lnTo>
                  <a:lnTo>
                    <a:pt x="80" y="214"/>
                  </a:lnTo>
                  <a:lnTo>
                    <a:pt x="80" y="214"/>
                  </a:lnTo>
                  <a:lnTo>
                    <a:pt x="82" y="214"/>
                  </a:lnTo>
                  <a:lnTo>
                    <a:pt x="82" y="216"/>
                  </a:lnTo>
                  <a:lnTo>
                    <a:pt x="84" y="216"/>
                  </a:lnTo>
                  <a:lnTo>
                    <a:pt x="86" y="218"/>
                  </a:lnTo>
                  <a:lnTo>
                    <a:pt x="86" y="220"/>
                  </a:lnTo>
                  <a:lnTo>
                    <a:pt x="88" y="222"/>
                  </a:lnTo>
                  <a:lnTo>
                    <a:pt x="90" y="226"/>
                  </a:lnTo>
                  <a:lnTo>
                    <a:pt x="90" y="226"/>
                  </a:lnTo>
                  <a:lnTo>
                    <a:pt x="90" y="228"/>
                  </a:lnTo>
                  <a:lnTo>
                    <a:pt x="90" y="230"/>
                  </a:lnTo>
                  <a:lnTo>
                    <a:pt x="90" y="230"/>
                  </a:lnTo>
                  <a:lnTo>
                    <a:pt x="90" y="230"/>
                  </a:lnTo>
                  <a:lnTo>
                    <a:pt x="90" y="232"/>
                  </a:lnTo>
                  <a:lnTo>
                    <a:pt x="90" y="232"/>
                  </a:lnTo>
                  <a:lnTo>
                    <a:pt x="88" y="234"/>
                  </a:lnTo>
                  <a:lnTo>
                    <a:pt x="86" y="234"/>
                  </a:lnTo>
                  <a:lnTo>
                    <a:pt x="84" y="236"/>
                  </a:lnTo>
                  <a:lnTo>
                    <a:pt x="82" y="236"/>
                  </a:lnTo>
                  <a:lnTo>
                    <a:pt x="82" y="236"/>
                  </a:lnTo>
                  <a:lnTo>
                    <a:pt x="80" y="240"/>
                  </a:lnTo>
                  <a:lnTo>
                    <a:pt x="76" y="242"/>
                  </a:lnTo>
                  <a:lnTo>
                    <a:pt x="74" y="244"/>
                  </a:lnTo>
                  <a:lnTo>
                    <a:pt x="74" y="246"/>
                  </a:lnTo>
                  <a:lnTo>
                    <a:pt x="72" y="246"/>
                  </a:lnTo>
                  <a:lnTo>
                    <a:pt x="72" y="248"/>
                  </a:lnTo>
                  <a:lnTo>
                    <a:pt x="72" y="248"/>
                  </a:lnTo>
                  <a:lnTo>
                    <a:pt x="72" y="250"/>
                  </a:lnTo>
                  <a:lnTo>
                    <a:pt x="72" y="252"/>
                  </a:lnTo>
                  <a:lnTo>
                    <a:pt x="72" y="254"/>
                  </a:lnTo>
                  <a:lnTo>
                    <a:pt x="72" y="258"/>
                  </a:lnTo>
                  <a:lnTo>
                    <a:pt x="72" y="260"/>
                  </a:lnTo>
                  <a:lnTo>
                    <a:pt x="72" y="262"/>
                  </a:lnTo>
                  <a:lnTo>
                    <a:pt x="72" y="264"/>
                  </a:lnTo>
                  <a:lnTo>
                    <a:pt x="72" y="266"/>
                  </a:lnTo>
                  <a:lnTo>
                    <a:pt x="72" y="266"/>
                  </a:lnTo>
                  <a:lnTo>
                    <a:pt x="72" y="268"/>
                  </a:lnTo>
                  <a:lnTo>
                    <a:pt x="72" y="268"/>
                  </a:lnTo>
                  <a:lnTo>
                    <a:pt x="70" y="268"/>
                  </a:lnTo>
                  <a:lnTo>
                    <a:pt x="70" y="270"/>
                  </a:lnTo>
                  <a:lnTo>
                    <a:pt x="68" y="270"/>
                  </a:lnTo>
                  <a:lnTo>
                    <a:pt x="66" y="272"/>
                  </a:lnTo>
                  <a:lnTo>
                    <a:pt x="62" y="274"/>
                  </a:lnTo>
                  <a:lnTo>
                    <a:pt x="62" y="274"/>
                  </a:lnTo>
                  <a:lnTo>
                    <a:pt x="60" y="276"/>
                  </a:lnTo>
                  <a:lnTo>
                    <a:pt x="60" y="276"/>
                  </a:lnTo>
                  <a:lnTo>
                    <a:pt x="60" y="278"/>
                  </a:lnTo>
                  <a:lnTo>
                    <a:pt x="58" y="280"/>
                  </a:lnTo>
                  <a:lnTo>
                    <a:pt x="58" y="284"/>
                  </a:lnTo>
                  <a:lnTo>
                    <a:pt x="58" y="284"/>
                  </a:lnTo>
                  <a:lnTo>
                    <a:pt x="56" y="286"/>
                  </a:lnTo>
                  <a:lnTo>
                    <a:pt x="56" y="286"/>
                  </a:lnTo>
                  <a:lnTo>
                    <a:pt x="54" y="288"/>
                  </a:lnTo>
                  <a:lnTo>
                    <a:pt x="50" y="290"/>
                  </a:lnTo>
                  <a:lnTo>
                    <a:pt x="48" y="292"/>
                  </a:lnTo>
                  <a:lnTo>
                    <a:pt x="46" y="292"/>
                  </a:lnTo>
                  <a:lnTo>
                    <a:pt x="46" y="294"/>
                  </a:lnTo>
                  <a:lnTo>
                    <a:pt x="44" y="294"/>
                  </a:lnTo>
                  <a:lnTo>
                    <a:pt x="44" y="296"/>
                  </a:lnTo>
                  <a:lnTo>
                    <a:pt x="42" y="298"/>
                  </a:lnTo>
                  <a:lnTo>
                    <a:pt x="42" y="300"/>
                  </a:lnTo>
                  <a:lnTo>
                    <a:pt x="40" y="302"/>
                  </a:lnTo>
                  <a:lnTo>
                    <a:pt x="40" y="302"/>
                  </a:lnTo>
                  <a:lnTo>
                    <a:pt x="40" y="304"/>
                  </a:lnTo>
                  <a:lnTo>
                    <a:pt x="40" y="304"/>
                  </a:lnTo>
                  <a:lnTo>
                    <a:pt x="38" y="304"/>
                  </a:lnTo>
                  <a:lnTo>
                    <a:pt x="38" y="304"/>
                  </a:lnTo>
                  <a:lnTo>
                    <a:pt x="36" y="304"/>
                  </a:lnTo>
                  <a:lnTo>
                    <a:pt x="34" y="304"/>
                  </a:lnTo>
                  <a:lnTo>
                    <a:pt x="32" y="302"/>
                  </a:lnTo>
                  <a:lnTo>
                    <a:pt x="30" y="302"/>
                  </a:lnTo>
                  <a:lnTo>
                    <a:pt x="28" y="302"/>
                  </a:lnTo>
                  <a:lnTo>
                    <a:pt x="26" y="300"/>
                  </a:lnTo>
                  <a:lnTo>
                    <a:pt x="24" y="298"/>
                  </a:lnTo>
                  <a:lnTo>
                    <a:pt x="24" y="298"/>
                  </a:lnTo>
                  <a:lnTo>
                    <a:pt x="22" y="298"/>
                  </a:lnTo>
                  <a:lnTo>
                    <a:pt x="22" y="296"/>
                  </a:lnTo>
                  <a:lnTo>
                    <a:pt x="22" y="296"/>
                  </a:lnTo>
                  <a:lnTo>
                    <a:pt x="22" y="294"/>
                  </a:lnTo>
                  <a:lnTo>
                    <a:pt x="22" y="294"/>
                  </a:lnTo>
                  <a:lnTo>
                    <a:pt x="22" y="290"/>
                  </a:lnTo>
                  <a:lnTo>
                    <a:pt x="24" y="288"/>
                  </a:lnTo>
                  <a:lnTo>
                    <a:pt x="24" y="284"/>
                  </a:lnTo>
                  <a:lnTo>
                    <a:pt x="24" y="282"/>
                  </a:lnTo>
                  <a:lnTo>
                    <a:pt x="24" y="282"/>
                  </a:lnTo>
                  <a:lnTo>
                    <a:pt x="24" y="280"/>
                  </a:lnTo>
                  <a:lnTo>
                    <a:pt x="24" y="280"/>
                  </a:lnTo>
                  <a:lnTo>
                    <a:pt x="24" y="278"/>
                  </a:lnTo>
                  <a:lnTo>
                    <a:pt x="24" y="278"/>
                  </a:lnTo>
                  <a:lnTo>
                    <a:pt x="24" y="278"/>
                  </a:lnTo>
                  <a:lnTo>
                    <a:pt x="22" y="278"/>
                  </a:lnTo>
                  <a:lnTo>
                    <a:pt x="22" y="278"/>
                  </a:lnTo>
                  <a:lnTo>
                    <a:pt x="20" y="276"/>
                  </a:lnTo>
                  <a:lnTo>
                    <a:pt x="16" y="276"/>
                  </a:lnTo>
                  <a:lnTo>
                    <a:pt x="16" y="276"/>
                  </a:lnTo>
                  <a:lnTo>
                    <a:pt x="16" y="276"/>
                  </a:lnTo>
                  <a:lnTo>
                    <a:pt x="16" y="276"/>
                  </a:lnTo>
                  <a:lnTo>
                    <a:pt x="14" y="276"/>
                  </a:lnTo>
                  <a:lnTo>
                    <a:pt x="14" y="274"/>
                  </a:lnTo>
                  <a:lnTo>
                    <a:pt x="14" y="274"/>
                  </a:lnTo>
                  <a:lnTo>
                    <a:pt x="14" y="272"/>
                  </a:lnTo>
                  <a:lnTo>
                    <a:pt x="14" y="270"/>
                  </a:lnTo>
                  <a:lnTo>
                    <a:pt x="12" y="268"/>
                  </a:lnTo>
                  <a:lnTo>
                    <a:pt x="12" y="266"/>
                  </a:lnTo>
                  <a:lnTo>
                    <a:pt x="12" y="264"/>
                  </a:lnTo>
                  <a:lnTo>
                    <a:pt x="12" y="260"/>
                  </a:lnTo>
                  <a:lnTo>
                    <a:pt x="10" y="256"/>
                  </a:lnTo>
                  <a:lnTo>
                    <a:pt x="6" y="250"/>
                  </a:lnTo>
                  <a:lnTo>
                    <a:pt x="2" y="242"/>
                  </a:lnTo>
                  <a:lnTo>
                    <a:pt x="0" y="23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5" name="Freeform 302"/>
            <p:cNvSpPr>
              <a:spLocks/>
            </p:cNvSpPr>
            <p:nvPr/>
          </p:nvSpPr>
          <p:spPr bwMode="auto">
            <a:xfrm>
              <a:off x="4057899" y="2290589"/>
              <a:ext cx="41570" cy="48498"/>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6" name="Freeform 303"/>
            <p:cNvSpPr>
              <a:spLocks/>
            </p:cNvSpPr>
            <p:nvPr/>
          </p:nvSpPr>
          <p:spPr bwMode="auto">
            <a:xfrm>
              <a:off x="4057899" y="2290589"/>
              <a:ext cx="41570" cy="48498"/>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7" name="Freeform 304"/>
            <p:cNvSpPr>
              <a:spLocks/>
            </p:cNvSpPr>
            <p:nvPr/>
          </p:nvSpPr>
          <p:spPr bwMode="auto">
            <a:xfrm>
              <a:off x="4743800" y="3187804"/>
              <a:ext cx="204385" cy="145494"/>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8" name="Freeform 305"/>
            <p:cNvSpPr>
              <a:spLocks/>
            </p:cNvSpPr>
            <p:nvPr/>
          </p:nvSpPr>
          <p:spPr bwMode="auto">
            <a:xfrm>
              <a:off x="4743800" y="3187804"/>
              <a:ext cx="204385" cy="145494"/>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29" name="Freeform 306"/>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0" name="Freeform 307"/>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1" name="Freeform 308"/>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2" name="Freeform 309"/>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3" name="Freeform 310"/>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4" name="Freeform 311"/>
            <p:cNvSpPr>
              <a:spLocks/>
            </p:cNvSpPr>
            <p:nvPr/>
          </p:nvSpPr>
          <p:spPr bwMode="auto">
            <a:xfrm>
              <a:off x="4799227" y="2844853"/>
              <a:ext cx="245955" cy="214777"/>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5" name="Freeform 312"/>
            <p:cNvSpPr>
              <a:spLocks/>
            </p:cNvSpPr>
            <p:nvPr/>
          </p:nvSpPr>
          <p:spPr bwMode="auto">
            <a:xfrm>
              <a:off x="4799227" y="2844853"/>
              <a:ext cx="245955" cy="214777"/>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6" name="Freeform 313"/>
            <p:cNvSpPr>
              <a:spLocks/>
            </p:cNvSpPr>
            <p:nvPr/>
          </p:nvSpPr>
          <p:spPr bwMode="auto">
            <a:xfrm>
              <a:off x="4400849" y="3094272"/>
              <a:ext cx="34642" cy="31177"/>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7" name="Freeform 314"/>
            <p:cNvSpPr>
              <a:spLocks/>
            </p:cNvSpPr>
            <p:nvPr/>
          </p:nvSpPr>
          <p:spPr bwMode="auto">
            <a:xfrm>
              <a:off x="4400849" y="3094272"/>
              <a:ext cx="34642" cy="31177"/>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8" name="Freeform 315"/>
            <p:cNvSpPr>
              <a:spLocks/>
            </p:cNvSpPr>
            <p:nvPr/>
          </p:nvSpPr>
          <p:spPr bwMode="auto">
            <a:xfrm>
              <a:off x="4542880" y="3070023"/>
              <a:ext cx="180136" cy="100460"/>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39" name="Freeform 316"/>
            <p:cNvSpPr>
              <a:spLocks/>
            </p:cNvSpPr>
            <p:nvPr/>
          </p:nvSpPr>
          <p:spPr bwMode="auto">
            <a:xfrm>
              <a:off x="4542880" y="3070023"/>
              <a:ext cx="180136" cy="100460"/>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0" name="Freeform 317"/>
            <p:cNvSpPr>
              <a:spLocks/>
            </p:cNvSpPr>
            <p:nvPr/>
          </p:nvSpPr>
          <p:spPr bwMode="auto">
            <a:xfrm>
              <a:off x="4657196" y="3115057"/>
              <a:ext cx="148958" cy="72747"/>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1" name="Freeform 318"/>
            <p:cNvSpPr>
              <a:spLocks/>
            </p:cNvSpPr>
            <p:nvPr/>
          </p:nvSpPr>
          <p:spPr bwMode="auto">
            <a:xfrm>
              <a:off x="4657196" y="3115057"/>
              <a:ext cx="148958" cy="72747"/>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2" name="Freeform 319"/>
            <p:cNvSpPr>
              <a:spLocks/>
            </p:cNvSpPr>
            <p:nvPr/>
          </p:nvSpPr>
          <p:spPr bwMode="auto">
            <a:xfrm>
              <a:off x="4203393" y="2782498"/>
              <a:ext cx="17321" cy="10392"/>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3" name="Freeform 320"/>
            <p:cNvSpPr>
              <a:spLocks/>
            </p:cNvSpPr>
            <p:nvPr/>
          </p:nvSpPr>
          <p:spPr bwMode="auto">
            <a:xfrm>
              <a:off x="4203393" y="2782498"/>
              <a:ext cx="17321" cy="10392"/>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4" name="Freeform 321"/>
            <p:cNvSpPr>
              <a:spLocks/>
            </p:cNvSpPr>
            <p:nvPr/>
          </p:nvSpPr>
          <p:spPr bwMode="auto">
            <a:xfrm>
              <a:off x="4085612" y="2931457"/>
              <a:ext cx="51962" cy="48498"/>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5" name="Freeform 322"/>
            <p:cNvSpPr>
              <a:spLocks/>
            </p:cNvSpPr>
            <p:nvPr/>
          </p:nvSpPr>
          <p:spPr bwMode="auto">
            <a:xfrm>
              <a:off x="4085612" y="2931457"/>
              <a:ext cx="51962" cy="48498"/>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6" name="Freeform 323"/>
            <p:cNvSpPr>
              <a:spLocks/>
            </p:cNvSpPr>
            <p:nvPr/>
          </p:nvSpPr>
          <p:spPr bwMode="auto">
            <a:xfrm>
              <a:off x="4099468" y="2813676"/>
              <a:ext cx="20785" cy="38106"/>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7" name="Freeform 324"/>
            <p:cNvSpPr>
              <a:spLocks/>
            </p:cNvSpPr>
            <p:nvPr/>
          </p:nvSpPr>
          <p:spPr bwMode="auto">
            <a:xfrm>
              <a:off x="4099468" y="2813676"/>
              <a:ext cx="20785" cy="38106"/>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8" name="Freeform 325"/>
            <p:cNvSpPr>
              <a:spLocks/>
            </p:cNvSpPr>
            <p:nvPr/>
          </p:nvSpPr>
          <p:spPr bwMode="auto">
            <a:xfrm>
              <a:off x="4227642" y="2723608"/>
              <a:ext cx="17321" cy="34641"/>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49" name="Freeform 326"/>
            <p:cNvSpPr>
              <a:spLocks/>
            </p:cNvSpPr>
            <p:nvPr/>
          </p:nvSpPr>
          <p:spPr bwMode="auto">
            <a:xfrm>
              <a:off x="4227642" y="2723608"/>
              <a:ext cx="17321" cy="34641"/>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0" name="Freeform 327"/>
            <p:cNvSpPr>
              <a:spLocks/>
            </p:cNvSpPr>
            <p:nvPr/>
          </p:nvSpPr>
          <p:spPr bwMode="auto">
            <a:xfrm>
              <a:off x="4123717" y="2803283"/>
              <a:ext cx="187064" cy="318702"/>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1" name="Freeform 328"/>
            <p:cNvSpPr>
              <a:spLocks/>
            </p:cNvSpPr>
            <p:nvPr/>
          </p:nvSpPr>
          <p:spPr bwMode="auto">
            <a:xfrm>
              <a:off x="4123717" y="2803283"/>
              <a:ext cx="187064" cy="318702"/>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2" name="Freeform 329"/>
            <p:cNvSpPr>
              <a:spLocks/>
            </p:cNvSpPr>
            <p:nvPr/>
          </p:nvSpPr>
          <p:spPr bwMode="auto">
            <a:xfrm>
              <a:off x="4896223" y="3194732"/>
              <a:ext cx="83140" cy="100460"/>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3" name="Freeform 330"/>
            <p:cNvSpPr>
              <a:spLocks/>
            </p:cNvSpPr>
            <p:nvPr/>
          </p:nvSpPr>
          <p:spPr bwMode="auto">
            <a:xfrm>
              <a:off x="4896223" y="3194732"/>
              <a:ext cx="83140" cy="100460"/>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4" name="Freeform 331"/>
            <p:cNvSpPr>
              <a:spLocks/>
            </p:cNvSpPr>
            <p:nvPr/>
          </p:nvSpPr>
          <p:spPr bwMode="auto">
            <a:xfrm>
              <a:off x="4875438" y="3392189"/>
              <a:ext cx="55426" cy="38106"/>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5" name="Freeform 332"/>
            <p:cNvSpPr>
              <a:spLocks/>
            </p:cNvSpPr>
            <p:nvPr/>
          </p:nvSpPr>
          <p:spPr bwMode="auto">
            <a:xfrm>
              <a:off x="4875438" y="3392189"/>
              <a:ext cx="55426" cy="38106"/>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6" name="Freeform 333"/>
            <p:cNvSpPr>
              <a:spLocks/>
            </p:cNvSpPr>
            <p:nvPr/>
          </p:nvSpPr>
          <p:spPr bwMode="auto">
            <a:xfrm>
              <a:off x="4743800" y="3395653"/>
              <a:ext cx="131638" cy="142030"/>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7" name="Freeform 334"/>
            <p:cNvSpPr>
              <a:spLocks/>
            </p:cNvSpPr>
            <p:nvPr/>
          </p:nvSpPr>
          <p:spPr bwMode="auto">
            <a:xfrm>
              <a:off x="4743800" y="3395653"/>
              <a:ext cx="131638" cy="142030"/>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8" name="Freeform 335"/>
            <p:cNvSpPr>
              <a:spLocks/>
            </p:cNvSpPr>
            <p:nvPr/>
          </p:nvSpPr>
          <p:spPr bwMode="auto">
            <a:xfrm>
              <a:off x="4840796" y="3541147"/>
              <a:ext cx="58891" cy="17321"/>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59" name="Freeform 336"/>
            <p:cNvSpPr>
              <a:spLocks/>
            </p:cNvSpPr>
            <p:nvPr/>
          </p:nvSpPr>
          <p:spPr bwMode="auto">
            <a:xfrm>
              <a:off x="4840796" y="3541147"/>
              <a:ext cx="58891" cy="17321"/>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0" name="Freeform 337"/>
            <p:cNvSpPr>
              <a:spLocks/>
            </p:cNvSpPr>
            <p:nvPr/>
          </p:nvSpPr>
          <p:spPr bwMode="auto">
            <a:xfrm>
              <a:off x="5045181" y="3593109"/>
              <a:ext cx="48498" cy="24249"/>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1" name="Freeform 338"/>
            <p:cNvSpPr>
              <a:spLocks/>
            </p:cNvSpPr>
            <p:nvPr/>
          </p:nvSpPr>
          <p:spPr bwMode="auto">
            <a:xfrm>
              <a:off x="5045181" y="3593109"/>
              <a:ext cx="48498" cy="24249"/>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2" name="Freeform 339"/>
            <p:cNvSpPr>
              <a:spLocks/>
            </p:cNvSpPr>
            <p:nvPr/>
          </p:nvSpPr>
          <p:spPr bwMode="auto">
            <a:xfrm>
              <a:off x="4577521" y="3229374"/>
              <a:ext cx="90068" cy="58891"/>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3" name="Freeform 340"/>
            <p:cNvSpPr>
              <a:spLocks/>
            </p:cNvSpPr>
            <p:nvPr/>
          </p:nvSpPr>
          <p:spPr bwMode="auto">
            <a:xfrm>
              <a:off x="4577521" y="3229374"/>
              <a:ext cx="90068" cy="58891"/>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4" name="Freeform 341"/>
            <p:cNvSpPr>
              <a:spLocks/>
            </p:cNvSpPr>
            <p:nvPr/>
          </p:nvSpPr>
          <p:spPr bwMode="auto">
            <a:xfrm>
              <a:off x="4612163" y="3239766"/>
              <a:ext cx="96996" cy="135102"/>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5" name="Freeform 342"/>
            <p:cNvSpPr>
              <a:spLocks/>
            </p:cNvSpPr>
            <p:nvPr/>
          </p:nvSpPr>
          <p:spPr bwMode="auto">
            <a:xfrm>
              <a:off x="4612163" y="3239766"/>
              <a:ext cx="96996" cy="135102"/>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6" name="Freeform 343"/>
            <p:cNvSpPr>
              <a:spLocks/>
            </p:cNvSpPr>
            <p:nvPr/>
          </p:nvSpPr>
          <p:spPr bwMode="auto">
            <a:xfrm>
              <a:off x="4764585" y="3381796"/>
              <a:ext cx="45034" cy="38106"/>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7" name="Freeform 344"/>
            <p:cNvSpPr>
              <a:spLocks/>
            </p:cNvSpPr>
            <p:nvPr/>
          </p:nvSpPr>
          <p:spPr bwMode="auto">
            <a:xfrm>
              <a:off x="4764585" y="3381796"/>
              <a:ext cx="45034" cy="38106"/>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8" name="Freeform 345"/>
            <p:cNvSpPr>
              <a:spLocks/>
            </p:cNvSpPr>
            <p:nvPr/>
          </p:nvSpPr>
          <p:spPr bwMode="auto">
            <a:xfrm>
              <a:off x="4750729" y="3361011"/>
              <a:ext cx="34642" cy="34641"/>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69" name="Freeform 346"/>
            <p:cNvSpPr>
              <a:spLocks/>
            </p:cNvSpPr>
            <p:nvPr/>
          </p:nvSpPr>
          <p:spPr bwMode="auto">
            <a:xfrm>
              <a:off x="4750729" y="3361011"/>
              <a:ext cx="34642" cy="34641"/>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0" name="Freeform 347"/>
            <p:cNvSpPr>
              <a:spLocks/>
            </p:cNvSpPr>
            <p:nvPr/>
          </p:nvSpPr>
          <p:spPr bwMode="auto">
            <a:xfrm>
              <a:off x="4709159" y="3343691"/>
              <a:ext cx="48498" cy="45034"/>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1" name="Freeform 348"/>
            <p:cNvSpPr>
              <a:spLocks/>
            </p:cNvSpPr>
            <p:nvPr/>
          </p:nvSpPr>
          <p:spPr bwMode="auto">
            <a:xfrm>
              <a:off x="4709159" y="3343691"/>
              <a:ext cx="48498" cy="45034"/>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2" name="Freeform 349"/>
            <p:cNvSpPr>
              <a:spLocks/>
            </p:cNvSpPr>
            <p:nvPr/>
          </p:nvSpPr>
          <p:spPr bwMode="auto">
            <a:xfrm>
              <a:off x="4646804" y="3274408"/>
              <a:ext cx="93532" cy="107389"/>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3" name="Freeform 350"/>
            <p:cNvSpPr>
              <a:spLocks/>
            </p:cNvSpPr>
            <p:nvPr/>
          </p:nvSpPr>
          <p:spPr bwMode="auto">
            <a:xfrm>
              <a:off x="4646804" y="3274408"/>
              <a:ext cx="93532" cy="107389"/>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4" name="Freeform 351"/>
            <p:cNvSpPr>
              <a:spLocks/>
            </p:cNvSpPr>
            <p:nvPr/>
          </p:nvSpPr>
          <p:spPr bwMode="auto">
            <a:xfrm>
              <a:off x="4719551" y="3267479"/>
              <a:ext cx="93532" cy="124709"/>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5" name="Freeform 352"/>
            <p:cNvSpPr>
              <a:spLocks/>
            </p:cNvSpPr>
            <p:nvPr/>
          </p:nvSpPr>
          <p:spPr bwMode="auto">
            <a:xfrm>
              <a:off x="4719551" y="3267479"/>
              <a:ext cx="93532" cy="124709"/>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6" name="Freeform 353"/>
            <p:cNvSpPr>
              <a:spLocks/>
            </p:cNvSpPr>
            <p:nvPr/>
          </p:nvSpPr>
          <p:spPr bwMode="auto">
            <a:xfrm>
              <a:off x="4709159" y="3239766"/>
              <a:ext cx="48498" cy="45034"/>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7" name="Freeform 354"/>
            <p:cNvSpPr>
              <a:spLocks/>
            </p:cNvSpPr>
            <p:nvPr/>
          </p:nvSpPr>
          <p:spPr bwMode="auto">
            <a:xfrm>
              <a:off x="4709159" y="3239766"/>
              <a:ext cx="48498" cy="45034"/>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8" name="Freeform 355"/>
            <p:cNvSpPr>
              <a:spLocks/>
            </p:cNvSpPr>
            <p:nvPr/>
          </p:nvSpPr>
          <p:spPr bwMode="auto">
            <a:xfrm>
              <a:off x="4729944" y="2931457"/>
              <a:ext cx="27713" cy="27713"/>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79" name="Freeform 356"/>
            <p:cNvSpPr>
              <a:spLocks/>
            </p:cNvSpPr>
            <p:nvPr/>
          </p:nvSpPr>
          <p:spPr bwMode="auto">
            <a:xfrm>
              <a:off x="4729944" y="2931457"/>
              <a:ext cx="27713" cy="27713"/>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0" name="Freeform 357"/>
            <p:cNvSpPr>
              <a:spLocks/>
            </p:cNvSpPr>
            <p:nvPr/>
          </p:nvSpPr>
          <p:spPr bwMode="auto">
            <a:xfrm>
              <a:off x="4795762" y="3000740"/>
              <a:ext cx="401841" cy="308309"/>
            </a:xfrm>
            <a:custGeom>
              <a:avLst/>
              <a:gdLst>
                <a:gd name="T0" fmla="*/ 228 w 232"/>
                <a:gd name="T1" fmla="*/ 66 h 178"/>
                <a:gd name="T2" fmla="*/ 210 w 232"/>
                <a:gd name="T3" fmla="*/ 50 h 178"/>
                <a:gd name="T4" fmla="*/ 180 w 232"/>
                <a:gd name="T5" fmla="*/ 30 h 178"/>
                <a:gd name="T6" fmla="*/ 172 w 232"/>
                <a:gd name="T7" fmla="*/ 22 h 178"/>
                <a:gd name="T8" fmla="*/ 168 w 232"/>
                <a:gd name="T9" fmla="*/ 6 h 178"/>
                <a:gd name="T10" fmla="*/ 162 w 232"/>
                <a:gd name="T11" fmla="*/ 2 h 178"/>
                <a:gd name="T12" fmla="*/ 144 w 232"/>
                <a:gd name="T13" fmla="*/ 2 h 178"/>
                <a:gd name="T14" fmla="*/ 122 w 232"/>
                <a:gd name="T15" fmla="*/ 16 h 178"/>
                <a:gd name="T16" fmla="*/ 112 w 232"/>
                <a:gd name="T17" fmla="*/ 24 h 178"/>
                <a:gd name="T18" fmla="*/ 92 w 232"/>
                <a:gd name="T19" fmla="*/ 30 h 178"/>
                <a:gd name="T20" fmla="*/ 42 w 232"/>
                <a:gd name="T21" fmla="*/ 32 h 178"/>
                <a:gd name="T22" fmla="*/ 16 w 232"/>
                <a:gd name="T23" fmla="*/ 44 h 178"/>
                <a:gd name="T24" fmla="*/ 16 w 232"/>
                <a:gd name="T25" fmla="*/ 58 h 178"/>
                <a:gd name="T26" fmla="*/ 6 w 232"/>
                <a:gd name="T27" fmla="*/ 66 h 178"/>
                <a:gd name="T28" fmla="*/ 16 w 232"/>
                <a:gd name="T29" fmla="*/ 108 h 178"/>
                <a:gd name="T30" fmla="*/ 24 w 232"/>
                <a:gd name="T31" fmla="*/ 110 h 178"/>
                <a:gd name="T32" fmla="*/ 36 w 232"/>
                <a:gd name="T33" fmla="*/ 116 h 178"/>
                <a:gd name="T34" fmla="*/ 52 w 232"/>
                <a:gd name="T35" fmla="*/ 116 h 178"/>
                <a:gd name="T36" fmla="*/ 68 w 232"/>
                <a:gd name="T37" fmla="*/ 110 h 178"/>
                <a:gd name="T38" fmla="*/ 82 w 232"/>
                <a:gd name="T39" fmla="*/ 112 h 178"/>
                <a:gd name="T40" fmla="*/ 92 w 232"/>
                <a:gd name="T41" fmla="*/ 120 h 178"/>
                <a:gd name="T42" fmla="*/ 104 w 232"/>
                <a:gd name="T43" fmla="*/ 140 h 178"/>
                <a:gd name="T44" fmla="*/ 106 w 232"/>
                <a:gd name="T45" fmla="*/ 150 h 178"/>
                <a:gd name="T46" fmla="*/ 98 w 232"/>
                <a:gd name="T47" fmla="*/ 170 h 178"/>
                <a:gd name="T48" fmla="*/ 110 w 232"/>
                <a:gd name="T49" fmla="*/ 158 h 178"/>
                <a:gd name="T50" fmla="*/ 114 w 232"/>
                <a:gd name="T51" fmla="*/ 142 h 178"/>
                <a:gd name="T52" fmla="*/ 116 w 232"/>
                <a:gd name="T53" fmla="*/ 126 h 178"/>
                <a:gd name="T54" fmla="*/ 126 w 232"/>
                <a:gd name="T55" fmla="*/ 122 h 178"/>
                <a:gd name="T56" fmla="*/ 134 w 232"/>
                <a:gd name="T57" fmla="*/ 124 h 178"/>
                <a:gd name="T58" fmla="*/ 136 w 232"/>
                <a:gd name="T59" fmla="*/ 136 h 178"/>
                <a:gd name="T60" fmla="*/ 140 w 232"/>
                <a:gd name="T61" fmla="*/ 142 h 178"/>
                <a:gd name="T62" fmla="*/ 150 w 232"/>
                <a:gd name="T63" fmla="*/ 144 h 178"/>
                <a:gd name="T64" fmla="*/ 150 w 232"/>
                <a:gd name="T65" fmla="*/ 156 h 178"/>
                <a:gd name="T66" fmla="*/ 144 w 232"/>
                <a:gd name="T67" fmla="*/ 162 h 178"/>
                <a:gd name="T68" fmla="*/ 136 w 232"/>
                <a:gd name="T69" fmla="*/ 166 h 178"/>
                <a:gd name="T70" fmla="*/ 130 w 232"/>
                <a:gd name="T71" fmla="*/ 174 h 178"/>
                <a:gd name="T72" fmla="*/ 138 w 232"/>
                <a:gd name="T73" fmla="*/ 178 h 178"/>
                <a:gd name="T74" fmla="*/ 154 w 232"/>
                <a:gd name="T75" fmla="*/ 176 h 178"/>
                <a:gd name="T76" fmla="*/ 166 w 232"/>
                <a:gd name="T77" fmla="*/ 176 h 178"/>
                <a:gd name="T78" fmla="*/ 186 w 232"/>
                <a:gd name="T79" fmla="*/ 166 h 178"/>
                <a:gd name="T80" fmla="*/ 192 w 232"/>
                <a:gd name="T81" fmla="*/ 164 h 178"/>
                <a:gd name="T82" fmla="*/ 188 w 232"/>
                <a:gd name="T83" fmla="*/ 158 h 178"/>
                <a:gd name="T84" fmla="*/ 178 w 232"/>
                <a:gd name="T85" fmla="*/ 158 h 178"/>
                <a:gd name="T86" fmla="*/ 166 w 232"/>
                <a:gd name="T87" fmla="*/ 152 h 178"/>
                <a:gd name="T88" fmla="*/ 164 w 232"/>
                <a:gd name="T89" fmla="*/ 146 h 178"/>
                <a:gd name="T90" fmla="*/ 176 w 232"/>
                <a:gd name="T91" fmla="*/ 138 h 178"/>
                <a:gd name="T92" fmla="*/ 180 w 232"/>
                <a:gd name="T93" fmla="*/ 132 h 178"/>
                <a:gd name="T94" fmla="*/ 184 w 232"/>
                <a:gd name="T95" fmla="*/ 128 h 178"/>
                <a:gd name="T96" fmla="*/ 194 w 232"/>
                <a:gd name="T97" fmla="*/ 128 h 178"/>
                <a:gd name="T98" fmla="*/ 218 w 232"/>
                <a:gd name="T99" fmla="*/ 120 h 178"/>
                <a:gd name="T100" fmla="*/ 222 w 232"/>
                <a:gd name="T101" fmla="*/ 114 h 178"/>
                <a:gd name="T102" fmla="*/ 228 w 232"/>
                <a:gd name="T103" fmla="*/ 94 h 178"/>
                <a:gd name="T104" fmla="*/ 232 w 232"/>
                <a:gd name="T105" fmla="*/ 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2" h="178">
                  <a:moveTo>
                    <a:pt x="232" y="72"/>
                  </a:moveTo>
                  <a:lnTo>
                    <a:pt x="232" y="72"/>
                  </a:lnTo>
                  <a:lnTo>
                    <a:pt x="230" y="70"/>
                  </a:lnTo>
                  <a:lnTo>
                    <a:pt x="230" y="68"/>
                  </a:lnTo>
                  <a:lnTo>
                    <a:pt x="228" y="68"/>
                  </a:lnTo>
                  <a:lnTo>
                    <a:pt x="228" y="66"/>
                  </a:lnTo>
                  <a:lnTo>
                    <a:pt x="226" y="64"/>
                  </a:lnTo>
                  <a:lnTo>
                    <a:pt x="224" y="62"/>
                  </a:lnTo>
                  <a:lnTo>
                    <a:pt x="222" y="60"/>
                  </a:lnTo>
                  <a:lnTo>
                    <a:pt x="218" y="56"/>
                  </a:lnTo>
                  <a:lnTo>
                    <a:pt x="214" y="54"/>
                  </a:lnTo>
                  <a:lnTo>
                    <a:pt x="210" y="50"/>
                  </a:lnTo>
                  <a:lnTo>
                    <a:pt x="204" y="48"/>
                  </a:lnTo>
                  <a:lnTo>
                    <a:pt x="196" y="42"/>
                  </a:lnTo>
                  <a:lnTo>
                    <a:pt x="190" y="38"/>
                  </a:lnTo>
                  <a:lnTo>
                    <a:pt x="186" y="36"/>
                  </a:lnTo>
                  <a:lnTo>
                    <a:pt x="182" y="32"/>
                  </a:lnTo>
                  <a:lnTo>
                    <a:pt x="180" y="30"/>
                  </a:lnTo>
                  <a:lnTo>
                    <a:pt x="178" y="28"/>
                  </a:lnTo>
                  <a:lnTo>
                    <a:pt x="176" y="28"/>
                  </a:lnTo>
                  <a:lnTo>
                    <a:pt x="176" y="26"/>
                  </a:lnTo>
                  <a:lnTo>
                    <a:pt x="174" y="24"/>
                  </a:lnTo>
                  <a:lnTo>
                    <a:pt x="174" y="24"/>
                  </a:lnTo>
                  <a:lnTo>
                    <a:pt x="172" y="22"/>
                  </a:lnTo>
                  <a:lnTo>
                    <a:pt x="172" y="20"/>
                  </a:lnTo>
                  <a:lnTo>
                    <a:pt x="172" y="16"/>
                  </a:lnTo>
                  <a:lnTo>
                    <a:pt x="170" y="12"/>
                  </a:lnTo>
                  <a:lnTo>
                    <a:pt x="170" y="10"/>
                  </a:lnTo>
                  <a:lnTo>
                    <a:pt x="168" y="6"/>
                  </a:lnTo>
                  <a:lnTo>
                    <a:pt x="168" y="6"/>
                  </a:lnTo>
                  <a:lnTo>
                    <a:pt x="168" y="4"/>
                  </a:lnTo>
                  <a:lnTo>
                    <a:pt x="166" y="4"/>
                  </a:lnTo>
                  <a:lnTo>
                    <a:pt x="166" y="2"/>
                  </a:lnTo>
                  <a:lnTo>
                    <a:pt x="164" y="2"/>
                  </a:lnTo>
                  <a:lnTo>
                    <a:pt x="164" y="2"/>
                  </a:lnTo>
                  <a:lnTo>
                    <a:pt x="162" y="2"/>
                  </a:lnTo>
                  <a:lnTo>
                    <a:pt x="160" y="2"/>
                  </a:lnTo>
                  <a:lnTo>
                    <a:pt x="156" y="0"/>
                  </a:lnTo>
                  <a:lnTo>
                    <a:pt x="154" y="2"/>
                  </a:lnTo>
                  <a:lnTo>
                    <a:pt x="150" y="2"/>
                  </a:lnTo>
                  <a:lnTo>
                    <a:pt x="146" y="2"/>
                  </a:lnTo>
                  <a:lnTo>
                    <a:pt x="144" y="2"/>
                  </a:lnTo>
                  <a:lnTo>
                    <a:pt x="138" y="2"/>
                  </a:lnTo>
                  <a:lnTo>
                    <a:pt x="132" y="4"/>
                  </a:lnTo>
                  <a:lnTo>
                    <a:pt x="128" y="6"/>
                  </a:lnTo>
                  <a:lnTo>
                    <a:pt x="126" y="8"/>
                  </a:lnTo>
                  <a:lnTo>
                    <a:pt x="124" y="12"/>
                  </a:lnTo>
                  <a:lnTo>
                    <a:pt x="122" y="16"/>
                  </a:lnTo>
                  <a:lnTo>
                    <a:pt x="120" y="18"/>
                  </a:lnTo>
                  <a:lnTo>
                    <a:pt x="120" y="20"/>
                  </a:lnTo>
                  <a:lnTo>
                    <a:pt x="118" y="20"/>
                  </a:lnTo>
                  <a:lnTo>
                    <a:pt x="118" y="22"/>
                  </a:lnTo>
                  <a:lnTo>
                    <a:pt x="116" y="22"/>
                  </a:lnTo>
                  <a:lnTo>
                    <a:pt x="112" y="24"/>
                  </a:lnTo>
                  <a:lnTo>
                    <a:pt x="110" y="24"/>
                  </a:lnTo>
                  <a:lnTo>
                    <a:pt x="106" y="26"/>
                  </a:lnTo>
                  <a:lnTo>
                    <a:pt x="104" y="26"/>
                  </a:lnTo>
                  <a:lnTo>
                    <a:pt x="100" y="28"/>
                  </a:lnTo>
                  <a:lnTo>
                    <a:pt x="96" y="28"/>
                  </a:lnTo>
                  <a:lnTo>
                    <a:pt x="92" y="30"/>
                  </a:lnTo>
                  <a:lnTo>
                    <a:pt x="84" y="30"/>
                  </a:lnTo>
                  <a:lnTo>
                    <a:pt x="76" y="32"/>
                  </a:lnTo>
                  <a:lnTo>
                    <a:pt x="66" y="32"/>
                  </a:lnTo>
                  <a:lnTo>
                    <a:pt x="58" y="32"/>
                  </a:lnTo>
                  <a:lnTo>
                    <a:pt x="50" y="32"/>
                  </a:lnTo>
                  <a:lnTo>
                    <a:pt x="42" y="32"/>
                  </a:lnTo>
                  <a:lnTo>
                    <a:pt x="28" y="32"/>
                  </a:lnTo>
                  <a:lnTo>
                    <a:pt x="18" y="32"/>
                  </a:lnTo>
                  <a:lnTo>
                    <a:pt x="16" y="32"/>
                  </a:lnTo>
                  <a:lnTo>
                    <a:pt x="16" y="36"/>
                  </a:lnTo>
                  <a:lnTo>
                    <a:pt x="16" y="40"/>
                  </a:lnTo>
                  <a:lnTo>
                    <a:pt x="16" y="44"/>
                  </a:lnTo>
                  <a:lnTo>
                    <a:pt x="16" y="48"/>
                  </a:lnTo>
                  <a:lnTo>
                    <a:pt x="16" y="52"/>
                  </a:lnTo>
                  <a:lnTo>
                    <a:pt x="16" y="54"/>
                  </a:lnTo>
                  <a:lnTo>
                    <a:pt x="16" y="56"/>
                  </a:lnTo>
                  <a:lnTo>
                    <a:pt x="16" y="58"/>
                  </a:lnTo>
                  <a:lnTo>
                    <a:pt x="16" y="58"/>
                  </a:lnTo>
                  <a:lnTo>
                    <a:pt x="16" y="60"/>
                  </a:lnTo>
                  <a:lnTo>
                    <a:pt x="16" y="60"/>
                  </a:lnTo>
                  <a:lnTo>
                    <a:pt x="14" y="62"/>
                  </a:lnTo>
                  <a:lnTo>
                    <a:pt x="12" y="62"/>
                  </a:lnTo>
                  <a:lnTo>
                    <a:pt x="10" y="64"/>
                  </a:lnTo>
                  <a:lnTo>
                    <a:pt x="6" y="66"/>
                  </a:lnTo>
                  <a:lnTo>
                    <a:pt x="6" y="68"/>
                  </a:lnTo>
                  <a:lnTo>
                    <a:pt x="0" y="108"/>
                  </a:lnTo>
                  <a:lnTo>
                    <a:pt x="2" y="108"/>
                  </a:lnTo>
                  <a:lnTo>
                    <a:pt x="8" y="108"/>
                  </a:lnTo>
                  <a:lnTo>
                    <a:pt x="12" y="108"/>
                  </a:lnTo>
                  <a:lnTo>
                    <a:pt x="16" y="108"/>
                  </a:lnTo>
                  <a:lnTo>
                    <a:pt x="18" y="108"/>
                  </a:lnTo>
                  <a:lnTo>
                    <a:pt x="20" y="108"/>
                  </a:lnTo>
                  <a:lnTo>
                    <a:pt x="22" y="108"/>
                  </a:lnTo>
                  <a:lnTo>
                    <a:pt x="22" y="108"/>
                  </a:lnTo>
                  <a:lnTo>
                    <a:pt x="22" y="110"/>
                  </a:lnTo>
                  <a:lnTo>
                    <a:pt x="24" y="110"/>
                  </a:lnTo>
                  <a:lnTo>
                    <a:pt x="26" y="112"/>
                  </a:lnTo>
                  <a:lnTo>
                    <a:pt x="28" y="114"/>
                  </a:lnTo>
                  <a:lnTo>
                    <a:pt x="28" y="114"/>
                  </a:lnTo>
                  <a:lnTo>
                    <a:pt x="30" y="114"/>
                  </a:lnTo>
                  <a:lnTo>
                    <a:pt x="34" y="116"/>
                  </a:lnTo>
                  <a:lnTo>
                    <a:pt x="36" y="116"/>
                  </a:lnTo>
                  <a:lnTo>
                    <a:pt x="40" y="116"/>
                  </a:lnTo>
                  <a:lnTo>
                    <a:pt x="42" y="116"/>
                  </a:lnTo>
                  <a:lnTo>
                    <a:pt x="46" y="116"/>
                  </a:lnTo>
                  <a:lnTo>
                    <a:pt x="48" y="116"/>
                  </a:lnTo>
                  <a:lnTo>
                    <a:pt x="50" y="116"/>
                  </a:lnTo>
                  <a:lnTo>
                    <a:pt x="52" y="116"/>
                  </a:lnTo>
                  <a:lnTo>
                    <a:pt x="52" y="116"/>
                  </a:lnTo>
                  <a:lnTo>
                    <a:pt x="56" y="114"/>
                  </a:lnTo>
                  <a:lnTo>
                    <a:pt x="58" y="112"/>
                  </a:lnTo>
                  <a:lnTo>
                    <a:pt x="60" y="112"/>
                  </a:lnTo>
                  <a:lnTo>
                    <a:pt x="66" y="112"/>
                  </a:lnTo>
                  <a:lnTo>
                    <a:pt x="68" y="110"/>
                  </a:lnTo>
                  <a:lnTo>
                    <a:pt x="72" y="110"/>
                  </a:lnTo>
                  <a:lnTo>
                    <a:pt x="74" y="110"/>
                  </a:lnTo>
                  <a:lnTo>
                    <a:pt x="76" y="110"/>
                  </a:lnTo>
                  <a:lnTo>
                    <a:pt x="78" y="112"/>
                  </a:lnTo>
                  <a:lnTo>
                    <a:pt x="80" y="112"/>
                  </a:lnTo>
                  <a:lnTo>
                    <a:pt x="82" y="112"/>
                  </a:lnTo>
                  <a:lnTo>
                    <a:pt x="82" y="114"/>
                  </a:lnTo>
                  <a:lnTo>
                    <a:pt x="84" y="114"/>
                  </a:lnTo>
                  <a:lnTo>
                    <a:pt x="86" y="116"/>
                  </a:lnTo>
                  <a:lnTo>
                    <a:pt x="88" y="116"/>
                  </a:lnTo>
                  <a:lnTo>
                    <a:pt x="90" y="118"/>
                  </a:lnTo>
                  <a:lnTo>
                    <a:pt x="92" y="120"/>
                  </a:lnTo>
                  <a:lnTo>
                    <a:pt x="94" y="124"/>
                  </a:lnTo>
                  <a:lnTo>
                    <a:pt x="96" y="126"/>
                  </a:lnTo>
                  <a:lnTo>
                    <a:pt x="100" y="130"/>
                  </a:lnTo>
                  <a:lnTo>
                    <a:pt x="102" y="134"/>
                  </a:lnTo>
                  <a:lnTo>
                    <a:pt x="104" y="138"/>
                  </a:lnTo>
                  <a:lnTo>
                    <a:pt x="104" y="140"/>
                  </a:lnTo>
                  <a:lnTo>
                    <a:pt x="106" y="142"/>
                  </a:lnTo>
                  <a:lnTo>
                    <a:pt x="106" y="144"/>
                  </a:lnTo>
                  <a:lnTo>
                    <a:pt x="106" y="146"/>
                  </a:lnTo>
                  <a:lnTo>
                    <a:pt x="106" y="146"/>
                  </a:lnTo>
                  <a:lnTo>
                    <a:pt x="106" y="148"/>
                  </a:lnTo>
                  <a:lnTo>
                    <a:pt x="106" y="150"/>
                  </a:lnTo>
                  <a:lnTo>
                    <a:pt x="106" y="152"/>
                  </a:lnTo>
                  <a:lnTo>
                    <a:pt x="104" y="154"/>
                  </a:lnTo>
                  <a:lnTo>
                    <a:pt x="104" y="156"/>
                  </a:lnTo>
                  <a:lnTo>
                    <a:pt x="102" y="160"/>
                  </a:lnTo>
                  <a:lnTo>
                    <a:pt x="100" y="164"/>
                  </a:lnTo>
                  <a:lnTo>
                    <a:pt x="98" y="170"/>
                  </a:lnTo>
                  <a:lnTo>
                    <a:pt x="100" y="168"/>
                  </a:lnTo>
                  <a:lnTo>
                    <a:pt x="104" y="164"/>
                  </a:lnTo>
                  <a:lnTo>
                    <a:pt x="106" y="162"/>
                  </a:lnTo>
                  <a:lnTo>
                    <a:pt x="108" y="160"/>
                  </a:lnTo>
                  <a:lnTo>
                    <a:pt x="110" y="160"/>
                  </a:lnTo>
                  <a:lnTo>
                    <a:pt x="110" y="158"/>
                  </a:lnTo>
                  <a:lnTo>
                    <a:pt x="110" y="156"/>
                  </a:lnTo>
                  <a:lnTo>
                    <a:pt x="112" y="154"/>
                  </a:lnTo>
                  <a:lnTo>
                    <a:pt x="112" y="152"/>
                  </a:lnTo>
                  <a:lnTo>
                    <a:pt x="112" y="150"/>
                  </a:lnTo>
                  <a:lnTo>
                    <a:pt x="114" y="146"/>
                  </a:lnTo>
                  <a:lnTo>
                    <a:pt x="114" y="142"/>
                  </a:lnTo>
                  <a:lnTo>
                    <a:pt x="114" y="136"/>
                  </a:lnTo>
                  <a:lnTo>
                    <a:pt x="114" y="134"/>
                  </a:lnTo>
                  <a:lnTo>
                    <a:pt x="114" y="132"/>
                  </a:lnTo>
                  <a:lnTo>
                    <a:pt x="116" y="130"/>
                  </a:lnTo>
                  <a:lnTo>
                    <a:pt x="116" y="128"/>
                  </a:lnTo>
                  <a:lnTo>
                    <a:pt x="116" y="126"/>
                  </a:lnTo>
                  <a:lnTo>
                    <a:pt x="118" y="126"/>
                  </a:lnTo>
                  <a:lnTo>
                    <a:pt x="118" y="124"/>
                  </a:lnTo>
                  <a:lnTo>
                    <a:pt x="120" y="124"/>
                  </a:lnTo>
                  <a:lnTo>
                    <a:pt x="120" y="124"/>
                  </a:lnTo>
                  <a:lnTo>
                    <a:pt x="124" y="122"/>
                  </a:lnTo>
                  <a:lnTo>
                    <a:pt x="126" y="122"/>
                  </a:lnTo>
                  <a:lnTo>
                    <a:pt x="128" y="122"/>
                  </a:lnTo>
                  <a:lnTo>
                    <a:pt x="130" y="122"/>
                  </a:lnTo>
                  <a:lnTo>
                    <a:pt x="132" y="122"/>
                  </a:lnTo>
                  <a:lnTo>
                    <a:pt x="132" y="122"/>
                  </a:lnTo>
                  <a:lnTo>
                    <a:pt x="132" y="122"/>
                  </a:lnTo>
                  <a:lnTo>
                    <a:pt x="134" y="124"/>
                  </a:lnTo>
                  <a:lnTo>
                    <a:pt x="134" y="124"/>
                  </a:lnTo>
                  <a:lnTo>
                    <a:pt x="134" y="126"/>
                  </a:lnTo>
                  <a:lnTo>
                    <a:pt x="134" y="126"/>
                  </a:lnTo>
                  <a:lnTo>
                    <a:pt x="136" y="130"/>
                  </a:lnTo>
                  <a:lnTo>
                    <a:pt x="136" y="132"/>
                  </a:lnTo>
                  <a:lnTo>
                    <a:pt x="136" y="136"/>
                  </a:lnTo>
                  <a:lnTo>
                    <a:pt x="136" y="138"/>
                  </a:lnTo>
                  <a:lnTo>
                    <a:pt x="136" y="138"/>
                  </a:lnTo>
                  <a:lnTo>
                    <a:pt x="136" y="140"/>
                  </a:lnTo>
                  <a:lnTo>
                    <a:pt x="138" y="140"/>
                  </a:lnTo>
                  <a:lnTo>
                    <a:pt x="138" y="142"/>
                  </a:lnTo>
                  <a:lnTo>
                    <a:pt x="140" y="142"/>
                  </a:lnTo>
                  <a:lnTo>
                    <a:pt x="140" y="142"/>
                  </a:lnTo>
                  <a:lnTo>
                    <a:pt x="142" y="144"/>
                  </a:lnTo>
                  <a:lnTo>
                    <a:pt x="144" y="144"/>
                  </a:lnTo>
                  <a:lnTo>
                    <a:pt x="146" y="144"/>
                  </a:lnTo>
                  <a:lnTo>
                    <a:pt x="146" y="144"/>
                  </a:lnTo>
                  <a:lnTo>
                    <a:pt x="150" y="144"/>
                  </a:lnTo>
                  <a:lnTo>
                    <a:pt x="150" y="148"/>
                  </a:lnTo>
                  <a:lnTo>
                    <a:pt x="150" y="150"/>
                  </a:lnTo>
                  <a:lnTo>
                    <a:pt x="150" y="152"/>
                  </a:lnTo>
                  <a:lnTo>
                    <a:pt x="150" y="154"/>
                  </a:lnTo>
                  <a:lnTo>
                    <a:pt x="150" y="154"/>
                  </a:lnTo>
                  <a:lnTo>
                    <a:pt x="150" y="156"/>
                  </a:lnTo>
                  <a:lnTo>
                    <a:pt x="148" y="158"/>
                  </a:lnTo>
                  <a:lnTo>
                    <a:pt x="146" y="160"/>
                  </a:lnTo>
                  <a:lnTo>
                    <a:pt x="146" y="162"/>
                  </a:lnTo>
                  <a:lnTo>
                    <a:pt x="146" y="162"/>
                  </a:lnTo>
                  <a:lnTo>
                    <a:pt x="144" y="162"/>
                  </a:lnTo>
                  <a:lnTo>
                    <a:pt x="144" y="162"/>
                  </a:lnTo>
                  <a:lnTo>
                    <a:pt x="140" y="164"/>
                  </a:lnTo>
                  <a:lnTo>
                    <a:pt x="138" y="164"/>
                  </a:lnTo>
                  <a:lnTo>
                    <a:pt x="136" y="164"/>
                  </a:lnTo>
                  <a:lnTo>
                    <a:pt x="136" y="164"/>
                  </a:lnTo>
                  <a:lnTo>
                    <a:pt x="136" y="164"/>
                  </a:lnTo>
                  <a:lnTo>
                    <a:pt x="136" y="166"/>
                  </a:lnTo>
                  <a:lnTo>
                    <a:pt x="134" y="166"/>
                  </a:lnTo>
                  <a:lnTo>
                    <a:pt x="132" y="170"/>
                  </a:lnTo>
                  <a:lnTo>
                    <a:pt x="132" y="172"/>
                  </a:lnTo>
                  <a:lnTo>
                    <a:pt x="130" y="174"/>
                  </a:lnTo>
                  <a:lnTo>
                    <a:pt x="130" y="174"/>
                  </a:lnTo>
                  <a:lnTo>
                    <a:pt x="130" y="174"/>
                  </a:lnTo>
                  <a:lnTo>
                    <a:pt x="132" y="176"/>
                  </a:lnTo>
                  <a:lnTo>
                    <a:pt x="132" y="176"/>
                  </a:lnTo>
                  <a:lnTo>
                    <a:pt x="134" y="176"/>
                  </a:lnTo>
                  <a:lnTo>
                    <a:pt x="134" y="176"/>
                  </a:lnTo>
                  <a:lnTo>
                    <a:pt x="136" y="176"/>
                  </a:lnTo>
                  <a:lnTo>
                    <a:pt x="138" y="178"/>
                  </a:lnTo>
                  <a:lnTo>
                    <a:pt x="140" y="178"/>
                  </a:lnTo>
                  <a:lnTo>
                    <a:pt x="142" y="178"/>
                  </a:lnTo>
                  <a:lnTo>
                    <a:pt x="144" y="176"/>
                  </a:lnTo>
                  <a:lnTo>
                    <a:pt x="148" y="176"/>
                  </a:lnTo>
                  <a:lnTo>
                    <a:pt x="150" y="176"/>
                  </a:lnTo>
                  <a:lnTo>
                    <a:pt x="154" y="176"/>
                  </a:lnTo>
                  <a:lnTo>
                    <a:pt x="158" y="176"/>
                  </a:lnTo>
                  <a:lnTo>
                    <a:pt x="160" y="176"/>
                  </a:lnTo>
                  <a:lnTo>
                    <a:pt x="162" y="176"/>
                  </a:lnTo>
                  <a:lnTo>
                    <a:pt x="164" y="176"/>
                  </a:lnTo>
                  <a:lnTo>
                    <a:pt x="164" y="176"/>
                  </a:lnTo>
                  <a:lnTo>
                    <a:pt x="166" y="176"/>
                  </a:lnTo>
                  <a:lnTo>
                    <a:pt x="168" y="174"/>
                  </a:lnTo>
                  <a:lnTo>
                    <a:pt x="172" y="172"/>
                  </a:lnTo>
                  <a:lnTo>
                    <a:pt x="174" y="172"/>
                  </a:lnTo>
                  <a:lnTo>
                    <a:pt x="178" y="170"/>
                  </a:lnTo>
                  <a:lnTo>
                    <a:pt x="184" y="166"/>
                  </a:lnTo>
                  <a:lnTo>
                    <a:pt x="186" y="166"/>
                  </a:lnTo>
                  <a:lnTo>
                    <a:pt x="188" y="166"/>
                  </a:lnTo>
                  <a:lnTo>
                    <a:pt x="190" y="166"/>
                  </a:lnTo>
                  <a:lnTo>
                    <a:pt x="190" y="164"/>
                  </a:lnTo>
                  <a:lnTo>
                    <a:pt x="192" y="164"/>
                  </a:lnTo>
                  <a:lnTo>
                    <a:pt x="192" y="164"/>
                  </a:lnTo>
                  <a:lnTo>
                    <a:pt x="192" y="164"/>
                  </a:lnTo>
                  <a:lnTo>
                    <a:pt x="192" y="162"/>
                  </a:lnTo>
                  <a:lnTo>
                    <a:pt x="190" y="162"/>
                  </a:lnTo>
                  <a:lnTo>
                    <a:pt x="190" y="160"/>
                  </a:lnTo>
                  <a:lnTo>
                    <a:pt x="190" y="160"/>
                  </a:lnTo>
                  <a:lnTo>
                    <a:pt x="188" y="160"/>
                  </a:lnTo>
                  <a:lnTo>
                    <a:pt x="188" y="158"/>
                  </a:lnTo>
                  <a:lnTo>
                    <a:pt x="186" y="158"/>
                  </a:lnTo>
                  <a:lnTo>
                    <a:pt x="186" y="158"/>
                  </a:lnTo>
                  <a:lnTo>
                    <a:pt x="184" y="158"/>
                  </a:lnTo>
                  <a:lnTo>
                    <a:pt x="182" y="158"/>
                  </a:lnTo>
                  <a:lnTo>
                    <a:pt x="178" y="158"/>
                  </a:lnTo>
                  <a:lnTo>
                    <a:pt x="178" y="158"/>
                  </a:lnTo>
                  <a:lnTo>
                    <a:pt x="176" y="158"/>
                  </a:lnTo>
                  <a:lnTo>
                    <a:pt x="174" y="158"/>
                  </a:lnTo>
                  <a:lnTo>
                    <a:pt x="172" y="156"/>
                  </a:lnTo>
                  <a:lnTo>
                    <a:pt x="168" y="154"/>
                  </a:lnTo>
                  <a:lnTo>
                    <a:pt x="166" y="154"/>
                  </a:lnTo>
                  <a:lnTo>
                    <a:pt x="166" y="152"/>
                  </a:lnTo>
                  <a:lnTo>
                    <a:pt x="164" y="152"/>
                  </a:lnTo>
                  <a:lnTo>
                    <a:pt x="164" y="150"/>
                  </a:lnTo>
                  <a:lnTo>
                    <a:pt x="164" y="150"/>
                  </a:lnTo>
                  <a:lnTo>
                    <a:pt x="162" y="148"/>
                  </a:lnTo>
                  <a:lnTo>
                    <a:pt x="162" y="148"/>
                  </a:lnTo>
                  <a:lnTo>
                    <a:pt x="164" y="146"/>
                  </a:lnTo>
                  <a:lnTo>
                    <a:pt x="164" y="144"/>
                  </a:lnTo>
                  <a:lnTo>
                    <a:pt x="164" y="144"/>
                  </a:lnTo>
                  <a:lnTo>
                    <a:pt x="168" y="142"/>
                  </a:lnTo>
                  <a:lnTo>
                    <a:pt x="170" y="142"/>
                  </a:lnTo>
                  <a:lnTo>
                    <a:pt x="174" y="140"/>
                  </a:lnTo>
                  <a:lnTo>
                    <a:pt x="176" y="138"/>
                  </a:lnTo>
                  <a:lnTo>
                    <a:pt x="176" y="138"/>
                  </a:lnTo>
                  <a:lnTo>
                    <a:pt x="176" y="138"/>
                  </a:lnTo>
                  <a:lnTo>
                    <a:pt x="178" y="136"/>
                  </a:lnTo>
                  <a:lnTo>
                    <a:pt x="178" y="136"/>
                  </a:lnTo>
                  <a:lnTo>
                    <a:pt x="180" y="134"/>
                  </a:lnTo>
                  <a:lnTo>
                    <a:pt x="180" y="132"/>
                  </a:lnTo>
                  <a:lnTo>
                    <a:pt x="182" y="130"/>
                  </a:lnTo>
                  <a:lnTo>
                    <a:pt x="182" y="128"/>
                  </a:lnTo>
                  <a:lnTo>
                    <a:pt x="182" y="128"/>
                  </a:lnTo>
                  <a:lnTo>
                    <a:pt x="184" y="128"/>
                  </a:lnTo>
                  <a:lnTo>
                    <a:pt x="184" y="128"/>
                  </a:lnTo>
                  <a:lnTo>
                    <a:pt x="184" y="128"/>
                  </a:lnTo>
                  <a:lnTo>
                    <a:pt x="186" y="128"/>
                  </a:lnTo>
                  <a:lnTo>
                    <a:pt x="188" y="128"/>
                  </a:lnTo>
                  <a:lnTo>
                    <a:pt x="188" y="128"/>
                  </a:lnTo>
                  <a:lnTo>
                    <a:pt x="192" y="128"/>
                  </a:lnTo>
                  <a:lnTo>
                    <a:pt x="194" y="128"/>
                  </a:lnTo>
                  <a:lnTo>
                    <a:pt x="194" y="128"/>
                  </a:lnTo>
                  <a:lnTo>
                    <a:pt x="198" y="128"/>
                  </a:lnTo>
                  <a:lnTo>
                    <a:pt x="202" y="128"/>
                  </a:lnTo>
                  <a:lnTo>
                    <a:pt x="206" y="126"/>
                  </a:lnTo>
                  <a:lnTo>
                    <a:pt x="210" y="124"/>
                  </a:lnTo>
                  <a:lnTo>
                    <a:pt x="214" y="122"/>
                  </a:lnTo>
                  <a:lnTo>
                    <a:pt x="218" y="120"/>
                  </a:lnTo>
                  <a:lnTo>
                    <a:pt x="218" y="120"/>
                  </a:lnTo>
                  <a:lnTo>
                    <a:pt x="220" y="118"/>
                  </a:lnTo>
                  <a:lnTo>
                    <a:pt x="222" y="118"/>
                  </a:lnTo>
                  <a:lnTo>
                    <a:pt x="222" y="116"/>
                  </a:lnTo>
                  <a:lnTo>
                    <a:pt x="222" y="116"/>
                  </a:lnTo>
                  <a:lnTo>
                    <a:pt x="222" y="114"/>
                  </a:lnTo>
                  <a:lnTo>
                    <a:pt x="222" y="112"/>
                  </a:lnTo>
                  <a:lnTo>
                    <a:pt x="222" y="108"/>
                  </a:lnTo>
                  <a:lnTo>
                    <a:pt x="222" y="106"/>
                  </a:lnTo>
                  <a:lnTo>
                    <a:pt x="224" y="102"/>
                  </a:lnTo>
                  <a:lnTo>
                    <a:pt x="224" y="100"/>
                  </a:lnTo>
                  <a:lnTo>
                    <a:pt x="228" y="94"/>
                  </a:lnTo>
                  <a:lnTo>
                    <a:pt x="230" y="88"/>
                  </a:lnTo>
                  <a:lnTo>
                    <a:pt x="230" y="84"/>
                  </a:lnTo>
                  <a:lnTo>
                    <a:pt x="232" y="82"/>
                  </a:lnTo>
                  <a:lnTo>
                    <a:pt x="232" y="80"/>
                  </a:lnTo>
                  <a:lnTo>
                    <a:pt x="232" y="76"/>
                  </a:lnTo>
                  <a:lnTo>
                    <a:pt x="232" y="76"/>
                  </a:lnTo>
                  <a:lnTo>
                    <a:pt x="232" y="74"/>
                  </a:lnTo>
                  <a:lnTo>
                    <a:pt x="232" y="74"/>
                  </a:lnTo>
                  <a:lnTo>
                    <a:pt x="232"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1" name="Freeform 358"/>
            <p:cNvSpPr>
              <a:spLocks/>
            </p:cNvSpPr>
            <p:nvPr/>
          </p:nvSpPr>
          <p:spPr bwMode="auto">
            <a:xfrm>
              <a:off x="4795762" y="3000740"/>
              <a:ext cx="401841" cy="308309"/>
            </a:xfrm>
            <a:custGeom>
              <a:avLst/>
              <a:gdLst>
                <a:gd name="T0" fmla="*/ 228 w 232"/>
                <a:gd name="T1" fmla="*/ 66 h 178"/>
                <a:gd name="T2" fmla="*/ 210 w 232"/>
                <a:gd name="T3" fmla="*/ 50 h 178"/>
                <a:gd name="T4" fmla="*/ 180 w 232"/>
                <a:gd name="T5" fmla="*/ 30 h 178"/>
                <a:gd name="T6" fmla="*/ 172 w 232"/>
                <a:gd name="T7" fmla="*/ 22 h 178"/>
                <a:gd name="T8" fmla="*/ 168 w 232"/>
                <a:gd name="T9" fmla="*/ 6 h 178"/>
                <a:gd name="T10" fmla="*/ 162 w 232"/>
                <a:gd name="T11" fmla="*/ 2 h 178"/>
                <a:gd name="T12" fmla="*/ 144 w 232"/>
                <a:gd name="T13" fmla="*/ 2 h 178"/>
                <a:gd name="T14" fmla="*/ 122 w 232"/>
                <a:gd name="T15" fmla="*/ 16 h 178"/>
                <a:gd name="T16" fmla="*/ 112 w 232"/>
                <a:gd name="T17" fmla="*/ 24 h 178"/>
                <a:gd name="T18" fmla="*/ 92 w 232"/>
                <a:gd name="T19" fmla="*/ 30 h 178"/>
                <a:gd name="T20" fmla="*/ 42 w 232"/>
                <a:gd name="T21" fmla="*/ 32 h 178"/>
                <a:gd name="T22" fmla="*/ 16 w 232"/>
                <a:gd name="T23" fmla="*/ 44 h 178"/>
                <a:gd name="T24" fmla="*/ 16 w 232"/>
                <a:gd name="T25" fmla="*/ 58 h 178"/>
                <a:gd name="T26" fmla="*/ 6 w 232"/>
                <a:gd name="T27" fmla="*/ 66 h 178"/>
                <a:gd name="T28" fmla="*/ 16 w 232"/>
                <a:gd name="T29" fmla="*/ 108 h 178"/>
                <a:gd name="T30" fmla="*/ 24 w 232"/>
                <a:gd name="T31" fmla="*/ 110 h 178"/>
                <a:gd name="T32" fmla="*/ 36 w 232"/>
                <a:gd name="T33" fmla="*/ 116 h 178"/>
                <a:gd name="T34" fmla="*/ 52 w 232"/>
                <a:gd name="T35" fmla="*/ 116 h 178"/>
                <a:gd name="T36" fmla="*/ 68 w 232"/>
                <a:gd name="T37" fmla="*/ 110 h 178"/>
                <a:gd name="T38" fmla="*/ 82 w 232"/>
                <a:gd name="T39" fmla="*/ 112 h 178"/>
                <a:gd name="T40" fmla="*/ 92 w 232"/>
                <a:gd name="T41" fmla="*/ 120 h 178"/>
                <a:gd name="T42" fmla="*/ 104 w 232"/>
                <a:gd name="T43" fmla="*/ 140 h 178"/>
                <a:gd name="T44" fmla="*/ 106 w 232"/>
                <a:gd name="T45" fmla="*/ 150 h 178"/>
                <a:gd name="T46" fmla="*/ 98 w 232"/>
                <a:gd name="T47" fmla="*/ 170 h 178"/>
                <a:gd name="T48" fmla="*/ 110 w 232"/>
                <a:gd name="T49" fmla="*/ 158 h 178"/>
                <a:gd name="T50" fmla="*/ 114 w 232"/>
                <a:gd name="T51" fmla="*/ 142 h 178"/>
                <a:gd name="T52" fmla="*/ 116 w 232"/>
                <a:gd name="T53" fmla="*/ 126 h 178"/>
                <a:gd name="T54" fmla="*/ 126 w 232"/>
                <a:gd name="T55" fmla="*/ 122 h 178"/>
                <a:gd name="T56" fmla="*/ 134 w 232"/>
                <a:gd name="T57" fmla="*/ 124 h 178"/>
                <a:gd name="T58" fmla="*/ 136 w 232"/>
                <a:gd name="T59" fmla="*/ 136 h 178"/>
                <a:gd name="T60" fmla="*/ 140 w 232"/>
                <a:gd name="T61" fmla="*/ 142 h 178"/>
                <a:gd name="T62" fmla="*/ 150 w 232"/>
                <a:gd name="T63" fmla="*/ 144 h 178"/>
                <a:gd name="T64" fmla="*/ 150 w 232"/>
                <a:gd name="T65" fmla="*/ 156 h 178"/>
                <a:gd name="T66" fmla="*/ 144 w 232"/>
                <a:gd name="T67" fmla="*/ 162 h 178"/>
                <a:gd name="T68" fmla="*/ 136 w 232"/>
                <a:gd name="T69" fmla="*/ 166 h 178"/>
                <a:gd name="T70" fmla="*/ 130 w 232"/>
                <a:gd name="T71" fmla="*/ 174 h 178"/>
                <a:gd name="T72" fmla="*/ 138 w 232"/>
                <a:gd name="T73" fmla="*/ 178 h 178"/>
                <a:gd name="T74" fmla="*/ 154 w 232"/>
                <a:gd name="T75" fmla="*/ 176 h 178"/>
                <a:gd name="T76" fmla="*/ 166 w 232"/>
                <a:gd name="T77" fmla="*/ 176 h 178"/>
                <a:gd name="T78" fmla="*/ 186 w 232"/>
                <a:gd name="T79" fmla="*/ 166 h 178"/>
                <a:gd name="T80" fmla="*/ 192 w 232"/>
                <a:gd name="T81" fmla="*/ 164 h 178"/>
                <a:gd name="T82" fmla="*/ 188 w 232"/>
                <a:gd name="T83" fmla="*/ 158 h 178"/>
                <a:gd name="T84" fmla="*/ 178 w 232"/>
                <a:gd name="T85" fmla="*/ 158 h 178"/>
                <a:gd name="T86" fmla="*/ 166 w 232"/>
                <a:gd name="T87" fmla="*/ 152 h 178"/>
                <a:gd name="T88" fmla="*/ 164 w 232"/>
                <a:gd name="T89" fmla="*/ 146 h 178"/>
                <a:gd name="T90" fmla="*/ 176 w 232"/>
                <a:gd name="T91" fmla="*/ 138 h 178"/>
                <a:gd name="T92" fmla="*/ 180 w 232"/>
                <a:gd name="T93" fmla="*/ 132 h 178"/>
                <a:gd name="T94" fmla="*/ 184 w 232"/>
                <a:gd name="T95" fmla="*/ 128 h 178"/>
                <a:gd name="T96" fmla="*/ 194 w 232"/>
                <a:gd name="T97" fmla="*/ 128 h 178"/>
                <a:gd name="T98" fmla="*/ 218 w 232"/>
                <a:gd name="T99" fmla="*/ 120 h 178"/>
                <a:gd name="T100" fmla="*/ 222 w 232"/>
                <a:gd name="T101" fmla="*/ 114 h 178"/>
                <a:gd name="T102" fmla="*/ 228 w 232"/>
                <a:gd name="T103" fmla="*/ 94 h 178"/>
                <a:gd name="T104" fmla="*/ 232 w 232"/>
                <a:gd name="T105" fmla="*/ 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2" h="178">
                  <a:moveTo>
                    <a:pt x="232" y="72"/>
                  </a:moveTo>
                  <a:lnTo>
                    <a:pt x="232" y="72"/>
                  </a:lnTo>
                  <a:lnTo>
                    <a:pt x="230" y="70"/>
                  </a:lnTo>
                  <a:lnTo>
                    <a:pt x="230" y="68"/>
                  </a:lnTo>
                  <a:lnTo>
                    <a:pt x="228" y="68"/>
                  </a:lnTo>
                  <a:lnTo>
                    <a:pt x="228" y="66"/>
                  </a:lnTo>
                  <a:lnTo>
                    <a:pt x="226" y="64"/>
                  </a:lnTo>
                  <a:lnTo>
                    <a:pt x="224" y="62"/>
                  </a:lnTo>
                  <a:lnTo>
                    <a:pt x="222" y="60"/>
                  </a:lnTo>
                  <a:lnTo>
                    <a:pt x="218" y="56"/>
                  </a:lnTo>
                  <a:lnTo>
                    <a:pt x="214" y="54"/>
                  </a:lnTo>
                  <a:lnTo>
                    <a:pt x="210" y="50"/>
                  </a:lnTo>
                  <a:lnTo>
                    <a:pt x="204" y="48"/>
                  </a:lnTo>
                  <a:lnTo>
                    <a:pt x="196" y="42"/>
                  </a:lnTo>
                  <a:lnTo>
                    <a:pt x="190" y="38"/>
                  </a:lnTo>
                  <a:lnTo>
                    <a:pt x="186" y="36"/>
                  </a:lnTo>
                  <a:lnTo>
                    <a:pt x="182" y="32"/>
                  </a:lnTo>
                  <a:lnTo>
                    <a:pt x="180" y="30"/>
                  </a:lnTo>
                  <a:lnTo>
                    <a:pt x="178" y="28"/>
                  </a:lnTo>
                  <a:lnTo>
                    <a:pt x="176" y="28"/>
                  </a:lnTo>
                  <a:lnTo>
                    <a:pt x="176" y="26"/>
                  </a:lnTo>
                  <a:lnTo>
                    <a:pt x="174" y="24"/>
                  </a:lnTo>
                  <a:lnTo>
                    <a:pt x="174" y="24"/>
                  </a:lnTo>
                  <a:lnTo>
                    <a:pt x="172" y="22"/>
                  </a:lnTo>
                  <a:lnTo>
                    <a:pt x="172" y="20"/>
                  </a:lnTo>
                  <a:lnTo>
                    <a:pt x="172" y="16"/>
                  </a:lnTo>
                  <a:lnTo>
                    <a:pt x="170" y="12"/>
                  </a:lnTo>
                  <a:lnTo>
                    <a:pt x="170" y="10"/>
                  </a:lnTo>
                  <a:lnTo>
                    <a:pt x="168" y="6"/>
                  </a:lnTo>
                  <a:lnTo>
                    <a:pt x="168" y="6"/>
                  </a:lnTo>
                  <a:lnTo>
                    <a:pt x="168" y="4"/>
                  </a:lnTo>
                  <a:lnTo>
                    <a:pt x="166" y="4"/>
                  </a:lnTo>
                  <a:lnTo>
                    <a:pt x="166" y="2"/>
                  </a:lnTo>
                  <a:lnTo>
                    <a:pt x="164" y="2"/>
                  </a:lnTo>
                  <a:lnTo>
                    <a:pt x="164" y="2"/>
                  </a:lnTo>
                  <a:lnTo>
                    <a:pt x="162" y="2"/>
                  </a:lnTo>
                  <a:lnTo>
                    <a:pt x="160" y="2"/>
                  </a:lnTo>
                  <a:lnTo>
                    <a:pt x="156" y="0"/>
                  </a:lnTo>
                  <a:lnTo>
                    <a:pt x="154" y="2"/>
                  </a:lnTo>
                  <a:lnTo>
                    <a:pt x="150" y="2"/>
                  </a:lnTo>
                  <a:lnTo>
                    <a:pt x="146" y="2"/>
                  </a:lnTo>
                  <a:lnTo>
                    <a:pt x="144" y="2"/>
                  </a:lnTo>
                  <a:lnTo>
                    <a:pt x="138" y="2"/>
                  </a:lnTo>
                  <a:lnTo>
                    <a:pt x="132" y="4"/>
                  </a:lnTo>
                  <a:lnTo>
                    <a:pt x="128" y="6"/>
                  </a:lnTo>
                  <a:lnTo>
                    <a:pt x="126" y="8"/>
                  </a:lnTo>
                  <a:lnTo>
                    <a:pt x="124" y="12"/>
                  </a:lnTo>
                  <a:lnTo>
                    <a:pt x="122" y="16"/>
                  </a:lnTo>
                  <a:lnTo>
                    <a:pt x="120" y="18"/>
                  </a:lnTo>
                  <a:lnTo>
                    <a:pt x="120" y="20"/>
                  </a:lnTo>
                  <a:lnTo>
                    <a:pt x="118" y="20"/>
                  </a:lnTo>
                  <a:lnTo>
                    <a:pt x="118" y="22"/>
                  </a:lnTo>
                  <a:lnTo>
                    <a:pt x="116" y="22"/>
                  </a:lnTo>
                  <a:lnTo>
                    <a:pt x="112" y="24"/>
                  </a:lnTo>
                  <a:lnTo>
                    <a:pt x="110" y="24"/>
                  </a:lnTo>
                  <a:lnTo>
                    <a:pt x="106" y="26"/>
                  </a:lnTo>
                  <a:lnTo>
                    <a:pt x="104" y="26"/>
                  </a:lnTo>
                  <a:lnTo>
                    <a:pt x="100" y="28"/>
                  </a:lnTo>
                  <a:lnTo>
                    <a:pt x="96" y="28"/>
                  </a:lnTo>
                  <a:lnTo>
                    <a:pt x="92" y="30"/>
                  </a:lnTo>
                  <a:lnTo>
                    <a:pt x="84" y="30"/>
                  </a:lnTo>
                  <a:lnTo>
                    <a:pt x="76" y="32"/>
                  </a:lnTo>
                  <a:lnTo>
                    <a:pt x="66" y="32"/>
                  </a:lnTo>
                  <a:lnTo>
                    <a:pt x="58" y="32"/>
                  </a:lnTo>
                  <a:lnTo>
                    <a:pt x="50" y="32"/>
                  </a:lnTo>
                  <a:lnTo>
                    <a:pt x="42" y="32"/>
                  </a:lnTo>
                  <a:lnTo>
                    <a:pt x="28" y="32"/>
                  </a:lnTo>
                  <a:lnTo>
                    <a:pt x="18" y="32"/>
                  </a:lnTo>
                  <a:lnTo>
                    <a:pt x="16" y="32"/>
                  </a:lnTo>
                  <a:lnTo>
                    <a:pt x="16" y="36"/>
                  </a:lnTo>
                  <a:lnTo>
                    <a:pt x="16" y="40"/>
                  </a:lnTo>
                  <a:lnTo>
                    <a:pt x="16" y="44"/>
                  </a:lnTo>
                  <a:lnTo>
                    <a:pt x="16" y="48"/>
                  </a:lnTo>
                  <a:lnTo>
                    <a:pt x="16" y="52"/>
                  </a:lnTo>
                  <a:lnTo>
                    <a:pt x="16" y="54"/>
                  </a:lnTo>
                  <a:lnTo>
                    <a:pt x="16" y="56"/>
                  </a:lnTo>
                  <a:lnTo>
                    <a:pt x="16" y="58"/>
                  </a:lnTo>
                  <a:lnTo>
                    <a:pt x="16" y="58"/>
                  </a:lnTo>
                  <a:lnTo>
                    <a:pt x="16" y="60"/>
                  </a:lnTo>
                  <a:lnTo>
                    <a:pt x="16" y="60"/>
                  </a:lnTo>
                  <a:lnTo>
                    <a:pt x="14" y="62"/>
                  </a:lnTo>
                  <a:lnTo>
                    <a:pt x="12" y="62"/>
                  </a:lnTo>
                  <a:lnTo>
                    <a:pt x="10" y="64"/>
                  </a:lnTo>
                  <a:lnTo>
                    <a:pt x="6" y="66"/>
                  </a:lnTo>
                  <a:lnTo>
                    <a:pt x="6" y="68"/>
                  </a:lnTo>
                  <a:lnTo>
                    <a:pt x="0" y="108"/>
                  </a:lnTo>
                  <a:lnTo>
                    <a:pt x="2" y="108"/>
                  </a:lnTo>
                  <a:lnTo>
                    <a:pt x="8" y="108"/>
                  </a:lnTo>
                  <a:lnTo>
                    <a:pt x="12" y="108"/>
                  </a:lnTo>
                  <a:lnTo>
                    <a:pt x="16" y="108"/>
                  </a:lnTo>
                  <a:lnTo>
                    <a:pt x="18" y="108"/>
                  </a:lnTo>
                  <a:lnTo>
                    <a:pt x="20" y="108"/>
                  </a:lnTo>
                  <a:lnTo>
                    <a:pt x="22" y="108"/>
                  </a:lnTo>
                  <a:lnTo>
                    <a:pt x="22" y="108"/>
                  </a:lnTo>
                  <a:lnTo>
                    <a:pt x="22" y="110"/>
                  </a:lnTo>
                  <a:lnTo>
                    <a:pt x="24" y="110"/>
                  </a:lnTo>
                  <a:lnTo>
                    <a:pt x="26" y="112"/>
                  </a:lnTo>
                  <a:lnTo>
                    <a:pt x="28" y="114"/>
                  </a:lnTo>
                  <a:lnTo>
                    <a:pt x="28" y="114"/>
                  </a:lnTo>
                  <a:lnTo>
                    <a:pt x="30" y="114"/>
                  </a:lnTo>
                  <a:lnTo>
                    <a:pt x="34" y="116"/>
                  </a:lnTo>
                  <a:lnTo>
                    <a:pt x="36" y="116"/>
                  </a:lnTo>
                  <a:lnTo>
                    <a:pt x="40" y="116"/>
                  </a:lnTo>
                  <a:lnTo>
                    <a:pt x="42" y="116"/>
                  </a:lnTo>
                  <a:lnTo>
                    <a:pt x="46" y="116"/>
                  </a:lnTo>
                  <a:lnTo>
                    <a:pt x="48" y="116"/>
                  </a:lnTo>
                  <a:lnTo>
                    <a:pt x="50" y="116"/>
                  </a:lnTo>
                  <a:lnTo>
                    <a:pt x="52" y="116"/>
                  </a:lnTo>
                  <a:lnTo>
                    <a:pt x="52" y="116"/>
                  </a:lnTo>
                  <a:lnTo>
                    <a:pt x="56" y="114"/>
                  </a:lnTo>
                  <a:lnTo>
                    <a:pt x="58" y="112"/>
                  </a:lnTo>
                  <a:lnTo>
                    <a:pt x="60" y="112"/>
                  </a:lnTo>
                  <a:lnTo>
                    <a:pt x="66" y="112"/>
                  </a:lnTo>
                  <a:lnTo>
                    <a:pt x="68" y="110"/>
                  </a:lnTo>
                  <a:lnTo>
                    <a:pt x="72" y="110"/>
                  </a:lnTo>
                  <a:lnTo>
                    <a:pt x="74" y="110"/>
                  </a:lnTo>
                  <a:lnTo>
                    <a:pt x="76" y="110"/>
                  </a:lnTo>
                  <a:lnTo>
                    <a:pt x="78" y="112"/>
                  </a:lnTo>
                  <a:lnTo>
                    <a:pt x="80" y="112"/>
                  </a:lnTo>
                  <a:lnTo>
                    <a:pt x="82" y="112"/>
                  </a:lnTo>
                  <a:lnTo>
                    <a:pt x="82" y="114"/>
                  </a:lnTo>
                  <a:lnTo>
                    <a:pt x="84" y="114"/>
                  </a:lnTo>
                  <a:lnTo>
                    <a:pt x="86" y="116"/>
                  </a:lnTo>
                  <a:lnTo>
                    <a:pt x="88" y="116"/>
                  </a:lnTo>
                  <a:lnTo>
                    <a:pt x="90" y="118"/>
                  </a:lnTo>
                  <a:lnTo>
                    <a:pt x="92" y="120"/>
                  </a:lnTo>
                  <a:lnTo>
                    <a:pt x="94" y="124"/>
                  </a:lnTo>
                  <a:lnTo>
                    <a:pt x="96" y="126"/>
                  </a:lnTo>
                  <a:lnTo>
                    <a:pt x="100" y="130"/>
                  </a:lnTo>
                  <a:lnTo>
                    <a:pt x="102" y="134"/>
                  </a:lnTo>
                  <a:lnTo>
                    <a:pt x="104" y="138"/>
                  </a:lnTo>
                  <a:lnTo>
                    <a:pt x="104" y="140"/>
                  </a:lnTo>
                  <a:lnTo>
                    <a:pt x="106" y="142"/>
                  </a:lnTo>
                  <a:lnTo>
                    <a:pt x="106" y="144"/>
                  </a:lnTo>
                  <a:lnTo>
                    <a:pt x="106" y="146"/>
                  </a:lnTo>
                  <a:lnTo>
                    <a:pt x="106" y="146"/>
                  </a:lnTo>
                  <a:lnTo>
                    <a:pt x="106" y="148"/>
                  </a:lnTo>
                  <a:lnTo>
                    <a:pt x="106" y="150"/>
                  </a:lnTo>
                  <a:lnTo>
                    <a:pt x="106" y="152"/>
                  </a:lnTo>
                  <a:lnTo>
                    <a:pt x="104" y="154"/>
                  </a:lnTo>
                  <a:lnTo>
                    <a:pt x="104" y="156"/>
                  </a:lnTo>
                  <a:lnTo>
                    <a:pt x="102" y="160"/>
                  </a:lnTo>
                  <a:lnTo>
                    <a:pt x="100" y="164"/>
                  </a:lnTo>
                  <a:lnTo>
                    <a:pt x="98" y="170"/>
                  </a:lnTo>
                  <a:lnTo>
                    <a:pt x="100" y="168"/>
                  </a:lnTo>
                  <a:lnTo>
                    <a:pt x="104" y="164"/>
                  </a:lnTo>
                  <a:lnTo>
                    <a:pt x="106" y="162"/>
                  </a:lnTo>
                  <a:lnTo>
                    <a:pt x="108" y="160"/>
                  </a:lnTo>
                  <a:lnTo>
                    <a:pt x="110" y="160"/>
                  </a:lnTo>
                  <a:lnTo>
                    <a:pt x="110" y="158"/>
                  </a:lnTo>
                  <a:lnTo>
                    <a:pt x="110" y="156"/>
                  </a:lnTo>
                  <a:lnTo>
                    <a:pt x="112" y="154"/>
                  </a:lnTo>
                  <a:lnTo>
                    <a:pt x="112" y="152"/>
                  </a:lnTo>
                  <a:lnTo>
                    <a:pt x="112" y="150"/>
                  </a:lnTo>
                  <a:lnTo>
                    <a:pt x="114" y="146"/>
                  </a:lnTo>
                  <a:lnTo>
                    <a:pt x="114" y="142"/>
                  </a:lnTo>
                  <a:lnTo>
                    <a:pt x="114" y="136"/>
                  </a:lnTo>
                  <a:lnTo>
                    <a:pt x="114" y="134"/>
                  </a:lnTo>
                  <a:lnTo>
                    <a:pt x="114" y="132"/>
                  </a:lnTo>
                  <a:lnTo>
                    <a:pt x="116" y="130"/>
                  </a:lnTo>
                  <a:lnTo>
                    <a:pt x="116" y="128"/>
                  </a:lnTo>
                  <a:lnTo>
                    <a:pt x="116" y="126"/>
                  </a:lnTo>
                  <a:lnTo>
                    <a:pt x="118" y="126"/>
                  </a:lnTo>
                  <a:lnTo>
                    <a:pt x="118" y="124"/>
                  </a:lnTo>
                  <a:lnTo>
                    <a:pt x="120" y="124"/>
                  </a:lnTo>
                  <a:lnTo>
                    <a:pt x="120" y="124"/>
                  </a:lnTo>
                  <a:lnTo>
                    <a:pt x="124" y="122"/>
                  </a:lnTo>
                  <a:lnTo>
                    <a:pt x="126" y="122"/>
                  </a:lnTo>
                  <a:lnTo>
                    <a:pt x="128" y="122"/>
                  </a:lnTo>
                  <a:lnTo>
                    <a:pt x="130" y="122"/>
                  </a:lnTo>
                  <a:lnTo>
                    <a:pt x="132" y="122"/>
                  </a:lnTo>
                  <a:lnTo>
                    <a:pt x="132" y="122"/>
                  </a:lnTo>
                  <a:lnTo>
                    <a:pt x="132" y="122"/>
                  </a:lnTo>
                  <a:lnTo>
                    <a:pt x="134" y="124"/>
                  </a:lnTo>
                  <a:lnTo>
                    <a:pt x="134" y="124"/>
                  </a:lnTo>
                  <a:lnTo>
                    <a:pt x="134" y="126"/>
                  </a:lnTo>
                  <a:lnTo>
                    <a:pt x="134" y="126"/>
                  </a:lnTo>
                  <a:lnTo>
                    <a:pt x="136" y="130"/>
                  </a:lnTo>
                  <a:lnTo>
                    <a:pt x="136" y="132"/>
                  </a:lnTo>
                  <a:lnTo>
                    <a:pt x="136" y="136"/>
                  </a:lnTo>
                  <a:lnTo>
                    <a:pt x="136" y="138"/>
                  </a:lnTo>
                  <a:lnTo>
                    <a:pt x="136" y="138"/>
                  </a:lnTo>
                  <a:lnTo>
                    <a:pt x="136" y="140"/>
                  </a:lnTo>
                  <a:lnTo>
                    <a:pt x="138" y="140"/>
                  </a:lnTo>
                  <a:lnTo>
                    <a:pt x="138" y="142"/>
                  </a:lnTo>
                  <a:lnTo>
                    <a:pt x="140" y="142"/>
                  </a:lnTo>
                  <a:lnTo>
                    <a:pt x="140" y="142"/>
                  </a:lnTo>
                  <a:lnTo>
                    <a:pt x="142" y="144"/>
                  </a:lnTo>
                  <a:lnTo>
                    <a:pt x="144" y="144"/>
                  </a:lnTo>
                  <a:lnTo>
                    <a:pt x="146" y="144"/>
                  </a:lnTo>
                  <a:lnTo>
                    <a:pt x="146" y="144"/>
                  </a:lnTo>
                  <a:lnTo>
                    <a:pt x="150" y="144"/>
                  </a:lnTo>
                  <a:lnTo>
                    <a:pt x="150" y="148"/>
                  </a:lnTo>
                  <a:lnTo>
                    <a:pt x="150" y="150"/>
                  </a:lnTo>
                  <a:lnTo>
                    <a:pt x="150" y="152"/>
                  </a:lnTo>
                  <a:lnTo>
                    <a:pt x="150" y="154"/>
                  </a:lnTo>
                  <a:lnTo>
                    <a:pt x="150" y="154"/>
                  </a:lnTo>
                  <a:lnTo>
                    <a:pt x="150" y="156"/>
                  </a:lnTo>
                  <a:lnTo>
                    <a:pt x="148" y="158"/>
                  </a:lnTo>
                  <a:lnTo>
                    <a:pt x="146" y="160"/>
                  </a:lnTo>
                  <a:lnTo>
                    <a:pt x="146" y="162"/>
                  </a:lnTo>
                  <a:lnTo>
                    <a:pt x="146" y="162"/>
                  </a:lnTo>
                  <a:lnTo>
                    <a:pt x="144" y="162"/>
                  </a:lnTo>
                  <a:lnTo>
                    <a:pt x="144" y="162"/>
                  </a:lnTo>
                  <a:lnTo>
                    <a:pt x="140" y="164"/>
                  </a:lnTo>
                  <a:lnTo>
                    <a:pt x="138" y="164"/>
                  </a:lnTo>
                  <a:lnTo>
                    <a:pt x="136" y="164"/>
                  </a:lnTo>
                  <a:lnTo>
                    <a:pt x="136" y="164"/>
                  </a:lnTo>
                  <a:lnTo>
                    <a:pt x="136" y="164"/>
                  </a:lnTo>
                  <a:lnTo>
                    <a:pt x="136" y="166"/>
                  </a:lnTo>
                  <a:lnTo>
                    <a:pt x="134" y="166"/>
                  </a:lnTo>
                  <a:lnTo>
                    <a:pt x="132" y="170"/>
                  </a:lnTo>
                  <a:lnTo>
                    <a:pt x="132" y="172"/>
                  </a:lnTo>
                  <a:lnTo>
                    <a:pt x="130" y="174"/>
                  </a:lnTo>
                  <a:lnTo>
                    <a:pt x="130" y="174"/>
                  </a:lnTo>
                  <a:lnTo>
                    <a:pt x="130" y="174"/>
                  </a:lnTo>
                  <a:lnTo>
                    <a:pt x="132" y="176"/>
                  </a:lnTo>
                  <a:lnTo>
                    <a:pt x="132" y="176"/>
                  </a:lnTo>
                  <a:lnTo>
                    <a:pt x="134" y="176"/>
                  </a:lnTo>
                  <a:lnTo>
                    <a:pt x="134" y="176"/>
                  </a:lnTo>
                  <a:lnTo>
                    <a:pt x="136" y="176"/>
                  </a:lnTo>
                  <a:lnTo>
                    <a:pt x="138" y="178"/>
                  </a:lnTo>
                  <a:lnTo>
                    <a:pt x="140" y="178"/>
                  </a:lnTo>
                  <a:lnTo>
                    <a:pt x="142" y="178"/>
                  </a:lnTo>
                  <a:lnTo>
                    <a:pt x="144" y="176"/>
                  </a:lnTo>
                  <a:lnTo>
                    <a:pt x="148" y="176"/>
                  </a:lnTo>
                  <a:lnTo>
                    <a:pt x="150" y="176"/>
                  </a:lnTo>
                  <a:lnTo>
                    <a:pt x="154" y="176"/>
                  </a:lnTo>
                  <a:lnTo>
                    <a:pt x="158" y="176"/>
                  </a:lnTo>
                  <a:lnTo>
                    <a:pt x="160" y="176"/>
                  </a:lnTo>
                  <a:lnTo>
                    <a:pt x="162" y="176"/>
                  </a:lnTo>
                  <a:lnTo>
                    <a:pt x="164" y="176"/>
                  </a:lnTo>
                  <a:lnTo>
                    <a:pt x="164" y="176"/>
                  </a:lnTo>
                  <a:lnTo>
                    <a:pt x="166" y="176"/>
                  </a:lnTo>
                  <a:lnTo>
                    <a:pt x="168" y="174"/>
                  </a:lnTo>
                  <a:lnTo>
                    <a:pt x="172" y="172"/>
                  </a:lnTo>
                  <a:lnTo>
                    <a:pt x="174" y="172"/>
                  </a:lnTo>
                  <a:lnTo>
                    <a:pt x="178" y="170"/>
                  </a:lnTo>
                  <a:lnTo>
                    <a:pt x="184" y="166"/>
                  </a:lnTo>
                  <a:lnTo>
                    <a:pt x="186" y="166"/>
                  </a:lnTo>
                  <a:lnTo>
                    <a:pt x="188" y="166"/>
                  </a:lnTo>
                  <a:lnTo>
                    <a:pt x="190" y="166"/>
                  </a:lnTo>
                  <a:lnTo>
                    <a:pt x="190" y="164"/>
                  </a:lnTo>
                  <a:lnTo>
                    <a:pt x="192" y="164"/>
                  </a:lnTo>
                  <a:lnTo>
                    <a:pt x="192" y="164"/>
                  </a:lnTo>
                  <a:lnTo>
                    <a:pt x="192" y="164"/>
                  </a:lnTo>
                  <a:lnTo>
                    <a:pt x="192" y="162"/>
                  </a:lnTo>
                  <a:lnTo>
                    <a:pt x="190" y="162"/>
                  </a:lnTo>
                  <a:lnTo>
                    <a:pt x="190" y="160"/>
                  </a:lnTo>
                  <a:lnTo>
                    <a:pt x="190" y="160"/>
                  </a:lnTo>
                  <a:lnTo>
                    <a:pt x="188" y="160"/>
                  </a:lnTo>
                  <a:lnTo>
                    <a:pt x="188" y="158"/>
                  </a:lnTo>
                  <a:lnTo>
                    <a:pt x="186" y="158"/>
                  </a:lnTo>
                  <a:lnTo>
                    <a:pt x="186" y="158"/>
                  </a:lnTo>
                  <a:lnTo>
                    <a:pt x="184" y="158"/>
                  </a:lnTo>
                  <a:lnTo>
                    <a:pt x="182" y="158"/>
                  </a:lnTo>
                  <a:lnTo>
                    <a:pt x="178" y="158"/>
                  </a:lnTo>
                  <a:lnTo>
                    <a:pt x="178" y="158"/>
                  </a:lnTo>
                  <a:lnTo>
                    <a:pt x="176" y="158"/>
                  </a:lnTo>
                  <a:lnTo>
                    <a:pt x="174" y="158"/>
                  </a:lnTo>
                  <a:lnTo>
                    <a:pt x="172" y="156"/>
                  </a:lnTo>
                  <a:lnTo>
                    <a:pt x="168" y="154"/>
                  </a:lnTo>
                  <a:lnTo>
                    <a:pt x="166" y="154"/>
                  </a:lnTo>
                  <a:lnTo>
                    <a:pt x="166" y="152"/>
                  </a:lnTo>
                  <a:lnTo>
                    <a:pt x="164" y="152"/>
                  </a:lnTo>
                  <a:lnTo>
                    <a:pt x="164" y="150"/>
                  </a:lnTo>
                  <a:lnTo>
                    <a:pt x="164" y="150"/>
                  </a:lnTo>
                  <a:lnTo>
                    <a:pt x="162" y="148"/>
                  </a:lnTo>
                  <a:lnTo>
                    <a:pt x="162" y="148"/>
                  </a:lnTo>
                  <a:lnTo>
                    <a:pt x="164" y="146"/>
                  </a:lnTo>
                  <a:lnTo>
                    <a:pt x="164" y="144"/>
                  </a:lnTo>
                  <a:lnTo>
                    <a:pt x="164" y="144"/>
                  </a:lnTo>
                  <a:lnTo>
                    <a:pt x="168" y="142"/>
                  </a:lnTo>
                  <a:lnTo>
                    <a:pt x="170" y="142"/>
                  </a:lnTo>
                  <a:lnTo>
                    <a:pt x="174" y="140"/>
                  </a:lnTo>
                  <a:lnTo>
                    <a:pt x="176" y="138"/>
                  </a:lnTo>
                  <a:lnTo>
                    <a:pt x="176" y="138"/>
                  </a:lnTo>
                  <a:lnTo>
                    <a:pt x="176" y="138"/>
                  </a:lnTo>
                  <a:lnTo>
                    <a:pt x="178" y="136"/>
                  </a:lnTo>
                  <a:lnTo>
                    <a:pt x="178" y="136"/>
                  </a:lnTo>
                  <a:lnTo>
                    <a:pt x="180" y="134"/>
                  </a:lnTo>
                  <a:lnTo>
                    <a:pt x="180" y="132"/>
                  </a:lnTo>
                  <a:lnTo>
                    <a:pt x="182" y="130"/>
                  </a:lnTo>
                  <a:lnTo>
                    <a:pt x="182" y="128"/>
                  </a:lnTo>
                  <a:lnTo>
                    <a:pt x="182" y="128"/>
                  </a:lnTo>
                  <a:lnTo>
                    <a:pt x="184" y="128"/>
                  </a:lnTo>
                  <a:lnTo>
                    <a:pt x="184" y="128"/>
                  </a:lnTo>
                  <a:lnTo>
                    <a:pt x="184" y="128"/>
                  </a:lnTo>
                  <a:lnTo>
                    <a:pt x="186" y="128"/>
                  </a:lnTo>
                  <a:lnTo>
                    <a:pt x="188" y="128"/>
                  </a:lnTo>
                  <a:lnTo>
                    <a:pt x="188" y="128"/>
                  </a:lnTo>
                  <a:lnTo>
                    <a:pt x="192" y="128"/>
                  </a:lnTo>
                  <a:lnTo>
                    <a:pt x="194" y="128"/>
                  </a:lnTo>
                  <a:lnTo>
                    <a:pt x="194" y="128"/>
                  </a:lnTo>
                  <a:lnTo>
                    <a:pt x="198" y="128"/>
                  </a:lnTo>
                  <a:lnTo>
                    <a:pt x="202" y="128"/>
                  </a:lnTo>
                  <a:lnTo>
                    <a:pt x="206" y="126"/>
                  </a:lnTo>
                  <a:lnTo>
                    <a:pt x="210" y="124"/>
                  </a:lnTo>
                  <a:lnTo>
                    <a:pt x="214" y="122"/>
                  </a:lnTo>
                  <a:lnTo>
                    <a:pt x="218" y="120"/>
                  </a:lnTo>
                  <a:lnTo>
                    <a:pt x="218" y="120"/>
                  </a:lnTo>
                  <a:lnTo>
                    <a:pt x="220" y="118"/>
                  </a:lnTo>
                  <a:lnTo>
                    <a:pt x="222" y="118"/>
                  </a:lnTo>
                  <a:lnTo>
                    <a:pt x="222" y="116"/>
                  </a:lnTo>
                  <a:lnTo>
                    <a:pt x="222" y="116"/>
                  </a:lnTo>
                  <a:lnTo>
                    <a:pt x="222" y="114"/>
                  </a:lnTo>
                  <a:lnTo>
                    <a:pt x="222" y="112"/>
                  </a:lnTo>
                  <a:lnTo>
                    <a:pt x="222" y="108"/>
                  </a:lnTo>
                  <a:lnTo>
                    <a:pt x="222" y="106"/>
                  </a:lnTo>
                  <a:lnTo>
                    <a:pt x="224" y="102"/>
                  </a:lnTo>
                  <a:lnTo>
                    <a:pt x="224" y="100"/>
                  </a:lnTo>
                  <a:lnTo>
                    <a:pt x="228" y="94"/>
                  </a:lnTo>
                  <a:lnTo>
                    <a:pt x="230" y="88"/>
                  </a:lnTo>
                  <a:lnTo>
                    <a:pt x="230" y="84"/>
                  </a:lnTo>
                  <a:lnTo>
                    <a:pt x="232" y="82"/>
                  </a:lnTo>
                  <a:lnTo>
                    <a:pt x="232" y="80"/>
                  </a:lnTo>
                  <a:lnTo>
                    <a:pt x="232" y="76"/>
                  </a:lnTo>
                  <a:lnTo>
                    <a:pt x="232" y="76"/>
                  </a:lnTo>
                  <a:lnTo>
                    <a:pt x="232" y="74"/>
                  </a:lnTo>
                  <a:lnTo>
                    <a:pt x="232" y="74"/>
                  </a:lnTo>
                  <a:lnTo>
                    <a:pt x="232"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2" name="Freeform 359"/>
            <p:cNvSpPr>
              <a:spLocks/>
            </p:cNvSpPr>
            <p:nvPr/>
          </p:nvSpPr>
          <p:spPr bwMode="auto">
            <a:xfrm>
              <a:off x="3863906" y="3818279"/>
              <a:ext cx="200921" cy="221706"/>
            </a:xfrm>
            <a:custGeom>
              <a:avLst/>
              <a:gdLst>
                <a:gd name="T0" fmla="*/ 116 w 116"/>
                <a:gd name="T1" fmla="*/ 6 h 128"/>
                <a:gd name="T2" fmla="*/ 116 w 116"/>
                <a:gd name="T3" fmla="*/ 2 h 128"/>
                <a:gd name="T4" fmla="*/ 114 w 116"/>
                <a:gd name="T5" fmla="*/ 0 h 128"/>
                <a:gd name="T6" fmla="*/ 108 w 116"/>
                <a:gd name="T7" fmla="*/ 2 h 128"/>
                <a:gd name="T8" fmla="*/ 66 w 116"/>
                <a:gd name="T9" fmla="*/ 6 h 128"/>
                <a:gd name="T10" fmla="*/ 64 w 116"/>
                <a:gd name="T11" fmla="*/ 10 h 128"/>
                <a:gd name="T12" fmla="*/ 60 w 116"/>
                <a:gd name="T13" fmla="*/ 10 h 128"/>
                <a:gd name="T14" fmla="*/ 52 w 116"/>
                <a:gd name="T15" fmla="*/ 8 h 128"/>
                <a:gd name="T16" fmla="*/ 46 w 116"/>
                <a:gd name="T17" fmla="*/ 8 h 128"/>
                <a:gd name="T18" fmla="*/ 44 w 116"/>
                <a:gd name="T19" fmla="*/ 10 h 128"/>
                <a:gd name="T20" fmla="*/ 44 w 116"/>
                <a:gd name="T21" fmla="*/ 22 h 128"/>
                <a:gd name="T22" fmla="*/ 42 w 116"/>
                <a:gd name="T23" fmla="*/ 28 h 128"/>
                <a:gd name="T24" fmla="*/ 36 w 116"/>
                <a:gd name="T25" fmla="*/ 36 h 128"/>
                <a:gd name="T26" fmla="*/ 26 w 116"/>
                <a:gd name="T27" fmla="*/ 40 h 128"/>
                <a:gd name="T28" fmla="*/ 20 w 116"/>
                <a:gd name="T29" fmla="*/ 44 h 128"/>
                <a:gd name="T30" fmla="*/ 18 w 116"/>
                <a:gd name="T31" fmla="*/ 50 h 128"/>
                <a:gd name="T32" fmla="*/ 18 w 116"/>
                <a:gd name="T33" fmla="*/ 56 h 128"/>
                <a:gd name="T34" fmla="*/ 20 w 116"/>
                <a:gd name="T35" fmla="*/ 66 h 128"/>
                <a:gd name="T36" fmla="*/ 18 w 116"/>
                <a:gd name="T37" fmla="*/ 70 h 128"/>
                <a:gd name="T38" fmla="*/ 14 w 116"/>
                <a:gd name="T39" fmla="*/ 70 h 128"/>
                <a:gd name="T40" fmla="*/ 10 w 116"/>
                <a:gd name="T41" fmla="*/ 72 h 128"/>
                <a:gd name="T42" fmla="*/ 10 w 116"/>
                <a:gd name="T43" fmla="*/ 74 h 128"/>
                <a:gd name="T44" fmla="*/ 12 w 116"/>
                <a:gd name="T45" fmla="*/ 80 h 128"/>
                <a:gd name="T46" fmla="*/ 12 w 116"/>
                <a:gd name="T47" fmla="*/ 82 h 128"/>
                <a:gd name="T48" fmla="*/ 6 w 116"/>
                <a:gd name="T49" fmla="*/ 86 h 128"/>
                <a:gd name="T50" fmla="*/ 4 w 116"/>
                <a:gd name="T51" fmla="*/ 92 h 128"/>
                <a:gd name="T52" fmla="*/ 0 w 116"/>
                <a:gd name="T53" fmla="*/ 104 h 128"/>
                <a:gd name="T54" fmla="*/ 2 w 116"/>
                <a:gd name="T55" fmla="*/ 122 h 128"/>
                <a:gd name="T56" fmla="*/ 10 w 116"/>
                <a:gd name="T57" fmla="*/ 126 h 128"/>
                <a:gd name="T58" fmla="*/ 28 w 116"/>
                <a:gd name="T59" fmla="*/ 128 h 128"/>
                <a:gd name="T60" fmla="*/ 40 w 116"/>
                <a:gd name="T61" fmla="*/ 128 h 128"/>
                <a:gd name="T62" fmla="*/ 42 w 116"/>
                <a:gd name="T63" fmla="*/ 126 h 128"/>
                <a:gd name="T64" fmla="*/ 44 w 116"/>
                <a:gd name="T65" fmla="*/ 122 h 128"/>
                <a:gd name="T66" fmla="*/ 42 w 116"/>
                <a:gd name="T67" fmla="*/ 108 h 128"/>
                <a:gd name="T68" fmla="*/ 44 w 116"/>
                <a:gd name="T69" fmla="*/ 100 h 128"/>
                <a:gd name="T70" fmla="*/ 48 w 116"/>
                <a:gd name="T71" fmla="*/ 92 h 128"/>
                <a:gd name="T72" fmla="*/ 54 w 116"/>
                <a:gd name="T73" fmla="*/ 86 h 128"/>
                <a:gd name="T74" fmla="*/ 58 w 116"/>
                <a:gd name="T75" fmla="*/ 86 h 128"/>
                <a:gd name="T76" fmla="*/ 66 w 116"/>
                <a:gd name="T77" fmla="*/ 90 h 128"/>
                <a:gd name="T78" fmla="*/ 68 w 116"/>
                <a:gd name="T79" fmla="*/ 90 h 128"/>
                <a:gd name="T80" fmla="*/ 70 w 116"/>
                <a:gd name="T81" fmla="*/ 86 h 128"/>
                <a:gd name="T82" fmla="*/ 72 w 116"/>
                <a:gd name="T83" fmla="*/ 80 h 128"/>
                <a:gd name="T84" fmla="*/ 68 w 116"/>
                <a:gd name="T85" fmla="*/ 66 h 128"/>
                <a:gd name="T86" fmla="*/ 66 w 116"/>
                <a:gd name="T87" fmla="*/ 48 h 128"/>
                <a:gd name="T88" fmla="*/ 66 w 116"/>
                <a:gd name="T89" fmla="*/ 42 h 128"/>
                <a:gd name="T90" fmla="*/ 70 w 116"/>
                <a:gd name="T91" fmla="*/ 40 h 128"/>
                <a:gd name="T92" fmla="*/ 76 w 116"/>
                <a:gd name="T93" fmla="*/ 38 h 128"/>
                <a:gd name="T94" fmla="*/ 90 w 116"/>
                <a:gd name="T95" fmla="*/ 38 h 128"/>
                <a:gd name="T96" fmla="*/ 100 w 116"/>
                <a:gd name="T97" fmla="*/ 38 h 128"/>
                <a:gd name="T98" fmla="*/ 104 w 116"/>
                <a:gd name="T99" fmla="*/ 38 h 128"/>
                <a:gd name="T100" fmla="*/ 108 w 116"/>
                <a:gd name="T101" fmla="*/ 32 h 128"/>
                <a:gd name="T102" fmla="*/ 114 w 116"/>
                <a:gd name="T10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 h="128">
                  <a:moveTo>
                    <a:pt x="116" y="8"/>
                  </a:moveTo>
                  <a:lnTo>
                    <a:pt x="116" y="8"/>
                  </a:lnTo>
                  <a:lnTo>
                    <a:pt x="116" y="8"/>
                  </a:lnTo>
                  <a:lnTo>
                    <a:pt x="116" y="6"/>
                  </a:lnTo>
                  <a:lnTo>
                    <a:pt x="116" y="4"/>
                  </a:lnTo>
                  <a:lnTo>
                    <a:pt x="116" y="4"/>
                  </a:lnTo>
                  <a:lnTo>
                    <a:pt x="116" y="2"/>
                  </a:lnTo>
                  <a:lnTo>
                    <a:pt x="116" y="2"/>
                  </a:lnTo>
                  <a:lnTo>
                    <a:pt x="116" y="2"/>
                  </a:lnTo>
                  <a:lnTo>
                    <a:pt x="116" y="0"/>
                  </a:lnTo>
                  <a:lnTo>
                    <a:pt x="116" y="0"/>
                  </a:lnTo>
                  <a:lnTo>
                    <a:pt x="114" y="0"/>
                  </a:lnTo>
                  <a:lnTo>
                    <a:pt x="112" y="0"/>
                  </a:lnTo>
                  <a:lnTo>
                    <a:pt x="112" y="0"/>
                  </a:lnTo>
                  <a:lnTo>
                    <a:pt x="108" y="2"/>
                  </a:lnTo>
                  <a:lnTo>
                    <a:pt x="108" y="2"/>
                  </a:lnTo>
                  <a:lnTo>
                    <a:pt x="106" y="2"/>
                  </a:lnTo>
                  <a:lnTo>
                    <a:pt x="68" y="2"/>
                  </a:lnTo>
                  <a:lnTo>
                    <a:pt x="68" y="2"/>
                  </a:lnTo>
                  <a:lnTo>
                    <a:pt x="66" y="6"/>
                  </a:lnTo>
                  <a:lnTo>
                    <a:pt x="66" y="6"/>
                  </a:lnTo>
                  <a:lnTo>
                    <a:pt x="64" y="8"/>
                  </a:lnTo>
                  <a:lnTo>
                    <a:pt x="64" y="10"/>
                  </a:lnTo>
                  <a:lnTo>
                    <a:pt x="64" y="10"/>
                  </a:lnTo>
                  <a:lnTo>
                    <a:pt x="62" y="10"/>
                  </a:lnTo>
                  <a:lnTo>
                    <a:pt x="62" y="10"/>
                  </a:lnTo>
                  <a:lnTo>
                    <a:pt x="62" y="10"/>
                  </a:lnTo>
                  <a:lnTo>
                    <a:pt x="60" y="10"/>
                  </a:lnTo>
                  <a:lnTo>
                    <a:pt x="60" y="10"/>
                  </a:lnTo>
                  <a:lnTo>
                    <a:pt x="56" y="10"/>
                  </a:lnTo>
                  <a:lnTo>
                    <a:pt x="54" y="8"/>
                  </a:lnTo>
                  <a:lnTo>
                    <a:pt x="52" y="8"/>
                  </a:lnTo>
                  <a:lnTo>
                    <a:pt x="48" y="8"/>
                  </a:lnTo>
                  <a:lnTo>
                    <a:pt x="48" y="8"/>
                  </a:lnTo>
                  <a:lnTo>
                    <a:pt x="46" y="8"/>
                  </a:lnTo>
                  <a:lnTo>
                    <a:pt x="46" y="8"/>
                  </a:lnTo>
                  <a:lnTo>
                    <a:pt x="46" y="8"/>
                  </a:lnTo>
                  <a:lnTo>
                    <a:pt x="44" y="8"/>
                  </a:lnTo>
                  <a:lnTo>
                    <a:pt x="44" y="10"/>
                  </a:lnTo>
                  <a:lnTo>
                    <a:pt x="44" y="10"/>
                  </a:lnTo>
                  <a:lnTo>
                    <a:pt x="44" y="12"/>
                  </a:lnTo>
                  <a:lnTo>
                    <a:pt x="44" y="14"/>
                  </a:lnTo>
                  <a:lnTo>
                    <a:pt x="44" y="16"/>
                  </a:lnTo>
                  <a:lnTo>
                    <a:pt x="44" y="22"/>
                  </a:lnTo>
                  <a:lnTo>
                    <a:pt x="44" y="24"/>
                  </a:lnTo>
                  <a:lnTo>
                    <a:pt x="42" y="26"/>
                  </a:lnTo>
                  <a:lnTo>
                    <a:pt x="42" y="26"/>
                  </a:lnTo>
                  <a:lnTo>
                    <a:pt x="42" y="28"/>
                  </a:lnTo>
                  <a:lnTo>
                    <a:pt x="40" y="32"/>
                  </a:lnTo>
                  <a:lnTo>
                    <a:pt x="38" y="34"/>
                  </a:lnTo>
                  <a:lnTo>
                    <a:pt x="38" y="36"/>
                  </a:lnTo>
                  <a:lnTo>
                    <a:pt x="36" y="36"/>
                  </a:lnTo>
                  <a:lnTo>
                    <a:pt x="36" y="38"/>
                  </a:lnTo>
                  <a:lnTo>
                    <a:pt x="34" y="38"/>
                  </a:lnTo>
                  <a:lnTo>
                    <a:pt x="30" y="40"/>
                  </a:lnTo>
                  <a:lnTo>
                    <a:pt x="26" y="40"/>
                  </a:lnTo>
                  <a:lnTo>
                    <a:pt x="24" y="40"/>
                  </a:lnTo>
                  <a:lnTo>
                    <a:pt x="24" y="42"/>
                  </a:lnTo>
                  <a:lnTo>
                    <a:pt x="22" y="42"/>
                  </a:lnTo>
                  <a:lnTo>
                    <a:pt x="20" y="44"/>
                  </a:lnTo>
                  <a:lnTo>
                    <a:pt x="18" y="46"/>
                  </a:lnTo>
                  <a:lnTo>
                    <a:pt x="18" y="48"/>
                  </a:lnTo>
                  <a:lnTo>
                    <a:pt x="18" y="48"/>
                  </a:lnTo>
                  <a:lnTo>
                    <a:pt x="18" y="50"/>
                  </a:lnTo>
                  <a:lnTo>
                    <a:pt x="18" y="50"/>
                  </a:lnTo>
                  <a:lnTo>
                    <a:pt x="18" y="52"/>
                  </a:lnTo>
                  <a:lnTo>
                    <a:pt x="18" y="52"/>
                  </a:lnTo>
                  <a:lnTo>
                    <a:pt x="18" y="56"/>
                  </a:lnTo>
                  <a:lnTo>
                    <a:pt x="18" y="60"/>
                  </a:lnTo>
                  <a:lnTo>
                    <a:pt x="18" y="62"/>
                  </a:lnTo>
                  <a:lnTo>
                    <a:pt x="20" y="66"/>
                  </a:lnTo>
                  <a:lnTo>
                    <a:pt x="20" y="66"/>
                  </a:lnTo>
                  <a:lnTo>
                    <a:pt x="20" y="68"/>
                  </a:lnTo>
                  <a:lnTo>
                    <a:pt x="18" y="68"/>
                  </a:lnTo>
                  <a:lnTo>
                    <a:pt x="18" y="70"/>
                  </a:lnTo>
                  <a:lnTo>
                    <a:pt x="18" y="70"/>
                  </a:lnTo>
                  <a:lnTo>
                    <a:pt x="18" y="70"/>
                  </a:lnTo>
                  <a:lnTo>
                    <a:pt x="16" y="70"/>
                  </a:lnTo>
                  <a:lnTo>
                    <a:pt x="16" y="70"/>
                  </a:lnTo>
                  <a:lnTo>
                    <a:pt x="14" y="70"/>
                  </a:lnTo>
                  <a:lnTo>
                    <a:pt x="12" y="70"/>
                  </a:lnTo>
                  <a:lnTo>
                    <a:pt x="12" y="72"/>
                  </a:lnTo>
                  <a:lnTo>
                    <a:pt x="10" y="72"/>
                  </a:lnTo>
                  <a:lnTo>
                    <a:pt x="10" y="72"/>
                  </a:lnTo>
                  <a:lnTo>
                    <a:pt x="10" y="72"/>
                  </a:lnTo>
                  <a:lnTo>
                    <a:pt x="10" y="72"/>
                  </a:lnTo>
                  <a:lnTo>
                    <a:pt x="10" y="72"/>
                  </a:lnTo>
                  <a:lnTo>
                    <a:pt x="10" y="74"/>
                  </a:lnTo>
                  <a:lnTo>
                    <a:pt x="10" y="76"/>
                  </a:lnTo>
                  <a:lnTo>
                    <a:pt x="10" y="76"/>
                  </a:lnTo>
                  <a:lnTo>
                    <a:pt x="12" y="78"/>
                  </a:lnTo>
                  <a:lnTo>
                    <a:pt x="12" y="80"/>
                  </a:lnTo>
                  <a:lnTo>
                    <a:pt x="12" y="82"/>
                  </a:lnTo>
                  <a:lnTo>
                    <a:pt x="12" y="82"/>
                  </a:lnTo>
                  <a:lnTo>
                    <a:pt x="12" y="82"/>
                  </a:lnTo>
                  <a:lnTo>
                    <a:pt x="12" y="82"/>
                  </a:lnTo>
                  <a:lnTo>
                    <a:pt x="12" y="84"/>
                  </a:lnTo>
                  <a:lnTo>
                    <a:pt x="10" y="84"/>
                  </a:lnTo>
                  <a:lnTo>
                    <a:pt x="8" y="86"/>
                  </a:lnTo>
                  <a:lnTo>
                    <a:pt x="6" y="86"/>
                  </a:lnTo>
                  <a:lnTo>
                    <a:pt x="6" y="88"/>
                  </a:lnTo>
                  <a:lnTo>
                    <a:pt x="6" y="88"/>
                  </a:lnTo>
                  <a:lnTo>
                    <a:pt x="4" y="90"/>
                  </a:lnTo>
                  <a:lnTo>
                    <a:pt x="4" y="92"/>
                  </a:lnTo>
                  <a:lnTo>
                    <a:pt x="2" y="94"/>
                  </a:lnTo>
                  <a:lnTo>
                    <a:pt x="2" y="98"/>
                  </a:lnTo>
                  <a:lnTo>
                    <a:pt x="0" y="102"/>
                  </a:lnTo>
                  <a:lnTo>
                    <a:pt x="0" y="104"/>
                  </a:lnTo>
                  <a:lnTo>
                    <a:pt x="0" y="108"/>
                  </a:lnTo>
                  <a:lnTo>
                    <a:pt x="2" y="114"/>
                  </a:lnTo>
                  <a:lnTo>
                    <a:pt x="2" y="120"/>
                  </a:lnTo>
                  <a:lnTo>
                    <a:pt x="2" y="122"/>
                  </a:lnTo>
                  <a:lnTo>
                    <a:pt x="4" y="124"/>
                  </a:lnTo>
                  <a:lnTo>
                    <a:pt x="6" y="124"/>
                  </a:lnTo>
                  <a:lnTo>
                    <a:pt x="8" y="126"/>
                  </a:lnTo>
                  <a:lnTo>
                    <a:pt x="10" y="126"/>
                  </a:lnTo>
                  <a:lnTo>
                    <a:pt x="12" y="126"/>
                  </a:lnTo>
                  <a:lnTo>
                    <a:pt x="18" y="126"/>
                  </a:lnTo>
                  <a:lnTo>
                    <a:pt x="24" y="128"/>
                  </a:lnTo>
                  <a:lnTo>
                    <a:pt x="28" y="128"/>
                  </a:lnTo>
                  <a:lnTo>
                    <a:pt x="32" y="128"/>
                  </a:lnTo>
                  <a:lnTo>
                    <a:pt x="36" y="128"/>
                  </a:lnTo>
                  <a:lnTo>
                    <a:pt x="38" y="128"/>
                  </a:lnTo>
                  <a:lnTo>
                    <a:pt x="40" y="128"/>
                  </a:lnTo>
                  <a:lnTo>
                    <a:pt x="40" y="128"/>
                  </a:lnTo>
                  <a:lnTo>
                    <a:pt x="40" y="128"/>
                  </a:lnTo>
                  <a:lnTo>
                    <a:pt x="42" y="128"/>
                  </a:lnTo>
                  <a:lnTo>
                    <a:pt x="42" y="126"/>
                  </a:lnTo>
                  <a:lnTo>
                    <a:pt x="42" y="126"/>
                  </a:lnTo>
                  <a:lnTo>
                    <a:pt x="42" y="124"/>
                  </a:lnTo>
                  <a:lnTo>
                    <a:pt x="44" y="124"/>
                  </a:lnTo>
                  <a:lnTo>
                    <a:pt x="44" y="122"/>
                  </a:lnTo>
                  <a:lnTo>
                    <a:pt x="44" y="120"/>
                  </a:lnTo>
                  <a:lnTo>
                    <a:pt x="44" y="118"/>
                  </a:lnTo>
                  <a:lnTo>
                    <a:pt x="42" y="112"/>
                  </a:lnTo>
                  <a:lnTo>
                    <a:pt x="42" y="108"/>
                  </a:lnTo>
                  <a:lnTo>
                    <a:pt x="42" y="108"/>
                  </a:lnTo>
                  <a:lnTo>
                    <a:pt x="42" y="106"/>
                  </a:lnTo>
                  <a:lnTo>
                    <a:pt x="44" y="104"/>
                  </a:lnTo>
                  <a:lnTo>
                    <a:pt x="44" y="100"/>
                  </a:lnTo>
                  <a:lnTo>
                    <a:pt x="46" y="96"/>
                  </a:lnTo>
                  <a:lnTo>
                    <a:pt x="46" y="94"/>
                  </a:lnTo>
                  <a:lnTo>
                    <a:pt x="46" y="94"/>
                  </a:lnTo>
                  <a:lnTo>
                    <a:pt x="48" y="92"/>
                  </a:lnTo>
                  <a:lnTo>
                    <a:pt x="50" y="88"/>
                  </a:lnTo>
                  <a:lnTo>
                    <a:pt x="52" y="88"/>
                  </a:lnTo>
                  <a:lnTo>
                    <a:pt x="54" y="88"/>
                  </a:lnTo>
                  <a:lnTo>
                    <a:pt x="54" y="86"/>
                  </a:lnTo>
                  <a:lnTo>
                    <a:pt x="56" y="86"/>
                  </a:lnTo>
                  <a:lnTo>
                    <a:pt x="56" y="86"/>
                  </a:lnTo>
                  <a:lnTo>
                    <a:pt x="56" y="86"/>
                  </a:lnTo>
                  <a:lnTo>
                    <a:pt x="58" y="86"/>
                  </a:lnTo>
                  <a:lnTo>
                    <a:pt x="60" y="88"/>
                  </a:lnTo>
                  <a:lnTo>
                    <a:pt x="62" y="88"/>
                  </a:lnTo>
                  <a:lnTo>
                    <a:pt x="64" y="90"/>
                  </a:lnTo>
                  <a:lnTo>
                    <a:pt x="66" y="90"/>
                  </a:lnTo>
                  <a:lnTo>
                    <a:pt x="66" y="90"/>
                  </a:lnTo>
                  <a:lnTo>
                    <a:pt x="66" y="90"/>
                  </a:lnTo>
                  <a:lnTo>
                    <a:pt x="68" y="90"/>
                  </a:lnTo>
                  <a:lnTo>
                    <a:pt x="68" y="90"/>
                  </a:lnTo>
                  <a:lnTo>
                    <a:pt x="68" y="88"/>
                  </a:lnTo>
                  <a:lnTo>
                    <a:pt x="70" y="88"/>
                  </a:lnTo>
                  <a:lnTo>
                    <a:pt x="70" y="88"/>
                  </a:lnTo>
                  <a:lnTo>
                    <a:pt x="70" y="86"/>
                  </a:lnTo>
                  <a:lnTo>
                    <a:pt x="70" y="84"/>
                  </a:lnTo>
                  <a:lnTo>
                    <a:pt x="70" y="84"/>
                  </a:lnTo>
                  <a:lnTo>
                    <a:pt x="72" y="82"/>
                  </a:lnTo>
                  <a:lnTo>
                    <a:pt x="72" y="80"/>
                  </a:lnTo>
                  <a:lnTo>
                    <a:pt x="70" y="76"/>
                  </a:lnTo>
                  <a:lnTo>
                    <a:pt x="70" y="74"/>
                  </a:lnTo>
                  <a:lnTo>
                    <a:pt x="70" y="70"/>
                  </a:lnTo>
                  <a:lnTo>
                    <a:pt x="68" y="66"/>
                  </a:lnTo>
                  <a:lnTo>
                    <a:pt x="66" y="58"/>
                  </a:lnTo>
                  <a:lnTo>
                    <a:pt x="66" y="54"/>
                  </a:lnTo>
                  <a:lnTo>
                    <a:pt x="66" y="50"/>
                  </a:lnTo>
                  <a:lnTo>
                    <a:pt x="66" y="48"/>
                  </a:lnTo>
                  <a:lnTo>
                    <a:pt x="66" y="46"/>
                  </a:lnTo>
                  <a:lnTo>
                    <a:pt x="66" y="44"/>
                  </a:lnTo>
                  <a:lnTo>
                    <a:pt x="66" y="44"/>
                  </a:lnTo>
                  <a:lnTo>
                    <a:pt x="66" y="42"/>
                  </a:lnTo>
                  <a:lnTo>
                    <a:pt x="68" y="42"/>
                  </a:lnTo>
                  <a:lnTo>
                    <a:pt x="68" y="40"/>
                  </a:lnTo>
                  <a:lnTo>
                    <a:pt x="68" y="40"/>
                  </a:lnTo>
                  <a:lnTo>
                    <a:pt x="70" y="40"/>
                  </a:lnTo>
                  <a:lnTo>
                    <a:pt x="70" y="38"/>
                  </a:lnTo>
                  <a:lnTo>
                    <a:pt x="70" y="38"/>
                  </a:lnTo>
                  <a:lnTo>
                    <a:pt x="72" y="38"/>
                  </a:lnTo>
                  <a:lnTo>
                    <a:pt x="76" y="38"/>
                  </a:lnTo>
                  <a:lnTo>
                    <a:pt x="78" y="38"/>
                  </a:lnTo>
                  <a:lnTo>
                    <a:pt x="80" y="38"/>
                  </a:lnTo>
                  <a:lnTo>
                    <a:pt x="86" y="38"/>
                  </a:lnTo>
                  <a:lnTo>
                    <a:pt x="90" y="38"/>
                  </a:lnTo>
                  <a:lnTo>
                    <a:pt x="94" y="40"/>
                  </a:lnTo>
                  <a:lnTo>
                    <a:pt x="96" y="40"/>
                  </a:lnTo>
                  <a:lnTo>
                    <a:pt x="98" y="40"/>
                  </a:lnTo>
                  <a:lnTo>
                    <a:pt x="100" y="38"/>
                  </a:lnTo>
                  <a:lnTo>
                    <a:pt x="102" y="38"/>
                  </a:lnTo>
                  <a:lnTo>
                    <a:pt x="102" y="38"/>
                  </a:lnTo>
                  <a:lnTo>
                    <a:pt x="104" y="38"/>
                  </a:lnTo>
                  <a:lnTo>
                    <a:pt x="104" y="38"/>
                  </a:lnTo>
                  <a:lnTo>
                    <a:pt x="106" y="36"/>
                  </a:lnTo>
                  <a:lnTo>
                    <a:pt x="106" y="36"/>
                  </a:lnTo>
                  <a:lnTo>
                    <a:pt x="108" y="34"/>
                  </a:lnTo>
                  <a:lnTo>
                    <a:pt x="108" y="32"/>
                  </a:lnTo>
                  <a:lnTo>
                    <a:pt x="110" y="28"/>
                  </a:lnTo>
                  <a:lnTo>
                    <a:pt x="110" y="26"/>
                  </a:lnTo>
                  <a:lnTo>
                    <a:pt x="112" y="24"/>
                  </a:lnTo>
                  <a:lnTo>
                    <a:pt x="114" y="16"/>
                  </a:lnTo>
                  <a:lnTo>
                    <a:pt x="114" y="12"/>
                  </a:lnTo>
                  <a:lnTo>
                    <a:pt x="11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3" name="Freeform 360"/>
            <p:cNvSpPr>
              <a:spLocks/>
            </p:cNvSpPr>
            <p:nvPr/>
          </p:nvSpPr>
          <p:spPr bwMode="auto">
            <a:xfrm>
              <a:off x="3863906" y="3818279"/>
              <a:ext cx="200921" cy="221706"/>
            </a:xfrm>
            <a:custGeom>
              <a:avLst/>
              <a:gdLst>
                <a:gd name="T0" fmla="*/ 116 w 116"/>
                <a:gd name="T1" fmla="*/ 6 h 128"/>
                <a:gd name="T2" fmla="*/ 116 w 116"/>
                <a:gd name="T3" fmla="*/ 2 h 128"/>
                <a:gd name="T4" fmla="*/ 114 w 116"/>
                <a:gd name="T5" fmla="*/ 0 h 128"/>
                <a:gd name="T6" fmla="*/ 108 w 116"/>
                <a:gd name="T7" fmla="*/ 2 h 128"/>
                <a:gd name="T8" fmla="*/ 66 w 116"/>
                <a:gd name="T9" fmla="*/ 6 h 128"/>
                <a:gd name="T10" fmla="*/ 64 w 116"/>
                <a:gd name="T11" fmla="*/ 10 h 128"/>
                <a:gd name="T12" fmla="*/ 60 w 116"/>
                <a:gd name="T13" fmla="*/ 10 h 128"/>
                <a:gd name="T14" fmla="*/ 52 w 116"/>
                <a:gd name="T15" fmla="*/ 8 h 128"/>
                <a:gd name="T16" fmla="*/ 46 w 116"/>
                <a:gd name="T17" fmla="*/ 8 h 128"/>
                <a:gd name="T18" fmla="*/ 44 w 116"/>
                <a:gd name="T19" fmla="*/ 10 h 128"/>
                <a:gd name="T20" fmla="*/ 44 w 116"/>
                <a:gd name="T21" fmla="*/ 22 h 128"/>
                <a:gd name="T22" fmla="*/ 42 w 116"/>
                <a:gd name="T23" fmla="*/ 28 h 128"/>
                <a:gd name="T24" fmla="*/ 36 w 116"/>
                <a:gd name="T25" fmla="*/ 36 h 128"/>
                <a:gd name="T26" fmla="*/ 26 w 116"/>
                <a:gd name="T27" fmla="*/ 40 h 128"/>
                <a:gd name="T28" fmla="*/ 20 w 116"/>
                <a:gd name="T29" fmla="*/ 44 h 128"/>
                <a:gd name="T30" fmla="*/ 18 w 116"/>
                <a:gd name="T31" fmla="*/ 50 h 128"/>
                <a:gd name="T32" fmla="*/ 18 w 116"/>
                <a:gd name="T33" fmla="*/ 56 h 128"/>
                <a:gd name="T34" fmla="*/ 20 w 116"/>
                <a:gd name="T35" fmla="*/ 66 h 128"/>
                <a:gd name="T36" fmla="*/ 18 w 116"/>
                <a:gd name="T37" fmla="*/ 70 h 128"/>
                <a:gd name="T38" fmla="*/ 14 w 116"/>
                <a:gd name="T39" fmla="*/ 70 h 128"/>
                <a:gd name="T40" fmla="*/ 10 w 116"/>
                <a:gd name="T41" fmla="*/ 72 h 128"/>
                <a:gd name="T42" fmla="*/ 10 w 116"/>
                <a:gd name="T43" fmla="*/ 74 h 128"/>
                <a:gd name="T44" fmla="*/ 12 w 116"/>
                <a:gd name="T45" fmla="*/ 80 h 128"/>
                <a:gd name="T46" fmla="*/ 12 w 116"/>
                <a:gd name="T47" fmla="*/ 82 h 128"/>
                <a:gd name="T48" fmla="*/ 6 w 116"/>
                <a:gd name="T49" fmla="*/ 86 h 128"/>
                <a:gd name="T50" fmla="*/ 4 w 116"/>
                <a:gd name="T51" fmla="*/ 92 h 128"/>
                <a:gd name="T52" fmla="*/ 0 w 116"/>
                <a:gd name="T53" fmla="*/ 104 h 128"/>
                <a:gd name="T54" fmla="*/ 2 w 116"/>
                <a:gd name="T55" fmla="*/ 122 h 128"/>
                <a:gd name="T56" fmla="*/ 10 w 116"/>
                <a:gd name="T57" fmla="*/ 126 h 128"/>
                <a:gd name="T58" fmla="*/ 28 w 116"/>
                <a:gd name="T59" fmla="*/ 128 h 128"/>
                <a:gd name="T60" fmla="*/ 40 w 116"/>
                <a:gd name="T61" fmla="*/ 128 h 128"/>
                <a:gd name="T62" fmla="*/ 42 w 116"/>
                <a:gd name="T63" fmla="*/ 126 h 128"/>
                <a:gd name="T64" fmla="*/ 44 w 116"/>
                <a:gd name="T65" fmla="*/ 122 h 128"/>
                <a:gd name="T66" fmla="*/ 42 w 116"/>
                <a:gd name="T67" fmla="*/ 108 h 128"/>
                <a:gd name="T68" fmla="*/ 44 w 116"/>
                <a:gd name="T69" fmla="*/ 100 h 128"/>
                <a:gd name="T70" fmla="*/ 48 w 116"/>
                <a:gd name="T71" fmla="*/ 92 h 128"/>
                <a:gd name="T72" fmla="*/ 54 w 116"/>
                <a:gd name="T73" fmla="*/ 86 h 128"/>
                <a:gd name="T74" fmla="*/ 58 w 116"/>
                <a:gd name="T75" fmla="*/ 86 h 128"/>
                <a:gd name="T76" fmla="*/ 66 w 116"/>
                <a:gd name="T77" fmla="*/ 90 h 128"/>
                <a:gd name="T78" fmla="*/ 68 w 116"/>
                <a:gd name="T79" fmla="*/ 90 h 128"/>
                <a:gd name="T80" fmla="*/ 70 w 116"/>
                <a:gd name="T81" fmla="*/ 86 h 128"/>
                <a:gd name="T82" fmla="*/ 72 w 116"/>
                <a:gd name="T83" fmla="*/ 80 h 128"/>
                <a:gd name="T84" fmla="*/ 68 w 116"/>
                <a:gd name="T85" fmla="*/ 66 h 128"/>
                <a:gd name="T86" fmla="*/ 66 w 116"/>
                <a:gd name="T87" fmla="*/ 48 h 128"/>
                <a:gd name="T88" fmla="*/ 66 w 116"/>
                <a:gd name="T89" fmla="*/ 42 h 128"/>
                <a:gd name="T90" fmla="*/ 70 w 116"/>
                <a:gd name="T91" fmla="*/ 40 h 128"/>
                <a:gd name="T92" fmla="*/ 76 w 116"/>
                <a:gd name="T93" fmla="*/ 38 h 128"/>
                <a:gd name="T94" fmla="*/ 90 w 116"/>
                <a:gd name="T95" fmla="*/ 38 h 128"/>
                <a:gd name="T96" fmla="*/ 100 w 116"/>
                <a:gd name="T97" fmla="*/ 38 h 128"/>
                <a:gd name="T98" fmla="*/ 104 w 116"/>
                <a:gd name="T99" fmla="*/ 38 h 128"/>
                <a:gd name="T100" fmla="*/ 108 w 116"/>
                <a:gd name="T101" fmla="*/ 32 h 128"/>
                <a:gd name="T102" fmla="*/ 114 w 116"/>
                <a:gd name="T10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 h="128">
                  <a:moveTo>
                    <a:pt x="116" y="8"/>
                  </a:moveTo>
                  <a:lnTo>
                    <a:pt x="116" y="8"/>
                  </a:lnTo>
                  <a:lnTo>
                    <a:pt x="116" y="8"/>
                  </a:lnTo>
                  <a:lnTo>
                    <a:pt x="116" y="6"/>
                  </a:lnTo>
                  <a:lnTo>
                    <a:pt x="116" y="4"/>
                  </a:lnTo>
                  <a:lnTo>
                    <a:pt x="116" y="4"/>
                  </a:lnTo>
                  <a:lnTo>
                    <a:pt x="116" y="2"/>
                  </a:lnTo>
                  <a:lnTo>
                    <a:pt x="116" y="2"/>
                  </a:lnTo>
                  <a:lnTo>
                    <a:pt x="116" y="2"/>
                  </a:lnTo>
                  <a:lnTo>
                    <a:pt x="116" y="0"/>
                  </a:lnTo>
                  <a:lnTo>
                    <a:pt x="116" y="0"/>
                  </a:lnTo>
                  <a:lnTo>
                    <a:pt x="114" y="0"/>
                  </a:lnTo>
                  <a:lnTo>
                    <a:pt x="112" y="0"/>
                  </a:lnTo>
                  <a:lnTo>
                    <a:pt x="112" y="0"/>
                  </a:lnTo>
                  <a:lnTo>
                    <a:pt x="108" y="2"/>
                  </a:lnTo>
                  <a:lnTo>
                    <a:pt x="108" y="2"/>
                  </a:lnTo>
                  <a:lnTo>
                    <a:pt x="106" y="2"/>
                  </a:lnTo>
                  <a:lnTo>
                    <a:pt x="68" y="2"/>
                  </a:lnTo>
                  <a:lnTo>
                    <a:pt x="68" y="2"/>
                  </a:lnTo>
                  <a:lnTo>
                    <a:pt x="66" y="6"/>
                  </a:lnTo>
                  <a:lnTo>
                    <a:pt x="66" y="6"/>
                  </a:lnTo>
                  <a:lnTo>
                    <a:pt x="64" y="8"/>
                  </a:lnTo>
                  <a:lnTo>
                    <a:pt x="64" y="10"/>
                  </a:lnTo>
                  <a:lnTo>
                    <a:pt x="64" y="10"/>
                  </a:lnTo>
                  <a:lnTo>
                    <a:pt x="62" y="10"/>
                  </a:lnTo>
                  <a:lnTo>
                    <a:pt x="62" y="10"/>
                  </a:lnTo>
                  <a:lnTo>
                    <a:pt x="62" y="10"/>
                  </a:lnTo>
                  <a:lnTo>
                    <a:pt x="60" y="10"/>
                  </a:lnTo>
                  <a:lnTo>
                    <a:pt x="60" y="10"/>
                  </a:lnTo>
                  <a:lnTo>
                    <a:pt x="56" y="10"/>
                  </a:lnTo>
                  <a:lnTo>
                    <a:pt x="54" y="8"/>
                  </a:lnTo>
                  <a:lnTo>
                    <a:pt x="52" y="8"/>
                  </a:lnTo>
                  <a:lnTo>
                    <a:pt x="48" y="8"/>
                  </a:lnTo>
                  <a:lnTo>
                    <a:pt x="48" y="8"/>
                  </a:lnTo>
                  <a:lnTo>
                    <a:pt x="46" y="8"/>
                  </a:lnTo>
                  <a:lnTo>
                    <a:pt x="46" y="8"/>
                  </a:lnTo>
                  <a:lnTo>
                    <a:pt x="46" y="8"/>
                  </a:lnTo>
                  <a:lnTo>
                    <a:pt x="44" y="8"/>
                  </a:lnTo>
                  <a:lnTo>
                    <a:pt x="44" y="10"/>
                  </a:lnTo>
                  <a:lnTo>
                    <a:pt x="44" y="10"/>
                  </a:lnTo>
                  <a:lnTo>
                    <a:pt x="44" y="12"/>
                  </a:lnTo>
                  <a:lnTo>
                    <a:pt x="44" y="14"/>
                  </a:lnTo>
                  <a:lnTo>
                    <a:pt x="44" y="16"/>
                  </a:lnTo>
                  <a:lnTo>
                    <a:pt x="44" y="22"/>
                  </a:lnTo>
                  <a:lnTo>
                    <a:pt x="44" y="24"/>
                  </a:lnTo>
                  <a:lnTo>
                    <a:pt x="42" y="26"/>
                  </a:lnTo>
                  <a:lnTo>
                    <a:pt x="42" y="26"/>
                  </a:lnTo>
                  <a:lnTo>
                    <a:pt x="42" y="28"/>
                  </a:lnTo>
                  <a:lnTo>
                    <a:pt x="40" y="32"/>
                  </a:lnTo>
                  <a:lnTo>
                    <a:pt x="38" y="34"/>
                  </a:lnTo>
                  <a:lnTo>
                    <a:pt x="38" y="36"/>
                  </a:lnTo>
                  <a:lnTo>
                    <a:pt x="36" y="36"/>
                  </a:lnTo>
                  <a:lnTo>
                    <a:pt x="36" y="38"/>
                  </a:lnTo>
                  <a:lnTo>
                    <a:pt x="34" y="38"/>
                  </a:lnTo>
                  <a:lnTo>
                    <a:pt x="30" y="40"/>
                  </a:lnTo>
                  <a:lnTo>
                    <a:pt x="26" y="40"/>
                  </a:lnTo>
                  <a:lnTo>
                    <a:pt x="24" y="40"/>
                  </a:lnTo>
                  <a:lnTo>
                    <a:pt x="24" y="42"/>
                  </a:lnTo>
                  <a:lnTo>
                    <a:pt x="22" y="42"/>
                  </a:lnTo>
                  <a:lnTo>
                    <a:pt x="20" y="44"/>
                  </a:lnTo>
                  <a:lnTo>
                    <a:pt x="18" y="46"/>
                  </a:lnTo>
                  <a:lnTo>
                    <a:pt x="18" y="48"/>
                  </a:lnTo>
                  <a:lnTo>
                    <a:pt x="18" y="48"/>
                  </a:lnTo>
                  <a:lnTo>
                    <a:pt x="18" y="50"/>
                  </a:lnTo>
                  <a:lnTo>
                    <a:pt x="18" y="50"/>
                  </a:lnTo>
                  <a:lnTo>
                    <a:pt x="18" y="52"/>
                  </a:lnTo>
                  <a:lnTo>
                    <a:pt x="18" y="52"/>
                  </a:lnTo>
                  <a:lnTo>
                    <a:pt x="18" y="56"/>
                  </a:lnTo>
                  <a:lnTo>
                    <a:pt x="18" y="60"/>
                  </a:lnTo>
                  <a:lnTo>
                    <a:pt x="18" y="62"/>
                  </a:lnTo>
                  <a:lnTo>
                    <a:pt x="20" y="66"/>
                  </a:lnTo>
                  <a:lnTo>
                    <a:pt x="20" y="66"/>
                  </a:lnTo>
                  <a:lnTo>
                    <a:pt x="20" y="68"/>
                  </a:lnTo>
                  <a:lnTo>
                    <a:pt x="18" y="68"/>
                  </a:lnTo>
                  <a:lnTo>
                    <a:pt x="18" y="70"/>
                  </a:lnTo>
                  <a:lnTo>
                    <a:pt x="18" y="70"/>
                  </a:lnTo>
                  <a:lnTo>
                    <a:pt x="18" y="70"/>
                  </a:lnTo>
                  <a:lnTo>
                    <a:pt x="16" y="70"/>
                  </a:lnTo>
                  <a:lnTo>
                    <a:pt x="16" y="70"/>
                  </a:lnTo>
                  <a:lnTo>
                    <a:pt x="14" y="70"/>
                  </a:lnTo>
                  <a:lnTo>
                    <a:pt x="12" y="70"/>
                  </a:lnTo>
                  <a:lnTo>
                    <a:pt x="12" y="72"/>
                  </a:lnTo>
                  <a:lnTo>
                    <a:pt x="10" y="72"/>
                  </a:lnTo>
                  <a:lnTo>
                    <a:pt x="10" y="72"/>
                  </a:lnTo>
                  <a:lnTo>
                    <a:pt x="10" y="72"/>
                  </a:lnTo>
                  <a:lnTo>
                    <a:pt x="10" y="72"/>
                  </a:lnTo>
                  <a:lnTo>
                    <a:pt x="10" y="72"/>
                  </a:lnTo>
                  <a:lnTo>
                    <a:pt x="10" y="74"/>
                  </a:lnTo>
                  <a:lnTo>
                    <a:pt x="10" y="76"/>
                  </a:lnTo>
                  <a:lnTo>
                    <a:pt x="10" y="76"/>
                  </a:lnTo>
                  <a:lnTo>
                    <a:pt x="12" y="78"/>
                  </a:lnTo>
                  <a:lnTo>
                    <a:pt x="12" y="80"/>
                  </a:lnTo>
                  <a:lnTo>
                    <a:pt x="12" y="82"/>
                  </a:lnTo>
                  <a:lnTo>
                    <a:pt x="12" y="82"/>
                  </a:lnTo>
                  <a:lnTo>
                    <a:pt x="12" y="82"/>
                  </a:lnTo>
                  <a:lnTo>
                    <a:pt x="12" y="82"/>
                  </a:lnTo>
                  <a:lnTo>
                    <a:pt x="12" y="84"/>
                  </a:lnTo>
                  <a:lnTo>
                    <a:pt x="10" y="84"/>
                  </a:lnTo>
                  <a:lnTo>
                    <a:pt x="8" y="86"/>
                  </a:lnTo>
                  <a:lnTo>
                    <a:pt x="6" y="86"/>
                  </a:lnTo>
                  <a:lnTo>
                    <a:pt x="6" y="88"/>
                  </a:lnTo>
                  <a:lnTo>
                    <a:pt x="6" y="88"/>
                  </a:lnTo>
                  <a:lnTo>
                    <a:pt x="4" y="90"/>
                  </a:lnTo>
                  <a:lnTo>
                    <a:pt x="4" y="92"/>
                  </a:lnTo>
                  <a:lnTo>
                    <a:pt x="2" y="94"/>
                  </a:lnTo>
                  <a:lnTo>
                    <a:pt x="2" y="98"/>
                  </a:lnTo>
                  <a:lnTo>
                    <a:pt x="0" y="102"/>
                  </a:lnTo>
                  <a:lnTo>
                    <a:pt x="0" y="104"/>
                  </a:lnTo>
                  <a:lnTo>
                    <a:pt x="0" y="108"/>
                  </a:lnTo>
                  <a:lnTo>
                    <a:pt x="2" y="114"/>
                  </a:lnTo>
                  <a:lnTo>
                    <a:pt x="2" y="120"/>
                  </a:lnTo>
                  <a:lnTo>
                    <a:pt x="2" y="122"/>
                  </a:lnTo>
                  <a:lnTo>
                    <a:pt x="4" y="124"/>
                  </a:lnTo>
                  <a:lnTo>
                    <a:pt x="6" y="124"/>
                  </a:lnTo>
                  <a:lnTo>
                    <a:pt x="8" y="126"/>
                  </a:lnTo>
                  <a:lnTo>
                    <a:pt x="10" y="126"/>
                  </a:lnTo>
                  <a:lnTo>
                    <a:pt x="12" y="126"/>
                  </a:lnTo>
                  <a:lnTo>
                    <a:pt x="18" y="126"/>
                  </a:lnTo>
                  <a:lnTo>
                    <a:pt x="24" y="128"/>
                  </a:lnTo>
                  <a:lnTo>
                    <a:pt x="28" y="128"/>
                  </a:lnTo>
                  <a:lnTo>
                    <a:pt x="32" y="128"/>
                  </a:lnTo>
                  <a:lnTo>
                    <a:pt x="36" y="128"/>
                  </a:lnTo>
                  <a:lnTo>
                    <a:pt x="38" y="128"/>
                  </a:lnTo>
                  <a:lnTo>
                    <a:pt x="40" y="128"/>
                  </a:lnTo>
                  <a:lnTo>
                    <a:pt x="40" y="128"/>
                  </a:lnTo>
                  <a:lnTo>
                    <a:pt x="40" y="128"/>
                  </a:lnTo>
                  <a:lnTo>
                    <a:pt x="42" y="128"/>
                  </a:lnTo>
                  <a:lnTo>
                    <a:pt x="42" y="126"/>
                  </a:lnTo>
                  <a:lnTo>
                    <a:pt x="42" y="126"/>
                  </a:lnTo>
                  <a:lnTo>
                    <a:pt x="42" y="124"/>
                  </a:lnTo>
                  <a:lnTo>
                    <a:pt x="44" y="124"/>
                  </a:lnTo>
                  <a:lnTo>
                    <a:pt x="44" y="122"/>
                  </a:lnTo>
                  <a:lnTo>
                    <a:pt x="44" y="120"/>
                  </a:lnTo>
                  <a:lnTo>
                    <a:pt x="44" y="118"/>
                  </a:lnTo>
                  <a:lnTo>
                    <a:pt x="42" y="112"/>
                  </a:lnTo>
                  <a:lnTo>
                    <a:pt x="42" y="108"/>
                  </a:lnTo>
                  <a:lnTo>
                    <a:pt x="42" y="108"/>
                  </a:lnTo>
                  <a:lnTo>
                    <a:pt x="42" y="106"/>
                  </a:lnTo>
                  <a:lnTo>
                    <a:pt x="44" y="104"/>
                  </a:lnTo>
                  <a:lnTo>
                    <a:pt x="44" y="100"/>
                  </a:lnTo>
                  <a:lnTo>
                    <a:pt x="46" y="96"/>
                  </a:lnTo>
                  <a:lnTo>
                    <a:pt x="46" y="94"/>
                  </a:lnTo>
                  <a:lnTo>
                    <a:pt x="46" y="94"/>
                  </a:lnTo>
                  <a:lnTo>
                    <a:pt x="48" y="92"/>
                  </a:lnTo>
                  <a:lnTo>
                    <a:pt x="50" y="88"/>
                  </a:lnTo>
                  <a:lnTo>
                    <a:pt x="52" y="88"/>
                  </a:lnTo>
                  <a:lnTo>
                    <a:pt x="54" y="88"/>
                  </a:lnTo>
                  <a:lnTo>
                    <a:pt x="54" y="86"/>
                  </a:lnTo>
                  <a:lnTo>
                    <a:pt x="56" y="86"/>
                  </a:lnTo>
                  <a:lnTo>
                    <a:pt x="56" y="86"/>
                  </a:lnTo>
                  <a:lnTo>
                    <a:pt x="56" y="86"/>
                  </a:lnTo>
                  <a:lnTo>
                    <a:pt x="58" y="86"/>
                  </a:lnTo>
                  <a:lnTo>
                    <a:pt x="60" y="88"/>
                  </a:lnTo>
                  <a:lnTo>
                    <a:pt x="62" y="88"/>
                  </a:lnTo>
                  <a:lnTo>
                    <a:pt x="64" y="90"/>
                  </a:lnTo>
                  <a:lnTo>
                    <a:pt x="66" y="90"/>
                  </a:lnTo>
                  <a:lnTo>
                    <a:pt x="66" y="90"/>
                  </a:lnTo>
                  <a:lnTo>
                    <a:pt x="66" y="90"/>
                  </a:lnTo>
                  <a:lnTo>
                    <a:pt x="68" y="90"/>
                  </a:lnTo>
                  <a:lnTo>
                    <a:pt x="68" y="90"/>
                  </a:lnTo>
                  <a:lnTo>
                    <a:pt x="68" y="88"/>
                  </a:lnTo>
                  <a:lnTo>
                    <a:pt x="70" y="88"/>
                  </a:lnTo>
                  <a:lnTo>
                    <a:pt x="70" y="88"/>
                  </a:lnTo>
                  <a:lnTo>
                    <a:pt x="70" y="86"/>
                  </a:lnTo>
                  <a:lnTo>
                    <a:pt x="70" y="84"/>
                  </a:lnTo>
                  <a:lnTo>
                    <a:pt x="70" y="84"/>
                  </a:lnTo>
                  <a:lnTo>
                    <a:pt x="72" y="82"/>
                  </a:lnTo>
                  <a:lnTo>
                    <a:pt x="72" y="80"/>
                  </a:lnTo>
                  <a:lnTo>
                    <a:pt x="70" y="76"/>
                  </a:lnTo>
                  <a:lnTo>
                    <a:pt x="70" y="74"/>
                  </a:lnTo>
                  <a:lnTo>
                    <a:pt x="70" y="70"/>
                  </a:lnTo>
                  <a:lnTo>
                    <a:pt x="68" y="66"/>
                  </a:lnTo>
                  <a:lnTo>
                    <a:pt x="66" y="58"/>
                  </a:lnTo>
                  <a:lnTo>
                    <a:pt x="66" y="54"/>
                  </a:lnTo>
                  <a:lnTo>
                    <a:pt x="66" y="50"/>
                  </a:lnTo>
                  <a:lnTo>
                    <a:pt x="66" y="48"/>
                  </a:lnTo>
                  <a:lnTo>
                    <a:pt x="66" y="46"/>
                  </a:lnTo>
                  <a:lnTo>
                    <a:pt x="66" y="44"/>
                  </a:lnTo>
                  <a:lnTo>
                    <a:pt x="66" y="44"/>
                  </a:lnTo>
                  <a:lnTo>
                    <a:pt x="66" y="42"/>
                  </a:lnTo>
                  <a:lnTo>
                    <a:pt x="68" y="42"/>
                  </a:lnTo>
                  <a:lnTo>
                    <a:pt x="68" y="40"/>
                  </a:lnTo>
                  <a:lnTo>
                    <a:pt x="68" y="40"/>
                  </a:lnTo>
                  <a:lnTo>
                    <a:pt x="70" y="40"/>
                  </a:lnTo>
                  <a:lnTo>
                    <a:pt x="70" y="38"/>
                  </a:lnTo>
                  <a:lnTo>
                    <a:pt x="70" y="38"/>
                  </a:lnTo>
                  <a:lnTo>
                    <a:pt x="72" y="38"/>
                  </a:lnTo>
                  <a:lnTo>
                    <a:pt x="76" y="38"/>
                  </a:lnTo>
                  <a:lnTo>
                    <a:pt x="78" y="38"/>
                  </a:lnTo>
                  <a:lnTo>
                    <a:pt x="80" y="38"/>
                  </a:lnTo>
                  <a:lnTo>
                    <a:pt x="86" y="38"/>
                  </a:lnTo>
                  <a:lnTo>
                    <a:pt x="90" y="38"/>
                  </a:lnTo>
                  <a:lnTo>
                    <a:pt x="94" y="40"/>
                  </a:lnTo>
                  <a:lnTo>
                    <a:pt x="96" y="40"/>
                  </a:lnTo>
                  <a:lnTo>
                    <a:pt x="98" y="40"/>
                  </a:lnTo>
                  <a:lnTo>
                    <a:pt x="100" y="38"/>
                  </a:lnTo>
                  <a:lnTo>
                    <a:pt x="102" y="38"/>
                  </a:lnTo>
                  <a:lnTo>
                    <a:pt x="102" y="38"/>
                  </a:lnTo>
                  <a:lnTo>
                    <a:pt x="104" y="38"/>
                  </a:lnTo>
                  <a:lnTo>
                    <a:pt x="104" y="38"/>
                  </a:lnTo>
                  <a:lnTo>
                    <a:pt x="106" y="36"/>
                  </a:lnTo>
                  <a:lnTo>
                    <a:pt x="106" y="36"/>
                  </a:lnTo>
                  <a:lnTo>
                    <a:pt x="108" y="34"/>
                  </a:lnTo>
                  <a:lnTo>
                    <a:pt x="108" y="32"/>
                  </a:lnTo>
                  <a:lnTo>
                    <a:pt x="110" y="28"/>
                  </a:lnTo>
                  <a:lnTo>
                    <a:pt x="110" y="26"/>
                  </a:lnTo>
                  <a:lnTo>
                    <a:pt x="112" y="24"/>
                  </a:lnTo>
                  <a:lnTo>
                    <a:pt x="114" y="16"/>
                  </a:lnTo>
                  <a:lnTo>
                    <a:pt x="114" y="12"/>
                  </a:lnTo>
                  <a:lnTo>
                    <a:pt x="116"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4" name="Freeform 361"/>
            <p:cNvSpPr>
              <a:spLocks/>
            </p:cNvSpPr>
            <p:nvPr/>
          </p:nvSpPr>
          <p:spPr bwMode="auto">
            <a:xfrm>
              <a:off x="4272676" y="4292868"/>
              <a:ext cx="83140" cy="180136"/>
            </a:xfrm>
            <a:custGeom>
              <a:avLst/>
              <a:gdLst>
                <a:gd name="T0" fmla="*/ 0 w 48"/>
                <a:gd name="T1" fmla="*/ 36 h 104"/>
                <a:gd name="T2" fmla="*/ 4 w 48"/>
                <a:gd name="T3" fmla="*/ 44 h 104"/>
                <a:gd name="T4" fmla="*/ 6 w 48"/>
                <a:gd name="T5" fmla="*/ 46 h 104"/>
                <a:gd name="T6" fmla="*/ 6 w 48"/>
                <a:gd name="T7" fmla="*/ 50 h 104"/>
                <a:gd name="T8" fmla="*/ 8 w 48"/>
                <a:gd name="T9" fmla="*/ 62 h 104"/>
                <a:gd name="T10" fmla="*/ 10 w 48"/>
                <a:gd name="T11" fmla="*/ 70 h 104"/>
                <a:gd name="T12" fmla="*/ 10 w 48"/>
                <a:gd name="T13" fmla="*/ 80 h 104"/>
                <a:gd name="T14" fmla="*/ 10 w 48"/>
                <a:gd name="T15" fmla="*/ 86 h 104"/>
                <a:gd name="T16" fmla="*/ 12 w 48"/>
                <a:gd name="T17" fmla="*/ 90 h 104"/>
                <a:gd name="T18" fmla="*/ 16 w 48"/>
                <a:gd name="T19" fmla="*/ 104 h 104"/>
                <a:gd name="T20" fmla="*/ 34 w 48"/>
                <a:gd name="T21" fmla="*/ 92 h 104"/>
                <a:gd name="T22" fmla="*/ 32 w 48"/>
                <a:gd name="T23" fmla="*/ 82 h 104"/>
                <a:gd name="T24" fmla="*/ 30 w 48"/>
                <a:gd name="T25" fmla="*/ 72 h 104"/>
                <a:gd name="T26" fmla="*/ 30 w 48"/>
                <a:gd name="T27" fmla="*/ 66 h 104"/>
                <a:gd name="T28" fmla="*/ 32 w 48"/>
                <a:gd name="T29" fmla="*/ 62 h 104"/>
                <a:gd name="T30" fmla="*/ 32 w 48"/>
                <a:gd name="T31" fmla="*/ 62 h 104"/>
                <a:gd name="T32" fmla="*/ 34 w 48"/>
                <a:gd name="T33" fmla="*/ 58 h 104"/>
                <a:gd name="T34" fmla="*/ 38 w 48"/>
                <a:gd name="T35" fmla="*/ 54 h 104"/>
                <a:gd name="T36" fmla="*/ 40 w 48"/>
                <a:gd name="T37" fmla="*/ 52 h 104"/>
                <a:gd name="T38" fmla="*/ 42 w 48"/>
                <a:gd name="T39" fmla="*/ 44 h 104"/>
                <a:gd name="T40" fmla="*/ 44 w 48"/>
                <a:gd name="T41" fmla="*/ 36 h 104"/>
                <a:gd name="T42" fmla="*/ 46 w 48"/>
                <a:gd name="T43" fmla="*/ 26 h 104"/>
                <a:gd name="T44" fmla="*/ 48 w 48"/>
                <a:gd name="T45" fmla="*/ 18 h 104"/>
                <a:gd name="T46" fmla="*/ 48 w 48"/>
                <a:gd name="T47" fmla="*/ 14 h 104"/>
                <a:gd name="T48" fmla="*/ 46 w 48"/>
                <a:gd name="T49" fmla="*/ 2 h 104"/>
                <a:gd name="T50" fmla="*/ 32 w 48"/>
                <a:gd name="T51" fmla="*/ 2 h 104"/>
                <a:gd name="T52" fmla="*/ 30 w 48"/>
                <a:gd name="T53" fmla="*/ 8 h 104"/>
                <a:gd name="T54" fmla="*/ 28 w 48"/>
                <a:gd name="T55" fmla="*/ 12 h 104"/>
                <a:gd name="T56" fmla="*/ 28 w 48"/>
                <a:gd name="T57" fmla="*/ 16 h 104"/>
                <a:gd name="T58" fmla="*/ 26 w 48"/>
                <a:gd name="T59" fmla="*/ 16 h 104"/>
                <a:gd name="T60" fmla="*/ 24 w 48"/>
                <a:gd name="T61" fmla="*/ 18 h 104"/>
                <a:gd name="T62" fmla="*/ 22 w 48"/>
                <a:gd name="T63" fmla="*/ 18 h 104"/>
                <a:gd name="T64" fmla="*/ 16 w 48"/>
                <a:gd name="T65" fmla="*/ 20 h 104"/>
                <a:gd name="T66" fmla="*/ 12 w 48"/>
                <a:gd name="T67" fmla="*/ 20 h 104"/>
                <a:gd name="T68" fmla="*/ 10 w 48"/>
                <a:gd name="T69" fmla="*/ 22 h 104"/>
                <a:gd name="T70" fmla="*/ 10 w 48"/>
                <a:gd name="T71" fmla="*/ 22 h 104"/>
                <a:gd name="T72" fmla="*/ 6 w 48"/>
                <a:gd name="T73" fmla="*/ 28 h 104"/>
                <a:gd name="T74" fmla="*/ 0 w 48"/>
                <a:gd name="T75"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04">
                  <a:moveTo>
                    <a:pt x="0" y="36"/>
                  </a:moveTo>
                  <a:lnTo>
                    <a:pt x="0" y="36"/>
                  </a:lnTo>
                  <a:lnTo>
                    <a:pt x="2" y="40"/>
                  </a:lnTo>
                  <a:lnTo>
                    <a:pt x="4" y="44"/>
                  </a:lnTo>
                  <a:lnTo>
                    <a:pt x="4" y="46"/>
                  </a:lnTo>
                  <a:lnTo>
                    <a:pt x="6" y="46"/>
                  </a:lnTo>
                  <a:lnTo>
                    <a:pt x="6" y="48"/>
                  </a:lnTo>
                  <a:lnTo>
                    <a:pt x="6" y="50"/>
                  </a:lnTo>
                  <a:lnTo>
                    <a:pt x="8" y="56"/>
                  </a:lnTo>
                  <a:lnTo>
                    <a:pt x="8" y="62"/>
                  </a:lnTo>
                  <a:lnTo>
                    <a:pt x="10" y="66"/>
                  </a:lnTo>
                  <a:lnTo>
                    <a:pt x="10" y="70"/>
                  </a:lnTo>
                  <a:lnTo>
                    <a:pt x="10" y="76"/>
                  </a:lnTo>
                  <a:lnTo>
                    <a:pt x="10" y="80"/>
                  </a:lnTo>
                  <a:lnTo>
                    <a:pt x="10" y="84"/>
                  </a:lnTo>
                  <a:lnTo>
                    <a:pt x="10" y="86"/>
                  </a:lnTo>
                  <a:lnTo>
                    <a:pt x="12" y="88"/>
                  </a:lnTo>
                  <a:lnTo>
                    <a:pt x="12" y="90"/>
                  </a:lnTo>
                  <a:lnTo>
                    <a:pt x="14" y="96"/>
                  </a:lnTo>
                  <a:lnTo>
                    <a:pt x="16" y="104"/>
                  </a:lnTo>
                  <a:lnTo>
                    <a:pt x="34" y="96"/>
                  </a:lnTo>
                  <a:lnTo>
                    <a:pt x="34" y="92"/>
                  </a:lnTo>
                  <a:lnTo>
                    <a:pt x="32" y="86"/>
                  </a:lnTo>
                  <a:lnTo>
                    <a:pt x="32" y="82"/>
                  </a:lnTo>
                  <a:lnTo>
                    <a:pt x="32" y="76"/>
                  </a:lnTo>
                  <a:lnTo>
                    <a:pt x="30" y="72"/>
                  </a:lnTo>
                  <a:lnTo>
                    <a:pt x="30" y="68"/>
                  </a:lnTo>
                  <a:lnTo>
                    <a:pt x="30" y="66"/>
                  </a:lnTo>
                  <a:lnTo>
                    <a:pt x="30" y="64"/>
                  </a:lnTo>
                  <a:lnTo>
                    <a:pt x="32" y="62"/>
                  </a:lnTo>
                  <a:lnTo>
                    <a:pt x="32" y="62"/>
                  </a:lnTo>
                  <a:lnTo>
                    <a:pt x="32" y="62"/>
                  </a:lnTo>
                  <a:lnTo>
                    <a:pt x="32" y="60"/>
                  </a:lnTo>
                  <a:lnTo>
                    <a:pt x="34" y="58"/>
                  </a:lnTo>
                  <a:lnTo>
                    <a:pt x="36" y="56"/>
                  </a:lnTo>
                  <a:lnTo>
                    <a:pt x="38" y="54"/>
                  </a:lnTo>
                  <a:lnTo>
                    <a:pt x="40" y="52"/>
                  </a:lnTo>
                  <a:lnTo>
                    <a:pt x="40" y="52"/>
                  </a:lnTo>
                  <a:lnTo>
                    <a:pt x="42" y="48"/>
                  </a:lnTo>
                  <a:lnTo>
                    <a:pt x="42" y="44"/>
                  </a:lnTo>
                  <a:lnTo>
                    <a:pt x="44" y="40"/>
                  </a:lnTo>
                  <a:lnTo>
                    <a:pt x="44" y="36"/>
                  </a:lnTo>
                  <a:lnTo>
                    <a:pt x="46" y="30"/>
                  </a:lnTo>
                  <a:lnTo>
                    <a:pt x="46" y="26"/>
                  </a:lnTo>
                  <a:lnTo>
                    <a:pt x="48" y="22"/>
                  </a:lnTo>
                  <a:lnTo>
                    <a:pt x="48" y="18"/>
                  </a:lnTo>
                  <a:lnTo>
                    <a:pt x="48" y="16"/>
                  </a:lnTo>
                  <a:lnTo>
                    <a:pt x="48" y="14"/>
                  </a:lnTo>
                  <a:lnTo>
                    <a:pt x="46" y="8"/>
                  </a:lnTo>
                  <a:lnTo>
                    <a:pt x="46" y="2"/>
                  </a:lnTo>
                  <a:lnTo>
                    <a:pt x="46" y="0"/>
                  </a:lnTo>
                  <a:lnTo>
                    <a:pt x="32" y="2"/>
                  </a:lnTo>
                  <a:lnTo>
                    <a:pt x="32" y="4"/>
                  </a:lnTo>
                  <a:lnTo>
                    <a:pt x="30" y="8"/>
                  </a:lnTo>
                  <a:lnTo>
                    <a:pt x="30" y="10"/>
                  </a:lnTo>
                  <a:lnTo>
                    <a:pt x="28" y="12"/>
                  </a:lnTo>
                  <a:lnTo>
                    <a:pt x="28" y="14"/>
                  </a:lnTo>
                  <a:lnTo>
                    <a:pt x="28" y="16"/>
                  </a:lnTo>
                  <a:lnTo>
                    <a:pt x="28" y="16"/>
                  </a:lnTo>
                  <a:lnTo>
                    <a:pt x="26" y="16"/>
                  </a:lnTo>
                  <a:lnTo>
                    <a:pt x="26" y="18"/>
                  </a:lnTo>
                  <a:lnTo>
                    <a:pt x="24" y="18"/>
                  </a:lnTo>
                  <a:lnTo>
                    <a:pt x="24" y="18"/>
                  </a:lnTo>
                  <a:lnTo>
                    <a:pt x="22" y="18"/>
                  </a:lnTo>
                  <a:lnTo>
                    <a:pt x="20" y="20"/>
                  </a:lnTo>
                  <a:lnTo>
                    <a:pt x="16" y="20"/>
                  </a:lnTo>
                  <a:lnTo>
                    <a:pt x="14" y="20"/>
                  </a:lnTo>
                  <a:lnTo>
                    <a:pt x="12" y="20"/>
                  </a:lnTo>
                  <a:lnTo>
                    <a:pt x="12" y="20"/>
                  </a:lnTo>
                  <a:lnTo>
                    <a:pt x="10" y="22"/>
                  </a:lnTo>
                  <a:lnTo>
                    <a:pt x="10" y="22"/>
                  </a:lnTo>
                  <a:lnTo>
                    <a:pt x="10" y="22"/>
                  </a:lnTo>
                  <a:lnTo>
                    <a:pt x="8" y="24"/>
                  </a:lnTo>
                  <a:lnTo>
                    <a:pt x="6" y="28"/>
                  </a:lnTo>
                  <a:lnTo>
                    <a:pt x="4" y="30"/>
                  </a:lnTo>
                  <a:lnTo>
                    <a:pt x="0" y="34"/>
                  </a:lnTo>
                  <a:lnTo>
                    <a:pt x="0" y="3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5" name="Freeform 362"/>
            <p:cNvSpPr>
              <a:spLocks/>
            </p:cNvSpPr>
            <p:nvPr/>
          </p:nvSpPr>
          <p:spPr bwMode="auto">
            <a:xfrm>
              <a:off x="4272676" y="4292868"/>
              <a:ext cx="83140" cy="180136"/>
            </a:xfrm>
            <a:custGeom>
              <a:avLst/>
              <a:gdLst>
                <a:gd name="T0" fmla="*/ 0 w 48"/>
                <a:gd name="T1" fmla="*/ 36 h 104"/>
                <a:gd name="T2" fmla="*/ 4 w 48"/>
                <a:gd name="T3" fmla="*/ 44 h 104"/>
                <a:gd name="T4" fmla="*/ 6 w 48"/>
                <a:gd name="T5" fmla="*/ 46 h 104"/>
                <a:gd name="T6" fmla="*/ 6 w 48"/>
                <a:gd name="T7" fmla="*/ 50 h 104"/>
                <a:gd name="T8" fmla="*/ 8 w 48"/>
                <a:gd name="T9" fmla="*/ 62 h 104"/>
                <a:gd name="T10" fmla="*/ 10 w 48"/>
                <a:gd name="T11" fmla="*/ 70 h 104"/>
                <a:gd name="T12" fmla="*/ 10 w 48"/>
                <a:gd name="T13" fmla="*/ 80 h 104"/>
                <a:gd name="T14" fmla="*/ 10 w 48"/>
                <a:gd name="T15" fmla="*/ 86 h 104"/>
                <a:gd name="T16" fmla="*/ 12 w 48"/>
                <a:gd name="T17" fmla="*/ 90 h 104"/>
                <a:gd name="T18" fmla="*/ 16 w 48"/>
                <a:gd name="T19" fmla="*/ 104 h 104"/>
                <a:gd name="T20" fmla="*/ 34 w 48"/>
                <a:gd name="T21" fmla="*/ 92 h 104"/>
                <a:gd name="T22" fmla="*/ 32 w 48"/>
                <a:gd name="T23" fmla="*/ 82 h 104"/>
                <a:gd name="T24" fmla="*/ 30 w 48"/>
                <a:gd name="T25" fmla="*/ 72 h 104"/>
                <a:gd name="T26" fmla="*/ 30 w 48"/>
                <a:gd name="T27" fmla="*/ 66 h 104"/>
                <a:gd name="T28" fmla="*/ 32 w 48"/>
                <a:gd name="T29" fmla="*/ 62 h 104"/>
                <a:gd name="T30" fmla="*/ 32 w 48"/>
                <a:gd name="T31" fmla="*/ 62 h 104"/>
                <a:gd name="T32" fmla="*/ 34 w 48"/>
                <a:gd name="T33" fmla="*/ 58 h 104"/>
                <a:gd name="T34" fmla="*/ 38 w 48"/>
                <a:gd name="T35" fmla="*/ 54 h 104"/>
                <a:gd name="T36" fmla="*/ 40 w 48"/>
                <a:gd name="T37" fmla="*/ 52 h 104"/>
                <a:gd name="T38" fmla="*/ 42 w 48"/>
                <a:gd name="T39" fmla="*/ 44 h 104"/>
                <a:gd name="T40" fmla="*/ 44 w 48"/>
                <a:gd name="T41" fmla="*/ 36 h 104"/>
                <a:gd name="T42" fmla="*/ 46 w 48"/>
                <a:gd name="T43" fmla="*/ 26 h 104"/>
                <a:gd name="T44" fmla="*/ 48 w 48"/>
                <a:gd name="T45" fmla="*/ 18 h 104"/>
                <a:gd name="T46" fmla="*/ 48 w 48"/>
                <a:gd name="T47" fmla="*/ 14 h 104"/>
                <a:gd name="T48" fmla="*/ 46 w 48"/>
                <a:gd name="T49" fmla="*/ 2 h 104"/>
                <a:gd name="T50" fmla="*/ 32 w 48"/>
                <a:gd name="T51" fmla="*/ 2 h 104"/>
                <a:gd name="T52" fmla="*/ 30 w 48"/>
                <a:gd name="T53" fmla="*/ 8 h 104"/>
                <a:gd name="T54" fmla="*/ 28 w 48"/>
                <a:gd name="T55" fmla="*/ 12 h 104"/>
                <a:gd name="T56" fmla="*/ 28 w 48"/>
                <a:gd name="T57" fmla="*/ 16 h 104"/>
                <a:gd name="T58" fmla="*/ 26 w 48"/>
                <a:gd name="T59" fmla="*/ 16 h 104"/>
                <a:gd name="T60" fmla="*/ 24 w 48"/>
                <a:gd name="T61" fmla="*/ 18 h 104"/>
                <a:gd name="T62" fmla="*/ 22 w 48"/>
                <a:gd name="T63" fmla="*/ 18 h 104"/>
                <a:gd name="T64" fmla="*/ 16 w 48"/>
                <a:gd name="T65" fmla="*/ 20 h 104"/>
                <a:gd name="T66" fmla="*/ 12 w 48"/>
                <a:gd name="T67" fmla="*/ 20 h 104"/>
                <a:gd name="T68" fmla="*/ 10 w 48"/>
                <a:gd name="T69" fmla="*/ 22 h 104"/>
                <a:gd name="T70" fmla="*/ 10 w 48"/>
                <a:gd name="T71" fmla="*/ 22 h 104"/>
                <a:gd name="T72" fmla="*/ 6 w 48"/>
                <a:gd name="T73" fmla="*/ 28 h 104"/>
                <a:gd name="T74" fmla="*/ 0 w 48"/>
                <a:gd name="T75"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04">
                  <a:moveTo>
                    <a:pt x="0" y="36"/>
                  </a:moveTo>
                  <a:lnTo>
                    <a:pt x="0" y="36"/>
                  </a:lnTo>
                  <a:lnTo>
                    <a:pt x="2" y="40"/>
                  </a:lnTo>
                  <a:lnTo>
                    <a:pt x="4" y="44"/>
                  </a:lnTo>
                  <a:lnTo>
                    <a:pt x="4" y="46"/>
                  </a:lnTo>
                  <a:lnTo>
                    <a:pt x="6" y="46"/>
                  </a:lnTo>
                  <a:lnTo>
                    <a:pt x="6" y="48"/>
                  </a:lnTo>
                  <a:lnTo>
                    <a:pt x="6" y="50"/>
                  </a:lnTo>
                  <a:lnTo>
                    <a:pt x="8" y="56"/>
                  </a:lnTo>
                  <a:lnTo>
                    <a:pt x="8" y="62"/>
                  </a:lnTo>
                  <a:lnTo>
                    <a:pt x="10" y="66"/>
                  </a:lnTo>
                  <a:lnTo>
                    <a:pt x="10" y="70"/>
                  </a:lnTo>
                  <a:lnTo>
                    <a:pt x="10" y="76"/>
                  </a:lnTo>
                  <a:lnTo>
                    <a:pt x="10" y="80"/>
                  </a:lnTo>
                  <a:lnTo>
                    <a:pt x="10" y="84"/>
                  </a:lnTo>
                  <a:lnTo>
                    <a:pt x="10" y="86"/>
                  </a:lnTo>
                  <a:lnTo>
                    <a:pt x="12" y="88"/>
                  </a:lnTo>
                  <a:lnTo>
                    <a:pt x="12" y="90"/>
                  </a:lnTo>
                  <a:lnTo>
                    <a:pt x="14" y="96"/>
                  </a:lnTo>
                  <a:lnTo>
                    <a:pt x="16" y="104"/>
                  </a:lnTo>
                  <a:lnTo>
                    <a:pt x="34" y="96"/>
                  </a:lnTo>
                  <a:lnTo>
                    <a:pt x="34" y="92"/>
                  </a:lnTo>
                  <a:lnTo>
                    <a:pt x="32" y="86"/>
                  </a:lnTo>
                  <a:lnTo>
                    <a:pt x="32" y="82"/>
                  </a:lnTo>
                  <a:lnTo>
                    <a:pt x="32" y="76"/>
                  </a:lnTo>
                  <a:lnTo>
                    <a:pt x="30" y="72"/>
                  </a:lnTo>
                  <a:lnTo>
                    <a:pt x="30" y="68"/>
                  </a:lnTo>
                  <a:lnTo>
                    <a:pt x="30" y="66"/>
                  </a:lnTo>
                  <a:lnTo>
                    <a:pt x="30" y="64"/>
                  </a:lnTo>
                  <a:lnTo>
                    <a:pt x="32" y="62"/>
                  </a:lnTo>
                  <a:lnTo>
                    <a:pt x="32" y="62"/>
                  </a:lnTo>
                  <a:lnTo>
                    <a:pt x="32" y="62"/>
                  </a:lnTo>
                  <a:lnTo>
                    <a:pt x="32" y="60"/>
                  </a:lnTo>
                  <a:lnTo>
                    <a:pt x="34" y="58"/>
                  </a:lnTo>
                  <a:lnTo>
                    <a:pt x="36" y="56"/>
                  </a:lnTo>
                  <a:lnTo>
                    <a:pt x="38" y="54"/>
                  </a:lnTo>
                  <a:lnTo>
                    <a:pt x="40" y="52"/>
                  </a:lnTo>
                  <a:lnTo>
                    <a:pt x="40" y="52"/>
                  </a:lnTo>
                  <a:lnTo>
                    <a:pt x="42" y="48"/>
                  </a:lnTo>
                  <a:lnTo>
                    <a:pt x="42" y="44"/>
                  </a:lnTo>
                  <a:lnTo>
                    <a:pt x="44" y="40"/>
                  </a:lnTo>
                  <a:lnTo>
                    <a:pt x="44" y="36"/>
                  </a:lnTo>
                  <a:lnTo>
                    <a:pt x="46" y="30"/>
                  </a:lnTo>
                  <a:lnTo>
                    <a:pt x="46" y="26"/>
                  </a:lnTo>
                  <a:lnTo>
                    <a:pt x="48" y="22"/>
                  </a:lnTo>
                  <a:lnTo>
                    <a:pt x="48" y="18"/>
                  </a:lnTo>
                  <a:lnTo>
                    <a:pt x="48" y="16"/>
                  </a:lnTo>
                  <a:lnTo>
                    <a:pt x="48" y="14"/>
                  </a:lnTo>
                  <a:lnTo>
                    <a:pt x="46" y="8"/>
                  </a:lnTo>
                  <a:lnTo>
                    <a:pt x="46" y="2"/>
                  </a:lnTo>
                  <a:lnTo>
                    <a:pt x="46" y="0"/>
                  </a:lnTo>
                  <a:lnTo>
                    <a:pt x="32" y="2"/>
                  </a:lnTo>
                  <a:lnTo>
                    <a:pt x="32" y="4"/>
                  </a:lnTo>
                  <a:lnTo>
                    <a:pt x="30" y="8"/>
                  </a:lnTo>
                  <a:lnTo>
                    <a:pt x="30" y="10"/>
                  </a:lnTo>
                  <a:lnTo>
                    <a:pt x="28" y="12"/>
                  </a:lnTo>
                  <a:lnTo>
                    <a:pt x="28" y="14"/>
                  </a:lnTo>
                  <a:lnTo>
                    <a:pt x="28" y="16"/>
                  </a:lnTo>
                  <a:lnTo>
                    <a:pt x="28" y="16"/>
                  </a:lnTo>
                  <a:lnTo>
                    <a:pt x="26" y="16"/>
                  </a:lnTo>
                  <a:lnTo>
                    <a:pt x="26" y="18"/>
                  </a:lnTo>
                  <a:lnTo>
                    <a:pt x="24" y="18"/>
                  </a:lnTo>
                  <a:lnTo>
                    <a:pt x="24" y="18"/>
                  </a:lnTo>
                  <a:lnTo>
                    <a:pt x="22" y="18"/>
                  </a:lnTo>
                  <a:lnTo>
                    <a:pt x="20" y="20"/>
                  </a:lnTo>
                  <a:lnTo>
                    <a:pt x="16" y="20"/>
                  </a:lnTo>
                  <a:lnTo>
                    <a:pt x="14" y="20"/>
                  </a:lnTo>
                  <a:lnTo>
                    <a:pt x="12" y="20"/>
                  </a:lnTo>
                  <a:lnTo>
                    <a:pt x="12" y="20"/>
                  </a:lnTo>
                  <a:lnTo>
                    <a:pt x="10" y="22"/>
                  </a:lnTo>
                  <a:lnTo>
                    <a:pt x="10" y="22"/>
                  </a:lnTo>
                  <a:lnTo>
                    <a:pt x="10" y="22"/>
                  </a:lnTo>
                  <a:lnTo>
                    <a:pt x="8" y="24"/>
                  </a:lnTo>
                  <a:lnTo>
                    <a:pt x="6" y="28"/>
                  </a:lnTo>
                  <a:lnTo>
                    <a:pt x="4" y="30"/>
                  </a:lnTo>
                  <a:lnTo>
                    <a:pt x="0" y="34"/>
                  </a:lnTo>
                  <a:lnTo>
                    <a:pt x="0" y="3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6" name="Freeform 363"/>
            <p:cNvSpPr>
              <a:spLocks/>
            </p:cNvSpPr>
            <p:nvPr/>
          </p:nvSpPr>
          <p:spPr bwMode="auto">
            <a:xfrm>
              <a:off x="4553272" y="5131192"/>
              <a:ext cx="245955" cy="370664"/>
            </a:xfrm>
            <a:custGeom>
              <a:avLst/>
              <a:gdLst>
                <a:gd name="T0" fmla="*/ 8 w 142"/>
                <a:gd name="T1" fmla="*/ 2 h 214"/>
                <a:gd name="T2" fmla="*/ 16 w 142"/>
                <a:gd name="T3" fmla="*/ 0 h 214"/>
                <a:gd name="T4" fmla="*/ 20 w 142"/>
                <a:gd name="T5" fmla="*/ 0 h 214"/>
                <a:gd name="T6" fmla="*/ 30 w 142"/>
                <a:gd name="T7" fmla="*/ 6 h 214"/>
                <a:gd name="T8" fmla="*/ 40 w 142"/>
                <a:gd name="T9" fmla="*/ 8 h 214"/>
                <a:gd name="T10" fmla="*/ 60 w 142"/>
                <a:gd name="T11" fmla="*/ 10 h 214"/>
                <a:gd name="T12" fmla="*/ 82 w 142"/>
                <a:gd name="T13" fmla="*/ 6 h 214"/>
                <a:gd name="T14" fmla="*/ 92 w 142"/>
                <a:gd name="T15" fmla="*/ 6 h 214"/>
                <a:gd name="T16" fmla="*/ 96 w 142"/>
                <a:gd name="T17" fmla="*/ 10 h 214"/>
                <a:gd name="T18" fmla="*/ 100 w 142"/>
                <a:gd name="T19" fmla="*/ 16 h 214"/>
                <a:gd name="T20" fmla="*/ 104 w 142"/>
                <a:gd name="T21" fmla="*/ 18 h 214"/>
                <a:gd name="T22" fmla="*/ 124 w 142"/>
                <a:gd name="T23" fmla="*/ 20 h 214"/>
                <a:gd name="T24" fmla="*/ 142 w 142"/>
                <a:gd name="T25" fmla="*/ 22 h 214"/>
                <a:gd name="T26" fmla="*/ 136 w 142"/>
                <a:gd name="T27" fmla="*/ 34 h 214"/>
                <a:gd name="T28" fmla="*/ 134 w 142"/>
                <a:gd name="T29" fmla="*/ 44 h 214"/>
                <a:gd name="T30" fmla="*/ 136 w 142"/>
                <a:gd name="T31" fmla="*/ 70 h 214"/>
                <a:gd name="T32" fmla="*/ 136 w 142"/>
                <a:gd name="T33" fmla="*/ 82 h 214"/>
                <a:gd name="T34" fmla="*/ 134 w 142"/>
                <a:gd name="T35" fmla="*/ 88 h 214"/>
                <a:gd name="T36" fmla="*/ 128 w 142"/>
                <a:gd name="T37" fmla="*/ 92 h 214"/>
                <a:gd name="T38" fmla="*/ 124 w 142"/>
                <a:gd name="T39" fmla="*/ 94 h 214"/>
                <a:gd name="T40" fmla="*/ 120 w 142"/>
                <a:gd name="T41" fmla="*/ 96 h 214"/>
                <a:gd name="T42" fmla="*/ 118 w 142"/>
                <a:gd name="T43" fmla="*/ 100 h 214"/>
                <a:gd name="T44" fmla="*/ 116 w 142"/>
                <a:gd name="T45" fmla="*/ 118 h 214"/>
                <a:gd name="T46" fmla="*/ 120 w 142"/>
                <a:gd name="T47" fmla="*/ 142 h 214"/>
                <a:gd name="T48" fmla="*/ 122 w 142"/>
                <a:gd name="T49" fmla="*/ 172 h 214"/>
                <a:gd name="T50" fmla="*/ 120 w 142"/>
                <a:gd name="T51" fmla="*/ 194 h 214"/>
                <a:gd name="T52" fmla="*/ 116 w 142"/>
                <a:gd name="T53" fmla="*/ 204 h 214"/>
                <a:gd name="T54" fmla="*/ 114 w 142"/>
                <a:gd name="T55" fmla="*/ 210 h 214"/>
                <a:gd name="T56" fmla="*/ 108 w 142"/>
                <a:gd name="T57" fmla="*/ 214 h 214"/>
                <a:gd name="T58" fmla="*/ 98 w 142"/>
                <a:gd name="T59" fmla="*/ 214 h 214"/>
                <a:gd name="T60" fmla="*/ 90 w 142"/>
                <a:gd name="T61" fmla="*/ 212 h 214"/>
                <a:gd name="T62" fmla="*/ 88 w 142"/>
                <a:gd name="T63" fmla="*/ 208 h 214"/>
                <a:gd name="T64" fmla="*/ 84 w 142"/>
                <a:gd name="T65" fmla="*/ 202 h 214"/>
                <a:gd name="T66" fmla="*/ 82 w 142"/>
                <a:gd name="T67" fmla="*/ 200 h 214"/>
                <a:gd name="T68" fmla="*/ 80 w 142"/>
                <a:gd name="T69" fmla="*/ 202 h 214"/>
                <a:gd name="T70" fmla="*/ 76 w 142"/>
                <a:gd name="T71" fmla="*/ 204 h 214"/>
                <a:gd name="T72" fmla="*/ 68 w 142"/>
                <a:gd name="T73" fmla="*/ 206 h 214"/>
                <a:gd name="T74" fmla="*/ 64 w 142"/>
                <a:gd name="T75" fmla="*/ 192 h 214"/>
                <a:gd name="T76" fmla="*/ 58 w 142"/>
                <a:gd name="T77" fmla="*/ 184 h 214"/>
                <a:gd name="T78" fmla="*/ 52 w 142"/>
                <a:gd name="T79" fmla="*/ 182 h 214"/>
                <a:gd name="T80" fmla="*/ 46 w 142"/>
                <a:gd name="T81" fmla="*/ 182 h 214"/>
                <a:gd name="T82" fmla="*/ 46 w 142"/>
                <a:gd name="T83" fmla="*/ 178 h 214"/>
                <a:gd name="T84" fmla="*/ 46 w 142"/>
                <a:gd name="T85" fmla="*/ 166 h 214"/>
                <a:gd name="T86" fmla="*/ 46 w 142"/>
                <a:gd name="T87" fmla="*/ 160 h 214"/>
                <a:gd name="T88" fmla="*/ 42 w 142"/>
                <a:gd name="T89" fmla="*/ 142 h 214"/>
                <a:gd name="T90" fmla="*/ 42 w 142"/>
                <a:gd name="T91" fmla="*/ 124 h 214"/>
                <a:gd name="T92" fmla="*/ 40 w 142"/>
                <a:gd name="T93" fmla="*/ 104 h 214"/>
                <a:gd name="T94" fmla="*/ 34 w 142"/>
                <a:gd name="T95" fmla="*/ 86 h 214"/>
                <a:gd name="T96" fmla="*/ 26 w 142"/>
                <a:gd name="T97" fmla="*/ 68 h 214"/>
                <a:gd name="T98" fmla="*/ 16 w 142"/>
                <a:gd name="T99" fmla="*/ 50 h 214"/>
                <a:gd name="T100" fmla="*/ 10 w 142"/>
                <a:gd name="T101" fmla="*/ 38 h 214"/>
                <a:gd name="T102" fmla="*/ 2 w 142"/>
                <a:gd name="T103" fmla="*/ 28 h 214"/>
                <a:gd name="T104" fmla="*/ 0 w 142"/>
                <a:gd name="T105" fmla="*/ 24 h 214"/>
                <a:gd name="T106" fmla="*/ 0 w 142"/>
                <a:gd name="T107" fmla="*/ 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14">
                  <a:moveTo>
                    <a:pt x="2" y="6"/>
                  </a:moveTo>
                  <a:lnTo>
                    <a:pt x="2" y="6"/>
                  </a:lnTo>
                  <a:lnTo>
                    <a:pt x="4" y="4"/>
                  </a:lnTo>
                  <a:lnTo>
                    <a:pt x="8" y="2"/>
                  </a:lnTo>
                  <a:lnTo>
                    <a:pt x="10" y="2"/>
                  </a:lnTo>
                  <a:lnTo>
                    <a:pt x="12" y="0"/>
                  </a:lnTo>
                  <a:lnTo>
                    <a:pt x="14" y="0"/>
                  </a:lnTo>
                  <a:lnTo>
                    <a:pt x="16" y="0"/>
                  </a:lnTo>
                  <a:lnTo>
                    <a:pt x="16" y="0"/>
                  </a:lnTo>
                  <a:lnTo>
                    <a:pt x="16" y="0"/>
                  </a:lnTo>
                  <a:lnTo>
                    <a:pt x="18" y="0"/>
                  </a:lnTo>
                  <a:lnTo>
                    <a:pt x="20" y="0"/>
                  </a:lnTo>
                  <a:lnTo>
                    <a:pt x="22" y="2"/>
                  </a:lnTo>
                  <a:lnTo>
                    <a:pt x="24" y="2"/>
                  </a:lnTo>
                  <a:lnTo>
                    <a:pt x="28" y="6"/>
                  </a:lnTo>
                  <a:lnTo>
                    <a:pt x="30" y="6"/>
                  </a:lnTo>
                  <a:lnTo>
                    <a:pt x="32" y="6"/>
                  </a:lnTo>
                  <a:lnTo>
                    <a:pt x="34" y="8"/>
                  </a:lnTo>
                  <a:lnTo>
                    <a:pt x="38" y="8"/>
                  </a:lnTo>
                  <a:lnTo>
                    <a:pt x="40" y="8"/>
                  </a:lnTo>
                  <a:lnTo>
                    <a:pt x="44" y="8"/>
                  </a:lnTo>
                  <a:lnTo>
                    <a:pt x="52" y="8"/>
                  </a:lnTo>
                  <a:lnTo>
                    <a:pt x="58" y="10"/>
                  </a:lnTo>
                  <a:lnTo>
                    <a:pt x="60" y="10"/>
                  </a:lnTo>
                  <a:lnTo>
                    <a:pt x="62" y="10"/>
                  </a:lnTo>
                  <a:lnTo>
                    <a:pt x="66" y="8"/>
                  </a:lnTo>
                  <a:lnTo>
                    <a:pt x="76" y="8"/>
                  </a:lnTo>
                  <a:lnTo>
                    <a:pt x="82" y="6"/>
                  </a:lnTo>
                  <a:lnTo>
                    <a:pt x="84" y="6"/>
                  </a:lnTo>
                  <a:lnTo>
                    <a:pt x="86" y="6"/>
                  </a:lnTo>
                  <a:lnTo>
                    <a:pt x="88" y="6"/>
                  </a:lnTo>
                  <a:lnTo>
                    <a:pt x="92" y="6"/>
                  </a:lnTo>
                  <a:lnTo>
                    <a:pt x="94" y="8"/>
                  </a:lnTo>
                  <a:lnTo>
                    <a:pt x="94" y="8"/>
                  </a:lnTo>
                  <a:lnTo>
                    <a:pt x="96" y="8"/>
                  </a:lnTo>
                  <a:lnTo>
                    <a:pt x="96" y="10"/>
                  </a:lnTo>
                  <a:lnTo>
                    <a:pt x="96" y="10"/>
                  </a:lnTo>
                  <a:lnTo>
                    <a:pt x="98" y="12"/>
                  </a:lnTo>
                  <a:lnTo>
                    <a:pt x="98" y="14"/>
                  </a:lnTo>
                  <a:lnTo>
                    <a:pt x="100" y="16"/>
                  </a:lnTo>
                  <a:lnTo>
                    <a:pt x="100" y="16"/>
                  </a:lnTo>
                  <a:lnTo>
                    <a:pt x="102" y="16"/>
                  </a:lnTo>
                  <a:lnTo>
                    <a:pt x="102" y="18"/>
                  </a:lnTo>
                  <a:lnTo>
                    <a:pt x="104" y="18"/>
                  </a:lnTo>
                  <a:lnTo>
                    <a:pt x="106" y="18"/>
                  </a:lnTo>
                  <a:lnTo>
                    <a:pt x="110" y="18"/>
                  </a:lnTo>
                  <a:lnTo>
                    <a:pt x="116" y="20"/>
                  </a:lnTo>
                  <a:lnTo>
                    <a:pt x="124" y="20"/>
                  </a:lnTo>
                  <a:lnTo>
                    <a:pt x="128" y="20"/>
                  </a:lnTo>
                  <a:lnTo>
                    <a:pt x="130" y="20"/>
                  </a:lnTo>
                  <a:lnTo>
                    <a:pt x="138" y="22"/>
                  </a:lnTo>
                  <a:lnTo>
                    <a:pt x="142" y="22"/>
                  </a:lnTo>
                  <a:lnTo>
                    <a:pt x="142" y="24"/>
                  </a:lnTo>
                  <a:lnTo>
                    <a:pt x="140" y="28"/>
                  </a:lnTo>
                  <a:lnTo>
                    <a:pt x="138" y="32"/>
                  </a:lnTo>
                  <a:lnTo>
                    <a:pt x="136" y="34"/>
                  </a:lnTo>
                  <a:lnTo>
                    <a:pt x="136" y="36"/>
                  </a:lnTo>
                  <a:lnTo>
                    <a:pt x="134" y="38"/>
                  </a:lnTo>
                  <a:lnTo>
                    <a:pt x="134" y="40"/>
                  </a:lnTo>
                  <a:lnTo>
                    <a:pt x="134" y="44"/>
                  </a:lnTo>
                  <a:lnTo>
                    <a:pt x="134" y="48"/>
                  </a:lnTo>
                  <a:lnTo>
                    <a:pt x="136" y="54"/>
                  </a:lnTo>
                  <a:lnTo>
                    <a:pt x="136" y="62"/>
                  </a:lnTo>
                  <a:lnTo>
                    <a:pt x="136" y="70"/>
                  </a:lnTo>
                  <a:lnTo>
                    <a:pt x="138" y="72"/>
                  </a:lnTo>
                  <a:lnTo>
                    <a:pt x="138" y="76"/>
                  </a:lnTo>
                  <a:lnTo>
                    <a:pt x="136" y="80"/>
                  </a:lnTo>
                  <a:lnTo>
                    <a:pt x="136" y="82"/>
                  </a:lnTo>
                  <a:lnTo>
                    <a:pt x="136" y="86"/>
                  </a:lnTo>
                  <a:lnTo>
                    <a:pt x="136" y="86"/>
                  </a:lnTo>
                  <a:lnTo>
                    <a:pt x="134" y="88"/>
                  </a:lnTo>
                  <a:lnTo>
                    <a:pt x="134" y="88"/>
                  </a:lnTo>
                  <a:lnTo>
                    <a:pt x="134" y="88"/>
                  </a:lnTo>
                  <a:lnTo>
                    <a:pt x="132" y="90"/>
                  </a:lnTo>
                  <a:lnTo>
                    <a:pt x="132" y="90"/>
                  </a:lnTo>
                  <a:lnTo>
                    <a:pt x="128" y="92"/>
                  </a:lnTo>
                  <a:lnTo>
                    <a:pt x="128" y="92"/>
                  </a:lnTo>
                  <a:lnTo>
                    <a:pt x="126" y="92"/>
                  </a:lnTo>
                  <a:lnTo>
                    <a:pt x="126" y="94"/>
                  </a:lnTo>
                  <a:lnTo>
                    <a:pt x="124" y="94"/>
                  </a:lnTo>
                  <a:lnTo>
                    <a:pt x="122" y="94"/>
                  </a:lnTo>
                  <a:lnTo>
                    <a:pt x="120" y="94"/>
                  </a:lnTo>
                  <a:lnTo>
                    <a:pt x="120" y="96"/>
                  </a:lnTo>
                  <a:lnTo>
                    <a:pt x="120" y="96"/>
                  </a:lnTo>
                  <a:lnTo>
                    <a:pt x="118" y="96"/>
                  </a:lnTo>
                  <a:lnTo>
                    <a:pt x="118" y="98"/>
                  </a:lnTo>
                  <a:lnTo>
                    <a:pt x="118" y="100"/>
                  </a:lnTo>
                  <a:lnTo>
                    <a:pt x="118" y="100"/>
                  </a:lnTo>
                  <a:lnTo>
                    <a:pt x="116" y="104"/>
                  </a:lnTo>
                  <a:lnTo>
                    <a:pt x="116" y="108"/>
                  </a:lnTo>
                  <a:lnTo>
                    <a:pt x="116" y="112"/>
                  </a:lnTo>
                  <a:lnTo>
                    <a:pt x="116" y="118"/>
                  </a:lnTo>
                  <a:lnTo>
                    <a:pt x="116" y="122"/>
                  </a:lnTo>
                  <a:lnTo>
                    <a:pt x="118" y="126"/>
                  </a:lnTo>
                  <a:lnTo>
                    <a:pt x="118" y="134"/>
                  </a:lnTo>
                  <a:lnTo>
                    <a:pt x="120" y="142"/>
                  </a:lnTo>
                  <a:lnTo>
                    <a:pt x="120" y="148"/>
                  </a:lnTo>
                  <a:lnTo>
                    <a:pt x="120" y="154"/>
                  </a:lnTo>
                  <a:lnTo>
                    <a:pt x="122" y="162"/>
                  </a:lnTo>
                  <a:lnTo>
                    <a:pt x="122" y="172"/>
                  </a:lnTo>
                  <a:lnTo>
                    <a:pt x="120" y="180"/>
                  </a:lnTo>
                  <a:lnTo>
                    <a:pt x="120" y="186"/>
                  </a:lnTo>
                  <a:lnTo>
                    <a:pt x="120" y="190"/>
                  </a:lnTo>
                  <a:lnTo>
                    <a:pt x="120" y="194"/>
                  </a:lnTo>
                  <a:lnTo>
                    <a:pt x="118" y="198"/>
                  </a:lnTo>
                  <a:lnTo>
                    <a:pt x="118" y="202"/>
                  </a:lnTo>
                  <a:lnTo>
                    <a:pt x="118" y="204"/>
                  </a:lnTo>
                  <a:lnTo>
                    <a:pt x="116" y="204"/>
                  </a:lnTo>
                  <a:lnTo>
                    <a:pt x="116" y="206"/>
                  </a:lnTo>
                  <a:lnTo>
                    <a:pt x="116" y="206"/>
                  </a:lnTo>
                  <a:lnTo>
                    <a:pt x="114" y="208"/>
                  </a:lnTo>
                  <a:lnTo>
                    <a:pt x="114" y="210"/>
                  </a:lnTo>
                  <a:lnTo>
                    <a:pt x="112" y="210"/>
                  </a:lnTo>
                  <a:lnTo>
                    <a:pt x="110" y="212"/>
                  </a:lnTo>
                  <a:lnTo>
                    <a:pt x="110" y="212"/>
                  </a:lnTo>
                  <a:lnTo>
                    <a:pt x="108" y="214"/>
                  </a:lnTo>
                  <a:lnTo>
                    <a:pt x="106" y="214"/>
                  </a:lnTo>
                  <a:lnTo>
                    <a:pt x="104" y="214"/>
                  </a:lnTo>
                  <a:lnTo>
                    <a:pt x="102" y="214"/>
                  </a:lnTo>
                  <a:lnTo>
                    <a:pt x="98" y="214"/>
                  </a:lnTo>
                  <a:lnTo>
                    <a:pt x="96" y="214"/>
                  </a:lnTo>
                  <a:lnTo>
                    <a:pt x="94" y="212"/>
                  </a:lnTo>
                  <a:lnTo>
                    <a:pt x="90" y="212"/>
                  </a:lnTo>
                  <a:lnTo>
                    <a:pt x="90" y="212"/>
                  </a:lnTo>
                  <a:lnTo>
                    <a:pt x="88" y="212"/>
                  </a:lnTo>
                  <a:lnTo>
                    <a:pt x="88" y="210"/>
                  </a:lnTo>
                  <a:lnTo>
                    <a:pt x="88" y="210"/>
                  </a:lnTo>
                  <a:lnTo>
                    <a:pt x="88" y="208"/>
                  </a:lnTo>
                  <a:lnTo>
                    <a:pt x="86" y="206"/>
                  </a:lnTo>
                  <a:lnTo>
                    <a:pt x="86" y="204"/>
                  </a:lnTo>
                  <a:lnTo>
                    <a:pt x="84" y="202"/>
                  </a:lnTo>
                  <a:lnTo>
                    <a:pt x="84" y="202"/>
                  </a:lnTo>
                  <a:lnTo>
                    <a:pt x="84" y="200"/>
                  </a:lnTo>
                  <a:lnTo>
                    <a:pt x="84" y="200"/>
                  </a:lnTo>
                  <a:lnTo>
                    <a:pt x="82" y="200"/>
                  </a:lnTo>
                  <a:lnTo>
                    <a:pt x="82" y="200"/>
                  </a:lnTo>
                  <a:lnTo>
                    <a:pt x="82" y="200"/>
                  </a:lnTo>
                  <a:lnTo>
                    <a:pt x="82" y="200"/>
                  </a:lnTo>
                  <a:lnTo>
                    <a:pt x="80" y="202"/>
                  </a:lnTo>
                  <a:lnTo>
                    <a:pt x="80" y="202"/>
                  </a:lnTo>
                  <a:lnTo>
                    <a:pt x="80" y="204"/>
                  </a:lnTo>
                  <a:lnTo>
                    <a:pt x="78" y="204"/>
                  </a:lnTo>
                  <a:lnTo>
                    <a:pt x="78" y="204"/>
                  </a:lnTo>
                  <a:lnTo>
                    <a:pt x="76" y="204"/>
                  </a:lnTo>
                  <a:lnTo>
                    <a:pt x="74" y="204"/>
                  </a:lnTo>
                  <a:lnTo>
                    <a:pt x="72" y="204"/>
                  </a:lnTo>
                  <a:lnTo>
                    <a:pt x="70" y="206"/>
                  </a:lnTo>
                  <a:lnTo>
                    <a:pt x="68" y="206"/>
                  </a:lnTo>
                  <a:lnTo>
                    <a:pt x="66" y="200"/>
                  </a:lnTo>
                  <a:lnTo>
                    <a:pt x="66" y="196"/>
                  </a:lnTo>
                  <a:lnTo>
                    <a:pt x="64" y="194"/>
                  </a:lnTo>
                  <a:lnTo>
                    <a:pt x="64" y="192"/>
                  </a:lnTo>
                  <a:lnTo>
                    <a:pt x="62" y="190"/>
                  </a:lnTo>
                  <a:lnTo>
                    <a:pt x="60" y="188"/>
                  </a:lnTo>
                  <a:lnTo>
                    <a:pt x="58" y="184"/>
                  </a:lnTo>
                  <a:lnTo>
                    <a:pt x="58" y="184"/>
                  </a:lnTo>
                  <a:lnTo>
                    <a:pt x="56" y="184"/>
                  </a:lnTo>
                  <a:lnTo>
                    <a:pt x="56" y="182"/>
                  </a:lnTo>
                  <a:lnTo>
                    <a:pt x="54" y="182"/>
                  </a:lnTo>
                  <a:lnTo>
                    <a:pt x="52" y="182"/>
                  </a:lnTo>
                  <a:lnTo>
                    <a:pt x="50" y="182"/>
                  </a:lnTo>
                  <a:lnTo>
                    <a:pt x="48" y="182"/>
                  </a:lnTo>
                  <a:lnTo>
                    <a:pt x="48" y="182"/>
                  </a:lnTo>
                  <a:lnTo>
                    <a:pt x="46" y="182"/>
                  </a:lnTo>
                  <a:lnTo>
                    <a:pt x="46" y="182"/>
                  </a:lnTo>
                  <a:lnTo>
                    <a:pt x="46" y="180"/>
                  </a:lnTo>
                  <a:lnTo>
                    <a:pt x="46" y="180"/>
                  </a:lnTo>
                  <a:lnTo>
                    <a:pt x="46" y="178"/>
                  </a:lnTo>
                  <a:lnTo>
                    <a:pt x="46" y="178"/>
                  </a:lnTo>
                  <a:lnTo>
                    <a:pt x="46" y="174"/>
                  </a:lnTo>
                  <a:lnTo>
                    <a:pt x="46" y="172"/>
                  </a:lnTo>
                  <a:lnTo>
                    <a:pt x="46" y="166"/>
                  </a:lnTo>
                  <a:lnTo>
                    <a:pt x="46" y="164"/>
                  </a:lnTo>
                  <a:lnTo>
                    <a:pt x="46" y="162"/>
                  </a:lnTo>
                  <a:lnTo>
                    <a:pt x="46" y="162"/>
                  </a:lnTo>
                  <a:lnTo>
                    <a:pt x="46" y="160"/>
                  </a:lnTo>
                  <a:lnTo>
                    <a:pt x="46" y="156"/>
                  </a:lnTo>
                  <a:lnTo>
                    <a:pt x="44" y="150"/>
                  </a:lnTo>
                  <a:lnTo>
                    <a:pt x="44" y="144"/>
                  </a:lnTo>
                  <a:lnTo>
                    <a:pt x="42" y="142"/>
                  </a:lnTo>
                  <a:lnTo>
                    <a:pt x="42" y="140"/>
                  </a:lnTo>
                  <a:lnTo>
                    <a:pt x="42" y="136"/>
                  </a:lnTo>
                  <a:lnTo>
                    <a:pt x="42" y="132"/>
                  </a:lnTo>
                  <a:lnTo>
                    <a:pt x="42" y="124"/>
                  </a:lnTo>
                  <a:lnTo>
                    <a:pt x="42" y="114"/>
                  </a:lnTo>
                  <a:lnTo>
                    <a:pt x="42" y="108"/>
                  </a:lnTo>
                  <a:lnTo>
                    <a:pt x="40" y="106"/>
                  </a:lnTo>
                  <a:lnTo>
                    <a:pt x="40" y="104"/>
                  </a:lnTo>
                  <a:lnTo>
                    <a:pt x="40" y="100"/>
                  </a:lnTo>
                  <a:lnTo>
                    <a:pt x="38" y="96"/>
                  </a:lnTo>
                  <a:lnTo>
                    <a:pt x="36" y="90"/>
                  </a:lnTo>
                  <a:lnTo>
                    <a:pt x="34" y="86"/>
                  </a:lnTo>
                  <a:lnTo>
                    <a:pt x="34" y="84"/>
                  </a:lnTo>
                  <a:lnTo>
                    <a:pt x="30" y="78"/>
                  </a:lnTo>
                  <a:lnTo>
                    <a:pt x="28" y="74"/>
                  </a:lnTo>
                  <a:lnTo>
                    <a:pt x="26" y="68"/>
                  </a:lnTo>
                  <a:lnTo>
                    <a:pt x="24" y="64"/>
                  </a:lnTo>
                  <a:lnTo>
                    <a:pt x="22" y="58"/>
                  </a:lnTo>
                  <a:lnTo>
                    <a:pt x="18" y="54"/>
                  </a:lnTo>
                  <a:lnTo>
                    <a:pt x="16" y="50"/>
                  </a:lnTo>
                  <a:lnTo>
                    <a:pt x="14" y="46"/>
                  </a:lnTo>
                  <a:lnTo>
                    <a:pt x="14" y="42"/>
                  </a:lnTo>
                  <a:lnTo>
                    <a:pt x="12" y="40"/>
                  </a:lnTo>
                  <a:lnTo>
                    <a:pt x="10" y="38"/>
                  </a:lnTo>
                  <a:lnTo>
                    <a:pt x="10" y="36"/>
                  </a:lnTo>
                  <a:lnTo>
                    <a:pt x="6" y="34"/>
                  </a:lnTo>
                  <a:lnTo>
                    <a:pt x="4" y="30"/>
                  </a:lnTo>
                  <a:lnTo>
                    <a:pt x="2" y="28"/>
                  </a:lnTo>
                  <a:lnTo>
                    <a:pt x="2" y="28"/>
                  </a:lnTo>
                  <a:lnTo>
                    <a:pt x="0" y="26"/>
                  </a:lnTo>
                  <a:lnTo>
                    <a:pt x="0" y="26"/>
                  </a:lnTo>
                  <a:lnTo>
                    <a:pt x="0" y="24"/>
                  </a:lnTo>
                  <a:lnTo>
                    <a:pt x="0" y="22"/>
                  </a:lnTo>
                  <a:lnTo>
                    <a:pt x="0" y="20"/>
                  </a:lnTo>
                  <a:lnTo>
                    <a:pt x="0" y="16"/>
                  </a:lnTo>
                  <a:lnTo>
                    <a:pt x="0" y="14"/>
                  </a:lnTo>
                  <a:lnTo>
                    <a:pt x="2" y="8"/>
                  </a:lnTo>
                  <a:lnTo>
                    <a:pt x="2" y="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7" name="Freeform 364"/>
            <p:cNvSpPr>
              <a:spLocks/>
            </p:cNvSpPr>
            <p:nvPr/>
          </p:nvSpPr>
          <p:spPr bwMode="auto">
            <a:xfrm>
              <a:off x="4553272" y="5131192"/>
              <a:ext cx="245955" cy="370664"/>
            </a:xfrm>
            <a:custGeom>
              <a:avLst/>
              <a:gdLst>
                <a:gd name="T0" fmla="*/ 8 w 142"/>
                <a:gd name="T1" fmla="*/ 2 h 214"/>
                <a:gd name="T2" fmla="*/ 16 w 142"/>
                <a:gd name="T3" fmla="*/ 0 h 214"/>
                <a:gd name="T4" fmla="*/ 20 w 142"/>
                <a:gd name="T5" fmla="*/ 0 h 214"/>
                <a:gd name="T6" fmla="*/ 30 w 142"/>
                <a:gd name="T7" fmla="*/ 6 h 214"/>
                <a:gd name="T8" fmla="*/ 40 w 142"/>
                <a:gd name="T9" fmla="*/ 8 h 214"/>
                <a:gd name="T10" fmla="*/ 60 w 142"/>
                <a:gd name="T11" fmla="*/ 10 h 214"/>
                <a:gd name="T12" fmla="*/ 82 w 142"/>
                <a:gd name="T13" fmla="*/ 6 h 214"/>
                <a:gd name="T14" fmla="*/ 92 w 142"/>
                <a:gd name="T15" fmla="*/ 6 h 214"/>
                <a:gd name="T16" fmla="*/ 96 w 142"/>
                <a:gd name="T17" fmla="*/ 10 h 214"/>
                <a:gd name="T18" fmla="*/ 100 w 142"/>
                <a:gd name="T19" fmla="*/ 16 h 214"/>
                <a:gd name="T20" fmla="*/ 104 w 142"/>
                <a:gd name="T21" fmla="*/ 18 h 214"/>
                <a:gd name="T22" fmla="*/ 124 w 142"/>
                <a:gd name="T23" fmla="*/ 20 h 214"/>
                <a:gd name="T24" fmla="*/ 142 w 142"/>
                <a:gd name="T25" fmla="*/ 22 h 214"/>
                <a:gd name="T26" fmla="*/ 136 w 142"/>
                <a:gd name="T27" fmla="*/ 34 h 214"/>
                <a:gd name="T28" fmla="*/ 134 w 142"/>
                <a:gd name="T29" fmla="*/ 44 h 214"/>
                <a:gd name="T30" fmla="*/ 136 w 142"/>
                <a:gd name="T31" fmla="*/ 70 h 214"/>
                <a:gd name="T32" fmla="*/ 136 w 142"/>
                <a:gd name="T33" fmla="*/ 82 h 214"/>
                <a:gd name="T34" fmla="*/ 134 w 142"/>
                <a:gd name="T35" fmla="*/ 88 h 214"/>
                <a:gd name="T36" fmla="*/ 128 w 142"/>
                <a:gd name="T37" fmla="*/ 92 h 214"/>
                <a:gd name="T38" fmla="*/ 124 w 142"/>
                <a:gd name="T39" fmla="*/ 94 h 214"/>
                <a:gd name="T40" fmla="*/ 120 w 142"/>
                <a:gd name="T41" fmla="*/ 96 h 214"/>
                <a:gd name="T42" fmla="*/ 118 w 142"/>
                <a:gd name="T43" fmla="*/ 100 h 214"/>
                <a:gd name="T44" fmla="*/ 116 w 142"/>
                <a:gd name="T45" fmla="*/ 118 h 214"/>
                <a:gd name="T46" fmla="*/ 120 w 142"/>
                <a:gd name="T47" fmla="*/ 142 h 214"/>
                <a:gd name="T48" fmla="*/ 122 w 142"/>
                <a:gd name="T49" fmla="*/ 172 h 214"/>
                <a:gd name="T50" fmla="*/ 120 w 142"/>
                <a:gd name="T51" fmla="*/ 194 h 214"/>
                <a:gd name="T52" fmla="*/ 116 w 142"/>
                <a:gd name="T53" fmla="*/ 204 h 214"/>
                <a:gd name="T54" fmla="*/ 114 w 142"/>
                <a:gd name="T55" fmla="*/ 210 h 214"/>
                <a:gd name="T56" fmla="*/ 108 w 142"/>
                <a:gd name="T57" fmla="*/ 214 h 214"/>
                <a:gd name="T58" fmla="*/ 98 w 142"/>
                <a:gd name="T59" fmla="*/ 214 h 214"/>
                <a:gd name="T60" fmla="*/ 90 w 142"/>
                <a:gd name="T61" fmla="*/ 212 h 214"/>
                <a:gd name="T62" fmla="*/ 88 w 142"/>
                <a:gd name="T63" fmla="*/ 208 h 214"/>
                <a:gd name="T64" fmla="*/ 84 w 142"/>
                <a:gd name="T65" fmla="*/ 202 h 214"/>
                <a:gd name="T66" fmla="*/ 82 w 142"/>
                <a:gd name="T67" fmla="*/ 200 h 214"/>
                <a:gd name="T68" fmla="*/ 80 w 142"/>
                <a:gd name="T69" fmla="*/ 202 h 214"/>
                <a:gd name="T70" fmla="*/ 76 w 142"/>
                <a:gd name="T71" fmla="*/ 204 h 214"/>
                <a:gd name="T72" fmla="*/ 68 w 142"/>
                <a:gd name="T73" fmla="*/ 206 h 214"/>
                <a:gd name="T74" fmla="*/ 64 w 142"/>
                <a:gd name="T75" fmla="*/ 192 h 214"/>
                <a:gd name="T76" fmla="*/ 58 w 142"/>
                <a:gd name="T77" fmla="*/ 184 h 214"/>
                <a:gd name="T78" fmla="*/ 52 w 142"/>
                <a:gd name="T79" fmla="*/ 182 h 214"/>
                <a:gd name="T80" fmla="*/ 46 w 142"/>
                <a:gd name="T81" fmla="*/ 182 h 214"/>
                <a:gd name="T82" fmla="*/ 46 w 142"/>
                <a:gd name="T83" fmla="*/ 178 h 214"/>
                <a:gd name="T84" fmla="*/ 46 w 142"/>
                <a:gd name="T85" fmla="*/ 166 h 214"/>
                <a:gd name="T86" fmla="*/ 46 w 142"/>
                <a:gd name="T87" fmla="*/ 160 h 214"/>
                <a:gd name="T88" fmla="*/ 42 w 142"/>
                <a:gd name="T89" fmla="*/ 142 h 214"/>
                <a:gd name="T90" fmla="*/ 42 w 142"/>
                <a:gd name="T91" fmla="*/ 124 h 214"/>
                <a:gd name="T92" fmla="*/ 40 w 142"/>
                <a:gd name="T93" fmla="*/ 104 h 214"/>
                <a:gd name="T94" fmla="*/ 34 w 142"/>
                <a:gd name="T95" fmla="*/ 86 h 214"/>
                <a:gd name="T96" fmla="*/ 26 w 142"/>
                <a:gd name="T97" fmla="*/ 68 h 214"/>
                <a:gd name="T98" fmla="*/ 16 w 142"/>
                <a:gd name="T99" fmla="*/ 50 h 214"/>
                <a:gd name="T100" fmla="*/ 10 w 142"/>
                <a:gd name="T101" fmla="*/ 38 h 214"/>
                <a:gd name="T102" fmla="*/ 2 w 142"/>
                <a:gd name="T103" fmla="*/ 28 h 214"/>
                <a:gd name="T104" fmla="*/ 0 w 142"/>
                <a:gd name="T105" fmla="*/ 24 h 214"/>
                <a:gd name="T106" fmla="*/ 0 w 142"/>
                <a:gd name="T107" fmla="*/ 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14">
                  <a:moveTo>
                    <a:pt x="2" y="6"/>
                  </a:moveTo>
                  <a:lnTo>
                    <a:pt x="2" y="6"/>
                  </a:lnTo>
                  <a:lnTo>
                    <a:pt x="4" y="4"/>
                  </a:lnTo>
                  <a:lnTo>
                    <a:pt x="8" y="2"/>
                  </a:lnTo>
                  <a:lnTo>
                    <a:pt x="10" y="2"/>
                  </a:lnTo>
                  <a:lnTo>
                    <a:pt x="12" y="0"/>
                  </a:lnTo>
                  <a:lnTo>
                    <a:pt x="14" y="0"/>
                  </a:lnTo>
                  <a:lnTo>
                    <a:pt x="16" y="0"/>
                  </a:lnTo>
                  <a:lnTo>
                    <a:pt x="16" y="0"/>
                  </a:lnTo>
                  <a:lnTo>
                    <a:pt x="16" y="0"/>
                  </a:lnTo>
                  <a:lnTo>
                    <a:pt x="18" y="0"/>
                  </a:lnTo>
                  <a:lnTo>
                    <a:pt x="20" y="0"/>
                  </a:lnTo>
                  <a:lnTo>
                    <a:pt x="22" y="2"/>
                  </a:lnTo>
                  <a:lnTo>
                    <a:pt x="24" y="2"/>
                  </a:lnTo>
                  <a:lnTo>
                    <a:pt x="28" y="6"/>
                  </a:lnTo>
                  <a:lnTo>
                    <a:pt x="30" y="6"/>
                  </a:lnTo>
                  <a:lnTo>
                    <a:pt x="32" y="6"/>
                  </a:lnTo>
                  <a:lnTo>
                    <a:pt x="34" y="8"/>
                  </a:lnTo>
                  <a:lnTo>
                    <a:pt x="38" y="8"/>
                  </a:lnTo>
                  <a:lnTo>
                    <a:pt x="40" y="8"/>
                  </a:lnTo>
                  <a:lnTo>
                    <a:pt x="44" y="8"/>
                  </a:lnTo>
                  <a:lnTo>
                    <a:pt x="52" y="8"/>
                  </a:lnTo>
                  <a:lnTo>
                    <a:pt x="58" y="10"/>
                  </a:lnTo>
                  <a:lnTo>
                    <a:pt x="60" y="10"/>
                  </a:lnTo>
                  <a:lnTo>
                    <a:pt x="62" y="10"/>
                  </a:lnTo>
                  <a:lnTo>
                    <a:pt x="66" y="8"/>
                  </a:lnTo>
                  <a:lnTo>
                    <a:pt x="76" y="8"/>
                  </a:lnTo>
                  <a:lnTo>
                    <a:pt x="82" y="6"/>
                  </a:lnTo>
                  <a:lnTo>
                    <a:pt x="84" y="6"/>
                  </a:lnTo>
                  <a:lnTo>
                    <a:pt x="86" y="6"/>
                  </a:lnTo>
                  <a:lnTo>
                    <a:pt x="88" y="6"/>
                  </a:lnTo>
                  <a:lnTo>
                    <a:pt x="92" y="6"/>
                  </a:lnTo>
                  <a:lnTo>
                    <a:pt x="94" y="8"/>
                  </a:lnTo>
                  <a:lnTo>
                    <a:pt x="94" y="8"/>
                  </a:lnTo>
                  <a:lnTo>
                    <a:pt x="96" y="8"/>
                  </a:lnTo>
                  <a:lnTo>
                    <a:pt x="96" y="10"/>
                  </a:lnTo>
                  <a:lnTo>
                    <a:pt x="96" y="10"/>
                  </a:lnTo>
                  <a:lnTo>
                    <a:pt x="98" y="12"/>
                  </a:lnTo>
                  <a:lnTo>
                    <a:pt x="98" y="14"/>
                  </a:lnTo>
                  <a:lnTo>
                    <a:pt x="100" y="16"/>
                  </a:lnTo>
                  <a:lnTo>
                    <a:pt x="100" y="16"/>
                  </a:lnTo>
                  <a:lnTo>
                    <a:pt x="102" y="16"/>
                  </a:lnTo>
                  <a:lnTo>
                    <a:pt x="102" y="18"/>
                  </a:lnTo>
                  <a:lnTo>
                    <a:pt x="104" y="18"/>
                  </a:lnTo>
                  <a:lnTo>
                    <a:pt x="106" y="18"/>
                  </a:lnTo>
                  <a:lnTo>
                    <a:pt x="110" y="18"/>
                  </a:lnTo>
                  <a:lnTo>
                    <a:pt x="116" y="20"/>
                  </a:lnTo>
                  <a:lnTo>
                    <a:pt x="124" y="20"/>
                  </a:lnTo>
                  <a:lnTo>
                    <a:pt x="128" y="20"/>
                  </a:lnTo>
                  <a:lnTo>
                    <a:pt x="130" y="20"/>
                  </a:lnTo>
                  <a:lnTo>
                    <a:pt x="138" y="22"/>
                  </a:lnTo>
                  <a:lnTo>
                    <a:pt x="142" y="22"/>
                  </a:lnTo>
                  <a:lnTo>
                    <a:pt x="142" y="24"/>
                  </a:lnTo>
                  <a:lnTo>
                    <a:pt x="140" y="28"/>
                  </a:lnTo>
                  <a:lnTo>
                    <a:pt x="138" y="32"/>
                  </a:lnTo>
                  <a:lnTo>
                    <a:pt x="136" y="34"/>
                  </a:lnTo>
                  <a:lnTo>
                    <a:pt x="136" y="36"/>
                  </a:lnTo>
                  <a:lnTo>
                    <a:pt x="134" y="38"/>
                  </a:lnTo>
                  <a:lnTo>
                    <a:pt x="134" y="40"/>
                  </a:lnTo>
                  <a:lnTo>
                    <a:pt x="134" y="44"/>
                  </a:lnTo>
                  <a:lnTo>
                    <a:pt x="134" y="48"/>
                  </a:lnTo>
                  <a:lnTo>
                    <a:pt x="136" y="54"/>
                  </a:lnTo>
                  <a:lnTo>
                    <a:pt x="136" y="62"/>
                  </a:lnTo>
                  <a:lnTo>
                    <a:pt x="136" y="70"/>
                  </a:lnTo>
                  <a:lnTo>
                    <a:pt x="138" y="72"/>
                  </a:lnTo>
                  <a:lnTo>
                    <a:pt x="138" y="76"/>
                  </a:lnTo>
                  <a:lnTo>
                    <a:pt x="136" y="80"/>
                  </a:lnTo>
                  <a:lnTo>
                    <a:pt x="136" y="82"/>
                  </a:lnTo>
                  <a:lnTo>
                    <a:pt x="136" y="86"/>
                  </a:lnTo>
                  <a:lnTo>
                    <a:pt x="136" y="86"/>
                  </a:lnTo>
                  <a:lnTo>
                    <a:pt x="134" y="88"/>
                  </a:lnTo>
                  <a:lnTo>
                    <a:pt x="134" y="88"/>
                  </a:lnTo>
                  <a:lnTo>
                    <a:pt x="134" y="88"/>
                  </a:lnTo>
                  <a:lnTo>
                    <a:pt x="132" y="90"/>
                  </a:lnTo>
                  <a:lnTo>
                    <a:pt x="132" y="90"/>
                  </a:lnTo>
                  <a:lnTo>
                    <a:pt x="128" y="92"/>
                  </a:lnTo>
                  <a:lnTo>
                    <a:pt x="128" y="92"/>
                  </a:lnTo>
                  <a:lnTo>
                    <a:pt x="126" y="92"/>
                  </a:lnTo>
                  <a:lnTo>
                    <a:pt x="126" y="94"/>
                  </a:lnTo>
                  <a:lnTo>
                    <a:pt x="124" y="94"/>
                  </a:lnTo>
                  <a:lnTo>
                    <a:pt x="122" y="94"/>
                  </a:lnTo>
                  <a:lnTo>
                    <a:pt x="120" y="94"/>
                  </a:lnTo>
                  <a:lnTo>
                    <a:pt x="120" y="96"/>
                  </a:lnTo>
                  <a:lnTo>
                    <a:pt x="120" y="96"/>
                  </a:lnTo>
                  <a:lnTo>
                    <a:pt x="118" y="96"/>
                  </a:lnTo>
                  <a:lnTo>
                    <a:pt x="118" y="98"/>
                  </a:lnTo>
                  <a:lnTo>
                    <a:pt x="118" y="100"/>
                  </a:lnTo>
                  <a:lnTo>
                    <a:pt x="118" y="100"/>
                  </a:lnTo>
                  <a:lnTo>
                    <a:pt x="116" y="104"/>
                  </a:lnTo>
                  <a:lnTo>
                    <a:pt x="116" y="108"/>
                  </a:lnTo>
                  <a:lnTo>
                    <a:pt x="116" y="112"/>
                  </a:lnTo>
                  <a:lnTo>
                    <a:pt x="116" y="118"/>
                  </a:lnTo>
                  <a:lnTo>
                    <a:pt x="116" y="122"/>
                  </a:lnTo>
                  <a:lnTo>
                    <a:pt x="118" y="126"/>
                  </a:lnTo>
                  <a:lnTo>
                    <a:pt x="118" y="134"/>
                  </a:lnTo>
                  <a:lnTo>
                    <a:pt x="120" y="142"/>
                  </a:lnTo>
                  <a:lnTo>
                    <a:pt x="120" y="148"/>
                  </a:lnTo>
                  <a:lnTo>
                    <a:pt x="120" y="154"/>
                  </a:lnTo>
                  <a:lnTo>
                    <a:pt x="122" y="162"/>
                  </a:lnTo>
                  <a:lnTo>
                    <a:pt x="122" y="172"/>
                  </a:lnTo>
                  <a:lnTo>
                    <a:pt x="120" y="180"/>
                  </a:lnTo>
                  <a:lnTo>
                    <a:pt x="120" y="186"/>
                  </a:lnTo>
                  <a:lnTo>
                    <a:pt x="120" y="190"/>
                  </a:lnTo>
                  <a:lnTo>
                    <a:pt x="120" y="194"/>
                  </a:lnTo>
                  <a:lnTo>
                    <a:pt x="118" y="198"/>
                  </a:lnTo>
                  <a:lnTo>
                    <a:pt x="118" y="202"/>
                  </a:lnTo>
                  <a:lnTo>
                    <a:pt x="118" y="204"/>
                  </a:lnTo>
                  <a:lnTo>
                    <a:pt x="116" y="204"/>
                  </a:lnTo>
                  <a:lnTo>
                    <a:pt x="116" y="206"/>
                  </a:lnTo>
                  <a:lnTo>
                    <a:pt x="116" y="206"/>
                  </a:lnTo>
                  <a:lnTo>
                    <a:pt x="114" y="208"/>
                  </a:lnTo>
                  <a:lnTo>
                    <a:pt x="114" y="210"/>
                  </a:lnTo>
                  <a:lnTo>
                    <a:pt x="112" y="210"/>
                  </a:lnTo>
                  <a:lnTo>
                    <a:pt x="110" y="212"/>
                  </a:lnTo>
                  <a:lnTo>
                    <a:pt x="110" y="212"/>
                  </a:lnTo>
                  <a:lnTo>
                    <a:pt x="108" y="214"/>
                  </a:lnTo>
                  <a:lnTo>
                    <a:pt x="106" y="214"/>
                  </a:lnTo>
                  <a:lnTo>
                    <a:pt x="104" y="214"/>
                  </a:lnTo>
                  <a:lnTo>
                    <a:pt x="102" y="214"/>
                  </a:lnTo>
                  <a:lnTo>
                    <a:pt x="98" y="214"/>
                  </a:lnTo>
                  <a:lnTo>
                    <a:pt x="96" y="214"/>
                  </a:lnTo>
                  <a:lnTo>
                    <a:pt x="94" y="212"/>
                  </a:lnTo>
                  <a:lnTo>
                    <a:pt x="90" y="212"/>
                  </a:lnTo>
                  <a:lnTo>
                    <a:pt x="90" y="212"/>
                  </a:lnTo>
                  <a:lnTo>
                    <a:pt x="88" y="212"/>
                  </a:lnTo>
                  <a:lnTo>
                    <a:pt x="88" y="210"/>
                  </a:lnTo>
                  <a:lnTo>
                    <a:pt x="88" y="210"/>
                  </a:lnTo>
                  <a:lnTo>
                    <a:pt x="88" y="208"/>
                  </a:lnTo>
                  <a:lnTo>
                    <a:pt x="86" y="206"/>
                  </a:lnTo>
                  <a:lnTo>
                    <a:pt x="86" y="204"/>
                  </a:lnTo>
                  <a:lnTo>
                    <a:pt x="84" y="202"/>
                  </a:lnTo>
                  <a:lnTo>
                    <a:pt x="84" y="202"/>
                  </a:lnTo>
                  <a:lnTo>
                    <a:pt x="84" y="200"/>
                  </a:lnTo>
                  <a:lnTo>
                    <a:pt x="84" y="200"/>
                  </a:lnTo>
                  <a:lnTo>
                    <a:pt x="82" y="200"/>
                  </a:lnTo>
                  <a:lnTo>
                    <a:pt x="82" y="200"/>
                  </a:lnTo>
                  <a:lnTo>
                    <a:pt x="82" y="200"/>
                  </a:lnTo>
                  <a:lnTo>
                    <a:pt x="82" y="200"/>
                  </a:lnTo>
                  <a:lnTo>
                    <a:pt x="80" y="202"/>
                  </a:lnTo>
                  <a:lnTo>
                    <a:pt x="80" y="202"/>
                  </a:lnTo>
                  <a:lnTo>
                    <a:pt x="80" y="204"/>
                  </a:lnTo>
                  <a:lnTo>
                    <a:pt x="78" y="204"/>
                  </a:lnTo>
                  <a:lnTo>
                    <a:pt x="78" y="204"/>
                  </a:lnTo>
                  <a:lnTo>
                    <a:pt x="76" y="204"/>
                  </a:lnTo>
                  <a:lnTo>
                    <a:pt x="74" y="204"/>
                  </a:lnTo>
                  <a:lnTo>
                    <a:pt x="72" y="204"/>
                  </a:lnTo>
                  <a:lnTo>
                    <a:pt x="70" y="206"/>
                  </a:lnTo>
                  <a:lnTo>
                    <a:pt x="68" y="206"/>
                  </a:lnTo>
                  <a:lnTo>
                    <a:pt x="66" y="200"/>
                  </a:lnTo>
                  <a:lnTo>
                    <a:pt x="66" y="196"/>
                  </a:lnTo>
                  <a:lnTo>
                    <a:pt x="64" y="194"/>
                  </a:lnTo>
                  <a:lnTo>
                    <a:pt x="64" y="192"/>
                  </a:lnTo>
                  <a:lnTo>
                    <a:pt x="62" y="190"/>
                  </a:lnTo>
                  <a:lnTo>
                    <a:pt x="60" y="188"/>
                  </a:lnTo>
                  <a:lnTo>
                    <a:pt x="58" y="184"/>
                  </a:lnTo>
                  <a:lnTo>
                    <a:pt x="58" y="184"/>
                  </a:lnTo>
                  <a:lnTo>
                    <a:pt x="56" y="184"/>
                  </a:lnTo>
                  <a:lnTo>
                    <a:pt x="56" y="182"/>
                  </a:lnTo>
                  <a:lnTo>
                    <a:pt x="54" y="182"/>
                  </a:lnTo>
                  <a:lnTo>
                    <a:pt x="52" y="182"/>
                  </a:lnTo>
                  <a:lnTo>
                    <a:pt x="50" y="182"/>
                  </a:lnTo>
                  <a:lnTo>
                    <a:pt x="48" y="182"/>
                  </a:lnTo>
                  <a:lnTo>
                    <a:pt x="48" y="182"/>
                  </a:lnTo>
                  <a:lnTo>
                    <a:pt x="46" y="182"/>
                  </a:lnTo>
                  <a:lnTo>
                    <a:pt x="46" y="182"/>
                  </a:lnTo>
                  <a:lnTo>
                    <a:pt x="46" y="180"/>
                  </a:lnTo>
                  <a:lnTo>
                    <a:pt x="46" y="180"/>
                  </a:lnTo>
                  <a:lnTo>
                    <a:pt x="46" y="178"/>
                  </a:lnTo>
                  <a:lnTo>
                    <a:pt x="46" y="178"/>
                  </a:lnTo>
                  <a:lnTo>
                    <a:pt x="46" y="174"/>
                  </a:lnTo>
                  <a:lnTo>
                    <a:pt x="46" y="172"/>
                  </a:lnTo>
                  <a:lnTo>
                    <a:pt x="46" y="166"/>
                  </a:lnTo>
                  <a:lnTo>
                    <a:pt x="46" y="164"/>
                  </a:lnTo>
                  <a:lnTo>
                    <a:pt x="46" y="162"/>
                  </a:lnTo>
                  <a:lnTo>
                    <a:pt x="46" y="162"/>
                  </a:lnTo>
                  <a:lnTo>
                    <a:pt x="46" y="160"/>
                  </a:lnTo>
                  <a:lnTo>
                    <a:pt x="46" y="156"/>
                  </a:lnTo>
                  <a:lnTo>
                    <a:pt x="44" y="150"/>
                  </a:lnTo>
                  <a:lnTo>
                    <a:pt x="44" y="144"/>
                  </a:lnTo>
                  <a:lnTo>
                    <a:pt x="42" y="142"/>
                  </a:lnTo>
                  <a:lnTo>
                    <a:pt x="42" y="140"/>
                  </a:lnTo>
                  <a:lnTo>
                    <a:pt x="42" y="136"/>
                  </a:lnTo>
                  <a:lnTo>
                    <a:pt x="42" y="132"/>
                  </a:lnTo>
                  <a:lnTo>
                    <a:pt x="42" y="124"/>
                  </a:lnTo>
                  <a:lnTo>
                    <a:pt x="42" y="114"/>
                  </a:lnTo>
                  <a:lnTo>
                    <a:pt x="42" y="108"/>
                  </a:lnTo>
                  <a:lnTo>
                    <a:pt x="40" y="106"/>
                  </a:lnTo>
                  <a:lnTo>
                    <a:pt x="40" y="104"/>
                  </a:lnTo>
                  <a:lnTo>
                    <a:pt x="40" y="100"/>
                  </a:lnTo>
                  <a:lnTo>
                    <a:pt x="38" y="96"/>
                  </a:lnTo>
                  <a:lnTo>
                    <a:pt x="36" y="90"/>
                  </a:lnTo>
                  <a:lnTo>
                    <a:pt x="34" y="86"/>
                  </a:lnTo>
                  <a:lnTo>
                    <a:pt x="34" y="84"/>
                  </a:lnTo>
                  <a:lnTo>
                    <a:pt x="30" y="78"/>
                  </a:lnTo>
                  <a:lnTo>
                    <a:pt x="28" y="74"/>
                  </a:lnTo>
                  <a:lnTo>
                    <a:pt x="26" y="68"/>
                  </a:lnTo>
                  <a:lnTo>
                    <a:pt x="24" y="64"/>
                  </a:lnTo>
                  <a:lnTo>
                    <a:pt x="22" y="58"/>
                  </a:lnTo>
                  <a:lnTo>
                    <a:pt x="18" y="54"/>
                  </a:lnTo>
                  <a:lnTo>
                    <a:pt x="16" y="50"/>
                  </a:lnTo>
                  <a:lnTo>
                    <a:pt x="14" y="46"/>
                  </a:lnTo>
                  <a:lnTo>
                    <a:pt x="14" y="42"/>
                  </a:lnTo>
                  <a:lnTo>
                    <a:pt x="12" y="40"/>
                  </a:lnTo>
                  <a:lnTo>
                    <a:pt x="10" y="38"/>
                  </a:lnTo>
                  <a:lnTo>
                    <a:pt x="10" y="36"/>
                  </a:lnTo>
                  <a:lnTo>
                    <a:pt x="6" y="34"/>
                  </a:lnTo>
                  <a:lnTo>
                    <a:pt x="4" y="30"/>
                  </a:lnTo>
                  <a:lnTo>
                    <a:pt x="2" y="28"/>
                  </a:lnTo>
                  <a:lnTo>
                    <a:pt x="2" y="28"/>
                  </a:lnTo>
                  <a:lnTo>
                    <a:pt x="0" y="26"/>
                  </a:lnTo>
                  <a:lnTo>
                    <a:pt x="0" y="26"/>
                  </a:lnTo>
                  <a:lnTo>
                    <a:pt x="0" y="24"/>
                  </a:lnTo>
                  <a:lnTo>
                    <a:pt x="0" y="22"/>
                  </a:lnTo>
                  <a:lnTo>
                    <a:pt x="0" y="20"/>
                  </a:lnTo>
                  <a:lnTo>
                    <a:pt x="0" y="16"/>
                  </a:lnTo>
                  <a:lnTo>
                    <a:pt x="0" y="14"/>
                  </a:lnTo>
                  <a:lnTo>
                    <a:pt x="2" y="8"/>
                  </a:lnTo>
                  <a:lnTo>
                    <a:pt x="2" y="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8" name="Freeform 365"/>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89" name="Freeform 366"/>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0" name="Freeform 367"/>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1" name="Freeform 368"/>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2" name="Freeform 369"/>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3" name="Freeform 370"/>
            <p:cNvSpPr>
              <a:spLocks/>
            </p:cNvSpPr>
            <p:nvPr/>
          </p:nvSpPr>
          <p:spPr bwMode="auto">
            <a:xfrm>
              <a:off x="3964366" y="3894490"/>
              <a:ext cx="415698" cy="467660"/>
            </a:xfrm>
            <a:custGeom>
              <a:avLst/>
              <a:gdLst>
                <a:gd name="T0" fmla="*/ 4 w 240"/>
                <a:gd name="T1" fmla="*/ 186 h 270"/>
                <a:gd name="T2" fmla="*/ 12 w 240"/>
                <a:gd name="T3" fmla="*/ 176 h 270"/>
                <a:gd name="T4" fmla="*/ 16 w 240"/>
                <a:gd name="T5" fmla="*/ 176 h 270"/>
                <a:gd name="T6" fmla="*/ 26 w 240"/>
                <a:gd name="T7" fmla="*/ 182 h 270"/>
                <a:gd name="T8" fmla="*/ 44 w 240"/>
                <a:gd name="T9" fmla="*/ 184 h 270"/>
                <a:gd name="T10" fmla="*/ 78 w 240"/>
                <a:gd name="T11" fmla="*/ 184 h 270"/>
                <a:gd name="T12" fmla="*/ 92 w 240"/>
                <a:gd name="T13" fmla="*/ 184 h 270"/>
                <a:gd name="T14" fmla="*/ 96 w 240"/>
                <a:gd name="T15" fmla="*/ 182 h 270"/>
                <a:gd name="T16" fmla="*/ 98 w 240"/>
                <a:gd name="T17" fmla="*/ 174 h 270"/>
                <a:gd name="T18" fmla="*/ 94 w 240"/>
                <a:gd name="T19" fmla="*/ 164 h 270"/>
                <a:gd name="T20" fmla="*/ 90 w 240"/>
                <a:gd name="T21" fmla="*/ 162 h 270"/>
                <a:gd name="T22" fmla="*/ 84 w 240"/>
                <a:gd name="T23" fmla="*/ 162 h 270"/>
                <a:gd name="T24" fmla="*/ 78 w 240"/>
                <a:gd name="T25" fmla="*/ 148 h 270"/>
                <a:gd name="T26" fmla="*/ 78 w 240"/>
                <a:gd name="T27" fmla="*/ 130 h 270"/>
                <a:gd name="T28" fmla="*/ 84 w 240"/>
                <a:gd name="T29" fmla="*/ 82 h 270"/>
                <a:gd name="T30" fmla="*/ 86 w 240"/>
                <a:gd name="T31" fmla="*/ 60 h 270"/>
                <a:gd name="T32" fmla="*/ 84 w 240"/>
                <a:gd name="T33" fmla="*/ 48 h 270"/>
                <a:gd name="T34" fmla="*/ 78 w 240"/>
                <a:gd name="T35" fmla="*/ 38 h 270"/>
                <a:gd name="T36" fmla="*/ 76 w 240"/>
                <a:gd name="T37" fmla="*/ 24 h 270"/>
                <a:gd name="T38" fmla="*/ 78 w 240"/>
                <a:gd name="T39" fmla="*/ 18 h 270"/>
                <a:gd name="T40" fmla="*/ 82 w 240"/>
                <a:gd name="T41" fmla="*/ 16 h 270"/>
                <a:gd name="T42" fmla="*/ 88 w 240"/>
                <a:gd name="T43" fmla="*/ 16 h 270"/>
                <a:gd name="T44" fmla="*/ 88 w 240"/>
                <a:gd name="T45" fmla="*/ 6 h 270"/>
                <a:gd name="T46" fmla="*/ 102 w 240"/>
                <a:gd name="T47" fmla="*/ 10 h 270"/>
                <a:gd name="T48" fmla="*/ 138 w 240"/>
                <a:gd name="T49" fmla="*/ 40 h 270"/>
                <a:gd name="T50" fmla="*/ 186 w 240"/>
                <a:gd name="T51" fmla="*/ 80 h 270"/>
                <a:gd name="T52" fmla="*/ 206 w 240"/>
                <a:gd name="T53" fmla="*/ 92 h 270"/>
                <a:gd name="T54" fmla="*/ 216 w 240"/>
                <a:gd name="T55" fmla="*/ 98 h 270"/>
                <a:gd name="T56" fmla="*/ 218 w 240"/>
                <a:gd name="T57" fmla="*/ 102 h 270"/>
                <a:gd name="T58" fmla="*/ 218 w 240"/>
                <a:gd name="T59" fmla="*/ 118 h 270"/>
                <a:gd name="T60" fmla="*/ 222 w 240"/>
                <a:gd name="T61" fmla="*/ 122 h 270"/>
                <a:gd name="T62" fmla="*/ 228 w 240"/>
                <a:gd name="T63" fmla="*/ 122 h 270"/>
                <a:gd name="T64" fmla="*/ 238 w 240"/>
                <a:gd name="T65" fmla="*/ 140 h 270"/>
                <a:gd name="T66" fmla="*/ 238 w 240"/>
                <a:gd name="T67" fmla="*/ 160 h 270"/>
                <a:gd name="T68" fmla="*/ 236 w 240"/>
                <a:gd name="T69" fmla="*/ 166 h 270"/>
                <a:gd name="T70" fmla="*/ 232 w 240"/>
                <a:gd name="T71" fmla="*/ 168 h 270"/>
                <a:gd name="T72" fmla="*/ 226 w 240"/>
                <a:gd name="T73" fmla="*/ 168 h 270"/>
                <a:gd name="T74" fmla="*/ 226 w 240"/>
                <a:gd name="T75" fmla="*/ 172 h 270"/>
                <a:gd name="T76" fmla="*/ 226 w 240"/>
                <a:gd name="T77" fmla="*/ 176 h 270"/>
                <a:gd name="T78" fmla="*/ 224 w 240"/>
                <a:gd name="T79" fmla="*/ 180 h 270"/>
                <a:gd name="T80" fmla="*/ 208 w 240"/>
                <a:gd name="T81" fmla="*/ 180 h 270"/>
                <a:gd name="T82" fmla="*/ 190 w 240"/>
                <a:gd name="T83" fmla="*/ 182 h 270"/>
                <a:gd name="T84" fmla="*/ 176 w 240"/>
                <a:gd name="T85" fmla="*/ 190 h 270"/>
                <a:gd name="T86" fmla="*/ 158 w 240"/>
                <a:gd name="T87" fmla="*/ 188 h 270"/>
                <a:gd name="T88" fmla="*/ 152 w 240"/>
                <a:gd name="T89" fmla="*/ 190 h 270"/>
                <a:gd name="T90" fmla="*/ 146 w 240"/>
                <a:gd name="T91" fmla="*/ 198 h 270"/>
                <a:gd name="T92" fmla="*/ 138 w 240"/>
                <a:gd name="T93" fmla="*/ 206 h 270"/>
                <a:gd name="T94" fmla="*/ 126 w 240"/>
                <a:gd name="T95" fmla="*/ 210 h 270"/>
                <a:gd name="T96" fmla="*/ 118 w 240"/>
                <a:gd name="T97" fmla="*/ 214 h 270"/>
                <a:gd name="T98" fmla="*/ 112 w 240"/>
                <a:gd name="T99" fmla="*/ 228 h 270"/>
                <a:gd name="T100" fmla="*/ 102 w 240"/>
                <a:gd name="T101" fmla="*/ 242 h 270"/>
                <a:gd name="T102" fmla="*/ 96 w 240"/>
                <a:gd name="T103" fmla="*/ 256 h 270"/>
                <a:gd name="T104" fmla="*/ 64 w 240"/>
                <a:gd name="T105" fmla="*/ 266 h 270"/>
                <a:gd name="T106" fmla="*/ 62 w 240"/>
                <a:gd name="T107" fmla="*/ 250 h 270"/>
                <a:gd name="T108" fmla="*/ 56 w 240"/>
                <a:gd name="T109" fmla="*/ 242 h 270"/>
                <a:gd name="T110" fmla="*/ 48 w 240"/>
                <a:gd name="T111" fmla="*/ 238 h 270"/>
                <a:gd name="T112" fmla="*/ 34 w 240"/>
                <a:gd name="T113" fmla="*/ 234 h 270"/>
                <a:gd name="T114" fmla="*/ 14 w 240"/>
                <a:gd name="T115" fmla="*/ 220 h 270"/>
                <a:gd name="T116" fmla="*/ 8 w 240"/>
                <a:gd name="T117" fmla="*/ 212 h 270"/>
                <a:gd name="T118" fmla="*/ 2 w 240"/>
                <a:gd name="T119" fmla="*/ 206 h 270"/>
                <a:gd name="T120" fmla="*/ 0 w 240"/>
                <a:gd name="T121"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70">
                  <a:moveTo>
                    <a:pt x="0" y="194"/>
                  </a:moveTo>
                  <a:lnTo>
                    <a:pt x="0" y="194"/>
                  </a:lnTo>
                  <a:lnTo>
                    <a:pt x="0" y="192"/>
                  </a:lnTo>
                  <a:lnTo>
                    <a:pt x="2" y="188"/>
                  </a:lnTo>
                  <a:lnTo>
                    <a:pt x="4" y="186"/>
                  </a:lnTo>
                  <a:lnTo>
                    <a:pt x="6" y="182"/>
                  </a:lnTo>
                  <a:lnTo>
                    <a:pt x="8" y="180"/>
                  </a:lnTo>
                  <a:lnTo>
                    <a:pt x="10" y="178"/>
                  </a:lnTo>
                  <a:lnTo>
                    <a:pt x="10" y="178"/>
                  </a:lnTo>
                  <a:lnTo>
                    <a:pt x="12" y="176"/>
                  </a:lnTo>
                  <a:lnTo>
                    <a:pt x="12" y="176"/>
                  </a:lnTo>
                  <a:lnTo>
                    <a:pt x="14" y="174"/>
                  </a:lnTo>
                  <a:lnTo>
                    <a:pt x="14" y="174"/>
                  </a:lnTo>
                  <a:lnTo>
                    <a:pt x="16" y="174"/>
                  </a:lnTo>
                  <a:lnTo>
                    <a:pt x="16" y="176"/>
                  </a:lnTo>
                  <a:lnTo>
                    <a:pt x="18" y="176"/>
                  </a:lnTo>
                  <a:lnTo>
                    <a:pt x="20" y="178"/>
                  </a:lnTo>
                  <a:lnTo>
                    <a:pt x="22" y="180"/>
                  </a:lnTo>
                  <a:lnTo>
                    <a:pt x="24" y="180"/>
                  </a:lnTo>
                  <a:lnTo>
                    <a:pt x="26" y="182"/>
                  </a:lnTo>
                  <a:lnTo>
                    <a:pt x="28" y="182"/>
                  </a:lnTo>
                  <a:lnTo>
                    <a:pt x="30" y="182"/>
                  </a:lnTo>
                  <a:lnTo>
                    <a:pt x="34" y="182"/>
                  </a:lnTo>
                  <a:lnTo>
                    <a:pt x="36" y="184"/>
                  </a:lnTo>
                  <a:lnTo>
                    <a:pt x="44" y="184"/>
                  </a:lnTo>
                  <a:lnTo>
                    <a:pt x="52" y="184"/>
                  </a:lnTo>
                  <a:lnTo>
                    <a:pt x="58" y="184"/>
                  </a:lnTo>
                  <a:lnTo>
                    <a:pt x="66" y="184"/>
                  </a:lnTo>
                  <a:lnTo>
                    <a:pt x="72" y="184"/>
                  </a:lnTo>
                  <a:lnTo>
                    <a:pt x="78" y="184"/>
                  </a:lnTo>
                  <a:lnTo>
                    <a:pt x="82" y="184"/>
                  </a:lnTo>
                  <a:lnTo>
                    <a:pt x="84" y="184"/>
                  </a:lnTo>
                  <a:lnTo>
                    <a:pt x="88" y="184"/>
                  </a:lnTo>
                  <a:lnTo>
                    <a:pt x="90" y="184"/>
                  </a:lnTo>
                  <a:lnTo>
                    <a:pt x="92" y="184"/>
                  </a:lnTo>
                  <a:lnTo>
                    <a:pt x="94" y="184"/>
                  </a:lnTo>
                  <a:lnTo>
                    <a:pt x="94" y="184"/>
                  </a:lnTo>
                  <a:lnTo>
                    <a:pt x="96" y="184"/>
                  </a:lnTo>
                  <a:lnTo>
                    <a:pt x="96" y="182"/>
                  </a:lnTo>
                  <a:lnTo>
                    <a:pt x="96" y="182"/>
                  </a:lnTo>
                  <a:lnTo>
                    <a:pt x="96" y="180"/>
                  </a:lnTo>
                  <a:lnTo>
                    <a:pt x="98" y="180"/>
                  </a:lnTo>
                  <a:lnTo>
                    <a:pt x="98" y="178"/>
                  </a:lnTo>
                  <a:lnTo>
                    <a:pt x="98" y="176"/>
                  </a:lnTo>
                  <a:lnTo>
                    <a:pt x="98" y="174"/>
                  </a:lnTo>
                  <a:lnTo>
                    <a:pt x="98" y="172"/>
                  </a:lnTo>
                  <a:lnTo>
                    <a:pt x="96" y="168"/>
                  </a:lnTo>
                  <a:lnTo>
                    <a:pt x="96" y="166"/>
                  </a:lnTo>
                  <a:lnTo>
                    <a:pt x="96" y="166"/>
                  </a:lnTo>
                  <a:lnTo>
                    <a:pt x="94" y="164"/>
                  </a:lnTo>
                  <a:lnTo>
                    <a:pt x="94" y="164"/>
                  </a:lnTo>
                  <a:lnTo>
                    <a:pt x="94" y="164"/>
                  </a:lnTo>
                  <a:lnTo>
                    <a:pt x="92" y="164"/>
                  </a:lnTo>
                  <a:lnTo>
                    <a:pt x="90" y="164"/>
                  </a:lnTo>
                  <a:lnTo>
                    <a:pt x="90" y="162"/>
                  </a:lnTo>
                  <a:lnTo>
                    <a:pt x="88" y="162"/>
                  </a:lnTo>
                  <a:lnTo>
                    <a:pt x="86" y="162"/>
                  </a:lnTo>
                  <a:lnTo>
                    <a:pt x="84" y="162"/>
                  </a:lnTo>
                  <a:lnTo>
                    <a:pt x="84" y="162"/>
                  </a:lnTo>
                  <a:lnTo>
                    <a:pt x="84" y="162"/>
                  </a:lnTo>
                  <a:lnTo>
                    <a:pt x="82" y="158"/>
                  </a:lnTo>
                  <a:lnTo>
                    <a:pt x="80" y="156"/>
                  </a:lnTo>
                  <a:lnTo>
                    <a:pt x="80" y="154"/>
                  </a:lnTo>
                  <a:lnTo>
                    <a:pt x="80" y="150"/>
                  </a:lnTo>
                  <a:lnTo>
                    <a:pt x="78" y="148"/>
                  </a:lnTo>
                  <a:lnTo>
                    <a:pt x="78" y="144"/>
                  </a:lnTo>
                  <a:lnTo>
                    <a:pt x="78" y="142"/>
                  </a:lnTo>
                  <a:lnTo>
                    <a:pt x="78" y="138"/>
                  </a:lnTo>
                  <a:lnTo>
                    <a:pt x="78" y="134"/>
                  </a:lnTo>
                  <a:lnTo>
                    <a:pt x="78" y="130"/>
                  </a:lnTo>
                  <a:lnTo>
                    <a:pt x="78" y="122"/>
                  </a:lnTo>
                  <a:lnTo>
                    <a:pt x="80" y="114"/>
                  </a:lnTo>
                  <a:lnTo>
                    <a:pt x="82" y="106"/>
                  </a:lnTo>
                  <a:lnTo>
                    <a:pt x="84" y="90"/>
                  </a:lnTo>
                  <a:lnTo>
                    <a:pt x="84" y="82"/>
                  </a:lnTo>
                  <a:lnTo>
                    <a:pt x="86" y="74"/>
                  </a:lnTo>
                  <a:lnTo>
                    <a:pt x="86" y="70"/>
                  </a:lnTo>
                  <a:lnTo>
                    <a:pt x="86" y="68"/>
                  </a:lnTo>
                  <a:lnTo>
                    <a:pt x="86" y="64"/>
                  </a:lnTo>
                  <a:lnTo>
                    <a:pt x="86" y="60"/>
                  </a:lnTo>
                  <a:lnTo>
                    <a:pt x="86" y="58"/>
                  </a:lnTo>
                  <a:lnTo>
                    <a:pt x="86" y="54"/>
                  </a:lnTo>
                  <a:lnTo>
                    <a:pt x="86" y="52"/>
                  </a:lnTo>
                  <a:lnTo>
                    <a:pt x="84" y="50"/>
                  </a:lnTo>
                  <a:lnTo>
                    <a:pt x="84" y="48"/>
                  </a:lnTo>
                  <a:lnTo>
                    <a:pt x="84" y="46"/>
                  </a:lnTo>
                  <a:lnTo>
                    <a:pt x="80" y="44"/>
                  </a:lnTo>
                  <a:lnTo>
                    <a:pt x="78" y="42"/>
                  </a:lnTo>
                  <a:lnTo>
                    <a:pt x="78" y="40"/>
                  </a:lnTo>
                  <a:lnTo>
                    <a:pt x="78" y="38"/>
                  </a:lnTo>
                  <a:lnTo>
                    <a:pt x="76" y="36"/>
                  </a:lnTo>
                  <a:lnTo>
                    <a:pt x="76" y="34"/>
                  </a:lnTo>
                  <a:lnTo>
                    <a:pt x="76" y="32"/>
                  </a:lnTo>
                  <a:lnTo>
                    <a:pt x="76" y="28"/>
                  </a:lnTo>
                  <a:lnTo>
                    <a:pt x="76" y="24"/>
                  </a:lnTo>
                  <a:lnTo>
                    <a:pt x="76" y="22"/>
                  </a:lnTo>
                  <a:lnTo>
                    <a:pt x="76" y="20"/>
                  </a:lnTo>
                  <a:lnTo>
                    <a:pt x="76" y="20"/>
                  </a:lnTo>
                  <a:lnTo>
                    <a:pt x="76" y="18"/>
                  </a:lnTo>
                  <a:lnTo>
                    <a:pt x="78" y="18"/>
                  </a:lnTo>
                  <a:lnTo>
                    <a:pt x="78" y="18"/>
                  </a:lnTo>
                  <a:lnTo>
                    <a:pt x="78" y="16"/>
                  </a:lnTo>
                  <a:lnTo>
                    <a:pt x="80" y="16"/>
                  </a:lnTo>
                  <a:lnTo>
                    <a:pt x="80" y="16"/>
                  </a:lnTo>
                  <a:lnTo>
                    <a:pt x="82" y="16"/>
                  </a:lnTo>
                  <a:lnTo>
                    <a:pt x="84" y="16"/>
                  </a:lnTo>
                  <a:lnTo>
                    <a:pt x="86" y="16"/>
                  </a:lnTo>
                  <a:lnTo>
                    <a:pt x="86" y="16"/>
                  </a:lnTo>
                  <a:lnTo>
                    <a:pt x="86" y="16"/>
                  </a:lnTo>
                  <a:lnTo>
                    <a:pt x="88" y="16"/>
                  </a:lnTo>
                  <a:lnTo>
                    <a:pt x="88" y="14"/>
                  </a:lnTo>
                  <a:lnTo>
                    <a:pt x="88" y="14"/>
                  </a:lnTo>
                  <a:lnTo>
                    <a:pt x="88" y="12"/>
                  </a:lnTo>
                  <a:lnTo>
                    <a:pt x="88" y="10"/>
                  </a:lnTo>
                  <a:lnTo>
                    <a:pt x="88" y="6"/>
                  </a:lnTo>
                  <a:lnTo>
                    <a:pt x="88" y="2"/>
                  </a:lnTo>
                  <a:lnTo>
                    <a:pt x="88" y="0"/>
                  </a:lnTo>
                  <a:lnTo>
                    <a:pt x="94" y="4"/>
                  </a:lnTo>
                  <a:lnTo>
                    <a:pt x="98" y="8"/>
                  </a:lnTo>
                  <a:lnTo>
                    <a:pt x="102" y="10"/>
                  </a:lnTo>
                  <a:lnTo>
                    <a:pt x="108" y="14"/>
                  </a:lnTo>
                  <a:lnTo>
                    <a:pt x="114" y="20"/>
                  </a:lnTo>
                  <a:lnTo>
                    <a:pt x="120" y="24"/>
                  </a:lnTo>
                  <a:lnTo>
                    <a:pt x="126" y="30"/>
                  </a:lnTo>
                  <a:lnTo>
                    <a:pt x="138" y="40"/>
                  </a:lnTo>
                  <a:lnTo>
                    <a:pt x="152" y="52"/>
                  </a:lnTo>
                  <a:lnTo>
                    <a:pt x="166" y="64"/>
                  </a:lnTo>
                  <a:lnTo>
                    <a:pt x="174" y="70"/>
                  </a:lnTo>
                  <a:lnTo>
                    <a:pt x="180" y="74"/>
                  </a:lnTo>
                  <a:lnTo>
                    <a:pt x="186" y="80"/>
                  </a:lnTo>
                  <a:lnTo>
                    <a:pt x="192" y="84"/>
                  </a:lnTo>
                  <a:lnTo>
                    <a:pt x="198" y="88"/>
                  </a:lnTo>
                  <a:lnTo>
                    <a:pt x="204" y="92"/>
                  </a:lnTo>
                  <a:lnTo>
                    <a:pt x="204" y="92"/>
                  </a:lnTo>
                  <a:lnTo>
                    <a:pt x="206" y="92"/>
                  </a:lnTo>
                  <a:lnTo>
                    <a:pt x="210" y="94"/>
                  </a:lnTo>
                  <a:lnTo>
                    <a:pt x="212" y="94"/>
                  </a:lnTo>
                  <a:lnTo>
                    <a:pt x="214" y="96"/>
                  </a:lnTo>
                  <a:lnTo>
                    <a:pt x="216" y="96"/>
                  </a:lnTo>
                  <a:lnTo>
                    <a:pt x="216" y="98"/>
                  </a:lnTo>
                  <a:lnTo>
                    <a:pt x="218" y="98"/>
                  </a:lnTo>
                  <a:lnTo>
                    <a:pt x="218" y="98"/>
                  </a:lnTo>
                  <a:lnTo>
                    <a:pt x="218" y="100"/>
                  </a:lnTo>
                  <a:lnTo>
                    <a:pt x="218" y="102"/>
                  </a:lnTo>
                  <a:lnTo>
                    <a:pt x="218" y="102"/>
                  </a:lnTo>
                  <a:lnTo>
                    <a:pt x="218" y="106"/>
                  </a:lnTo>
                  <a:lnTo>
                    <a:pt x="218" y="110"/>
                  </a:lnTo>
                  <a:lnTo>
                    <a:pt x="218" y="114"/>
                  </a:lnTo>
                  <a:lnTo>
                    <a:pt x="218" y="116"/>
                  </a:lnTo>
                  <a:lnTo>
                    <a:pt x="218" y="118"/>
                  </a:lnTo>
                  <a:lnTo>
                    <a:pt x="220" y="118"/>
                  </a:lnTo>
                  <a:lnTo>
                    <a:pt x="220" y="120"/>
                  </a:lnTo>
                  <a:lnTo>
                    <a:pt x="220" y="120"/>
                  </a:lnTo>
                  <a:lnTo>
                    <a:pt x="220" y="122"/>
                  </a:lnTo>
                  <a:lnTo>
                    <a:pt x="222" y="122"/>
                  </a:lnTo>
                  <a:lnTo>
                    <a:pt x="222" y="122"/>
                  </a:lnTo>
                  <a:lnTo>
                    <a:pt x="224" y="122"/>
                  </a:lnTo>
                  <a:lnTo>
                    <a:pt x="224" y="122"/>
                  </a:lnTo>
                  <a:lnTo>
                    <a:pt x="226" y="122"/>
                  </a:lnTo>
                  <a:lnTo>
                    <a:pt x="228" y="122"/>
                  </a:lnTo>
                  <a:lnTo>
                    <a:pt x="232" y="120"/>
                  </a:lnTo>
                  <a:lnTo>
                    <a:pt x="234" y="120"/>
                  </a:lnTo>
                  <a:lnTo>
                    <a:pt x="236" y="126"/>
                  </a:lnTo>
                  <a:lnTo>
                    <a:pt x="236" y="132"/>
                  </a:lnTo>
                  <a:lnTo>
                    <a:pt x="238" y="140"/>
                  </a:lnTo>
                  <a:lnTo>
                    <a:pt x="238" y="144"/>
                  </a:lnTo>
                  <a:lnTo>
                    <a:pt x="238" y="148"/>
                  </a:lnTo>
                  <a:lnTo>
                    <a:pt x="240" y="152"/>
                  </a:lnTo>
                  <a:lnTo>
                    <a:pt x="240" y="156"/>
                  </a:lnTo>
                  <a:lnTo>
                    <a:pt x="238" y="160"/>
                  </a:lnTo>
                  <a:lnTo>
                    <a:pt x="238" y="160"/>
                  </a:lnTo>
                  <a:lnTo>
                    <a:pt x="238" y="162"/>
                  </a:lnTo>
                  <a:lnTo>
                    <a:pt x="238" y="164"/>
                  </a:lnTo>
                  <a:lnTo>
                    <a:pt x="238" y="164"/>
                  </a:lnTo>
                  <a:lnTo>
                    <a:pt x="236" y="166"/>
                  </a:lnTo>
                  <a:lnTo>
                    <a:pt x="236" y="166"/>
                  </a:lnTo>
                  <a:lnTo>
                    <a:pt x="236" y="168"/>
                  </a:lnTo>
                  <a:lnTo>
                    <a:pt x="236" y="168"/>
                  </a:lnTo>
                  <a:lnTo>
                    <a:pt x="234" y="168"/>
                  </a:lnTo>
                  <a:lnTo>
                    <a:pt x="232" y="168"/>
                  </a:lnTo>
                  <a:lnTo>
                    <a:pt x="232" y="168"/>
                  </a:lnTo>
                  <a:lnTo>
                    <a:pt x="230" y="168"/>
                  </a:lnTo>
                  <a:lnTo>
                    <a:pt x="228" y="168"/>
                  </a:lnTo>
                  <a:lnTo>
                    <a:pt x="226" y="168"/>
                  </a:lnTo>
                  <a:lnTo>
                    <a:pt x="226" y="168"/>
                  </a:lnTo>
                  <a:lnTo>
                    <a:pt x="226" y="168"/>
                  </a:lnTo>
                  <a:lnTo>
                    <a:pt x="226" y="168"/>
                  </a:lnTo>
                  <a:lnTo>
                    <a:pt x="226" y="168"/>
                  </a:lnTo>
                  <a:lnTo>
                    <a:pt x="226" y="170"/>
                  </a:lnTo>
                  <a:lnTo>
                    <a:pt x="226" y="172"/>
                  </a:lnTo>
                  <a:lnTo>
                    <a:pt x="226" y="172"/>
                  </a:lnTo>
                  <a:lnTo>
                    <a:pt x="226" y="174"/>
                  </a:lnTo>
                  <a:lnTo>
                    <a:pt x="226" y="176"/>
                  </a:lnTo>
                  <a:lnTo>
                    <a:pt x="226" y="176"/>
                  </a:lnTo>
                  <a:lnTo>
                    <a:pt x="226" y="176"/>
                  </a:lnTo>
                  <a:lnTo>
                    <a:pt x="226" y="176"/>
                  </a:lnTo>
                  <a:lnTo>
                    <a:pt x="226" y="178"/>
                  </a:lnTo>
                  <a:lnTo>
                    <a:pt x="224" y="178"/>
                  </a:lnTo>
                  <a:lnTo>
                    <a:pt x="224" y="178"/>
                  </a:lnTo>
                  <a:lnTo>
                    <a:pt x="224" y="180"/>
                  </a:lnTo>
                  <a:lnTo>
                    <a:pt x="220" y="180"/>
                  </a:lnTo>
                  <a:lnTo>
                    <a:pt x="218" y="180"/>
                  </a:lnTo>
                  <a:lnTo>
                    <a:pt x="216" y="180"/>
                  </a:lnTo>
                  <a:lnTo>
                    <a:pt x="214" y="180"/>
                  </a:lnTo>
                  <a:lnTo>
                    <a:pt x="208" y="180"/>
                  </a:lnTo>
                  <a:lnTo>
                    <a:pt x="202" y="180"/>
                  </a:lnTo>
                  <a:lnTo>
                    <a:pt x="198" y="180"/>
                  </a:lnTo>
                  <a:lnTo>
                    <a:pt x="194" y="180"/>
                  </a:lnTo>
                  <a:lnTo>
                    <a:pt x="192" y="182"/>
                  </a:lnTo>
                  <a:lnTo>
                    <a:pt x="190" y="182"/>
                  </a:lnTo>
                  <a:lnTo>
                    <a:pt x="188" y="182"/>
                  </a:lnTo>
                  <a:lnTo>
                    <a:pt x="186" y="182"/>
                  </a:lnTo>
                  <a:lnTo>
                    <a:pt x="186" y="184"/>
                  </a:lnTo>
                  <a:lnTo>
                    <a:pt x="182" y="186"/>
                  </a:lnTo>
                  <a:lnTo>
                    <a:pt x="176" y="190"/>
                  </a:lnTo>
                  <a:lnTo>
                    <a:pt x="174" y="190"/>
                  </a:lnTo>
                  <a:lnTo>
                    <a:pt x="170" y="188"/>
                  </a:lnTo>
                  <a:lnTo>
                    <a:pt x="166" y="188"/>
                  </a:lnTo>
                  <a:lnTo>
                    <a:pt x="162" y="188"/>
                  </a:lnTo>
                  <a:lnTo>
                    <a:pt x="158" y="188"/>
                  </a:lnTo>
                  <a:lnTo>
                    <a:pt x="156" y="188"/>
                  </a:lnTo>
                  <a:lnTo>
                    <a:pt x="156" y="188"/>
                  </a:lnTo>
                  <a:lnTo>
                    <a:pt x="154" y="188"/>
                  </a:lnTo>
                  <a:lnTo>
                    <a:pt x="152" y="188"/>
                  </a:lnTo>
                  <a:lnTo>
                    <a:pt x="152" y="190"/>
                  </a:lnTo>
                  <a:lnTo>
                    <a:pt x="150" y="190"/>
                  </a:lnTo>
                  <a:lnTo>
                    <a:pt x="150" y="192"/>
                  </a:lnTo>
                  <a:lnTo>
                    <a:pt x="148" y="194"/>
                  </a:lnTo>
                  <a:lnTo>
                    <a:pt x="146" y="196"/>
                  </a:lnTo>
                  <a:lnTo>
                    <a:pt x="146" y="198"/>
                  </a:lnTo>
                  <a:lnTo>
                    <a:pt x="144" y="198"/>
                  </a:lnTo>
                  <a:lnTo>
                    <a:pt x="142" y="202"/>
                  </a:lnTo>
                  <a:lnTo>
                    <a:pt x="140" y="204"/>
                  </a:lnTo>
                  <a:lnTo>
                    <a:pt x="138" y="206"/>
                  </a:lnTo>
                  <a:lnTo>
                    <a:pt x="138" y="206"/>
                  </a:lnTo>
                  <a:lnTo>
                    <a:pt x="136" y="206"/>
                  </a:lnTo>
                  <a:lnTo>
                    <a:pt x="136" y="208"/>
                  </a:lnTo>
                  <a:lnTo>
                    <a:pt x="134" y="208"/>
                  </a:lnTo>
                  <a:lnTo>
                    <a:pt x="128" y="210"/>
                  </a:lnTo>
                  <a:lnTo>
                    <a:pt x="126" y="210"/>
                  </a:lnTo>
                  <a:lnTo>
                    <a:pt x="122" y="210"/>
                  </a:lnTo>
                  <a:lnTo>
                    <a:pt x="120" y="212"/>
                  </a:lnTo>
                  <a:lnTo>
                    <a:pt x="120" y="212"/>
                  </a:lnTo>
                  <a:lnTo>
                    <a:pt x="118" y="212"/>
                  </a:lnTo>
                  <a:lnTo>
                    <a:pt x="118" y="214"/>
                  </a:lnTo>
                  <a:lnTo>
                    <a:pt x="118" y="214"/>
                  </a:lnTo>
                  <a:lnTo>
                    <a:pt x="116" y="216"/>
                  </a:lnTo>
                  <a:lnTo>
                    <a:pt x="114" y="220"/>
                  </a:lnTo>
                  <a:lnTo>
                    <a:pt x="112" y="226"/>
                  </a:lnTo>
                  <a:lnTo>
                    <a:pt x="112" y="228"/>
                  </a:lnTo>
                  <a:lnTo>
                    <a:pt x="110" y="232"/>
                  </a:lnTo>
                  <a:lnTo>
                    <a:pt x="108" y="232"/>
                  </a:lnTo>
                  <a:lnTo>
                    <a:pt x="108" y="234"/>
                  </a:lnTo>
                  <a:lnTo>
                    <a:pt x="104" y="238"/>
                  </a:lnTo>
                  <a:lnTo>
                    <a:pt x="102" y="242"/>
                  </a:lnTo>
                  <a:lnTo>
                    <a:pt x="100" y="244"/>
                  </a:lnTo>
                  <a:lnTo>
                    <a:pt x="100" y="246"/>
                  </a:lnTo>
                  <a:lnTo>
                    <a:pt x="98" y="248"/>
                  </a:lnTo>
                  <a:lnTo>
                    <a:pt x="98" y="250"/>
                  </a:lnTo>
                  <a:lnTo>
                    <a:pt x="96" y="256"/>
                  </a:lnTo>
                  <a:lnTo>
                    <a:pt x="96" y="262"/>
                  </a:lnTo>
                  <a:lnTo>
                    <a:pt x="94" y="266"/>
                  </a:lnTo>
                  <a:lnTo>
                    <a:pt x="78" y="268"/>
                  </a:lnTo>
                  <a:lnTo>
                    <a:pt x="64" y="270"/>
                  </a:lnTo>
                  <a:lnTo>
                    <a:pt x="64" y="266"/>
                  </a:lnTo>
                  <a:lnTo>
                    <a:pt x="64" y="260"/>
                  </a:lnTo>
                  <a:lnTo>
                    <a:pt x="64" y="258"/>
                  </a:lnTo>
                  <a:lnTo>
                    <a:pt x="62" y="254"/>
                  </a:lnTo>
                  <a:lnTo>
                    <a:pt x="62" y="252"/>
                  </a:lnTo>
                  <a:lnTo>
                    <a:pt x="62" y="250"/>
                  </a:lnTo>
                  <a:lnTo>
                    <a:pt x="60" y="250"/>
                  </a:lnTo>
                  <a:lnTo>
                    <a:pt x="60" y="248"/>
                  </a:lnTo>
                  <a:lnTo>
                    <a:pt x="58" y="246"/>
                  </a:lnTo>
                  <a:lnTo>
                    <a:pt x="58" y="244"/>
                  </a:lnTo>
                  <a:lnTo>
                    <a:pt x="56" y="242"/>
                  </a:lnTo>
                  <a:lnTo>
                    <a:pt x="54" y="242"/>
                  </a:lnTo>
                  <a:lnTo>
                    <a:pt x="52" y="240"/>
                  </a:lnTo>
                  <a:lnTo>
                    <a:pt x="50" y="238"/>
                  </a:lnTo>
                  <a:lnTo>
                    <a:pt x="50" y="238"/>
                  </a:lnTo>
                  <a:lnTo>
                    <a:pt x="48" y="238"/>
                  </a:lnTo>
                  <a:lnTo>
                    <a:pt x="46" y="236"/>
                  </a:lnTo>
                  <a:lnTo>
                    <a:pt x="44" y="236"/>
                  </a:lnTo>
                  <a:lnTo>
                    <a:pt x="42" y="236"/>
                  </a:lnTo>
                  <a:lnTo>
                    <a:pt x="36" y="234"/>
                  </a:lnTo>
                  <a:lnTo>
                    <a:pt x="34" y="234"/>
                  </a:lnTo>
                  <a:lnTo>
                    <a:pt x="24" y="232"/>
                  </a:lnTo>
                  <a:lnTo>
                    <a:pt x="18" y="230"/>
                  </a:lnTo>
                  <a:lnTo>
                    <a:pt x="18" y="228"/>
                  </a:lnTo>
                  <a:lnTo>
                    <a:pt x="16" y="224"/>
                  </a:lnTo>
                  <a:lnTo>
                    <a:pt x="14" y="220"/>
                  </a:lnTo>
                  <a:lnTo>
                    <a:pt x="14" y="218"/>
                  </a:lnTo>
                  <a:lnTo>
                    <a:pt x="12" y="216"/>
                  </a:lnTo>
                  <a:lnTo>
                    <a:pt x="10" y="214"/>
                  </a:lnTo>
                  <a:lnTo>
                    <a:pt x="10" y="212"/>
                  </a:lnTo>
                  <a:lnTo>
                    <a:pt x="8" y="212"/>
                  </a:lnTo>
                  <a:lnTo>
                    <a:pt x="6" y="210"/>
                  </a:lnTo>
                  <a:lnTo>
                    <a:pt x="4" y="208"/>
                  </a:lnTo>
                  <a:lnTo>
                    <a:pt x="2" y="208"/>
                  </a:lnTo>
                  <a:lnTo>
                    <a:pt x="2" y="208"/>
                  </a:lnTo>
                  <a:lnTo>
                    <a:pt x="2" y="206"/>
                  </a:lnTo>
                  <a:lnTo>
                    <a:pt x="0" y="204"/>
                  </a:lnTo>
                  <a:lnTo>
                    <a:pt x="0" y="202"/>
                  </a:lnTo>
                  <a:lnTo>
                    <a:pt x="0" y="200"/>
                  </a:lnTo>
                  <a:lnTo>
                    <a:pt x="0" y="196"/>
                  </a:lnTo>
                  <a:lnTo>
                    <a:pt x="0" y="19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4" name="Freeform 371"/>
            <p:cNvSpPr>
              <a:spLocks/>
            </p:cNvSpPr>
            <p:nvPr/>
          </p:nvSpPr>
          <p:spPr bwMode="auto">
            <a:xfrm>
              <a:off x="3964366" y="3894490"/>
              <a:ext cx="415698" cy="467660"/>
            </a:xfrm>
            <a:custGeom>
              <a:avLst/>
              <a:gdLst>
                <a:gd name="T0" fmla="*/ 4 w 240"/>
                <a:gd name="T1" fmla="*/ 186 h 270"/>
                <a:gd name="T2" fmla="*/ 12 w 240"/>
                <a:gd name="T3" fmla="*/ 176 h 270"/>
                <a:gd name="T4" fmla="*/ 16 w 240"/>
                <a:gd name="T5" fmla="*/ 176 h 270"/>
                <a:gd name="T6" fmla="*/ 26 w 240"/>
                <a:gd name="T7" fmla="*/ 182 h 270"/>
                <a:gd name="T8" fmla="*/ 44 w 240"/>
                <a:gd name="T9" fmla="*/ 184 h 270"/>
                <a:gd name="T10" fmla="*/ 78 w 240"/>
                <a:gd name="T11" fmla="*/ 184 h 270"/>
                <a:gd name="T12" fmla="*/ 92 w 240"/>
                <a:gd name="T13" fmla="*/ 184 h 270"/>
                <a:gd name="T14" fmla="*/ 96 w 240"/>
                <a:gd name="T15" fmla="*/ 182 h 270"/>
                <a:gd name="T16" fmla="*/ 98 w 240"/>
                <a:gd name="T17" fmla="*/ 174 h 270"/>
                <a:gd name="T18" fmla="*/ 94 w 240"/>
                <a:gd name="T19" fmla="*/ 164 h 270"/>
                <a:gd name="T20" fmla="*/ 90 w 240"/>
                <a:gd name="T21" fmla="*/ 162 h 270"/>
                <a:gd name="T22" fmla="*/ 84 w 240"/>
                <a:gd name="T23" fmla="*/ 162 h 270"/>
                <a:gd name="T24" fmla="*/ 78 w 240"/>
                <a:gd name="T25" fmla="*/ 148 h 270"/>
                <a:gd name="T26" fmla="*/ 78 w 240"/>
                <a:gd name="T27" fmla="*/ 130 h 270"/>
                <a:gd name="T28" fmla="*/ 84 w 240"/>
                <a:gd name="T29" fmla="*/ 82 h 270"/>
                <a:gd name="T30" fmla="*/ 86 w 240"/>
                <a:gd name="T31" fmla="*/ 60 h 270"/>
                <a:gd name="T32" fmla="*/ 84 w 240"/>
                <a:gd name="T33" fmla="*/ 48 h 270"/>
                <a:gd name="T34" fmla="*/ 78 w 240"/>
                <a:gd name="T35" fmla="*/ 38 h 270"/>
                <a:gd name="T36" fmla="*/ 76 w 240"/>
                <a:gd name="T37" fmla="*/ 24 h 270"/>
                <a:gd name="T38" fmla="*/ 78 w 240"/>
                <a:gd name="T39" fmla="*/ 18 h 270"/>
                <a:gd name="T40" fmla="*/ 82 w 240"/>
                <a:gd name="T41" fmla="*/ 16 h 270"/>
                <a:gd name="T42" fmla="*/ 88 w 240"/>
                <a:gd name="T43" fmla="*/ 16 h 270"/>
                <a:gd name="T44" fmla="*/ 88 w 240"/>
                <a:gd name="T45" fmla="*/ 6 h 270"/>
                <a:gd name="T46" fmla="*/ 102 w 240"/>
                <a:gd name="T47" fmla="*/ 10 h 270"/>
                <a:gd name="T48" fmla="*/ 138 w 240"/>
                <a:gd name="T49" fmla="*/ 40 h 270"/>
                <a:gd name="T50" fmla="*/ 186 w 240"/>
                <a:gd name="T51" fmla="*/ 80 h 270"/>
                <a:gd name="T52" fmla="*/ 206 w 240"/>
                <a:gd name="T53" fmla="*/ 92 h 270"/>
                <a:gd name="T54" fmla="*/ 216 w 240"/>
                <a:gd name="T55" fmla="*/ 98 h 270"/>
                <a:gd name="T56" fmla="*/ 218 w 240"/>
                <a:gd name="T57" fmla="*/ 102 h 270"/>
                <a:gd name="T58" fmla="*/ 218 w 240"/>
                <a:gd name="T59" fmla="*/ 118 h 270"/>
                <a:gd name="T60" fmla="*/ 222 w 240"/>
                <a:gd name="T61" fmla="*/ 122 h 270"/>
                <a:gd name="T62" fmla="*/ 228 w 240"/>
                <a:gd name="T63" fmla="*/ 122 h 270"/>
                <a:gd name="T64" fmla="*/ 238 w 240"/>
                <a:gd name="T65" fmla="*/ 140 h 270"/>
                <a:gd name="T66" fmla="*/ 238 w 240"/>
                <a:gd name="T67" fmla="*/ 160 h 270"/>
                <a:gd name="T68" fmla="*/ 236 w 240"/>
                <a:gd name="T69" fmla="*/ 166 h 270"/>
                <a:gd name="T70" fmla="*/ 232 w 240"/>
                <a:gd name="T71" fmla="*/ 168 h 270"/>
                <a:gd name="T72" fmla="*/ 226 w 240"/>
                <a:gd name="T73" fmla="*/ 168 h 270"/>
                <a:gd name="T74" fmla="*/ 226 w 240"/>
                <a:gd name="T75" fmla="*/ 172 h 270"/>
                <a:gd name="T76" fmla="*/ 226 w 240"/>
                <a:gd name="T77" fmla="*/ 176 h 270"/>
                <a:gd name="T78" fmla="*/ 224 w 240"/>
                <a:gd name="T79" fmla="*/ 180 h 270"/>
                <a:gd name="T80" fmla="*/ 208 w 240"/>
                <a:gd name="T81" fmla="*/ 180 h 270"/>
                <a:gd name="T82" fmla="*/ 190 w 240"/>
                <a:gd name="T83" fmla="*/ 182 h 270"/>
                <a:gd name="T84" fmla="*/ 176 w 240"/>
                <a:gd name="T85" fmla="*/ 190 h 270"/>
                <a:gd name="T86" fmla="*/ 158 w 240"/>
                <a:gd name="T87" fmla="*/ 188 h 270"/>
                <a:gd name="T88" fmla="*/ 152 w 240"/>
                <a:gd name="T89" fmla="*/ 190 h 270"/>
                <a:gd name="T90" fmla="*/ 146 w 240"/>
                <a:gd name="T91" fmla="*/ 198 h 270"/>
                <a:gd name="T92" fmla="*/ 138 w 240"/>
                <a:gd name="T93" fmla="*/ 206 h 270"/>
                <a:gd name="T94" fmla="*/ 126 w 240"/>
                <a:gd name="T95" fmla="*/ 210 h 270"/>
                <a:gd name="T96" fmla="*/ 118 w 240"/>
                <a:gd name="T97" fmla="*/ 214 h 270"/>
                <a:gd name="T98" fmla="*/ 112 w 240"/>
                <a:gd name="T99" fmla="*/ 228 h 270"/>
                <a:gd name="T100" fmla="*/ 102 w 240"/>
                <a:gd name="T101" fmla="*/ 242 h 270"/>
                <a:gd name="T102" fmla="*/ 96 w 240"/>
                <a:gd name="T103" fmla="*/ 256 h 270"/>
                <a:gd name="T104" fmla="*/ 64 w 240"/>
                <a:gd name="T105" fmla="*/ 266 h 270"/>
                <a:gd name="T106" fmla="*/ 62 w 240"/>
                <a:gd name="T107" fmla="*/ 250 h 270"/>
                <a:gd name="T108" fmla="*/ 56 w 240"/>
                <a:gd name="T109" fmla="*/ 242 h 270"/>
                <a:gd name="T110" fmla="*/ 48 w 240"/>
                <a:gd name="T111" fmla="*/ 238 h 270"/>
                <a:gd name="T112" fmla="*/ 34 w 240"/>
                <a:gd name="T113" fmla="*/ 234 h 270"/>
                <a:gd name="T114" fmla="*/ 14 w 240"/>
                <a:gd name="T115" fmla="*/ 220 h 270"/>
                <a:gd name="T116" fmla="*/ 8 w 240"/>
                <a:gd name="T117" fmla="*/ 212 h 270"/>
                <a:gd name="T118" fmla="*/ 2 w 240"/>
                <a:gd name="T119" fmla="*/ 206 h 270"/>
                <a:gd name="T120" fmla="*/ 0 w 240"/>
                <a:gd name="T121"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70">
                  <a:moveTo>
                    <a:pt x="0" y="194"/>
                  </a:moveTo>
                  <a:lnTo>
                    <a:pt x="0" y="194"/>
                  </a:lnTo>
                  <a:lnTo>
                    <a:pt x="0" y="192"/>
                  </a:lnTo>
                  <a:lnTo>
                    <a:pt x="2" y="188"/>
                  </a:lnTo>
                  <a:lnTo>
                    <a:pt x="4" y="186"/>
                  </a:lnTo>
                  <a:lnTo>
                    <a:pt x="6" y="182"/>
                  </a:lnTo>
                  <a:lnTo>
                    <a:pt x="8" y="180"/>
                  </a:lnTo>
                  <a:lnTo>
                    <a:pt x="10" y="178"/>
                  </a:lnTo>
                  <a:lnTo>
                    <a:pt x="10" y="178"/>
                  </a:lnTo>
                  <a:lnTo>
                    <a:pt x="12" y="176"/>
                  </a:lnTo>
                  <a:lnTo>
                    <a:pt x="12" y="176"/>
                  </a:lnTo>
                  <a:lnTo>
                    <a:pt x="14" y="174"/>
                  </a:lnTo>
                  <a:lnTo>
                    <a:pt x="14" y="174"/>
                  </a:lnTo>
                  <a:lnTo>
                    <a:pt x="16" y="174"/>
                  </a:lnTo>
                  <a:lnTo>
                    <a:pt x="16" y="176"/>
                  </a:lnTo>
                  <a:lnTo>
                    <a:pt x="18" y="176"/>
                  </a:lnTo>
                  <a:lnTo>
                    <a:pt x="20" y="178"/>
                  </a:lnTo>
                  <a:lnTo>
                    <a:pt x="22" y="180"/>
                  </a:lnTo>
                  <a:lnTo>
                    <a:pt x="24" y="180"/>
                  </a:lnTo>
                  <a:lnTo>
                    <a:pt x="26" y="182"/>
                  </a:lnTo>
                  <a:lnTo>
                    <a:pt x="28" y="182"/>
                  </a:lnTo>
                  <a:lnTo>
                    <a:pt x="30" y="182"/>
                  </a:lnTo>
                  <a:lnTo>
                    <a:pt x="34" y="182"/>
                  </a:lnTo>
                  <a:lnTo>
                    <a:pt x="36" y="184"/>
                  </a:lnTo>
                  <a:lnTo>
                    <a:pt x="44" y="184"/>
                  </a:lnTo>
                  <a:lnTo>
                    <a:pt x="52" y="184"/>
                  </a:lnTo>
                  <a:lnTo>
                    <a:pt x="58" y="184"/>
                  </a:lnTo>
                  <a:lnTo>
                    <a:pt x="66" y="184"/>
                  </a:lnTo>
                  <a:lnTo>
                    <a:pt x="72" y="184"/>
                  </a:lnTo>
                  <a:lnTo>
                    <a:pt x="78" y="184"/>
                  </a:lnTo>
                  <a:lnTo>
                    <a:pt x="82" y="184"/>
                  </a:lnTo>
                  <a:lnTo>
                    <a:pt x="84" y="184"/>
                  </a:lnTo>
                  <a:lnTo>
                    <a:pt x="88" y="184"/>
                  </a:lnTo>
                  <a:lnTo>
                    <a:pt x="90" y="184"/>
                  </a:lnTo>
                  <a:lnTo>
                    <a:pt x="92" y="184"/>
                  </a:lnTo>
                  <a:lnTo>
                    <a:pt x="94" y="184"/>
                  </a:lnTo>
                  <a:lnTo>
                    <a:pt x="94" y="184"/>
                  </a:lnTo>
                  <a:lnTo>
                    <a:pt x="96" y="184"/>
                  </a:lnTo>
                  <a:lnTo>
                    <a:pt x="96" y="182"/>
                  </a:lnTo>
                  <a:lnTo>
                    <a:pt x="96" y="182"/>
                  </a:lnTo>
                  <a:lnTo>
                    <a:pt x="96" y="180"/>
                  </a:lnTo>
                  <a:lnTo>
                    <a:pt x="98" y="180"/>
                  </a:lnTo>
                  <a:lnTo>
                    <a:pt x="98" y="178"/>
                  </a:lnTo>
                  <a:lnTo>
                    <a:pt x="98" y="176"/>
                  </a:lnTo>
                  <a:lnTo>
                    <a:pt x="98" y="174"/>
                  </a:lnTo>
                  <a:lnTo>
                    <a:pt x="98" y="172"/>
                  </a:lnTo>
                  <a:lnTo>
                    <a:pt x="96" y="168"/>
                  </a:lnTo>
                  <a:lnTo>
                    <a:pt x="96" y="166"/>
                  </a:lnTo>
                  <a:lnTo>
                    <a:pt x="96" y="166"/>
                  </a:lnTo>
                  <a:lnTo>
                    <a:pt x="94" y="164"/>
                  </a:lnTo>
                  <a:lnTo>
                    <a:pt x="94" y="164"/>
                  </a:lnTo>
                  <a:lnTo>
                    <a:pt x="94" y="164"/>
                  </a:lnTo>
                  <a:lnTo>
                    <a:pt x="92" y="164"/>
                  </a:lnTo>
                  <a:lnTo>
                    <a:pt x="90" y="164"/>
                  </a:lnTo>
                  <a:lnTo>
                    <a:pt x="90" y="162"/>
                  </a:lnTo>
                  <a:lnTo>
                    <a:pt x="88" y="162"/>
                  </a:lnTo>
                  <a:lnTo>
                    <a:pt x="86" y="162"/>
                  </a:lnTo>
                  <a:lnTo>
                    <a:pt x="84" y="162"/>
                  </a:lnTo>
                  <a:lnTo>
                    <a:pt x="84" y="162"/>
                  </a:lnTo>
                  <a:lnTo>
                    <a:pt x="84" y="162"/>
                  </a:lnTo>
                  <a:lnTo>
                    <a:pt x="82" y="158"/>
                  </a:lnTo>
                  <a:lnTo>
                    <a:pt x="80" y="156"/>
                  </a:lnTo>
                  <a:lnTo>
                    <a:pt x="80" y="154"/>
                  </a:lnTo>
                  <a:lnTo>
                    <a:pt x="80" y="150"/>
                  </a:lnTo>
                  <a:lnTo>
                    <a:pt x="78" y="148"/>
                  </a:lnTo>
                  <a:lnTo>
                    <a:pt x="78" y="144"/>
                  </a:lnTo>
                  <a:lnTo>
                    <a:pt x="78" y="142"/>
                  </a:lnTo>
                  <a:lnTo>
                    <a:pt x="78" y="138"/>
                  </a:lnTo>
                  <a:lnTo>
                    <a:pt x="78" y="134"/>
                  </a:lnTo>
                  <a:lnTo>
                    <a:pt x="78" y="130"/>
                  </a:lnTo>
                  <a:lnTo>
                    <a:pt x="78" y="122"/>
                  </a:lnTo>
                  <a:lnTo>
                    <a:pt x="80" y="114"/>
                  </a:lnTo>
                  <a:lnTo>
                    <a:pt x="82" y="106"/>
                  </a:lnTo>
                  <a:lnTo>
                    <a:pt x="84" y="90"/>
                  </a:lnTo>
                  <a:lnTo>
                    <a:pt x="84" y="82"/>
                  </a:lnTo>
                  <a:lnTo>
                    <a:pt x="86" y="74"/>
                  </a:lnTo>
                  <a:lnTo>
                    <a:pt x="86" y="70"/>
                  </a:lnTo>
                  <a:lnTo>
                    <a:pt x="86" y="68"/>
                  </a:lnTo>
                  <a:lnTo>
                    <a:pt x="86" y="64"/>
                  </a:lnTo>
                  <a:lnTo>
                    <a:pt x="86" y="60"/>
                  </a:lnTo>
                  <a:lnTo>
                    <a:pt x="86" y="58"/>
                  </a:lnTo>
                  <a:lnTo>
                    <a:pt x="86" y="54"/>
                  </a:lnTo>
                  <a:lnTo>
                    <a:pt x="86" y="52"/>
                  </a:lnTo>
                  <a:lnTo>
                    <a:pt x="84" y="50"/>
                  </a:lnTo>
                  <a:lnTo>
                    <a:pt x="84" y="48"/>
                  </a:lnTo>
                  <a:lnTo>
                    <a:pt x="84" y="46"/>
                  </a:lnTo>
                  <a:lnTo>
                    <a:pt x="80" y="44"/>
                  </a:lnTo>
                  <a:lnTo>
                    <a:pt x="78" y="42"/>
                  </a:lnTo>
                  <a:lnTo>
                    <a:pt x="78" y="40"/>
                  </a:lnTo>
                  <a:lnTo>
                    <a:pt x="78" y="38"/>
                  </a:lnTo>
                  <a:lnTo>
                    <a:pt x="76" y="36"/>
                  </a:lnTo>
                  <a:lnTo>
                    <a:pt x="76" y="34"/>
                  </a:lnTo>
                  <a:lnTo>
                    <a:pt x="76" y="32"/>
                  </a:lnTo>
                  <a:lnTo>
                    <a:pt x="76" y="28"/>
                  </a:lnTo>
                  <a:lnTo>
                    <a:pt x="76" y="24"/>
                  </a:lnTo>
                  <a:lnTo>
                    <a:pt x="76" y="22"/>
                  </a:lnTo>
                  <a:lnTo>
                    <a:pt x="76" y="20"/>
                  </a:lnTo>
                  <a:lnTo>
                    <a:pt x="76" y="20"/>
                  </a:lnTo>
                  <a:lnTo>
                    <a:pt x="76" y="18"/>
                  </a:lnTo>
                  <a:lnTo>
                    <a:pt x="78" y="18"/>
                  </a:lnTo>
                  <a:lnTo>
                    <a:pt x="78" y="18"/>
                  </a:lnTo>
                  <a:lnTo>
                    <a:pt x="78" y="16"/>
                  </a:lnTo>
                  <a:lnTo>
                    <a:pt x="80" y="16"/>
                  </a:lnTo>
                  <a:lnTo>
                    <a:pt x="80" y="16"/>
                  </a:lnTo>
                  <a:lnTo>
                    <a:pt x="82" y="16"/>
                  </a:lnTo>
                  <a:lnTo>
                    <a:pt x="84" y="16"/>
                  </a:lnTo>
                  <a:lnTo>
                    <a:pt x="86" y="16"/>
                  </a:lnTo>
                  <a:lnTo>
                    <a:pt x="86" y="16"/>
                  </a:lnTo>
                  <a:lnTo>
                    <a:pt x="86" y="16"/>
                  </a:lnTo>
                  <a:lnTo>
                    <a:pt x="88" y="16"/>
                  </a:lnTo>
                  <a:lnTo>
                    <a:pt x="88" y="14"/>
                  </a:lnTo>
                  <a:lnTo>
                    <a:pt x="88" y="14"/>
                  </a:lnTo>
                  <a:lnTo>
                    <a:pt x="88" y="12"/>
                  </a:lnTo>
                  <a:lnTo>
                    <a:pt x="88" y="10"/>
                  </a:lnTo>
                  <a:lnTo>
                    <a:pt x="88" y="6"/>
                  </a:lnTo>
                  <a:lnTo>
                    <a:pt x="88" y="2"/>
                  </a:lnTo>
                  <a:lnTo>
                    <a:pt x="88" y="0"/>
                  </a:lnTo>
                  <a:lnTo>
                    <a:pt x="94" y="4"/>
                  </a:lnTo>
                  <a:lnTo>
                    <a:pt x="98" y="8"/>
                  </a:lnTo>
                  <a:lnTo>
                    <a:pt x="102" y="10"/>
                  </a:lnTo>
                  <a:lnTo>
                    <a:pt x="108" y="14"/>
                  </a:lnTo>
                  <a:lnTo>
                    <a:pt x="114" y="20"/>
                  </a:lnTo>
                  <a:lnTo>
                    <a:pt x="120" y="24"/>
                  </a:lnTo>
                  <a:lnTo>
                    <a:pt x="126" y="30"/>
                  </a:lnTo>
                  <a:lnTo>
                    <a:pt x="138" y="40"/>
                  </a:lnTo>
                  <a:lnTo>
                    <a:pt x="152" y="52"/>
                  </a:lnTo>
                  <a:lnTo>
                    <a:pt x="166" y="64"/>
                  </a:lnTo>
                  <a:lnTo>
                    <a:pt x="174" y="70"/>
                  </a:lnTo>
                  <a:lnTo>
                    <a:pt x="180" y="74"/>
                  </a:lnTo>
                  <a:lnTo>
                    <a:pt x="186" y="80"/>
                  </a:lnTo>
                  <a:lnTo>
                    <a:pt x="192" y="84"/>
                  </a:lnTo>
                  <a:lnTo>
                    <a:pt x="198" y="88"/>
                  </a:lnTo>
                  <a:lnTo>
                    <a:pt x="204" y="92"/>
                  </a:lnTo>
                  <a:lnTo>
                    <a:pt x="204" y="92"/>
                  </a:lnTo>
                  <a:lnTo>
                    <a:pt x="206" y="92"/>
                  </a:lnTo>
                  <a:lnTo>
                    <a:pt x="210" y="94"/>
                  </a:lnTo>
                  <a:lnTo>
                    <a:pt x="212" y="94"/>
                  </a:lnTo>
                  <a:lnTo>
                    <a:pt x="214" y="96"/>
                  </a:lnTo>
                  <a:lnTo>
                    <a:pt x="216" y="96"/>
                  </a:lnTo>
                  <a:lnTo>
                    <a:pt x="216" y="98"/>
                  </a:lnTo>
                  <a:lnTo>
                    <a:pt x="218" y="98"/>
                  </a:lnTo>
                  <a:lnTo>
                    <a:pt x="218" y="98"/>
                  </a:lnTo>
                  <a:lnTo>
                    <a:pt x="218" y="100"/>
                  </a:lnTo>
                  <a:lnTo>
                    <a:pt x="218" y="102"/>
                  </a:lnTo>
                  <a:lnTo>
                    <a:pt x="218" y="102"/>
                  </a:lnTo>
                  <a:lnTo>
                    <a:pt x="218" y="106"/>
                  </a:lnTo>
                  <a:lnTo>
                    <a:pt x="218" y="110"/>
                  </a:lnTo>
                  <a:lnTo>
                    <a:pt x="218" y="114"/>
                  </a:lnTo>
                  <a:lnTo>
                    <a:pt x="218" y="116"/>
                  </a:lnTo>
                  <a:lnTo>
                    <a:pt x="218" y="118"/>
                  </a:lnTo>
                  <a:lnTo>
                    <a:pt x="220" y="118"/>
                  </a:lnTo>
                  <a:lnTo>
                    <a:pt x="220" y="120"/>
                  </a:lnTo>
                  <a:lnTo>
                    <a:pt x="220" y="120"/>
                  </a:lnTo>
                  <a:lnTo>
                    <a:pt x="220" y="122"/>
                  </a:lnTo>
                  <a:lnTo>
                    <a:pt x="222" y="122"/>
                  </a:lnTo>
                  <a:lnTo>
                    <a:pt x="222" y="122"/>
                  </a:lnTo>
                  <a:lnTo>
                    <a:pt x="224" y="122"/>
                  </a:lnTo>
                  <a:lnTo>
                    <a:pt x="224" y="122"/>
                  </a:lnTo>
                  <a:lnTo>
                    <a:pt x="226" y="122"/>
                  </a:lnTo>
                  <a:lnTo>
                    <a:pt x="228" y="122"/>
                  </a:lnTo>
                  <a:lnTo>
                    <a:pt x="232" y="120"/>
                  </a:lnTo>
                  <a:lnTo>
                    <a:pt x="234" y="120"/>
                  </a:lnTo>
                  <a:lnTo>
                    <a:pt x="236" y="126"/>
                  </a:lnTo>
                  <a:lnTo>
                    <a:pt x="236" y="132"/>
                  </a:lnTo>
                  <a:lnTo>
                    <a:pt x="238" y="140"/>
                  </a:lnTo>
                  <a:lnTo>
                    <a:pt x="238" y="144"/>
                  </a:lnTo>
                  <a:lnTo>
                    <a:pt x="238" y="148"/>
                  </a:lnTo>
                  <a:lnTo>
                    <a:pt x="240" y="152"/>
                  </a:lnTo>
                  <a:lnTo>
                    <a:pt x="240" y="156"/>
                  </a:lnTo>
                  <a:lnTo>
                    <a:pt x="238" y="160"/>
                  </a:lnTo>
                  <a:lnTo>
                    <a:pt x="238" y="160"/>
                  </a:lnTo>
                  <a:lnTo>
                    <a:pt x="238" y="162"/>
                  </a:lnTo>
                  <a:lnTo>
                    <a:pt x="238" y="164"/>
                  </a:lnTo>
                  <a:lnTo>
                    <a:pt x="238" y="164"/>
                  </a:lnTo>
                  <a:lnTo>
                    <a:pt x="236" y="166"/>
                  </a:lnTo>
                  <a:lnTo>
                    <a:pt x="236" y="166"/>
                  </a:lnTo>
                  <a:lnTo>
                    <a:pt x="236" y="168"/>
                  </a:lnTo>
                  <a:lnTo>
                    <a:pt x="236" y="168"/>
                  </a:lnTo>
                  <a:lnTo>
                    <a:pt x="234" y="168"/>
                  </a:lnTo>
                  <a:lnTo>
                    <a:pt x="232" y="168"/>
                  </a:lnTo>
                  <a:lnTo>
                    <a:pt x="232" y="168"/>
                  </a:lnTo>
                  <a:lnTo>
                    <a:pt x="230" y="168"/>
                  </a:lnTo>
                  <a:lnTo>
                    <a:pt x="228" y="168"/>
                  </a:lnTo>
                  <a:lnTo>
                    <a:pt x="226" y="168"/>
                  </a:lnTo>
                  <a:lnTo>
                    <a:pt x="226" y="168"/>
                  </a:lnTo>
                  <a:lnTo>
                    <a:pt x="226" y="168"/>
                  </a:lnTo>
                  <a:lnTo>
                    <a:pt x="226" y="168"/>
                  </a:lnTo>
                  <a:lnTo>
                    <a:pt x="226" y="168"/>
                  </a:lnTo>
                  <a:lnTo>
                    <a:pt x="226" y="170"/>
                  </a:lnTo>
                  <a:lnTo>
                    <a:pt x="226" y="172"/>
                  </a:lnTo>
                  <a:lnTo>
                    <a:pt x="226" y="172"/>
                  </a:lnTo>
                  <a:lnTo>
                    <a:pt x="226" y="174"/>
                  </a:lnTo>
                  <a:lnTo>
                    <a:pt x="226" y="176"/>
                  </a:lnTo>
                  <a:lnTo>
                    <a:pt x="226" y="176"/>
                  </a:lnTo>
                  <a:lnTo>
                    <a:pt x="226" y="176"/>
                  </a:lnTo>
                  <a:lnTo>
                    <a:pt x="226" y="176"/>
                  </a:lnTo>
                  <a:lnTo>
                    <a:pt x="226" y="178"/>
                  </a:lnTo>
                  <a:lnTo>
                    <a:pt x="224" y="178"/>
                  </a:lnTo>
                  <a:lnTo>
                    <a:pt x="224" y="178"/>
                  </a:lnTo>
                  <a:lnTo>
                    <a:pt x="224" y="180"/>
                  </a:lnTo>
                  <a:lnTo>
                    <a:pt x="220" y="180"/>
                  </a:lnTo>
                  <a:lnTo>
                    <a:pt x="218" y="180"/>
                  </a:lnTo>
                  <a:lnTo>
                    <a:pt x="216" y="180"/>
                  </a:lnTo>
                  <a:lnTo>
                    <a:pt x="214" y="180"/>
                  </a:lnTo>
                  <a:lnTo>
                    <a:pt x="208" y="180"/>
                  </a:lnTo>
                  <a:lnTo>
                    <a:pt x="202" y="180"/>
                  </a:lnTo>
                  <a:lnTo>
                    <a:pt x="198" y="180"/>
                  </a:lnTo>
                  <a:lnTo>
                    <a:pt x="194" y="180"/>
                  </a:lnTo>
                  <a:lnTo>
                    <a:pt x="192" y="182"/>
                  </a:lnTo>
                  <a:lnTo>
                    <a:pt x="190" y="182"/>
                  </a:lnTo>
                  <a:lnTo>
                    <a:pt x="188" y="182"/>
                  </a:lnTo>
                  <a:lnTo>
                    <a:pt x="186" y="182"/>
                  </a:lnTo>
                  <a:lnTo>
                    <a:pt x="186" y="184"/>
                  </a:lnTo>
                  <a:lnTo>
                    <a:pt x="182" y="186"/>
                  </a:lnTo>
                  <a:lnTo>
                    <a:pt x="176" y="190"/>
                  </a:lnTo>
                  <a:lnTo>
                    <a:pt x="174" y="190"/>
                  </a:lnTo>
                  <a:lnTo>
                    <a:pt x="170" y="188"/>
                  </a:lnTo>
                  <a:lnTo>
                    <a:pt x="166" y="188"/>
                  </a:lnTo>
                  <a:lnTo>
                    <a:pt x="162" y="188"/>
                  </a:lnTo>
                  <a:lnTo>
                    <a:pt x="158" y="188"/>
                  </a:lnTo>
                  <a:lnTo>
                    <a:pt x="156" y="188"/>
                  </a:lnTo>
                  <a:lnTo>
                    <a:pt x="156" y="188"/>
                  </a:lnTo>
                  <a:lnTo>
                    <a:pt x="154" y="188"/>
                  </a:lnTo>
                  <a:lnTo>
                    <a:pt x="152" y="188"/>
                  </a:lnTo>
                  <a:lnTo>
                    <a:pt x="152" y="190"/>
                  </a:lnTo>
                  <a:lnTo>
                    <a:pt x="150" y="190"/>
                  </a:lnTo>
                  <a:lnTo>
                    <a:pt x="150" y="192"/>
                  </a:lnTo>
                  <a:lnTo>
                    <a:pt x="148" y="194"/>
                  </a:lnTo>
                  <a:lnTo>
                    <a:pt x="146" y="196"/>
                  </a:lnTo>
                  <a:lnTo>
                    <a:pt x="146" y="198"/>
                  </a:lnTo>
                  <a:lnTo>
                    <a:pt x="144" y="198"/>
                  </a:lnTo>
                  <a:lnTo>
                    <a:pt x="142" y="202"/>
                  </a:lnTo>
                  <a:lnTo>
                    <a:pt x="140" y="204"/>
                  </a:lnTo>
                  <a:lnTo>
                    <a:pt x="138" y="206"/>
                  </a:lnTo>
                  <a:lnTo>
                    <a:pt x="138" y="206"/>
                  </a:lnTo>
                  <a:lnTo>
                    <a:pt x="136" y="206"/>
                  </a:lnTo>
                  <a:lnTo>
                    <a:pt x="136" y="208"/>
                  </a:lnTo>
                  <a:lnTo>
                    <a:pt x="134" y="208"/>
                  </a:lnTo>
                  <a:lnTo>
                    <a:pt x="128" y="210"/>
                  </a:lnTo>
                  <a:lnTo>
                    <a:pt x="126" y="210"/>
                  </a:lnTo>
                  <a:lnTo>
                    <a:pt x="122" y="210"/>
                  </a:lnTo>
                  <a:lnTo>
                    <a:pt x="120" y="212"/>
                  </a:lnTo>
                  <a:lnTo>
                    <a:pt x="120" y="212"/>
                  </a:lnTo>
                  <a:lnTo>
                    <a:pt x="118" y="212"/>
                  </a:lnTo>
                  <a:lnTo>
                    <a:pt x="118" y="214"/>
                  </a:lnTo>
                  <a:lnTo>
                    <a:pt x="118" y="214"/>
                  </a:lnTo>
                  <a:lnTo>
                    <a:pt x="116" y="216"/>
                  </a:lnTo>
                  <a:lnTo>
                    <a:pt x="114" y="220"/>
                  </a:lnTo>
                  <a:lnTo>
                    <a:pt x="112" y="226"/>
                  </a:lnTo>
                  <a:lnTo>
                    <a:pt x="112" y="228"/>
                  </a:lnTo>
                  <a:lnTo>
                    <a:pt x="110" y="232"/>
                  </a:lnTo>
                  <a:lnTo>
                    <a:pt x="108" y="232"/>
                  </a:lnTo>
                  <a:lnTo>
                    <a:pt x="108" y="234"/>
                  </a:lnTo>
                  <a:lnTo>
                    <a:pt x="104" y="238"/>
                  </a:lnTo>
                  <a:lnTo>
                    <a:pt x="102" y="242"/>
                  </a:lnTo>
                  <a:lnTo>
                    <a:pt x="100" y="244"/>
                  </a:lnTo>
                  <a:lnTo>
                    <a:pt x="100" y="246"/>
                  </a:lnTo>
                  <a:lnTo>
                    <a:pt x="98" y="248"/>
                  </a:lnTo>
                  <a:lnTo>
                    <a:pt x="98" y="250"/>
                  </a:lnTo>
                  <a:lnTo>
                    <a:pt x="96" y="256"/>
                  </a:lnTo>
                  <a:lnTo>
                    <a:pt x="96" y="262"/>
                  </a:lnTo>
                  <a:lnTo>
                    <a:pt x="94" y="266"/>
                  </a:lnTo>
                  <a:lnTo>
                    <a:pt x="78" y="268"/>
                  </a:lnTo>
                  <a:lnTo>
                    <a:pt x="64" y="270"/>
                  </a:lnTo>
                  <a:lnTo>
                    <a:pt x="64" y="266"/>
                  </a:lnTo>
                  <a:lnTo>
                    <a:pt x="64" y="260"/>
                  </a:lnTo>
                  <a:lnTo>
                    <a:pt x="64" y="258"/>
                  </a:lnTo>
                  <a:lnTo>
                    <a:pt x="62" y="254"/>
                  </a:lnTo>
                  <a:lnTo>
                    <a:pt x="62" y="252"/>
                  </a:lnTo>
                  <a:lnTo>
                    <a:pt x="62" y="250"/>
                  </a:lnTo>
                  <a:lnTo>
                    <a:pt x="60" y="250"/>
                  </a:lnTo>
                  <a:lnTo>
                    <a:pt x="60" y="248"/>
                  </a:lnTo>
                  <a:lnTo>
                    <a:pt x="58" y="246"/>
                  </a:lnTo>
                  <a:lnTo>
                    <a:pt x="58" y="244"/>
                  </a:lnTo>
                  <a:lnTo>
                    <a:pt x="56" y="242"/>
                  </a:lnTo>
                  <a:lnTo>
                    <a:pt x="54" y="242"/>
                  </a:lnTo>
                  <a:lnTo>
                    <a:pt x="52" y="240"/>
                  </a:lnTo>
                  <a:lnTo>
                    <a:pt x="50" y="238"/>
                  </a:lnTo>
                  <a:lnTo>
                    <a:pt x="50" y="238"/>
                  </a:lnTo>
                  <a:lnTo>
                    <a:pt x="48" y="238"/>
                  </a:lnTo>
                  <a:lnTo>
                    <a:pt x="46" y="236"/>
                  </a:lnTo>
                  <a:lnTo>
                    <a:pt x="44" y="236"/>
                  </a:lnTo>
                  <a:lnTo>
                    <a:pt x="42" y="236"/>
                  </a:lnTo>
                  <a:lnTo>
                    <a:pt x="36" y="234"/>
                  </a:lnTo>
                  <a:lnTo>
                    <a:pt x="34" y="234"/>
                  </a:lnTo>
                  <a:lnTo>
                    <a:pt x="24" y="232"/>
                  </a:lnTo>
                  <a:lnTo>
                    <a:pt x="18" y="230"/>
                  </a:lnTo>
                  <a:lnTo>
                    <a:pt x="18" y="228"/>
                  </a:lnTo>
                  <a:lnTo>
                    <a:pt x="16" y="224"/>
                  </a:lnTo>
                  <a:lnTo>
                    <a:pt x="14" y="220"/>
                  </a:lnTo>
                  <a:lnTo>
                    <a:pt x="14" y="218"/>
                  </a:lnTo>
                  <a:lnTo>
                    <a:pt x="12" y="216"/>
                  </a:lnTo>
                  <a:lnTo>
                    <a:pt x="10" y="214"/>
                  </a:lnTo>
                  <a:lnTo>
                    <a:pt x="10" y="212"/>
                  </a:lnTo>
                  <a:lnTo>
                    <a:pt x="8" y="212"/>
                  </a:lnTo>
                  <a:lnTo>
                    <a:pt x="6" y="210"/>
                  </a:lnTo>
                  <a:lnTo>
                    <a:pt x="4" y="208"/>
                  </a:lnTo>
                  <a:lnTo>
                    <a:pt x="2" y="208"/>
                  </a:lnTo>
                  <a:lnTo>
                    <a:pt x="2" y="208"/>
                  </a:lnTo>
                  <a:lnTo>
                    <a:pt x="2" y="206"/>
                  </a:lnTo>
                  <a:lnTo>
                    <a:pt x="0" y="204"/>
                  </a:lnTo>
                  <a:lnTo>
                    <a:pt x="0" y="202"/>
                  </a:lnTo>
                  <a:lnTo>
                    <a:pt x="0" y="200"/>
                  </a:lnTo>
                  <a:lnTo>
                    <a:pt x="0" y="196"/>
                  </a:lnTo>
                  <a:lnTo>
                    <a:pt x="0" y="19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5" name="Freeform 372"/>
            <p:cNvSpPr>
              <a:spLocks/>
            </p:cNvSpPr>
            <p:nvPr/>
          </p:nvSpPr>
          <p:spPr bwMode="auto">
            <a:xfrm>
              <a:off x="3933189" y="4369079"/>
              <a:ext cx="79675" cy="86604"/>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6" name="Freeform 373"/>
            <p:cNvSpPr>
              <a:spLocks/>
            </p:cNvSpPr>
            <p:nvPr/>
          </p:nvSpPr>
          <p:spPr bwMode="auto">
            <a:xfrm>
              <a:off x="3933189" y="4369079"/>
              <a:ext cx="79675" cy="86604"/>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7" name="Freeform 374"/>
            <p:cNvSpPr>
              <a:spLocks/>
            </p:cNvSpPr>
            <p:nvPr/>
          </p:nvSpPr>
          <p:spPr bwMode="auto">
            <a:xfrm>
              <a:off x="4328102" y="4251298"/>
              <a:ext cx="273668" cy="273668"/>
            </a:xfrm>
            <a:custGeom>
              <a:avLst/>
              <a:gdLst>
                <a:gd name="T0" fmla="*/ 130 w 158"/>
                <a:gd name="T1" fmla="*/ 98 h 158"/>
                <a:gd name="T2" fmla="*/ 136 w 158"/>
                <a:gd name="T3" fmla="*/ 86 h 158"/>
                <a:gd name="T4" fmla="*/ 140 w 158"/>
                <a:gd name="T5" fmla="*/ 68 h 158"/>
                <a:gd name="T6" fmla="*/ 144 w 158"/>
                <a:gd name="T7" fmla="*/ 56 h 158"/>
                <a:gd name="T8" fmla="*/ 148 w 158"/>
                <a:gd name="T9" fmla="*/ 50 h 158"/>
                <a:gd name="T10" fmla="*/ 156 w 158"/>
                <a:gd name="T11" fmla="*/ 44 h 158"/>
                <a:gd name="T12" fmla="*/ 158 w 158"/>
                <a:gd name="T13" fmla="*/ 40 h 158"/>
                <a:gd name="T14" fmla="*/ 158 w 158"/>
                <a:gd name="T15" fmla="*/ 26 h 158"/>
                <a:gd name="T16" fmla="*/ 156 w 158"/>
                <a:gd name="T17" fmla="*/ 0 h 158"/>
                <a:gd name="T18" fmla="*/ 144 w 158"/>
                <a:gd name="T19" fmla="*/ 6 h 158"/>
                <a:gd name="T20" fmla="*/ 140 w 158"/>
                <a:gd name="T21" fmla="*/ 12 h 158"/>
                <a:gd name="T22" fmla="*/ 138 w 158"/>
                <a:gd name="T23" fmla="*/ 14 h 158"/>
                <a:gd name="T24" fmla="*/ 136 w 158"/>
                <a:gd name="T25" fmla="*/ 12 h 158"/>
                <a:gd name="T26" fmla="*/ 132 w 158"/>
                <a:gd name="T27" fmla="*/ 6 h 158"/>
                <a:gd name="T28" fmla="*/ 126 w 158"/>
                <a:gd name="T29" fmla="*/ 4 h 158"/>
                <a:gd name="T30" fmla="*/ 116 w 158"/>
                <a:gd name="T31" fmla="*/ 4 h 158"/>
                <a:gd name="T32" fmla="*/ 112 w 158"/>
                <a:gd name="T33" fmla="*/ 6 h 158"/>
                <a:gd name="T34" fmla="*/ 110 w 158"/>
                <a:gd name="T35" fmla="*/ 8 h 158"/>
                <a:gd name="T36" fmla="*/ 110 w 158"/>
                <a:gd name="T37" fmla="*/ 12 h 158"/>
                <a:gd name="T38" fmla="*/ 108 w 158"/>
                <a:gd name="T39" fmla="*/ 14 h 158"/>
                <a:gd name="T40" fmla="*/ 102 w 158"/>
                <a:gd name="T41" fmla="*/ 14 h 158"/>
                <a:gd name="T42" fmla="*/ 96 w 158"/>
                <a:gd name="T43" fmla="*/ 12 h 158"/>
                <a:gd name="T44" fmla="*/ 92 w 158"/>
                <a:gd name="T45" fmla="*/ 6 h 158"/>
                <a:gd name="T46" fmla="*/ 86 w 158"/>
                <a:gd name="T47" fmla="*/ 4 h 158"/>
                <a:gd name="T48" fmla="*/ 78 w 158"/>
                <a:gd name="T49" fmla="*/ 6 h 158"/>
                <a:gd name="T50" fmla="*/ 66 w 158"/>
                <a:gd name="T51" fmla="*/ 6 h 158"/>
                <a:gd name="T52" fmla="*/ 62 w 158"/>
                <a:gd name="T53" fmla="*/ 6 h 158"/>
                <a:gd name="T54" fmla="*/ 60 w 158"/>
                <a:gd name="T55" fmla="*/ 10 h 158"/>
                <a:gd name="T56" fmla="*/ 60 w 158"/>
                <a:gd name="T57" fmla="*/ 14 h 158"/>
                <a:gd name="T58" fmla="*/ 58 w 158"/>
                <a:gd name="T59" fmla="*/ 12 h 158"/>
                <a:gd name="T60" fmla="*/ 54 w 158"/>
                <a:gd name="T61" fmla="*/ 6 h 158"/>
                <a:gd name="T62" fmla="*/ 52 w 158"/>
                <a:gd name="T63" fmla="*/ 2 h 158"/>
                <a:gd name="T64" fmla="*/ 44 w 158"/>
                <a:gd name="T65" fmla="*/ 2 h 158"/>
                <a:gd name="T66" fmla="*/ 32 w 158"/>
                <a:gd name="T67" fmla="*/ 4 h 158"/>
                <a:gd name="T68" fmla="*/ 28 w 158"/>
                <a:gd name="T69" fmla="*/ 6 h 158"/>
                <a:gd name="T70" fmla="*/ 24 w 158"/>
                <a:gd name="T71" fmla="*/ 14 h 158"/>
                <a:gd name="T72" fmla="*/ 20 w 158"/>
                <a:gd name="T73" fmla="*/ 20 h 158"/>
                <a:gd name="T74" fmla="*/ 18 w 158"/>
                <a:gd name="T75" fmla="*/ 24 h 158"/>
                <a:gd name="T76" fmla="*/ 14 w 158"/>
                <a:gd name="T77" fmla="*/ 26 h 158"/>
                <a:gd name="T78" fmla="*/ 16 w 158"/>
                <a:gd name="T79" fmla="*/ 42 h 158"/>
                <a:gd name="T80" fmla="*/ 14 w 158"/>
                <a:gd name="T81" fmla="*/ 60 h 158"/>
                <a:gd name="T82" fmla="*/ 8 w 158"/>
                <a:gd name="T83" fmla="*/ 76 h 158"/>
                <a:gd name="T84" fmla="*/ 2 w 158"/>
                <a:gd name="T85" fmla="*/ 82 h 158"/>
                <a:gd name="T86" fmla="*/ 0 w 158"/>
                <a:gd name="T87" fmla="*/ 86 h 158"/>
                <a:gd name="T88" fmla="*/ 0 w 158"/>
                <a:gd name="T89" fmla="*/ 96 h 158"/>
                <a:gd name="T90" fmla="*/ 2 w 158"/>
                <a:gd name="T91" fmla="*/ 116 h 158"/>
                <a:gd name="T92" fmla="*/ 14 w 158"/>
                <a:gd name="T93" fmla="*/ 122 h 158"/>
                <a:gd name="T94" fmla="*/ 22 w 158"/>
                <a:gd name="T95" fmla="*/ 120 h 158"/>
                <a:gd name="T96" fmla="*/ 28 w 158"/>
                <a:gd name="T97" fmla="*/ 120 h 158"/>
                <a:gd name="T98" fmla="*/ 30 w 158"/>
                <a:gd name="T99" fmla="*/ 122 h 158"/>
                <a:gd name="T100" fmla="*/ 38 w 158"/>
                <a:gd name="T101" fmla="*/ 132 h 158"/>
                <a:gd name="T102" fmla="*/ 40 w 158"/>
                <a:gd name="T103" fmla="*/ 136 h 158"/>
                <a:gd name="T104" fmla="*/ 40 w 158"/>
                <a:gd name="T105" fmla="*/ 144 h 158"/>
                <a:gd name="T106" fmla="*/ 40 w 158"/>
                <a:gd name="T107" fmla="*/ 150 h 158"/>
                <a:gd name="T108" fmla="*/ 44 w 158"/>
                <a:gd name="T109" fmla="*/ 154 h 158"/>
                <a:gd name="T110" fmla="*/ 50 w 158"/>
                <a:gd name="T111" fmla="*/ 158 h 158"/>
                <a:gd name="T112" fmla="*/ 58 w 158"/>
                <a:gd name="T113" fmla="*/ 158 h 158"/>
                <a:gd name="T114" fmla="*/ 76 w 158"/>
                <a:gd name="T115" fmla="*/ 150 h 158"/>
                <a:gd name="T116" fmla="*/ 92 w 158"/>
                <a:gd name="T117" fmla="*/ 136 h 158"/>
                <a:gd name="T118" fmla="*/ 100 w 158"/>
                <a:gd name="T119" fmla="*/ 124 h 158"/>
                <a:gd name="T120" fmla="*/ 110 w 158"/>
                <a:gd name="T121" fmla="*/ 114 h 158"/>
                <a:gd name="T122" fmla="*/ 124 w 158"/>
                <a:gd name="T12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58">
                  <a:moveTo>
                    <a:pt x="126" y="102"/>
                  </a:moveTo>
                  <a:lnTo>
                    <a:pt x="126" y="102"/>
                  </a:lnTo>
                  <a:lnTo>
                    <a:pt x="128" y="100"/>
                  </a:lnTo>
                  <a:lnTo>
                    <a:pt x="130" y="98"/>
                  </a:lnTo>
                  <a:lnTo>
                    <a:pt x="130" y="96"/>
                  </a:lnTo>
                  <a:lnTo>
                    <a:pt x="132" y="94"/>
                  </a:lnTo>
                  <a:lnTo>
                    <a:pt x="134" y="90"/>
                  </a:lnTo>
                  <a:lnTo>
                    <a:pt x="136" y="86"/>
                  </a:lnTo>
                  <a:lnTo>
                    <a:pt x="138" y="82"/>
                  </a:lnTo>
                  <a:lnTo>
                    <a:pt x="138" y="80"/>
                  </a:lnTo>
                  <a:lnTo>
                    <a:pt x="140" y="72"/>
                  </a:lnTo>
                  <a:lnTo>
                    <a:pt x="140" y="68"/>
                  </a:lnTo>
                  <a:lnTo>
                    <a:pt x="142" y="64"/>
                  </a:lnTo>
                  <a:lnTo>
                    <a:pt x="142" y="60"/>
                  </a:lnTo>
                  <a:lnTo>
                    <a:pt x="144" y="58"/>
                  </a:lnTo>
                  <a:lnTo>
                    <a:pt x="144" y="56"/>
                  </a:lnTo>
                  <a:lnTo>
                    <a:pt x="146" y="54"/>
                  </a:lnTo>
                  <a:lnTo>
                    <a:pt x="146" y="52"/>
                  </a:lnTo>
                  <a:lnTo>
                    <a:pt x="148" y="50"/>
                  </a:lnTo>
                  <a:lnTo>
                    <a:pt x="148" y="50"/>
                  </a:lnTo>
                  <a:lnTo>
                    <a:pt x="150" y="48"/>
                  </a:lnTo>
                  <a:lnTo>
                    <a:pt x="152" y="48"/>
                  </a:lnTo>
                  <a:lnTo>
                    <a:pt x="154" y="46"/>
                  </a:lnTo>
                  <a:lnTo>
                    <a:pt x="156" y="44"/>
                  </a:lnTo>
                  <a:lnTo>
                    <a:pt x="156" y="44"/>
                  </a:lnTo>
                  <a:lnTo>
                    <a:pt x="156" y="44"/>
                  </a:lnTo>
                  <a:lnTo>
                    <a:pt x="156" y="42"/>
                  </a:lnTo>
                  <a:lnTo>
                    <a:pt x="158" y="40"/>
                  </a:lnTo>
                  <a:lnTo>
                    <a:pt x="158" y="38"/>
                  </a:lnTo>
                  <a:lnTo>
                    <a:pt x="158" y="34"/>
                  </a:lnTo>
                  <a:lnTo>
                    <a:pt x="158" y="30"/>
                  </a:lnTo>
                  <a:lnTo>
                    <a:pt x="158" y="26"/>
                  </a:lnTo>
                  <a:lnTo>
                    <a:pt x="158" y="22"/>
                  </a:lnTo>
                  <a:lnTo>
                    <a:pt x="158" y="18"/>
                  </a:lnTo>
                  <a:lnTo>
                    <a:pt x="156" y="10"/>
                  </a:lnTo>
                  <a:lnTo>
                    <a:pt x="156" y="0"/>
                  </a:lnTo>
                  <a:lnTo>
                    <a:pt x="152" y="2"/>
                  </a:lnTo>
                  <a:lnTo>
                    <a:pt x="148" y="4"/>
                  </a:lnTo>
                  <a:lnTo>
                    <a:pt x="146" y="4"/>
                  </a:lnTo>
                  <a:lnTo>
                    <a:pt x="144" y="6"/>
                  </a:lnTo>
                  <a:lnTo>
                    <a:pt x="144" y="6"/>
                  </a:lnTo>
                  <a:lnTo>
                    <a:pt x="144" y="8"/>
                  </a:lnTo>
                  <a:lnTo>
                    <a:pt x="142" y="10"/>
                  </a:lnTo>
                  <a:lnTo>
                    <a:pt x="140" y="12"/>
                  </a:lnTo>
                  <a:lnTo>
                    <a:pt x="140" y="12"/>
                  </a:lnTo>
                  <a:lnTo>
                    <a:pt x="140" y="14"/>
                  </a:lnTo>
                  <a:lnTo>
                    <a:pt x="138" y="14"/>
                  </a:lnTo>
                  <a:lnTo>
                    <a:pt x="138" y="14"/>
                  </a:lnTo>
                  <a:lnTo>
                    <a:pt x="138" y="14"/>
                  </a:lnTo>
                  <a:lnTo>
                    <a:pt x="138" y="14"/>
                  </a:lnTo>
                  <a:lnTo>
                    <a:pt x="136" y="14"/>
                  </a:lnTo>
                  <a:lnTo>
                    <a:pt x="136" y="12"/>
                  </a:lnTo>
                  <a:lnTo>
                    <a:pt x="136" y="12"/>
                  </a:lnTo>
                  <a:lnTo>
                    <a:pt x="134" y="10"/>
                  </a:lnTo>
                  <a:lnTo>
                    <a:pt x="132" y="8"/>
                  </a:lnTo>
                  <a:lnTo>
                    <a:pt x="132" y="6"/>
                  </a:lnTo>
                  <a:lnTo>
                    <a:pt x="132" y="6"/>
                  </a:lnTo>
                  <a:lnTo>
                    <a:pt x="132" y="6"/>
                  </a:lnTo>
                  <a:lnTo>
                    <a:pt x="130" y="6"/>
                  </a:lnTo>
                  <a:lnTo>
                    <a:pt x="126" y="4"/>
                  </a:lnTo>
                  <a:lnTo>
                    <a:pt x="124" y="4"/>
                  </a:lnTo>
                  <a:lnTo>
                    <a:pt x="122" y="4"/>
                  </a:lnTo>
                  <a:lnTo>
                    <a:pt x="118" y="4"/>
                  </a:lnTo>
                  <a:lnTo>
                    <a:pt x="116" y="4"/>
                  </a:lnTo>
                  <a:lnTo>
                    <a:pt x="114" y="4"/>
                  </a:lnTo>
                  <a:lnTo>
                    <a:pt x="114" y="4"/>
                  </a:lnTo>
                  <a:lnTo>
                    <a:pt x="112" y="4"/>
                  </a:lnTo>
                  <a:lnTo>
                    <a:pt x="112" y="6"/>
                  </a:lnTo>
                  <a:lnTo>
                    <a:pt x="112" y="6"/>
                  </a:lnTo>
                  <a:lnTo>
                    <a:pt x="112" y="6"/>
                  </a:lnTo>
                  <a:lnTo>
                    <a:pt x="112" y="6"/>
                  </a:lnTo>
                  <a:lnTo>
                    <a:pt x="110" y="8"/>
                  </a:lnTo>
                  <a:lnTo>
                    <a:pt x="110" y="10"/>
                  </a:lnTo>
                  <a:lnTo>
                    <a:pt x="110" y="10"/>
                  </a:lnTo>
                  <a:lnTo>
                    <a:pt x="110" y="12"/>
                  </a:lnTo>
                  <a:lnTo>
                    <a:pt x="110" y="12"/>
                  </a:lnTo>
                  <a:lnTo>
                    <a:pt x="110" y="14"/>
                  </a:lnTo>
                  <a:lnTo>
                    <a:pt x="110" y="14"/>
                  </a:lnTo>
                  <a:lnTo>
                    <a:pt x="110" y="14"/>
                  </a:lnTo>
                  <a:lnTo>
                    <a:pt x="108" y="14"/>
                  </a:lnTo>
                  <a:lnTo>
                    <a:pt x="108" y="14"/>
                  </a:lnTo>
                  <a:lnTo>
                    <a:pt x="106" y="14"/>
                  </a:lnTo>
                  <a:lnTo>
                    <a:pt x="104" y="14"/>
                  </a:lnTo>
                  <a:lnTo>
                    <a:pt x="102" y="14"/>
                  </a:lnTo>
                  <a:lnTo>
                    <a:pt x="100" y="14"/>
                  </a:lnTo>
                  <a:lnTo>
                    <a:pt x="100" y="12"/>
                  </a:lnTo>
                  <a:lnTo>
                    <a:pt x="98" y="12"/>
                  </a:lnTo>
                  <a:lnTo>
                    <a:pt x="96" y="12"/>
                  </a:lnTo>
                  <a:lnTo>
                    <a:pt x="96" y="10"/>
                  </a:lnTo>
                  <a:lnTo>
                    <a:pt x="94" y="8"/>
                  </a:lnTo>
                  <a:lnTo>
                    <a:pt x="92" y="6"/>
                  </a:lnTo>
                  <a:lnTo>
                    <a:pt x="92" y="6"/>
                  </a:lnTo>
                  <a:lnTo>
                    <a:pt x="90" y="4"/>
                  </a:lnTo>
                  <a:lnTo>
                    <a:pt x="90" y="4"/>
                  </a:lnTo>
                  <a:lnTo>
                    <a:pt x="88" y="4"/>
                  </a:lnTo>
                  <a:lnTo>
                    <a:pt x="86" y="4"/>
                  </a:lnTo>
                  <a:lnTo>
                    <a:pt x="86" y="4"/>
                  </a:lnTo>
                  <a:lnTo>
                    <a:pt x="84" y="4"/>
                  </a:lnTo>
                  <a:lnTo>
                    <a:pt x="82" y="4"/>
                  </a:lnTo>
                  <a:lnTo>
                    <a:pt x="78" y="6"/>
                  </a:lnTo>
                  <a:lnTo>
                    <a:pt x="76" y="6"/>
                  </a:lnTo>
                  <a:lnTo>
                    <a:pt x="74" y="6"/>
                  </a:lnTo>
                  <a:lnTo>
                    <a:pt x="70" y="6"/>
                  </a:lnTo>
                  <a:lnTo>
                    <a:pt x="66" y="6"/>
                  </a:lnTo>
                  <a:lnTo>
                    <a:pt x="64" y="6"/>
                  </a:lnTo>
                  <a:lnTo>
                    <a:pt x="64" y="6"/>
                  </a:lnTo>
                  <a:lnTo>
                    <a:pt x="62" y="6"/>
                  </a:lnTo>
                  <a:lnTo>
                    <a:pt x="62" y="6"/>
                  </a:lnTo>
                  <a:lnTo>
                    <a:pt x="60" y="6"/>
                  </a:lnTo>
                  <a:lnTo>
                    <a:pt x="60" y="8"/>
                  </a:lnTo>
                  <a:lnTo>
                    <a:pt x="60" y="8"/>
                  </a:lnTo>
                  <a:lnTo>
                    <a:pt x="60" y="10"/>
                  </a:lnTo>
                  <a:lnTo>
                    <a:pt x="60" y="12"/>
                  </a:lnTo>
                  <a:lnTo>
                    <a:pt x="60" y="12"/>
                  </a:lnTo>
                  <a:lnTo>
                    <a:pt x="60" y="12"/>
                  </a:lnTo>
                  <a:lnTo>
                    <a:pt x="60" y="14"/>
                  </a:lnTo>
                  <a:lnTo>
                    <a:pt x="60" y="14"/>
                  </a:lnTo>
                  <a:lnTo>
                    <a:pt x="58" y="14"/>
                  </a:lnTo>
                  <a:lnTo>
                    <a:pt x="58" y="14"/>
                  </a:lnTo>
                  <a:lnTo>
                    <a:pt x="58" y="12"/>
                  </a:lnTo>
                  <a:lnTo>
                    <a:pt x="58" y="12"/>
                  </a:lnTo>
                  <a:lnTo>
                    <a:pt x="56" y="10"/>
                  </a:lnTo>
                  <a:lnTo>
                    <a:pt x="56" y="10"/>
                  </a:lnTo>
                  <a:lnTo>
                    <a:pt x="54" y="6"/>
                  </a:lnTo>
                  <a:lnTo>
                    <a:pt x="54" y="4"/>
                  </a:lnTo>
                  <a:lnTo>
                    <a:pt x="54" y="4"/>
                  </a:lnTo>
                  <a:lnTo>
                    <a:pt x="54" y="4"/>
                  </a:lnTo>
                  <a:lnTo>
                    <a:pt x="52" y="2"/>
                  </a:lnTo>
                  <a:lnTo>
                    <a:pt x="50" y="2"/>
                  </a:lnTo>
                  <a:lnTo>
                    <a:pt x="50" y="2"/>
                  </a:lnTo>
                  <a:lnTo>
                    <a:pt x="48" y="2"/>
                  </a:lnTo>
                  <a:lnTo>
                    <a:pt x="44" y="2"/>
                  </a:lnTo>
                  <a:lnTo>
                    <a:pt x="42" y="2"/>
                  </a:lnTo>
                  <a:lnTo>
                    <a:pt x="38" y="2"/>
                  </a:lnTo>
                  <a:lnTo>
                    <a:pt x="34" y="2"/>
                  </a:lnTo>
                  <a:lnTo>
                    <a:pt x="32" y="4"/>
                  </a:lnTo>
                  <a:lnTo>
                    <a:pt x="30" y="4"/>
                  </a:lnTo>
                  <a:lnTo>
                    <a:pt x="30" y="4"/>
                  </a:lnTo>
                  <a:lnTo>
                    <a:pt x="28" y="6"/>
                  </a:lnTo>
                  <a:lnTo>
                    <a:pt x="28" y="6"/>
                  </a:lnTo>
                  <a:lnTo>
                    <a:pt x="26" y="8"/>
                  </a:lnTo>
                  <a:lnTo>
                    <a:pt x="26" y="8"/>
                  </a:lnTo>
                  <a:lnTo>
                    <a:pt x="24" y="10"/>
                  </a:lnTo>
                  <a:lnTo>
                    <a:pt x="24" y="14"/>
                  </a:lnTo>
                  <a:lnTo>
                    <a:pt x="22" y="16"/>
                  </a:lnTo>
                  <a:lnTo>
                    <a:pt x="22" y="18"/>
                  </a:lnTo>
                  <a:lnTo>
                    <a:pt x="20" y="20"/>
                  </a:lnTo>
                  <a:lnTo>
                    <a:pt x="20" y="20"/>
                  </a:lnTo>
                  <a:lnTo>
                    <a:pt x="20" y="22"/>
                  </a:lnTo>
                  <a:lnTo>
                    <a:pt x="18" y="22"/>
                  </a:lnTo>
                  <a:lnTo>
                    <a:pt x="18" y="24"/>
                  </a:lnTo>
                  <a:lnTo>
                    <a:pt x="18" y="24"/>
                  </a:lnTo>
                  <a:lnTo>
                    <a:pt x="16" y="24"/>
                  </a:lnTo>
                  <a:lnTo>
                    <a:pt x="16" y="24"/>
                  </a:lnTo>
                  <a:lnTo>
                    <a:pt x="14" y="24"/>
                  </a:lnTo>
                  <a:lnTo>
                    <a:pt x="14" y="26"/>
                  </a:lnTo>
                  <a:lnTo>
                    <a:pt x="14" y="32"/>
                  </a:lnTo>
                  <a:lnTo>
                    <a:pt x="16" y="38"/>
                  </a:lnTo>
                  <a:lnTo>
                    <a:pt x="16" y="40"/>
                  </a:lnTo>
                  <a:lnTo>
                    <a:pt x="16" y="42"/>
                  </a:lnTo>
                  <a:lnTo>
                    <a:pt x="16" y="46"/>
                  </a:lnTo>
                  <a:lnTo>
                    <a:pt x="16" y="50"/>
                  </a:lnTo>
                  <a:lnTo>
                    <a:pt x="14" y="54"/>
                  </a:lnTo>
                  <a:lnTo>
                    <a:pt x="14" y="60"/>
                  </a:lnTo>
                  <a:lnTo>
                    <a:pt x="12" y="64"/>
                  </a:lnTo>
                  <a:lnTo>
                    <a:pt x="12" y="68"/>
                  </a:lnTo>
                  <a:lnTo>
                    <a:pt x="10" y="72"/>
                  </a:lnTo>
                  <a:lnTo>
                    <a:pt x="8" y="76"/>
                  </a:lnTo>
                  <a:lnTo>
                    <a:pt x="8" y="76"/>
                  </a:lnTo>
                  <a:lnTo>
                    <a:pt x="6" y="78"/>
                  </a:lnTo>
                  <a:lnTo>
                    <a:pt x="4" y="80"/>
                  </a:lnTo>
                  <a:lnTo>
                    <a:pt x="2" y="82"/>
                  </a:lnTo>
                  <a:lnTo>
                    <a:pt x="2" y="84"/>
                  </a:lnTo>
                  <a:lnTo>
                    <a:pt x="0" y="86"/>
                  </a:lnTo>
                  <a:lnTo>
                    <a:pt x="0" y="86"/>
                  </a:lnTo>
                  <a:lnTo>
                    <a:pt x="0" y="86"/>
                  </a:lnTo>
                  <a:lnTo>
                    <a:pt x="0" y="88"/>
                  </a:lnTo>
                  <a:lnTo>
                    <a:pt x="0" y="90"/>
                  </a:lnTo>
                  <a:lnTo>
                    <a:pt x="0" y="92"/>
                  </a:lnTo>
                  <a:lnTo>
                    <a:pt x="0" y="96"/>
                  </a:lnTo>
                  <a:lnTo>
                    <a:pt x="0" y="100"/>
                  </a:lnTo>
                  <a:lnTo>
                    <a:pt x="0" y="106"/>
                  </a:lnTo>
                  <a:lnTo>
                    <a:pt x="2" y="112"/>
                  </a:lnTo>
                  <a:lnTo>
                    <a:pt x="2" y="116"/>
                  </a:lnTo>
                  <a:lnTo>
                    <a:pt x="4" y="120"/>
                  </a:lnTo>
                  <a:lnTo>
                    <a:pt x="8" y="120"/>
                  </a:lnTo>
                  <a:lnTo>
                    <a:pt x="12" y="122"/>
                  </a:lnTo>
                  <a:lnTo>
                    <a:pt x="14" y="122"/>
                  </a:lnTo>
                  <a:lnTo>
                    <a:pt x="16" y="122"/>
                  </a:lnTo>
                  <a:lnTo>
                    <a:pt x="16" y="122"/>
                  </a:lnTo>
                  <a:lnTo>
                    <a:pt x="18" y="122"/>
                  </a:lnTo>
                  <a:lnTo>
                    <a:pt x="22" y="120"/>
                  </a:lnTo>
                  <a:lnTo>
                    <a:pt x="24" y="120"/>
                  </a:lnTo>
                  <a:lnTo>
                    <a:pt x="26" y="120"/>
                  </a:lnTo>
                  <a:lnTo>
                    <a:pt x="28" y="120"/>
                  </a:lnTo>
                  <a:lnTo>
                    <a:pt x="28" y="120"/>
                  </a:lnTo>
                  <a:lnTo>
                    <a:pt x="28" y="120"/>
                  </a:lnTo>
                  <a:lnTo>
                    <a:pt x="28" y="120"/>
                  </a:lnTo>
                  <a:lnTo>
                    <a:pt x="30" y="122"/>
                  </a:lnTo>
                  <a:lnTo>
                    <a:pt x="30" y="122"/>
                  </a:lnTo>
                  <a:lnTo>
                    <a:pt x="32" y="124"/>
                  </a:lnTo>
                  <a:lnTo>
                    <a:pt x="32" y="126"/>
                  </a:lnTo>
                  <a:lnTo>
                    <a:pt x="34" y="128"/>
                  </a:lnTo>
                  <a:lnTo>
                    <a:pt x="38" y="132"/>
                  </a:lnTo>
                  <a:lnTo>
                    <a:pt x="38" y="134"/>
                  </a:lnTo>
                  <a:lnTo>
                    <a:pt x="40" y="134"/>
                  </a:lnTo>
                  <a:lnTo>
                    <a:pt x="40" y="136"/>
                  </a:lnTo>
                  <a:lnTo>
                    <a:pt x="40" y="136"/>
                  </a:lnTo>
                  <a:lnTo>
                    <a:pt x="40" y="138"/>
                  </a:lnTo>
                  <a:lnTo>
                    <a:pt x="40" y="138"/>
                  </a:lnTo>
                  <a:lnTo>
                    <a:pt x="40" y="142"/>
                  </a:lnTo>
                  <a:lnTo>
                    <a:pt x="40" y="144"/>
                  </a:lnTo>
                  <a:lnTo>
                    <a:pt x="40" y="146"/>
                  </a:lnTo>
                  <a:lnTo>
                    <a:pt x="40" y="148"/>
                  </a:lnTo>
                  <a:lnTo>
                    <a:pt x="40" y="150"/>
                  </a:lnTo>
                  <a:lnTo>
                    <a:pt x="40" y="150"/>
                  </a:lnTo>
                  <a:lnTo>
                    <a:pt x="40" y="150"/>
                  </a:lnTo>
                  <a:lnTo>
                    <a:pt x="42" y="152"/>
                  </a:lnTo>
                  <a:lnTo>
                    <a:pt x="42" y="154"/>
                  </a:lnTo>
                  <a:lnTo>
                    <a:pt x="44" y="154"/>
                  </a:lnTo>
                  <a:lnTo>
                    <a:pt x="46" y="156"/>
                  </a:lnTo>
                  <a:lnTo>
                    <a:pt x="48" y="156"/>
                  </a:lnTo>
                  <a:lnTo>
                    <a:pt x="48" y="158"/>
                  </a:lnTo>
                  <a:lnTo>
                    <a:pt x="50" y="158"/>
                  </a:lnTo>
                  <a:lnTo>
                    <a:pt x="52" y="158"/>
                  </a:lnTo>
                  <a:lnTo>
                    <a:pt x="54" y="158"/>
                  </a:lnTo>
                  <a:lnTo>
                    <a:pt x="56" y="158"/>
                  </a:lnTo>
                  <a:lnTo>
                    <a:pt x="58" y="158"/>
                  </a:lnTo>
                  <a:lnTo>
                    <a:pt x="62" y="158"/>
                  </a:lnTo>
                  <a:lnTo>
                    <a:pt x="64" y="158"/>
                  </a:lnTo>
                  <a:lnTo>
                    <a:pt x="68" y="156"/>
                  </a:lnTo>
                  <a:lnTo>
                    <a:pt x="76" y="150"/>
                  </a:lnTo>
                  <a:lnTo>
                    <a:pt x="84" y="142"/>
                  </a:lnTo>
                  <a:lnTo>
                    <a:pt x="88" y="140"/>
                  </a:lnTo>
                  <a:lnTo>
                    <a:pt x="90" y="136"/>
                  </a:lnTo>
                  <a:lnTo>
                    <a:pt x="92" y="136"/>
                  </a:lnTo>
                  <a:lnTo>
                    <a:pt x="92" y="134"/>
                  </a:lnTo>
                  <a:lnTo>
                    <a:pt x="96" y="130"/>
                  </a:lnTo>
                  <a:lnTo>
                    <a:pt x="98" y="128"/>
                  </a:lnTo>
                  <a:lnTo>
                    <a:pt x="100" y="124"/>
                  </a:lnTo>
                  <a:lnTo>
                    <a:pt x="102" y="122"/>
                  </a:lnTo>
                  <a:lnTo>
                    <a:pt x="106" y="120"/>
                  </a:lnTo>
                  <a:lnTo>
                    <a:pt x="108" y="116"/>
                  </a:lnTo>
                  <a:lnTo>
                    <a:pt x="110" y="114"/>
                  </a:lnTo>
                  <a:lnTo>
                    <a:pt x="112" y="112"/>
                  </a:lnTo>
                  <a:lnTo>
                    <a:pt x="114" y="112"/>
                  </a:lnTo>
                  <a:lnTo>
                    <a:pt x="118" y="108"/>
                  </a:lnTo>
                  <a:lnTo>
                    <a:pt x="124" y="106"/>
                  </a:lnTo>
                  <a:lnTo>
                    <a:pt x="126" y="104"/>
                  </a:lnTo>
                  <a:lnTo>
                    <a:pt x="126" y="10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8" name="Freeform 375"/>
            <p:cNvSpPr>
              <a:spLocks/>
            </p:cNvSpPr>
            <p:nvPr/>
          </p:nvSpPr>
          <p:spPr bwMode="auto">
            <a:xfrm>
              <a:off x="4328102" y="4251298"/>
              <a:ext cx="273668" cy="273668"/>
            </a:xfrm>
            <a:custGeom>
              <a:avLst/>
              <a:gdLst>
                <a:gd name="T0" fmla="*/ 130 w 158"/>
                <a:gd name="T1" fmla="*/ 98 h 158"/>
                <a:gd name="T2" fmla="*/ 136 w 158"/>
                <a:gd name="T3" fmla="*/ 86 h 158"/>
                <a:gd name="T4" fmla="*/ 140 w 158"/>
                <a:gd name="T5" fmla="*/ 68 h 158"/>
                <a:gd name="T6" fmla="*/ 144 w 158"/>
                <a:gd name="T7" fmla="*/ 56 h 158"/>
                <a:gd name="T8" fmla="*/ 148 w 158"/>
                <a:gd name="T9" fmla="*/ 50 h 158"/>
                <a:gd name="T10" fmla="*/ 156 w 158"/>
                <a:gd name="T11" fmla="*/ 44 h 158"/>
                <a:gd name="T12" fmla="*/ 158 w 158"/>
                <a:gd name="T13" fmla="*/ 40 h 158"/>
                <a:gd name="T14" fmla="*/ 158 w 158"/>
                <a:gd name="T15" fmla="*/ 26 h 158"/>
                <a:gd name="T16" fmla="*/ 156 w 158"/>
                <a:gd name="T17" fmla="*/ 0 h 158"/>
                <a:gd name="T18" fmla="*/ 144 w 158"/>
                <a:gd name="T19" fmla="*/ 6 h 158"/>
                <a:gd name="T20" fmla="*/ 140 w 158"/>
                <a:gd name="T21" fmla="*/ 12 h 158"/>
                <a:gd name="T22" fmla="*/ 138 w 158"/>
                <a:gd name="T23" fmla="*/ 14 h 158"/>
                <a:gd name="T24" fmla="*/ 136 w 158"/>
                <a:gd name="T25" fmla="*/ 12 h 158"/>
                <a:gd name="T26" fmla="*/ 132 w 158"/>
                <a:gd name="T27" fmla="*/ 6 h 158"/>
                <a:gd name="T28" fmla="*/ 126 w 158"/>
                <a:gd name="T29" fmla="*/ 4 h 158"/>
                <a:gd name="T30" fmla="*/ 116 w 158"/>
                <a:gd name="T31" fmla="*/ 4 h 158"/>
                <a:gd name="T32" fmla="*/ 112 w 158"/>
                <a:gd name="T33" fmla="*/ 6 h 158"/>
                <a:gd name="T34" fmla="*/ 110 w 158"/>
                <a:gd name="T35" fmla="*/ 8 h 158"/>
                <a:gd name="T36" fmla="*/ 110 w 158"/>
                <a:gd name="T37" fmla="*/ 12 h 158"/>
                <a:gd name="T38" fmla="*/ 108 w 158"/>
                <a:gd name="T39" fmla="*/ 14 h 158"/>
                <a:gd name="T40" fmla="*/ 102 w 158"/>
                <a:gd name="T41" fmla="*/ 14 h 158"/>
                <a:gd name="T42" fmla="*/ 96 w 158"/>
                <a:gd name="T43" fmla="*/ 12 h 158"/>
                <a:gd name="T44" fmla="*/ 92 w 158"/>
                <a:gd name="T45" fmla="*/ 6 h 158"/>
                <a:gd name="T46" fmla="*/ 86 w 158"/>
                <a:gd name="T47" fmla="*/ 4 h 158"/>
                <a:gd name="T48" fmla="*/ 78 w 158"/>
                <a:gd name="T49" fmla="*/ 6 h 158"/>
                <a:gd name="T50" fmla="*/ 66 w 158"/>
                <a:gd name="T51" fmla="*/ 6 h 158"/>
                <a:gd name="T52" fmla="*/ 62 w 158"/>
                <a:gd name="T53" fmla="*/ 6 h 158"/>
                <a:gd name="T54" fmla="*/ 60 w 158"/>
                <a:gd name="T55" fmla="*/ 10 h 158"/>
                <a:gd name="T56" fmla="*/ 60 w 158"/>
                <a:gd name="T57" fmla="*/ 14 h 158"/>
                <a:gd name="T58" fmla="*/ 58 w 158"/>
                <a:gd name="T59" fmla="*/ 12 h 158"/>
                <a:gd name="T60" fmla="*/ 54 w 158"/>
                <a:gd name="T61" fmla="*/ 6 h 158"/>
                <a:gd name="T62" fmla="*/ 52 w 158"/>
                <a:gd name="T63" fmla="*/ 2 h 158"/>
                <a:gd name="T64" fmla="*/ 44 w 158"/>
                <a:gd name="T65" fmla="*/ 2 h 158"/>
                <a:gd name="T66" fmla="*/ 32 w 158"/>
                <a:gd name="T67" fmla="*/ 4 h 158"/>
                <a:gd name="T68" fmla="*/ 28 w 158"/>
                <a:gd name="T69" fmla="*/ 6 h 158"/>
                <a:gd name="T70" fmla="*/ 24 w 158"/>
                <a:gd name="T71" fmla="*/ 14 h 158"/>
                <a:gd name="T72" fmla="*/ 20 w 158"/>
                <a:gd name="T73" fmla="*/ 20 h 158"/>
                <a:gd name="T74" fmla="*/ 18 w 158"/>
                <a:gd name="T75" fmla="*/ 24 h 158"/>
                <a:gd name="T76" fmla="*/ 14 w 158"/>
                <a:gd name="T77" fmla="*/ 26 h 158"/>
                <a:gd name="T78" fmla="*/ 16 w 158"/>
                <a:gd name="T79" fmla="*/ 42 h 158"/>
                <a:gd name="T80" fmla="*/ 14 w 158"/>
                <a:gd name="T81" fmla="*/ 60 h 158"/>
                <a:gd name="T82" fmla="*/ 8 w 158"/>
                <a:gd name="T83" fmla="*/ 76 h 158"/>
                <a:gd name="T84" fmla="*/ 2 w 158"/>
                <a:gd name="T85" fmla="*/ 82 h 158"/>
                <a:gd name="T86" fmla="*/ 0 w 158"/>
                <a:gd name="T87" fmla="*/ 86 h 158"/>
                <a:gd name="T88" fmla="*/ 0 w 158"/>
                <a:gd name="T89" fmla="*/ 96 h 158"/>
                <a:gd name="T90" fmla="*/ 2 w 158"/>
                <a:gd name="T91" fmla="*/ 116 h 158"/>
                <a:gd name="T92" fmla="*/ 14 w 158"/>
                <a:gd name="T93" fmla="*/ 122 h 158"/>
                <a:gd name="T94" fmla="*/ 22 w 158"/>
                <a:gd name="T95" fmla="*/ 120 h 158"/>
                <a:gd name="T96" fmla="*/ 28 w 158"/>
                <a:gd name="T97" fmla="*/ 120 h 158"/>
                <a:gd name="T98" fmla="*/ 30 w 158"/>
                <a:gd name="T99" fmla="*/ 122 h 158"/>
                <a:gd name="T100" fmla="*/ 38 w 158"/>
                <a:gd name="T101" fmla="*/ 132 h 158"/>
                <a:gd name="T102" fmla="*/ 40 w 158"/>
                <a:gd name="T103" fmla="*/ 136 h 158"/>
                <a:gd name="T104" fmla="*/ 40 w 158"/>
                <a:gd name="T105" fmla="*/ 144 h 158"/>
                <a:gd name="T106" fmla="*/ 40 w 158"/>
                <a:gd name="T107" fmla="*/ 150 h 158"/>
                <a:gd name="T108" fmla="*/ 44 w 158"/>
                <a:gd name="T109" fmla="*/ 154 h 158"/>
                <a:gd name="T110" fmla="*/ 50 w 158"/>
                <a:gd name="T111" fmla="*/ 158 h 158"/>
                <a:gd name="T112" fmla="*/ 58 w 158"/>
                <a:gd name="T113" fmla="*/ 158 h 158"/>
                <a:gd name="T114" fmla="*/ 76 w 158"/>
                <a:gd name="T115" fmla="*/ 150 h 158"/>
                <a:gd name="T116" fmla="*/ 92 w 158"/>
                <a:gd name="T117" fmla="*/ 136 h 158"/>
                <a:gd name="T118" fmla="*/ 100 w 158"/>
                <a:gd name="T119" fmla="*/ 124 h 158"/>
                <a:gd name="T120" fmla="*/ 110 w 158"/>
                <a:gd name="T121" fmla="*/ 114 h 158"/>
                <a:gd name="T122" fmla="*/ 124 w 158"/>
                <a:gd name="T12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58">
                  <a:moveTo>
                    <a:pt x="126" y="102"/>
                  </a:moveTo>
                  <a:lnTo>
                    <a:pt x="126" y="102"/>
                  </a:lnTo>
                  <a:lnTo>
                    <a:pt x="128" y="100"/>
                  </a:lnTo>
                  <a:lnTo>
                    <a:pt x="130" y="98"/>
                  </a:lnTo>
                  <a:lnTo>
                    <a:pt x="130" y="96"/>
                  </a:lnTo>
                  <a:lnTo>
                    <a:pt x="132" y="94"/>
                  </a:lnTo>
                  <a:lnTo>
                    <a:pt x="134" y="90"/>
                  </a:lnTo>
                  <a:lnTo>
                    <a:pt x="136" y="86"/>
                  </a:lnTo>
                  <a:lnTo>
                    <a:pt x="138" y="82"/>
                  </a:lnTo>
                  <a:lnTo>
                    <a:pt x="138" y="80"/>
                  </a:lnTo>
                  <a:lnTo>
                    <a:pt x="140" y="72"/>
                  </a:lnTo>
                  <a:lnTo>
                    <a:pt x="140" y="68"/>
                  </a:lnTo>
                  <a:lnTo>
                    <a:pt x="142" y="64"/>
                  </a:lnTo>
                  <a:lnTo>
                    <a:pt x="142" y="60"/>
                  </a:lnTo>
                  <a:lnTo>
                    <a:pt x="144" y="58"/>
                  </a:lnTo>
                  <a:lnTo>
                    <a:pt x="144" y="56"/>
                  </a:lnTo>
                  <a:lnTo>
                    <a:pt x="146" y="54"/>
                  </a:lnTo>
                  <a:lnTo>
                    <a:pt x="146" y="52"/>
                  </a:lnTo>
                  <a:lnTo>
                    <a:pt x="148" y="50"/>
                  </a:lnTo>
                  <a:lnTo>
                    <a:pt x="148" y="50"/>
                  </a:lnTo>
                  <a:lnTo>
                    <a:pt x="150" y="48"/>
                  </a:lnTo>
                  <a:lnTo>
                    <a:pt x="152" y="48"/>
                  </a:lnTo>
                  <a:lnTo>
                    <a:pt x="154" y="46"/>
                  </a:lnTo>
                  <a:lnTo>
                    <a:pt x="156" y="44"/>
                  </a:lnTo>
                  <a:lnTo>
                    <a:pt x="156" y="44"/>
                  </a:lnTo>
                  <a:lnTo>
                    <a:pt x="156" y="44"/>
                  </a:lnTo>
                  <a:lnTo>
                    <a:pt x="156" y="42"/>
                  </a:lnTo>
                  <a:lnTo>
                    <a:pt x="158" y="40"/>
                  </a:lnTo>
                  <a:lnTo>
                    <a:pt x="158" y="38"/>
                  </a:lnTo>
                  <a:lnTo>
                    <a:pt x="158" y="34"/>
                  </a:lnTo>
                  <a:lnTo>
                    <a:pt x="158" y="30"/>
                  </a:lnTo>
                  <a:lnTo>
                    <a:pt x="158" y="26"/>
                  </a:lnTo>
                  <a:lnTo>
                    <a:pt x="158" y="22"/>
                  </a:lnTo>
                  <a:lnTo>
                    <a:pt x="158" y="18"/>
                  </a:lnTo>
                  <a:lnTo>
                    <a:pt x="156" y="10"/>
                  </a:lnTo>
                  <a:lnTo>
                    <a:pt x="156" y="0"/>
                  </a:lnTo>
                  <a:lnTo>
                    <a:pt x="152" y="2"/>
                  </a:lnTo>
                  <a:lnTo>
                    <a:pt x="148" y="4"/>
                  </a:lnTo>
                  <a:lnTo>
                    <a:pt x="146" y="4"/>
                  </a:lnTo>
                  <a:lnTo>
                    <a:pt x="144" y="6"/>
                  </a:lnTo>
                  <a:lnTo>
                    <a:pt x="144" y="6"/>
                  </a:lnTo>
                  <a:lnTo>
                    <a:pt x="144" y="8"/>
                  </a:lnTo>
                  <a:lnTo>
                    <a:pt x="142" y="10"/>
                  </a:lnTo>
                  <a:lnTo>
                    <a:pt x="140" y="12"/>
                  </a:lnTo>
                  <a:lnTo>
                    <a:pt x="140" y="12"/>
                  </a:lnTo>
                  <a:lnTo>
                    <a:pt x="140" y="14"/>
                  </a:lnTo>
                  <a:lnTo>
                    <a:pt x="138" y="14"/>
                  </a:lnTo>
                  <a:lnTo>
                    <a:pt x="138" y="14"/>
                  </a:lnTo>
                  <a:lnTo>
                    <a:pt x="138" y="14"/>
                  </a:lnTo>
                  <a:lnTo>
                    <a:pt x="138" y="14"/>
                  </a:lnTo>
                  <a:lnTo>
                    <a:pt x="136" y="14"/>
                  </a:lnTo>
                  <a:lnTo>
                    <a:pt x="136" y="12"/>
                  </a:lnTo>
                  <a:lnTo>
                    <a:pt x="136" y="12"/>
                  </a:lnTo>
                  <a:lnTo>
                    <a:pt x="134" y="10"/>
                  </a:lnTo>
                  <a:lnTo>
                    <a:pt x="132" y="8"/>
                  </a:lnTo>
                  <a:lnTo>
                    <a:pt x="132" y="6"/>
                  </a:lnTo>
                  <a:lnTo>
                    <a:pt x="132" y="6"/>
                  </a:lnTo>
                  <a:lnTo>
                    <a:pt x="132" y="6"/>
                  </a:lnTo>
                  <a:lnTo>
                    <a:pt x="130" y="6"/>
                  </a:lnTo>
                  <a:lnTo>
                    <a:pt x="126" y="4"/>
                  </a:lnTo>
                  <a:lnTo>
                    <a:pt x="124" y="4"/>
                  </a:lnTo>
                  <a:lnTo>
                    <a:pt x="122" y="4"/>
                  </a:lnTo>
                  <a:lnTo>
                    <a:pt x="118" y="4"/>
                  </a:lnTo>
                  <a:lnTo>
                    <a:pt x="116" y="4"/>
                  </a:lnTo>
                  <a:lnTo>
                    <a:pt x="114" y="4"/>
                  </a:lnTo>
                  <a:lnTo>
                    <a:pt x="114" y="4"/>
                  </a:lnTo>
                  <a:lnTo>
                    <a:pt x="112" y="4"/>
                  </a:lnTo>
                  <a:lnTo>
                    <a:pt x="112" y="6"/>
                  </a:lnTo>
                  <a:lnTo>
                    <a:pt x="112" y="6"/>
                  </a:lnTo>
                  <a:lnTo>
                    <a:pt x="112" y="6"/>
                  </a:lnTo>
                  <a:lnTo>
                    <a:pt x="112" y="6"/>
                  </a:lnTo>
                  <a:lnTo>
                    <a:pt x="110" y="8"/>
                  </a:lnTo>
                  <a:lnTo>
                    <a:pt x="110" y="10"/>
                  </a:lnTo>
                  <a:lnTo>
                    <a:pt x="110" y="10"/>
                  </a:lnTo>
                  <a:lnTo>
                    <a:pt x="110" y="12"/>
                  </a:lnTo>
                  <a:lnTo>
                    <a:pt x="110" y="12"/>
                  </a:lnTo>
                  <a:lnTo>
                    <a:pt x="110" y="14"/>
                  </a:lnTo>
                  <a:lnTo>
                    <a:pt x="110" y="14"/>
                  </a:lnTo>
                  <a:lnTo>
                    <a:pt x="110" y="14"/>
                  </a:lnTo>
                  <a:lnTo>
                    <a:pt x="108" y="14"/>
                  </a:lnTo>
                  <a:lnTo>
                    <a:pt x="108" y="14"/>
                  </a:lnTo>
                  <a:lnTo>
                    <a:pt x="106" y="14"/>
                  </a:lnTo>
                  <a:lnTo>
                    <a:pt x="104" y="14"/>
                  </a:lnTo>
                  <a:lnTo>
                    <a:pt x="102" y="14"/>
                  </a:lnTo>
                  <a:lnTo>
                    <a:pt x="100" y="14"/>
                  </a:lnTo>
                  <a:lnTo>
                    <a:pt x="100" y="12"/>
                  </a:lnTo>
                  <a:lnTo>
                    <a:pt x="98" y="12"/>
                  </a:lnTo>
                  <a:lnTo>
                    <a:pt x="96" y="12"/>
                  </a:lnTo>
                  <a:lnTo>
                    <a:pt x="96" y="10"/>
                  </a:lnTo>
                  <a:lnTo>
                    <a:pt x="94" y="8"/>
                  </a:lnTo>
                  <a:lnTo>
                    <a:pt x="92" y="6"/>
                  </a:lnTo>
                  <a:lnTo>
                    <a:pt x="92" y="6"/>
                  </a:lnTo>
                  <a:lnTo>
                    <a:pt x="90" y="4"/>
                  </a:lnTo>
                  <a:lnTo>
                    <a:pt x="90" y="4"/>
                  </a:lnTo>
                  <a:lnTo>
                    <a:pt x="88" y="4"/>
                  </a:lnTo>
                  <a:lnTo>
                    <a:pt x="86" y="4"/>
                  </a:lnTo>
                  <a:lnTo>
                    <a:pt x="86" y="4"/>
                  </a:lnTo>
                  <a:lnTo>
                    <a:pt x="84" y="4"/>
                  </a:lnTo>
                  <a:lnTo>
                    <a:pt x="82" y="4"/>
                  </a:lnTo>
                  <a:lnTo>
                    <a:pt x="78" y="6"/>
                  </a:lnTo>
                  <a:lnTo>
                    <a:pt x="76" y="6"/>
                  </a:lnTo>
                  <a:lnTo>
                    <a:pt x="74" y="6"/>
                  </a:lnTo>
                  <a:lnTo>
                    <a:pt x="70" y="6"/>
                  </a:lnTo>
                  <a:lnTo>
                    <a:pt x="66" y="6"/>
                  </a:lnTo>
                  <a:lnTo>
                    <a:pt x="64" y="6"/>
                  </a:lnTo>
                  <a:lnTo>
                    <a:pt x="64" y="6"/>
                  </a:lnTo>
                  <a:lnTo>
                    <a:pt x="62" y="6"/>
                  </a:lnTo>
                  <a:lnTo>
                    <a:pt x="62" y="6"/>
                  </a:lnTo>
                  <a:lnTo>
                    <a:pt x="60" y="6"/>
                  </a:lnTo>
                  <a:lnTo>
                    <a:pt x="60" y="8"/>
                  </a:lnTo>
                  <a:lnTo>
                    <a:pt x="60" y="8"/>
                  </a:lnTo>
                  <a:lnTo>
                    <a:pt x="60" y="10"/>
                  </a:lnTo>
                  <a:lnTo>
                    <a:pt x="60" y="12"/>
                  </a:lnTo>
                  <a:lnTo>
                    <a:pt x="60" y="12"/>
                  </a:lnTo>
                  <a:lnTo>
                    <a:pt x="60" y="12"/>
                  </a:lnTo>
                  <a:lnTo>
                    <a:pt x="60" y="14"/>
                  </a:lnTo>
                  <a:lnTo>
                    <a:pt x="60" y="14"/>
                  </a:lnTo>
                  <a:lnTo>
                    <a:pt x="58" y="14"/>
                  </a:lnTo>
                  <a:lnTo>
                    <a:pt x="58" y="14"/>
                  </a:lnTo>
                  <a:lnTo>
                    <a:pt x="58" y="12"/>
                  </a:lnTo>
                  <a:lnTo>
                    <a:pt x="58" y="12"/>
                  </a:lnTo>
                  <a:lnTo>
                    <a:pt x="56" y="10"/>
                  </a:lnTo>
                  <a:lnTo>
                    <a:pt x="56" y="10"/>
                  </a:lnTo>
                  <a:lnTo>
                    <a:pt x="54" y="6"/>
                  </a:lnTo>
                  <a:lnTo>
                    <a:pt x="54" y="4"/>
                  </a:lnTo>
                  <a:lnTo>
                    <a:pt x="54" y="4"/>
                  </a:lnTo>
                  <a:lnTo>
                    <a:pt x="54" y="4"/>
                  </a:lnTo>
                  <a:lnTo>
                    <a:pt x="52" y="2"/>
                  </a:lnTo>
                  <a:lnTo>
                    <a:pt x="50" y="2"/>
                  </a:lnTo>
                  <a:lnTo>
                    <a:pt x="50" y="2"/>
                  </a:lnTo>
                  <a:lnTo>
                    <a:pt x="48" y="2"/>
                  </a:lnTo>
                  <a:lnTo>
                    <a:pt x="44" y="2"/>
                  </a:lnTo>
                  <a:lnTo>
                    <a:pt x="42" y="2"/>
                  </a:lnTo>
                  <a:lnTo>
                    <a:pt x="38" y="2"/>
                  </a:lnTo>
                  <a:lnTo>
                    <a:pt x="34" y="2"/>
                  </a:lnTo>
                  <a:lnTo>
                    <a:pt x="32" y="4"/>
                  </a:lnTo>
                  <a:lnTo>
                    <a:pt x="30" y="4"/>
                  </a:lnTo>
                  <a:lnTo>
                    <a:pt x="30" y="4"/>
                  </a:lnTo>
                  <a:lnTo>
                    <a:pt x="28" y="6"/>
                  </a:lnTo>
                  <a:lnTo>
                    <a:pt x="28" y="6"/>
                  </a:lnTo>
                  <a:lnTo>
                    <a:pt x="26" y="8"/>
                  </a:lnTo>
                  <a:lnTo>
                    <a:pt x="26" y="8"/>
                  </a:lnTo>
                  <a:lnTo>
                    <a:pt x="24" y="10"/>
                  </a:lnTo>
                  <a:lnTo>
                    <a:pt x="24" y="14"/>
                  </a:lnTo>
                  <a:lnTo>
                    <a:pt x="22" y="16"/>
                  </a:lnTo>
                  <a:lnTo>
                    <a:pt x="22" y="18"/>
                  </a:lnTo>
                  <a:lnTo>
                    <a:pt x="20" y="20"/>
                  </a:lnTo>
                  <a:lnTo>
                    <a:pt x="20" y="20"/>
                  </a:lnTo>
                  <a:lnTo>
                    <a:pt x="20" y="22"/>
                  </a:lnTo>
                  <a:lnTo>
                    <a:pt x="18" y="22"/>
                  </a:lnTo>
                  <a:lnTo>
                    <a:pt x="18" y="24"/>
                  </a:lnTo>
                  <a:lnTo>
                    <a:pt x="18" y="24"/>
                  </a:lnTo>
                  <a:lnTo>
                    <a:pt x="16" y="24"/>
                  </a:lnTo>
                  <a:lnTo>
                    <a:pt x="16" y="24"/>
                  </a:lnTo>
                  <a:lnTo>
                    <a:pt x="14" y="24"/>
                  </a:lnTo>
                  <a:lnTo>
                    <a:pt x="14" y="26"/>
                  </a:lnTo>
                  <a:lnTo>
                    <a:pt x="14" y="32"/>
                  </a:lnTo>
                  <a:lnTo>
                    <a:pt x="16" y="38"/>
                  </a:lnTo>
                  <a:lnTo>
                    <a:pt x="16" y="40"/>
                  </a:lnTo>
                  <a:lnTo>
                    <a:pt x="16" y="42"/>
                  </a:lnTo>
                  <a:lnTo>
                    <a:pt x="16" y="46"/>
                  </a:lnTo>
                  <a:lnTo>
                    <a:pt x="16" y="50"/>
                  </a:lnTo>
                  <a:lnTo>
                    <a:pt x="14" y="54"/>
                  </a:lnTo>
                  <a:lnTo>
                    <a:pt x="14" y="60"/>
                  </a:lnTo>
                  <a:lnTo>
                    <a:pt x="12" y="64"/>
                  </a:lnTo>
                  <a:lnTo>
                    <a:pt x="12" y="68"/>
                  </a:lnTo>
                  <a:lnTo>
                    <a:pt x="10" y="72"/>
                  </a:lnTo>
                  <a:lnTo>
                    <a:pt x="8" y="76"/>
                  </a:lnTo>
                  <a:lnTo>
                    <a:pt x="8" y="76"/>
                  </a:lnTo>
                  <a:lnTo>
                    <a:pt x="6" y="78"/>
                  </a:lnTo>
                  <a:lnTo>
                    <a:pt x="4" y="80"/>
                  </a:lnTo>
                  <a:lnTo>
                    <a:pt x="2" y="82"/>
                  </a:lnTo>
                  <a:lnTo>
                    <a:pt x="2" y="84"/>
                  </a:lnTo>
                  <a:lnTo>
                    <a:pt x="0" y="86"/>
                  </a:lnTo>
                  <a:lnTo>
                    <a:pt x="0" y="86"/>
                  </a:lnTo>
                  <a:lnTo>
                    <a:pt x="0" y="86"/>
                  </a:lnTo>
                  <a:lnTo>
                    <a:pt x="0" y="88"/>
                  </a:lnTo>
                  <a:lnTo>
                    <a:pt x="0" y="90"/>
                  </a:lnTo>
                  <a:lnTo>
                    <a:pt x="0" y="92"/>
                  </a:lnTo>
                  <a:lnTo>
                    <a:pt x="0" y="96"/>
                  </a:lnTo>
                  <a:lnTo>
                    <a:pt x="0" y="100"/>
                  </a:lnTo>
                  <a:lnTo>
                    <a:pt x="0" y="106"/>
                  </a:lnTo>
                  <a:lnTo>
                    <a:pt x="2" y="112"/>
                  </a:lnTo>
                  <a:lnTo>
                    <a:pt x="2" y="116"/>
                  </a:lnTo>
                  <a:lnTo>
                    <a:pt x="4" y="120"/>
                  </a:lnTo>
                  <a:lnTo>
                    <a:pt x="8" y="120"/>
                  </a:lnTo>
                  <a:lnTo>
                    <a:pt x="12" y="122"/>
                  </a:lnTo>
                  <a:lnTo>
                    <a:pt x="14" y="122"/>
                  </a:lnTo>
                  <a:lnTo>
                    <a:pt x="16" y="122"/>
                  </a:lnTo>
                  <a:lnTo>
                    <a:pt x="16" y="122"/>
                  </a:lnTo>
                  <a:lnTo>
                    <a:pt x="18" y="122"/>
                  </a:lnTo>
                  <a:lnTo>
                    <a:pt x="22" y="120"/>
                  </a:lnTo>
                  <a:lnTo>
                    <a:pt x="24" y="120"/>
                  </a:lnTo>
                  <a:lnTo>
                    <a:pt x="26" y="120"/>
                  </a:lnTo>
                  <a:lnTo>
                    <a:pt x="28" y="120"/>
                  </a:lnTo>
                  <a:lnTo>
                    <a:pt x="28" y="120"/>
                  </a:lnTo>
                  <a:lnTo>
                    <a:pt x="28" y="120"/>
                  </a:lnTo>
                  <a:lnTo>
                    <a:pt x="28" y="120"/>
                  </a:lnTo>
                  <a:lnTo>
                    <a:pt x="30" y="122"/>
                  </a:lnTo>
                  <a:lnTo>
                    <a:pt x="30" y="122"/>
                  </a:lnTo>
                  <a:lnTo>
                    <a:pt x="32" y="124"/>
                  </a:lnTo>
                  <a:lnTo>
                    <a:pt x="32" y="126"/>
                  </a:lnTo>
                  <a:lnTo>
                    <a:pt x="34" y="128"/>
                  </a:lnTo>
                  <a:lnTo>
                    <a:pt x="38" y="132"/>
                  </a:lnTo>
                  <a:lnTo>
                    <a:pt x="38" y="134"/>
                  </a:lnTo>
                  <a:lnTo>
                    <a:pt x="40" y="134"/>
                  </a:lnTo>
                  <a:lnTo>
                    <a:pt x="40" y="136"/>
                  </a:lnTo>
                  <a:lnTo>
                    <a:pt x="40" y="136"/>
                  </a:lnTo>
                  <a:lnTo>
                    <a:pt x="40" y="138"/>
                  </a:lnTo>
                  <a:lnTo>
                    <a:pt x="40" y="138"/>
                  </a:lnTo>
                  <a:lnTo>
                    <a:pt x="40" y="142"/>
                  </a:lnTo>
                  <a:lnTo>
                    <a:pt x="40" y="144"/>
                  </a:lnTo>
                  <a:lnTo>
                    <a:pt x="40" y="146"/>
                  </a:lnTo>
                  <a:lnTo>
                    <a:pt x="40" y="148"/>
                  </a:lnTo>
                  <a:lnTo>
                    <a:pt x="40" y="150"/>
                  </a:lnTo>
                  <a:lnTo>
                    <a:pt x="40" y="150"/>
                  </a:lnTo>
                  <a:lnTo>
                    <a:pt x="40" y="150"/>
                  </a:lnTo>
                  <a:lnTo>
                    <a:pt x="42" y="152"/>
                  </a:lnTo>
                  <a:lnTo>
                    <a:pt x="42" y="154"/>
                  </a:lnTo>
                  <a:lnTo>
                    <a:pt x="44" y="154"/>
                  </a:lnTo>
                  <a:lnTo>
                    <a:pt x="46" y="156"/>
                  </a:lnTo>
                  <a:lnTo>
                    <a:pt x="48" y="156"/>
                  </a:lnTo>
                  <a:lnTo>
                    <a:pt x="48" y="158"/>
                  </a:lnTo>
                  <a:lnTo>
                    <a:pt x="50" y="158"/>
                  </a:lnTo>
                  <a:lnTo>
                    <a:pt x="52" y="158"/>
                  </a:lnTo>
                  <a:lnTo>
                    <a:pt x="54" y="158"/>
                  </a:lnTo>
                  <a:lnTo>
                    <a:pt x="56" y="158"/>
                  </a:lnTo>
                  <a:lnTo>
                    <a:pt x="58" y="158"/>
                  </a:lnTo>
                  <a:lnTo>
                    <a:pt x="62" y="158"/>
                  </a:lnTo>
                  <a:lnTo>
                    <a:pt x="64" y="158"/>
                  </a:lnTo>
                  <a:lnTo>
                    <a:pt x="68" y="156"/>
                  </a:lnTo>
                  <a:lnTo>
                    <a:pt x="76" y="150"/>
                  </a:lnTo>
                  <a:lnTo>
                    <a:pt x="84" y="142"/>
                  </a:lnTo>
                  <a:lnTo>
                    <a:pt x="88" y="140"/>
                  </a:lnTo>
                  <a:lnTo>
                    <a:pt x="90" y="136"/>
                  </a:lnTo>
                  <a:lnTo>
                    <a:pt x="92" y="136"/>
                  </a:lnTo>
                  <a:lnTo>
                    <a:pt x="92" y="134"/>
                  </a:lnTo>
                  <a:lnTo>
                    <a:pt x="96" y="130"/>
                  </a:lnTo>
                  <a:lnTo>
                    <a:pt x="98" y="128"/>
                  </a:lnTo>
                  <a:lnTo>
                    <a:pt x="100" y="124"/>
                  </a:lnTo>
                  <a:lnTo>
                    <a:pt x="102" y="122"/>
                  </a:lnTo>
                  <a:lnTo>
                    <a:pt x="106" y="120"/>
                  </a:lnTo>
                  <a:lnTo>
                    <a:pt x="108" y="116"/>
                  </a:lnTo>
                  <a:lnTo>
                    <a:pt x="110" y="114"/>
                  </a:lnTo>
                  <a:lnTo>
                    <a:pt x="112" y="112"/>
                  </a:lnTo>
                  <a:lnTo>
                    <a:pt x="114" y="112"/>
                  </a:lnTo>
                  <a:lnTo>
                    <a:pt x="118" y="108"/>
                  </a:lnTo>
                  <a:lnTo>
                    <a:pt x="124" y="106"/>
                  </a:lnTo>
                  <a:lnTo>
                    <a:pt x="126" y="104"/>
                  </a:lnTo>
                  <a:lnTo>
                    <a:pt x="126" y="10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799" name="Freeform 376"/>
            <p:cNvSpPr>
              <a:spLocks/>
            </p:cNvSpPr>
            <p:nvPr/>
          </p:nvSpPr>
          <p:spPr bwMode="auto">
            <a:xfrm>
              <a:off x="4636412" y="4330973"/>
              <a:ext cx="311774" cy="242490"/>
            </a:xfrm>
            <a:custGeom>
              <a:avLst/>
              <a:gdLst>
                <a:gd name="T0" fmla="*/ 174 w 180"/>
                <a:gd name="T1" fmla="*/ 100 h 140"/>
                <a:gd name="T2" fmla="*/ 162 w 180"/>
                <a:gd name="T3" fmla="*/ 100 h 140"/>
                <a:gd name="T4" fmla="*/ 146 w 180"/>
                <a:gd name="T5" fmla="*/ 102 h 140"/>
                <a:gd name="T6" fmla="*/ 140 w 180"/>
                <a:gd name="T7" fmla="*/ 100 h 140"/>
                <a:gd name="T8" fmla="*/ 138 w 180"/>
                <a:gd name="T9" fmla="*/ 106 h 140"/>
                <a:gd name="T10" fmla="*/ 130 w 180"/>
                <a:gd name="T11" fmla="*/ 108 h 140"/>
                <a:gd name="T12" fmla="*/ 112 w 180"/>
                <a:gd name="T13" fmla="*/ 108 h 140"/>
                <a:gd name="T14" fmla="*/ 108 w 180"/>
                <a:gd name="T15" fmla="*/ 112 h 140"/>
                <a:gd name="T16" fmla="*/ 102 w 180"/>
                <a:gd name="T17" fmla="*/ 118 h 140"/>
                <a:gd name="T18" fmla="*/ 88 w 180"/>
                <a:gd name="T19" fmla="*/ 120 h 140"/>
                <a:gd name="T20" fmla="*/ 80 w 180"/>
                <a:gd name="T21" fmla="*/ 118 h 140"/>
                <a:gd name="T22" fmla="*/ 76 w 180"/>
                <a:gd name="T23" fmla="*/ 110 h 140"/>
                <a:gd name="T24" fmla="*/ 70 w 180"/>
                <a:gd name="T25" fmla="*/ 106 h 140"/>
                <a:gd name="T26" fmla="*/ 64 w 180"/>
                <a:gd name="T27" fmla="*/ 106 h 140"/>
                <a:gd name="T28" fmla="*/ 58 w 180"/>
                <a:gd name="T29" fmla="*/ 114 h 140"/>
                <a:gd name="T30" fmla="*/ 46 w 180"/>
                <a:gd name="T31" fmla="*/ 122 h 140"/>
                <a:gd name="T32" fmla="*/ 34 w 180"/>
                <a:gd name="T33" fmla="*/ 124 h 140"/>
                <a:gd name="T34" fmla="*/ 24 w 180"/>
                <a:gd name="T35" fmla="*/ 140 h 140"/>
                <a:gd name="T36" fmla="*/ 16 w 180"/>
                <a:gd name="T37" fmla="*/ 120 h 140"/>
                <a:gd name="T38" fmla="*/ 6 w 180"/>
                <a:gd name="T39" fmla="*/ 102 h 140"/>
                <a:gd name="T40" fmla="*/ 0 w 180"/>
                <a:gd name="T41" fmla="*/ 92 h 140"/>
                <a:gd name="T42" fmla="*/ 6 w 180"/>
                <a:gd name="T43" fmla="*/ 78 h 140"/>
                <a:gd name="T44" fmla="*/ 18 w 180"/>
                <a:gd name="T45" fmla="*/ 62 h 140"/>
                <a:gd name="T46" fmla="*/ 26 w 180"/>
                <a:gd name="T47" fmla="*/ 60 h 140"/>
                <a:gd name="T48" fmla="*/ 36 w 180"/>
                <a:gd name="T49" fmla="*/ 62 h 140"/>
                <a:gd name="T50" fmla="*/ 38 w 180"/>
                <a:gd name="T51" fmla="*/ 56 h 140"/>
                <a:gd name="T52" fmla="*/ 42 w 180"/>
                <a:gd name="T53" fmla="*/ 52 h 140"/>
                <a:gd name="T54" fmla="*/ 54 w 180"/>
                <a:gd name="T55" fmla="*/ 52 h 140"/>
                <a:gd name="T56" fmla="*/ 60 w 180"/>
                <a:gd name="T57" fmla="*/ 48 h 140"/>
                <a:gd name="T58" fmla="*/ 66 w 180"/>
                <a:gd name="T59" fmla="*/ 40 h 140"/>
                <a:gd name="T60" fmla="*/ 76 w 180"/>
                <a:gd name="T61" fmla="*/ 38 h 140"/>
                <a:gd name="T62" fmla="*/ 80 w 180"/>
                <a:gd name="T63" fmla="*/ 34 h 140"/>
                <a:gd name="T64" fmla="*/ 84 w 180"/>
                <a:gd name="T65" fmla="*/ 26 h 140"/>
                <a:gd name="T66" fmla="*/ 94 w 180"/>
                <a:gd name="T67" fmla="*/ 20 h 140"/>
                <a:gd name="T68" fmla="*/ 100 w 180"/>
                <a:gd name="T69" fmla="*/ 8 h 140"/>
                <a:gd name="T70" fmla="*/ 112 w 180"/>
                <a:gd name="T71" fmla="*/ 0 h 140"/>
                <a:gd name="T72" fmla="*/ 116 w 180"/>
                <a:gd name="T73" fmla="*/ 0 h 140"/>
                <a:gd name="T74" fmla="*/ 124 w 180"/>
                <a:gd name="T75" fmla="*/ 14 h 140"/>
                <a:gd name="T76" fmla="*/ 130 w 180"/>
                <a:gd name="T77" fmla="*/ 26 h 140"/>
                <a:gd name="T78" fmla="*/ 128 w 180"/>
                <a:gd name="T79" fmla="*/ 36 h 140"/>
                <a:gd name="T80" fmla="*/ 134 w 180"/>
                <a:gd name="T81" fmla="*/ 40 h 140"/>
                <a:gd name="T82" fmla="*/ 134 w 180"/>
                <a:gd name="T83" fmla="*/ 48 h 140"/>
                <a:gd name="T84" fmla="*/ 138 w 180"/>
                <a:gd name="T85" fmla="*/ 48 h 140"/>
                <a:gd name="T86" fmla="*/ 146 w 180"/>
                <a:gd name="T87" fmla="*/ 46 h 140"/>
                <a:gd name="T88" fmla="*/ 148 w 180"/>
                <a:gd name="T89" fmla="*/ 52 h 140"/>
                <a:gd name="T90" fmla="*/ 148 w 180"/>
                <a:gd name="T91" fmla="*/ 60 h 140"/>
                <a:gd name="T92" fmla="*/ 156 w 180"/>
                <a:gd name="T93" fmla="*/ 62 h 140"/>
                <a:gd name="T94" fmla="*/ 164 w 180"/>
                <a:gd name="T95" fmla="*/ 64 h 140"/>
                <a:gd name="T96" fmla="*/ 164 w 180"/>
                <a:gd name="T97" fmla="*/ 74 h 140"/>
                <a:gd name="T98" fmla="*/ 166 w 180"/>
                <a:gd name="T99" fmla="*/ 80 h 140"/>
                <a:gd name="T100" fmla="*/ 174 w 180"/>
                <a:gd name="T101" fmla="*/ 82 h 140"/>
                <a:gd name="T102" fmla="*/ 180 w 180"/>
                <a:gd name="T103" fmla="*/ 92 h 140"/>
                <a:gd name="T104" fmla="*/ 178 w 180"/>
                <a:gd name="T105"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140">
                  <a:moveTo>
                    <a:pt x="178" y="100"/>
                  </a:moveTo>
                  <a:lnTo>
                    <a:pt x="178" y="100"/>
                  </a:lnTo>
                  <a:lnTo>
                    <a:pt x="178" y="100"/>
                  </a:lnTo>
                  <a:lnTo>
                    <a:pt x="176" y="100"/>
                  </a:lnTo>
                  <a:lnTo>
                    <a:pt x="174" y="100"/>
                  </a:lnTo>
                  <a:lnTo>
                    <a:pt x="174" y="100"/>
                  </a:lnTo>
                  <a:lnTo>
                    <a:pt x="172" y="100"/>
                  </a:lnTo>
                  <a:lnTo>
                    <a:pt x="170" y="98"/>
                  </a:lnTo>
                  <a:lnTo>
                    <a:pt x="170" y="98"/>
                  </a:lnTo>
                  <a:lnTo>
                    <a:pt x="168" y="100"/>
                  </a:lnTo>
                  <a:lnTo>
                    <a:pt x="166" y="100"/>
                  </a:lnTo>
                  <a:lnTo>
                    <a:pt x="162" y="100"/>
                  </a:lnTo>
                  <a:lnTo>
                    <a:pt x="156" y="102"/>
                  </a:lnTo>
                  <a:lnTo>
                    <a:pt x="154" y="102"/>
                  </a:lnTo>
                  <a:lnTo>
                    <a:pt x="152" y="102"/>
                  </a:lnTo>
                  <a:lnTo>
                    <a:pt x="152" y="102"/>
                  </a:lnTo>
                  <a:lnTo>
                    <a:pt x="150" y="102"/>
                  </a:lnTo>
                  <a:lnTo>
                    <a:pt x="146" y="102"/>
                  </a:lnTo>
                  <a:lnTo>
                    <a:pt x="144" y="100"/>
                  </a:lnTo>
                  <a:lnTo>
                    <a:pt x="142" y="100"/>
                  </a:lnTo>
                  <a:lnTo>
                    <a:pt x="142" y="100"/>
                  </a:lnTo>
                  <a:lnTo>
                    <a:pt x="142" y="100"/>
                  </a:lnTo>
                  <a:lnTo>
                    <a:pt x="140" y="100"/>
                  </a:lnTo>
                  <a:lnTo>
                    <a:pt x="140" y="100"/>
                  </a:lnTo>
                  <a:lnTo>
                    <a:pt x="140" y="102"/>
                  </a:lnTo>
                  <a:lnTo>
                    <a:pt x="140" y="102"/>
                  </a:lnTo>
                  <a:lnTo>
                    <a:pt x="140" y="104"/>
                  </a:lnTo>
                  <a:lnTo>
                    <a:pt x="140" y="106"/>
                  </a:lnTo>
                  <a:lnTo>
                    <a:pt x="140" y="106"/>
                  </a:lnTo>
                  <a:lnTo>
                    <a:pt x="138" y="106"/>
                  </a:lnTo>
                  <a:lnTo>
                    <a:pt x="138" y="106"/>
                  </a:lnTo>
                  <a:lnTo>
                    <a:pt x="138" y="108"/>
                  </a:lnTo>
                  <a:lnTo>
                    <a:pt x="136" y="108"/>
                  </a:lnTo>
                  <a:lnTo>
                    <a:pt x="134" y="108"/>
                  </a:lnTo>
                  <a:lnTo>
                    <a:pt x="132" y="108"/>
                  </a:lnTo>
                  <a:lnTo>
                    <a:pt x="130" y="108"/>
                  </a:lnTo>
                  <a:lnTo>
                    <a:pt x="128" y="108"/>
                  </a:lnTo>
                  <a:lnTo>
                    <a:pt x="124" y="108"/>
                  </a:lnTo>
                  <a:lnTo>
                    <a:pt x="118" y="108"/>
                  </a:lnTo>
                  <a:lnTo>
                    <a:pt x="116" y="108"/>
                  </a:lnTo>
                  <a:lnTo>
                    <a:pt x="114" y="108"/>
                  </a:lnTo>
                  <a:lnTo>
                    <a:pt x="112" y="108"/>
                  </a:lnTo>
                  <a:lnTo>
                    <a:pt x="112" y="108"/>
                  </a:lnTo>
                  <a:lnTo>
                    <a:pt x="110" y="108"/>
                  </a:lnTo>
                  <a:lnTo>
                    <a:pt x="108" y="110"/>
                  </a:lnTo>
                  <a:lnTo>
                    <a:pt x="108" y="110"/>
                  </a:lnTo>
                  <a:lnTo>
                    <a:pt x="108" y="110"/>
                  </a:lnTo>
                  <a:lnTo>
                    <a:pt x="108" y="112"/>
                  </a:lnTo>
                  <a:lnTo>
                    <a:pt x="106" y="114"/>
                  </a:lnTo>
                  <a:lnTo>
                    <a:pt x="106" y="116"/>
                  </a:lnTo>
                  <a:lnTo>
                    <a:pt x="106" y="116"/>
                  </a:lnTo>
                  <a:lnTo>
                    <a:pt x="106" y="116"/>
                  </a:lnTo>
                  <a:lnTo>
                    <a:pt x="104" y="118"/>
                  </a:lnTo>
                  <a:lnTo>
                    <a:pt x="102" y="118"/>
                  </a:lnTo>
                  <a:lnTo>
                    <a:pt x="102" y="118"/>
                  </a:lnTo>
                  <a:lnTo>
                    <a:pt x="100" y="118"/>
                  </a:lnTo>
                  <a:lnTo>
                    <a:pt x="98" y="120"/>
                  </a:lnTo>
                  <a:lnTo>
                    <a:pt x="94" y="120"/>
                  </a:lnTo>
                  <a:lnTo>
                    <a:pt x="90" y="120"/>
                  </a:lnTo>
                  <a:lnTo>
                    <a:pt x="88" y="120"/>
                  </a:lnTo>
                  <a:lnTo>
                    <a:pt x="86" y="120"/>
                  </a:lnTo>
                  <a:lnTo>
                    <a:pt x="84" y="120"/>
                  </a:lnTo>
                  <a:lnTo>
                    <a:pt x="84" y="120"/>
                  </a:lnTo>
                  <a:lnTo>
                    <a:pt x="82" y="118"/>
                  </a:lnTo>
                  <a:lnTo>
                    <a:pt x="82" y="118"/>
                  </a:lnTo>
                  <a:lnTo>
                    <a:pt x="80" y="118"/>
                  </a:lnTo>
                  <a:lnTo>
                    <a:pt x="80" y="118"/>
                  </a:lnTo>
                  <a:lnTo>
                    <a:pt x="80" y="116"/>
                  </a:lnTo>
                  <a:lnTo>
                    <a:pt x="80" y="116"/>
                  </a:lnTo>
                  <a:lnTo>
                    <a:pt x="78" y="114"/>
                  </a:lnTo>
                  <a:lnTo>
                    <a:pt x="78" y="110"/>
                  </a:lnTo>
                  <a:lnTo>
                    <a:pt x="76" y="110"/>
                  </a:lnTo>
                  <a:lnTo>
                    <a:pt x="76" y="108"/>
                  </a:lnTo>
                  <a:lnTo>
                    <a:pt x="76" y="108"/>
                  </a:lnTo>
                  <a:lnTo>
                    <a:pt x="74" y="106"/>
                  </a:lnTo>
                  <a:lnTo>
                    <a:pt x="72" y="106"/>
                  </a:lnTo>
                  <a:lnTo>
                    <a:pt x="72" y="106"/>
                  </a:lnTo>
                  <a:lnTo>
                    <a:pt x="70" y="106"/>
                  </a:lnTo>
                  <a:lnTo>
                    <a:pt x="68" y="104"/>
                  </a:lnTo>
                  <a:lnTo>
                    <a:pt x="68" y="104"/>
                  </a:lnTo>
                  <a:lnTo>
                    <a:pt x="66" y="104"/>
                  </a:lnTo>
                  <a:lnTo>
                    <a:pt x="66" y="104"/>
                  </a:lnTo>
                  <a:lnTo>
                    <a:pt x="66" y="106"/>
                  </a:lnTo>
                  <a:lnTo>
                    <a:pt x="64" y="106"/>
                  </a:lnTo>
                  <a:lnTo>
                    <a:pt x="64" y="106"/>
                  </a:lnTo>
                  <a:lnTo>
                    <a:pt x="64" y="108"/>
                  </a:lnTo>
                  <a:lnTo>
                    <a:pt x="62" y="110"/>
                  </a:lnTo>
                  <a:lnTo>
                    <a:pt x="62" y="112"/>
                  </a:lnTo>
                  <a:lnTo>
                    <a:pt x="60" y="112"/>
                  </a:lnTo>
                  <a:lnTo>
                    <a:pt x="58" y="114"/>
                  </a:lnTo>
                  <a:lnTo>
                    <a:pt x="56" y="114"/>
                  </a:lnTo>
                  <a:lnTo>
                    <a:pt x="54" y="116"/>
                  </a:lnTo>
                  <a:lnTo>
                    <a:pt x="54" y="116"/>
                  </a:lnTo>
                  <a:lnTo>
                    <a:pt x="50" y="118"/>
                  </a:lnTo>
                  <a:lnTo>
                    <a:pt x="48" y="120"/>
                  </a:lnTo>
                  <a:lnTo>
                    <a:pt x="46" y="122"/>
                  </a:lnTo>
                  <a:lnTo>
                    <a:pt x="44" y="122"/>
                  </a:lnTo>
                  <a:lnTo>
                    <a:pt x="40" y="122"/>
                  </a:lnTo>
                  <a:lnTo>
                    <a:pt x="38" y="122"/>
                  </a:lnTo>
                  <a:lnTo>
                    <a:pt x="36" y="122"/>
                  </a:lnTo>
                  <a:lnTo>
                    <a:pt x="36" y="124"/>
                  </a:lnTo>
                  <a:lnTo>
                    <a:pt x="34" y="124"/>
                  </a:lnTo>
                  <a:lnTo>
                    <a:pt x="32" y="126"/>
                  </a:lnTo>
                  <a:lnTo>
                    <a:pt x="30" y="128"/>
                  </a:lnTo>
                  <a:lnTo>
                    <a:pt x="30" y="130"/>
                  </a:lnTo>
                  <a:lnTo>
                    <a:pt x="28" y="134"/>
                  </a:lnTo>
                  <a:lnTo>
                    <a:pt x="26" y="136"/>
                  </a:lnTo>
                  <a:lnTo>
                    <a:pt x="24" y="140"/>
                  </a:lnTo>
                  <a:lnTo>
                    <a:pt x="22" y="136"/>
                  </a:lnTo>
                  <a:lnTo>
                    <a:pt x="20" y="134"/>
                  </a:lnTo>
                  <a:lnTo>
                    <a:pt x="18" y="130"/>
                  </a:lnTo>
                  <a:lnTo>
                    <a:pt x="18" y="128"/>
                  </a:lnTo>
                  <a:lnTo>
                    <a:pt x="16" y="126"/>
                  </a:lnTo>
                  <a:lnTo>
                    <a:pt x="16" y="120"/>
                  </a:lnTo>
                  <a:lnTo>
                    <a:pt x="14" y="114"/>
                  </a:lnTo>
                  <a:lnTo>
                    <a:pt x="12" y="112"/>
                  </a:lnTo>
                  <a:lnTo>
                    <a:pt x="12" y="110"/>
                  </a:lnTo>
                  <a:lnTo>
                    <a:pt x="10" y="108"/>
                  </a:lnTo>
                  <a:lnTo>
                    <a:pt x="10" y="106"/>
                  </a:lnTo>
                  <a:lnTo>
                    <a:pt x="6" y="102"/>
                  </a:lnTo>
                  <a:lnTo>
                    <a:pt x="4" y="100"/>
                  </a:lnTo>
                  <a:lnTo>
                    <a:pt x="2" y="98"/>
                  </a:lnTo>
                  <a:lnTo>
                    <a:pt x="2" y="96"/>
                  </a:lnTo>
                  <a:lnTo>
                    <a:pt x="2" y="94"/>
                  </a:lnTo>
                  <a:lnTo>
                    <a:pt x="0" y="94"/>
                  </a:lnTo>
                  <a:lnTo>
                    <a:pt x="0" y="92"/>
                  </a:lnTo>
                  <a:lnTo>
                    <a:pt x="0" y="92"/>
                  </a:lnTo>
                  <a:lnTo>
                    <a:pt x="2" y="88"/>
                  </a:lnTo>
                  <a:lnTo>
                    <a:pt x="2" y="86"/>
                  </a:lnTo>
                  <a:lnTo>
                    <a:pt x="2" y="84"/>
                  </a:lnTo>
                  <a:lnTo>
                    <a:pt x="4" y="80"/>
                  </a:lnTo>
                  <a:lnTo>
                    <a:pt x="6" y="78"/>
                  </a:lnTo>
                  <a:lnTo>
                    <a:pt x="8" y="74"/>
                  </a:lnTo>
                  <a:lnTo>
                    <a:pt x="8" y="74"/>
                  </a:lnTo>
                  <a:lnTo>
                    <a:pt x="8" y="72"/>
                  </a:lnTo>
                  <a:lnTo>
                    <a:pt x="12" y="68"/>
                  </a:lnTo>
                  <a:lnTo>
                    <a:pt x="14" y="66"/>
                  </a:lnTo>
                  <a:lnTo>
                    <a:pt x="18" y="62"/>
                  </a:lnTo>
                  <a:lnTo>
                    <a:pt x="20" y="62"/>
                  </a:lnTo>
                  <a:lnTo>
                    <a:pt x="22" y="60"/>
                  </a:lnTo>
                  <a:lnTo>
                    <a:pt x="22" y="60"/>
                  </a:lnTo>
                  <a:lnTo>
                    <a:pt x="22" y="60"/>
                  </a:lnTo>
                  <a:lnTo>
                    <a:pt x="24" y="60"/>
                  </a:lnTo>
                  <a:lnTo>
                    <a:pt x="26" y="60"/>
                  </a:lnTo>
                  <a:lnTo>
                    <a:pt x="30" y="62"/>
                  </a:lnTo>
                  <a:lnTo>
                    <a:pt x="32" y="62"/>
                  </a:lnTo>
                  <a:lnTo>
                    <a:pt x="34" y="62"/>
                  </a:lnTo>
                  <a:lnTo>
                    <a:pt x="34" y="62"/>
                  </a:lnTo>
                  <a:lnTo>
                    <a:pt x="36" y="62"/>
                  </a:lnTo>
                  <a:lnTo>
                    <a:pt x="36" y="62"/>
                  </a:lnTo>
                  <a:lnTo>
                    <a:pt x="36" y="62"/>
                  </a:lnTo>
                  <a:lnTo>
                    <a:pt x="36" y="62"/>
                  </a:lnTo>
                  <a:lnTo>
                    <a:pt x="38" y="60"/>
                  </a:lnTo>
                  <a:lnTo>
                    <a:pt x="38" y="58"/>
                  </a:lnTo>
                  <a:lnTo>
                    <a:pt x="38" y="58"/>
                  </a:lnTo>
                  <a:lnTo>
                    <a:pt x="38" y="56"/>
                  </a:lnTo>
                  <a:lnTo>
                    <a:pt x="40" y="54"/>
                  </a:lnTo>
                  <a:lnTo>
                    <a:pt x="40" y="54"/>
                  </a:lnTo>
                  <a:lnTo>
                    <a:pt x="40" y="52"/>
                  </a:lnTo>
                  <a:lnTo>
                    <a:pt x="40" y="52"/>
                  </a:lnTo>
                  <a:lnTo>
                    <a:pt x="42" y="52"/>
                  </a:lnTo>
                  <a:lnTo>
                    <a:pt x="42" y="52"/>
                  </a:lnTo>
                  <a:lnTo>
                    <a:pt x="44" y="52"/>
                  </a:lnTo>
                  <a:lnTo>
                    <a:pt x="46" y="52"/>
                  </a:lnTo>
                  <a:lnTo>
                    <a:pt x="48" y="52"/>
                  </a:lnTo>
                  <a:lnTo>
                    <a:pt x="50" y="52"/>
                  </a:lnTo>
                  <a:lnTo>
                    <a:pt x="52" y="52"/>
                  </a:lnTo>
                  <a:lnTo>
                    <a:pt x="54" y="52"/>
                  </a:lnTo>
                  <a:lnTo>
                    <a:pt x="56" y="52"/>
                  </a:lnTo>
                  <a:lnTo>
                    <a:pt x="56" y="52"/>
                  </a:lnTo>
                  <a:lnTo>
                    <a:pt x="56" y="50"/>
                  </a:lnTo>
                  <a:lnTo>
                    <a:pt x="58" y="50"/>
                  </a:lnTo>
                  <a:lnTo>
                    <a:pt x="58" y="50"/>
                  </a:lnTo>
                  <a:lnTo>
                    <a:pt x="60" y="48"/>
                  </a:lnTo>
                  <a:lnTo>
                    <a:pt x="60" y="46"/>
                  </a:lnTo>
                  <a:lnTo>
                    <a:pt x="62" y="44"/>
                  </a:lnTo>
                  <a:lnTo>
                    <a:pt x="62" y="42"/>
                  </a:lnTo>
                  <a:lnTo>
                    <a:pt x="64" y="40"/>
                  </a:lnTo>
                  <a:lnTo>
                    <a:pt x="64" y="40"/>
                  </a:lnTo>
                  <a:lnTo>
                    <a:pt x="66" y="40"/>
                  </a:lnTo>
                  <a:lnTo>
                    <a:pt x="68" y="40"/>
                  </a:lnTo>
                  <a:lnTo>
                    <a:pt x="68" y="40"/>
                  </a:lnTo>
                  <a:lnTo>
                    <a:pt x="72" y="40"/>
                  </a:lnTo>
                  <a:lnTo>
                    <a:pt x="74" y="40"/>
                  </a:lnTo>
                  <a:lnTo>
                    <a:pt x="76" y="40"/>
                  </a:lnTo>
                  <a:lnTo>
                    <a:pt x="76" y="38"/>
                  </a:lnTo>
                  <a:lnTo>
                    <a:pt x="78" y="38"/>
                  </a:lnTo>
                  <a:lnTo>
                    <a:pt x="78" y="38"/>
                  </a:lnTo>
                  <a:lnTo>
                    <a:pt x="78" y="38"/>
                  </a:lnTo>
                  <a:lnTo>
                    <a:pt x="78" y="38"/>
                  </a:lnTo>
                  <a:lnTo>
                    <a:pt x="80" y="36"/>
                  </a:lnTo>
                  <a:lnTo>
                    <a:pt x="80" y="34"/>
                  </a:lnTo>
                  <a:lnTo>
                    <a:pt x="80" y="32"/>
                  </a:lnTo>
                  <a:lnTo>
                    <a:pt x="82" y="30"/>
                  </a:lnTo>
                  <a:lnTo>
                    <a:pt x="82" y="28"/>
                  </a:lnTo>
                  <a:lnTo>
                    <a:pt x="82" y="28"/>
                  </a:lnTo>
                  <a:lnTo>
                    <a:pt x="84" y="26"/>
                  </a:lnTo>
                  <a:lnTo>
                    <a:pt x="84" y="26"/>
                  </a:lnTo>
                  <a:lnTo>
                    <a:pt x="88" y="24"/>
                  </a:lnTo>
                  <a:lnTo>
                    <a:pt x="90" y="24"/>
                  </a:lnTo>
                  <a:lnTo>
                    <a:pt x="92" y="24"/>
                  </a:lnTo>
                  <a:lnTo>
                    <a:pt x="92" y="22"/>
                  </a:lnTo>
                  <a:lnTo>
                    <a:pt x="94" y="22"/>
                  </a:lnTo>
                  <a:lnTo>
                    <a:pt x="94" y="20"/>
                  </a:lnTo>
                  <a:lnTo>
                    <a:pt x="96" y="18"/>
                  </a:lnTo>
                  <a:lnTo>
                    <a:pt x="96" y="18"/>
                  </a:lnTo>
                  <a:lnTo>
                    <a:pt x="98" y="14"/>
                  </a:lnTo>
                  <a:lnTo>
                    <a:pt x="98" y="12"/>
                  </a:lnTo>
                  <a:lnTo>
                    <a:pt x="98" y="10"/>
                  </a:lnTo>
                  <a:lnTo>
                    <a:pt x="100" y="8"/>
                  </a:lnTo>
                  <a:lnTo>
                    <a:pt x="104" y="6"/>
                  </a:lnTo>
                  <a:lnTo>
                    <a:pt x="106" y="4"/>
                  </a:lnTo>
                  <a:lnTo>
                    <a:pt x="108" y="2"/>
                  </a:lnTo>
                  <a:lnTo>
                    <a:pt x="108" y="2"/>
                  </a:lnTo>
                  <a:lnTo>
                    <a:pt x="110" y="2"/>
                  </a:lnTo>
                  <a:lnTo>
                    <a:pt x="112" y="0"/>
                  </a:lnTo>
                  <a:lnTo>
                    <a:pt x="112" y="0"/>
                  </a:lnTo>
                  <a:lnTo>
                    <a:pt x="114" y="0"/>
                  </a:lnTo>
                  <a:lnTo>
                    <a:pt x="114" y="0"/>
                  </a:lnTo>
                  <a:lnTo>
                    <a:pt x="116" y="0"/>
                  </a:lnTo>
                  <a:lnTo>
                    <a:pt x="116" y="0"/>
                  </a:lnTo>
                  <a:lnTo>
                    <a:pt x="116" y="0"/>
                  </a:lnTo>
                  <a:lnTo>
                    <a:pt x="118" y="2"/>
                  </a:lnTo>
                  <a:lnTo>
                    <a:pt x="118" y="2"/>
                  </a:lnTo>
                  <a:lnTo>
                    <a:pt x="120" y="4"/>
                  </a:lnTo>
                  <a:lnTo>
                    <a:pt x="120" y="8"/>
                  </a:lnTo>
                  <a:lnTo>
                    <a:pt x="122" y="10"/>
                  </a:lnTo>
                  <a:lnTo>
                    <a:pt x="124" y="14"/>
                  </a:lnTo>
                  <a:lnTo>
                    <a:pt x="126" y="18"/>
                  </a:lnTo>
                  <a:lnTo>
                    <a:pt x="128" y="20"/>
                  </a:lnTo>
                  <a:lnTo>
                    <a:pt x="128" y="22"/>
                  </a:lnTo>
                  <a:lnTo>
                    <a:pt x="128" y="24"/>
                  </a:lnTo>
                  <a:lnTo>
                    <a:pt x="130" y="24"/>
                  </a:lnTo>
                  <a:lnTo>
                    <a:pt x="130" y="26"/>
                  </a:lnTo>
                  <a:lnTo>
                    <a:pt x="128" y="28"/>
                  </a:lnTo>
                  <a:lnTo>
                    <a:pt x="128" y="32"/>
                  </a:lnTo>
                  <a:lnTo>
                    <a:pt x="128" y="32"/>
                  </a:lnTo>
                  <a:lnTo>
                    <a:pt x="128" y="34"/>
                  </a:lnTo>
                  <a:lnTo>
                    <a:pt x="128" y="36"/>
                  </a:lnTo>
                  <a:lnTo>
                    <a:pt x="128" y="36"/>
                  </a:lnTo>
                  <a:lnTo>
                    <a:pt x="128" y="38"/>
                  </a:lnTo>
                  <a:lnTo>
                    <a:pt x="128" y="38"/>
                  </a:lnTo>
                  <a:lnTo>
                    <a:pt x="130" y="38"/>
                  </a:lnTo>
                  <a:lnTo>
                    <a:pt x="130" y="40"/>
                  </a:lnTo>
                  <a:lnTo>
                    <a:pt x="132" y="40"/>
                  </a:lnTo>
                  <a:lnTo>
                    <a:pt x="134" y="40"/>
                  </a:lnTo>
                  <a:lnTo>
                    <a:pt x="134" y="40"/>
                  </a:lnTo>
                  <a:lnTo>
                    <a:pt x="134" y="42"/>
                  </a:lnTo>
                  <a:lnTo>
                    <a:pt x="134" y="42"/>
                  </a:lnTo>
                  <a:lnTo>
                    <a:pt x="134" y="44"/>
                  </a:lnTo>
                  <a:lnTo>
                    <a:pt x="134" y="46"/>
                  </a:lnTo>
                  <a:lnTo>
                    <a:pt x="134" y="48"/>
                  </a:lnTo>
                  <a:lnTo>
                    <a:pt x="134" y="48"/>
                  </a:lnTo>
                  <a:lnTo>
                    <a:pt x="136" y="48"/>
                  </a:lnTo>
                  <a:lnTo>
                    <a:pt x="136" y="48"/>
                  </a:lnTo>
                  <a:lnTo>
                    <a:pt x="136" y="48"/>
                  </a:lnTo>
                  <a:lnTo>
                    <a:pt x="136" y="48"/>
                  </a:lnTo>
                  <a:lnTo>
                    <a:pt x="138" y="48"/>
                  </a:lnTo>
                  <a:lnTo>
                    <a:pt x="140" y="48"/>
                  </a:lnTo>
                  <a:lnTo>
                    <a:pt x="140" y="48"/>
                  </a:lnTo>
                  <a:lnTo>
                    <a:pt x="142" y="48"/>
                  </a:lnTo>
                  <a:lnTo>
                    <a:pt x="144" y="46"/>
                  </a:lnTo>
                  <a:lnTo>
                    <a:pt x="144" y="46"/>
                  </a:lnTo>
                  <a:lnTo>
                    <a:pt x="146" y="46"/>
                  </a:lnTo>
                  <a:lnTo>
                    <a:pt x="146" y="46"/>
                  </a:lnTo>
                  <a:lnTo>
                    <a:pt x="146" y="48"/>
                  </a:lnTo>
                  <a:lnTo>
                    <a:pt x="146" y="48"/>
                  </a:lnTo>
                  <a:lnTo>
                    <a:pt x="146" y="48"/>
                  </a:lnTo>
                  <a:lnTo>
                    <a:pt x="148" y="50"/>
                  </a:lnTo>
                  <a:lnTo>
                    <a:pt x="148" y="52"/>
                  </a:lnTo>
                  <a:lnTo>
                    <a:pt x="148" y="54"/>
                  </a:lnTo>
                  <a:lnTo>
                    <a:pt x="148" y="56"/>
                  </a:lnTo>
                  <a:lnTo>
                    <a:pt x="148" y="58"/>
                  </a:lnTo>
                  <a:lnTo>
                    <a:pt x="148" y="58"/>
                  </a:lnTo>
                  <a:lnTo>
                    <a:pt x="148" y="60"/>
                  </a:lnTo>
                  <a:lnTo>
                    <a:pt x="148" y="60"/>
                  </a:lnTo>
                  <a:lnTo>
                    <a:pt x="150" y="60"/>
                  </a:lnTo>
                  <a:lnTo>
                    <a:pt x="150" y="60"/>
                  </a:lnTo>
                  <a:lnTo>
                    <a:pt x="150" y="62"/>
                  </a:lnTo>
                  <a:lnTo>
                    <a:pt x="152" y="62"/>
                  </a:lnTo>
                  <a:lnTo>
                    <a:pt x="154" y="62"/>
                  </a:lnTo>
                  <a:lnTo>
                    <a:pt x="156" y="62"/>
                  </a:lnTo>
                  <a:lnTo>
                    <a:pt x="158" y="62"/>
                  </a:lnTo>
                  <a:lnTo>
                    <a:pt x="160" y="62"/>
                  </a:lnTo>
                  <a:lnTo>
                    <a:pt x="162" y="62"/>
                  </a:lnTo>
                  <a:lnTo>
                    <a:pt x="162" y="62"/>
                  </a:lnTo>
                  <a:lnTo>
                    <a:pt x="162" y="64"/>
                  </a:lnTo>
                  <a:lnTo>
                    <a:pt x="164" y="64"/>
                  </a:lnTo>
                  <a:lnTo>
                    <a:pt x="164" y="64"/>
                  </a:lnTo>
                  <a:lnTo>
                    <a:pt x="164" y="66"/>
                  </a:lnTo>
                  <a:lnTo>
                    <a:pt x="164" y="66"/>
                  </a:lnTo>
                  <a:lnTo>
                    <a:pt x="164" y="68"/>
                  </a:lnTo>
                  <a:lnTo>
                    <a:pt x="164" y="72"/>
                  </a:lnTo>
                  <a:lnTo>
                    <a:pt x="164" y="74"/>
                  </a:lnTo>
                  <a:lnTo>
                    <a:pt x="164" y="76"/>
                  </a:lnTo>
                  <a:lnTo>
                    <a:pt x="164" y="76"/>
                  </a:lnTo>
                  <a:lnTo>
                    <a:pt x="164" y="78"/>
                  </a:lnTo>
                  <a:lnTo>
                    <a:pt x="164" y="78"/>
                  </a:lnTo>
                  <a:lnTo>
                    <a:pt x="166" y="80"/>
                  </a:lnTo>
                  <a:lnTo>
                    <a:pt x="166" y="80"/>
                  </a:lnTo>
                  <a:lnTo>
                    <a:pt x="166" y="80"/>
                  </a:lnTo>
                  <a:lnTo>
                    <a:pt x="168" y="80"/>
                  </a:lnTo>
                  <a:lnTo>
                    <a:pt x="170" y="80"/>
                  </a:lnTo>
                  <a:lnTo>
                    <a:pt x="172" y="82"/>
                  </a:lnTo>
                  <a:lnTo>
                    <a:pt x="172" y="82"/>
                  </a:lnTo>
                  <a:lnTo>
                    <a:pt x="174" y="82"/>
                  </a:lnTo>
                  <a:lnTo>
                    <a:pt x="174" y="84"/>
                  </a:lnTo>
                  <a:lnTo>
                    <a:pt x="174" y="84"/>
                  </a:lnTo>
                  <a:lnTo>
                    <a:pt x="176" y="86"/>
                  </a:lnTo>
                  <a:lnTo>
                    <a:pt x="178" y="88"/>
                  </a:lnTo>
                  <a:lnTo>
                    <a:pt x="178" y="90"/>
                  </a:lnTo>
                  <a:lnTo>
                    <a:pt x="180" y="92"/>
                  </a:lnTo>
                  <a:lnTo>
                    <a:pt x="180" y="92"/>
                  </a:lnTo>
                  <a:lnTo>
                    <a:pt x="180" y="92"/>
                  </a:lnTo>
                  <a:lnTo>
                    <a:pt x="180" y="94"/>
                  </a:lnTo>
                  <a:lnTo>
                    <a:pt x="180" y="96"/>
                  </a:lnTo>
                  <a:lnTo>
                    <a:pt x="180" y="98"/>
                  </a:lnTo>
                  <a:lnTo>
                    <a:pt x="178" y="98"/>
                  </a:lnTo>
                  <a:lnTo>
                    <a:pt x="178" y="98"/>
                  </a:lnTo>
                  <a:lnTo>
                    <a:pt x="178" y="10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0" name="Freeform 377"/>
            <p:cNvSpPr>
              <a:spLocks/>
            </p:cNvSpPr>
            <p:nvPr/>
          </p:nvSpPr>
          <p:spPr bwMode="auto">
            <a:xfrm>
              <a:off x="4636412" y="4330973"/>
              <a:ext cx="311774" cy="242490"/>
            </a:xfrm>
            <a:custGeom>
              <a:avLst/>
              <a:gdLst>
                <a:gd name="T0" fmla="*/ 174 w 180"/>
                <a:gd name="T1" fmla="*/ 100 h 140"/>
                <a:gd name="T2" fmla="*/ 162 w 180"/>
                <a:gd name="T3" fmla="*/ 100 h 140"/>
                <a:gd name="T4" fmla="*/ 146 w 180"/>
                <a:gd name="T5" fmla="*/ 102 h 140"/>
                <a:gd name="T6" fmla="*/ 140 w 180"/>
                <a:gd name="T7" fmla="*/ 100 h 140"/>
                <a:gd name="T8" fmla="*/ 138 w 180"/>
                <a:gd name="T9" fmla="*/ 106 h 140"/>
                <a:gd name="T10" fmla="*/ 130 w 180"/>
                <a:gd name="T11" fmla="*/ 108 h 140"/>
                <a:gd name="T12" fmla="*/ 112 w 180"/>
                <a:gd name="T13" fmla="*/ 108 h 140"/>
                <a:gd name="T14" fmla="*/ 108 w 180"/>
                <a:gd name="T15" fmla="*/ 112 h 140"/>
                <a:gd name="T16" fmla="*/ 102 w 180"/>
                <a:gd name="T17" fmla="*/ 118 h 140"/>
                <a:gd name="T18" fmla="*/ 88 w 180"/>
                <a:gd name="T19" fmla="*/ 120 h 140"/>
                <a:gd name="T20" fmla="*/ 80 w 180"/>
                <a:gd name="T21" fmla="*/ 118 h 140"/>
                <a:gd name="T22" fmla="*/ 76 w 180"/>
                <a:gd name="T23" fmla="*/ 110 h 140"/>
                <a:gd name="T24" fmla="*/ 70 w 180"/>
                <a:gd name="T25" fmla="*/ 106 h 140"/>
                <a:gd name="T26" fmla="*/ 64 w 180"/>
                <a:gd name="T27" fmla="*/ 106 h 140"/>
                <a:gd name="T28" fmla="*/ 58 w 180"/>
                <a:gd name="T29" fmla="*/ 114 h 140"/>
                <a:gd name="T30" fmla="*/ 46 w 180"/>
                <a:gd name="T31" fmla="*/ 122 h 140"/>
                <a:gd name="T32" fmla="*/ 34 w 180"/>
                <a:gd name="T33" fmla="*/ 124 h 140"/>
                <a:gd name="T34" fmla="*/ 24 w 180"/>
                <a:gd name="T35" fmla="*/ 140 h 140"/>
                <a:gd name="T36" fmla="*/ 16 w 180"/>
                <a:gd name="T37" fmla="*/ 120 h 140"/>
                <a:gd name="T38" fmla="*/ 6 w 180"/>
                <a:gd name="T39" fmla="*/ 102 h 140"/>
                <a:gd name="T40" fmla="*/ 0 w 180"/>
                <a:gd name="T41" fmla="*/ 92 h 140"/>
                <a:gd name="T42" fmla="*/ 6 w 180"/>
                <a:gd name="T43" fmla="*/ 78 h 140"/>
                <a:gd name="T44" fmla="*/ 18 w 180"/>
                <a:gd name="T45" fmla="*/ 62 h 140"/>
                <a:gd name="T46" fmla="*/ 26 w 180"/>
                <a:gd name="T47" fmla="*/ 60 h 140"/>
                <a:gd name="T48" fmla="*/ 36 w 180"/>
                <a:gd name="T49" fmla="*/ 62 h 140"/>
                <a:gd name="T50" fmla="*/ 38 w 180"/>
                <a:gd name="T51" fmla="*/ 56 h 140"/>
                <a:gd name="T52" fmla="*/ 42 w 180"/>
                <a:gd name="T53" fmla="*/ 52 h 140"/>
                <a:gd name="T54" fmla="*/ 54 w 180"/>
                <a:gd name="T55" fmla="*/ 52 h 140"/>
                <a:gd name="T56" fmla="*/ 60 w 180"/>
                <a:gd name="T57" fmla="*/ 48 h 140"/>
                <a:gd name="T58" fmla="*/ 66 w 180"/>
                <a:gd name="T59" fmla="*/ 40 h 140"/>
                <a:gd name="T60" fmla="*/ 76 w 180"/>
                <a:gd name="T61" fmla="*/ 38 h 140"/>
                <a:gd name="T62" fmla="*/ 80 w 180"/>
                <a:gd name="T63" fmla="*/ 34 h 140"/>
                <a:gd name="T64" fmla="*/ 84 w 180"/>
                <a:gd name="T65" fmla="*/ 26 h 140"/>
                <a:gd name="T66" fmla="*/ 94 w 180"/>
                <a:gd name="T67" fmla="*/ 20 h 140"/>
                <a:gd name="T68" fmla="*/ 100 w 180"/>
                <a:gd name="T69" fmla="*/ 8 h 140"/>
                <a:gd name="T70" fmla="*/ 112 w 180"/>
                <a:gd name="T71" fmla="*/ 0 h 140"/>
                <a:gd name="T72" fmla="*/ 116 w 180"/>
                <a:gd name="T73" fmla="*/ 0 h 140"/>
                <a:gd name="T74" fmla="*/ 124 w 180"/>
                <a:gd name="T75" fmla="*/ 14 h 140"/>
                <a:gd name="T76" fmla="*/ 130 w 180"/>
                <a:gd name="T77" fmla="*/ 26 h 140"/>
                <a:gd name="T78" fmla="*/ 128 w 180"/>
                <a:gd name="T79" fmla="*/ 36 h 140"/>
                <a:gd name="T80" fmla="*/ 134 w 180"/>
                <a:gd name="T81" fmla="*/ 40 h 140"/>
                <a:gd name="T82" fmla="*/ 134 w 180"/>
                <a:gd name="T83" fmla="*/ 48 h 140"/>
                <a:gd name="T84" fmla="*/ 138 w 180"/>
                <a:gd name="T85" fmla="*/ 48 h 140"/>
                <a:gd name="T86" fmla="*/ 146 w 180"/>
                <a:gd name="T87" fmla="*/ 46 h 140"/>
                <a:gd name="T88" fmla="*/ 148 w 180"/>
                <a:gd name="T89" fmla="*/ 52 h 140"/>
                <a:gd name="T90" fmla="*/ 148 w 180"/>
                <a:gd name="T91" fmla="*/ 60 h 140"/>
                <a:gd name="T92" fmla="*/ 156 w 180"/>
                <a:gd name="T93" fmla="*/ 62 h 140"/>
                <a:gd name="T94" fmla="*/ 164 w 180"/>
                <a:gd name="T95" fmla="*/ 64 h 140"/>
                <a:gd name="T96" fmla="*/ 164 w 180"/>
                <a:gd name="T97" fmla="*/ 74 h 140"/>
                <a:gd name="T98" fmla="*/ 166 w 180"/>
                <a:gd name="T99" fmla="*/ 80 h 140"/>
                <a:gd name="T100" fmla="*/ 174 w 180"/>
                <a:gd name="T101" fmla="*/ 82 h 140"/>
                <a:gd name="T102" fmla="*/ 180 w 180"/>
                <a:gd name="T103" fmla="*/ 92 h 140"/>
                <a:gd name="T104" fmla="*/ 178 w 180"/>
                <a:gd name="T105"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140">
                  <a:moveTo>
                    <a:pt x="178" y="100"/>
                  </a:moveTo>
                  <a:lnTo>
                    <a:pt x="178" y="100"/>
                  </a:lnTo>
                  <a:lnTo>
                    <a:pt x="178" y="100"/>
                  </a:lnTo>
                  <a:lnTo>
                    <a:pt x="176" y="100"/>
                  </a:lnTo>
                  <a:lnTo>
                    <a:pt x="174" y="100"/>
                  </a:lnTo>
                  <a:lnTo>
                    <a:pt x="174" y="100"/>
                  </a:lnTo>
                  <a:lnTo>
                    <a:pt x="172" y="100"/>
                  </a:lnTo>
                  <a:lnTo>
                    <a:pt x="170" y="98"/>
                  </a:lnTo>
                  <a:lnTo>
                    <a:pt x="170" y="98"/>
                  </a:lnTo>
                  <a:lnTo>
                    <a:pt x="168" y="100"/>
                  </a:lnTo>
                  <a:lnTo>
                    <a:pt x="166" y="100"/>
                  </a:lnTo>
                  <a:lnTo>
                    <a:pt x="162" y="100"/>
                  </a:lnTo>
                  <a:lnTo>
                    <a:pt x="156" y="102"/>
                  </a:lnTo>
                  <a:lnTo>
                    <a:pt x="154" y="102"/>
                  </a:lnTo>
                  <a:lnTo>
                    <a:pt x="152" y="102"/>
                  </a:lnTo>
                  <a:lnTo>
                    <a:pt x="152" y="102"/>
                  </a:lnTo>
                  <a:lnTo>
                    <a:pt x="150" y="102"/>
                  </a:lnTo>
                  <a:lnTo>
                    <a:pt x="146" y="102"/>
                  </a:lnTo>
                  <a:lnTo>
                    <a:pt x="144" y="100"/>
                  </a:lnTo>
                  <a:lnTo>
                    <a:pt x="142" y="100"/>
                  </a:lnTo>
                  <a:lnTo>
                    <a:pt x="142" y="100"/>
                  </a:lnTo>
                  <a:lnTo>
                    <a:pt x="142" y="100"/>
                  </a:lnTo>
                  <a:lnTo>
                    <a:pt x="140" y="100"/>
                  </a:lnTo>
                  <a:lnTo>
                    <a:pt x="140" y="100"/>
                  </a:lnTo>
                  <a:lnTo>
                    <a:pt x="140" y="102"/>
                  </a:lnTo>
                  <a:lnTo>
                    <a:pt x="140" y="102"/>
                  </a:lnTo>
                  <a:lnTo>
                    <a:pt x="140" y="104"/>
                  </a:lnTo>
                  <a:lnTo>
                    <a:pt x="140" y="106"/>
                  </a:lnTo>
                  <a:lnTo>
                    <a:pt x="140" y="106"/>
                  </a:lnTo>
                  <a:lnTo>
                    <a:pt x="138" y="106"/>
                  </a:lnTo>
                  <a:lnTo>
                    <a:pt x="138" y="106"/>
                  </a:lnTo>
                  <a:lnTo>
                    <a:pt x="138" y="108"/>
                  </a:lnTo>
                  <a:lnTo>
                    <a:pt x="136" y="108"/>
                  </a:lnTo>
                  <a:lnTo>
                    <a:pt x="134" y="108"/>
                  </a:lnTo>
                  <a:lnTo>
                    <a:pt x="132" y="108"/>
                  </a:lnTo>
                  <a:lnTo>
                    <a:pt x="130" y="108"/>
                  </a:lnTo>
                  <a:lnTo>
                    <a:pt x="128" y="108"/>
                  </a:lnTo>
                  <a:lnTo>
                    <a:pt x="124" y="108"/>
                  </a:lnTo>
                  <a:lnTo>
                    <a:pt x="118" y="108"/>
                  </a:lnTo>
                  <a:lnTo>
                    <a:pt x="116" y="108"/>
                  </a:lnTo>
                  <a:lnTo>
                    <a:pt x="114" y="108"/>
                  </a:lnTo>
                  <a:lnTo>
                    <a:pt x="112" y="108"/>
                  </a:lnTo>
                  <a:lnTo>
                    <a:pt x="112" y="108"/>
                  </a:lnTo>
                  <a:lnTo>
                    <a:pt x="110" y="108"/>
                  </a:lnTo>
                  <a:lnTo>
                    <a:pt x="108" y="110"/>
                  </a:lnTo>
                  <a:lnTo>
                    <a:pt x="108" y="110"/>
                  </a:lnTo>
                  <a:lnTo>
                    <a:pt x="108" y="110"/>
                  </a:lnTo>
                  <a:lnTo>
                    <a:pt x="108" y="112"/>
                  </a:lnTo>
                  <a:lnTo>
                    <a:pt x="106" y="114"/>
                  </a:lnTo>
                  <a:lnTo>
                    <a:pt x="106" y="116"/>
                  </a:lnTo>
                  <a:lnTo>
                    <a:pt x="106" y="116"/>
                  </a:lnTo>
                  <a:lnTo>
                    <a:pt x="106" y="116"/>
                  </a:lnTo>
                  <a:lnTo>
                    <a:pt x="104" y="118"/>
                  </a:lnTo>
                  <a:lnTo>
                    <a:pt x="102" y="118"/>
                  </a:lnTo>
                  <a:lnTo>
                    <a:pt x="102" y="118"/>
                  </a:lnTo>
                  <a:lnTo>
                    <a:pt x="100" y="118"/>
                  </a:lnTo>
                  <a:lnTo>
                    <a:pt x="98" y="120"/>
                  </a:lnTo>
                  <a:lnTo>
                    <a:pt x="94" y="120"/>
                  </a:lnTo>
                  <a:lnTo>
                    <a:pt x="90" y="120"/>
                  </a:lnTo>
                  <a:lnTo>
                    <a:pt x="88" y="120"/>
                  </a:lnTo>
                  <a:lnTo>
                    <a:pt x="86" y="120"/>
                  </a:lnTo>
                  <a:lnTo>
                    <a:pt x="84" y="120"/>
                  </a:lnTo>
                  <a:lnTo>
                    <a:pt x="84" y="120"/>
                  </a:lnTo>
                  <a:lnTo>
                    <a:pt x="82" y="118"/>
                  </a:lnTo>
                  <a:lnTo>
                    <a:pt x="82" y="118"/>
                  </a:lnTo>
                  <a:lnTo>
                    <a:pt x="80" y="118"/>
                  </a:lnTo>
                  <a:lnTo>
                    <a:pt x="80" y="118"/>
                  </a:lnTo>
                  <a:lnTo>
                    <a:pt x="80" y="116"/>
                  </a:lnTo>
                  <a:lnTo>
                    <a:pt x="80" y="116"/>
                  </a:lnTo>
                  <a:lnTo>
                    <a:pt x="78" y="114"/>
                  </a:lnTo>
                  <a:lnTo>
                    <a:pt x="78" y="110"/>
                  </a:lnTo>
                  <a:lnTo>
                    <a:pt x="76" y="110"/>
                  </a:lnTo>
                  <a:lnTo>
                    <a:pt x="76" y="108"/>
                  </a:lnTo>
                  <a:lnTo>
                    <a:pt x="76" y="108"/>
                  </a:lnTo>
                  <a:lnTo>
                    <a:pt x="74" y="106"/>
                  </a:lnTo>
                  <a:lnTo>
                    <a:pt x="72" y="106"/>
                  </a:lnTo>
                  <a:lnTo>
                    <a:pt x="72" y="106"/>
                  </a:lnTo>
                  <a:lnTo>
                    <a:pt x="70" y="106"/>
                  </a:lnTo>
                  <a:lnTo>
                    <a:pt x="68" y="104"/>
                  </a:lnTo>
                  <a:lnTo>
                    <a:pt x="68" y="104"/>
                  </a:lnTo>
                  <a:lnTo>
                    <a:pt x="66" y="104"/>
                  </a:lnTo>
                  <a:lnTo>
                    <a:pt x="66" y="104"/>
                  </a:lnTo>
                  <a:lnTo>
                    <a:pt x="66" y="106"/>
                  </a:lnTo>
                  <a:lnTo>
                    <a:pt x="64" y="106"/>
                  </a:lnTo>
                  <a:lnTo>
                    <a:pt x="64" y="106"/>
                  </a:lnTo>
                  <a:lnTo>
                    <a:pt x="64" y="108"/>
                  </a:lnTo>
                  <a:lnTo>
                    <a:pt x="62" y="110"/>
                  </a:lnTo>
                  <a:lnTo>
                    <a:pt x="62" y="112"/>
                  </a:lnTo>
                  <a:lnTo>
                    <a:pt x="60" y="112"/>
                  </a:lnTo>
                  <a:lnTo>
                    <a:pt x="58" y="114"/>
                  </a:lnTo>
                  <a:lnTo>
                    <a:pt x="56" y="114"/>
                  </a:lnTo>
                  <a:lnTo>
                    <a:pt x="54" y="116"/>
                  </a:lnTo>
                  <a:lnTo>
                    <a:pt x="54" y="116"/>
                  </a:lnTo>
                  <a:lnTo>
                    <a:pt x="50" y="118"/>
                  </a:lnTo>
                  <a:lnTo>
                    <a:pt x="48" y="120"/>
                  </a:lnTo>
                  <a:lnTo>
                    <a:pt x="46" y="122"/>
                  </a:lnTo>
                  <a:lnTo>
                    <a:pt x="44" y="122"/>
                  </a:lnTo>
                  <a:lnTo>
                    <a:pt x="40" y="122"/>
                  </a:lnTo>
                  <a:lnTo>
                    <a:pt x="38" y="122"/>
                  </a:lnTo>
                  <a:lnTo>
                    <a:pt x="36" y="122"/>
                  </a:lnTo>
                  <a:lnTo>
                    <a:pt x="36" y="124"/>
                  </a:lnTo>
                  <a:lnTo>
                    <a:pt x="34" y="124"/>
                  </a:lnTo>
                  <a:lnTo>
                    <a:pt x="32" y="126"/>
                  </a:lnTo>
                  <a:lnTo>
                    <a:pt x="30" y="128"/>
                  </a:lnTo>
                  <a:lnTo>
                    <a:pt x="30" y="130"/>
                  </a:lnTo>
                  <a:lnTo>
                    <a:pt x="28" y="134"/>
                  </a:lnTo>
                  <a:lnTo>
                    <a:pt x="26" y="136"/>
                  </a:lnTo>
                  <a:lnTo>
                    <a:pt x="24" y="140"/>
                  </a:lnTo>
                  <a:lnTo>
                    <a:pt x="22" y="136"/>
                  </a:lnTo>
                  <a:lnTo>
                    <a:pt x="20" y="134"/>
                  </a:lnTo>
                  <a:lnTo>
                    <a:pt x="18" y="130"/>
                  </a:lnTo>
                  <a:lnTo>
                    <a:pt x="18" y="128"/>
                  </a:lnTo>
                  <a:lnTo>
                    <a:pt x="16" y="126"/>
                  </a:lnTo>
                  <a:lnTo>
                    <a:pt x="16" y="120"/>
                  </a:lnTo>
                  <a:lnTo>
                    <a:pt x="14" y="114"/>
                  </a:lnTo>
                  <a:lnTo>
                    <a:pt x="12" y="112"/>
                  </a:lnTo>
                  <a:lnTo>
                    <a:pt x="12" y="110"/>
                  </a:lnTo>
                  <a:lnTo>
                    <a:pt x="10" y="108"/>
                  </a:lnTo>
                  <a:lnTo>
                    <a:pt x="10" y="106"/>
                  </a:lnTo>
                  <a:lnTo>
                    <a:pt x="6" y="102"/>
                  </a:lnTo>
                  <a:lnTo>
                    <a:pt x="4" y="100"/>
                  </a:lnTo>
                  <a:lnTo>
                    <a:pt x="2" y="98"/>
                  </a:lnTo>
                  <a:lnTo>
                    <a:pt x="2" y="96"/>
                  </a:lnTo>
                  <a:lnTo>
                    <a:pt x="2" y="94"/>
                  </a:lnTo>
                  <a:lnTo>
                    <a:pt x="0" y="94"/>
                  </a:lnTo>
                  <a:lnTo>
                    <a:pt x="0" y="92"/>
                  </a:lnTo>
                  <a:lnTo>
                    <a:pt x="0" y="92"/>
                  </a:lnTo>
                  <a:lnTo>
                    <a:pt x="2" y="88"/>
                  </a:lnTo>
                  <a:lnTo>
                    <a:pt x="2" y="86"/>
                  </a:lnTo>
                  <a:lnTo>
                    <a:pt x="2" y="84"/>
                  </a:lnTo>
                  <a:lnTo>
                    <a:pt x="4" y="80"/>
                  </a:lnTo>
                  <a:lnTo>
                    <a:pt x="6" y="78"/>
                  </a:lnTo>
                  <a:lnTo>
                    <a:pt x="8" y="74"/>
                  </a:lnTo>
                  <a:lnTo>
                    <a:pt x="8" y="74"/>
                  </a:lnTo>
                  <a:lnTo>
                    <a:pt x="8" y="72"/>
                  </a:lnTo>
                  <a:lnTo>
                    <a:pt x="12" y="68"/>
                  </a:lnTo>
                  <a:lnTo>
                    <a:pt x="14" y="66"/>
                  </a:lnTo>
                  <a:lnTo>
                    <a:pt x="18" y="62"/>
                  </a:lnTo>
                  <a:lnTo>
                    <a:pt x="20" y="62"/>
                  </a:lnTo>
                  <a:lnTo>
                    <a:pt x="22" y="60"/>
                  </a:lnTo>
                  <a:lnTo>
                    <a:pt x="22" y="60"/>
                  </a:lnTo>
                  <a:lnTo>
                    <a:pt x="22" y="60"/>
                  </a:lnTo>
                  <a:lnTo>
                    <a:pt x="24" y="60"/>
                  </a:lnTo>
                  <a:lnTo>
                    <a:pt x="26" y="60"/>
                  </a:lnTo>
                  <a:lnTo>
                    <a:pt x="30" y="62"/>
                  </a:lnTo>
                  <a:lnTo>
                    <a:pt x="32" y="62"/>
                  </a:lnTo>
                  <a:lnTo>
                    <a:pt x="34" y="62"/>
                  </a:lnTo>
                  <a:lnTo>
                    <a:pt x="34" y="62"/>
                  </a:lnTo>
                  <a:lnTo>
                    <a:pt x="36" y="62"/>
                  </a:lnTo>
                  <a:lnTo>
                    <a:pt x="36" y="62"/>
                  </a:lnTo>
                  <a:lnTo>
                    <a:pt x="36" y="62"/>
                  </a:lnTo>
                  <a:lnTo>
                    <a:pt x="36" y="62"/>
                  </a:lnTo>
                  <a:lnTo>
                    <a:pt x="38" y="60"/>
                  </a:lnTo>
                  <a:lnTo>
                    <a:pt x="38" y="58"/>
                  </a:lnTo>
                  <a:lnTo>
                    <a:pt x="38" y="58"/>
                  </a:lnTo>
                  <a:lnTo>
                    <a:pt x="38" y="56"/>
                  </a:lnTo>
                  <a:lnTo>
                    <a:pt x="40" y="54"/>
                  </a:lnTo>
                  <a:lnTo>
                    <a:pt x="40" y="54"/>
                  </a:lnTo>
                  <a:lnTo>
                    <a:pt x="40" y="52"/>
                  </a:lnTo>
                  <a:lnTo>
                    <a:pt x="40" y="52"/>
                  </a:lnTo>
                  <a:lnTo>
                    <a:pt x="42" y="52"/>
                  </a:lnTo>
                  <a:lnTo>
                    <a:pt x="42" y="52"/>
                  </a:lnTo>
                  <a:lnTo>
                    <a:pt x="44" y="52"/>
                  </a:lnTo>
                  <a:lnTo>
                    <a:pt x="46" y="52"/>
                  </a:lnTo>
                  <a:lnTo>
                    <a:pt x="48" y="52"/>
                  </a:lnTo>
                  <a:lnTo>
                    <a:pt x="50" y="52"/>
                  </a:lnTo>
                  <a:lnTo>
                    <a:pt x="52" y="52"/>
                  </a:lnTo>
                  <a:lnTo>
                    <a:pt x="54" y="52"/>
                  </a:lnTo>
                  <a:lnTo>
                    <a:pt x="56" y="52"/>
                  </a:lnTo>
                  <a:lnTo>
                    <a:pt x="56" y="52"/>
                  </a:lnTo>
                  <a:lnTo>
                    <a:pt x="56" y="50"/>
                  </a:lnTo>
                  <a:lnTo>
                    <a:pt x="58" y="50"/>
                  </a:lnTo>
                  <a:lnTo>
                    <a:pt x="58" y="50"/>
                  </a:lnTo>
                  <a:lnTo>
                    <a:pt x="60" y="48"/>
                  </a:lnTo>
                  <a:lnTo>
                    <a:pt x="60" y="46"/>
                  </a:lnTo>
                  <a:lnTo>
                    <a:pt x="62" y="44"/>
                  </a:lnTo>
                  <a:lnTo>
                    <a:pt x="62" y="42"/>
                  </a:lnTo>
                  <a:lnTo>
                    <a:pt x="64" y="40"/>
                  </a:lnTo>
                  <a:lnTo>
                    <a:pt x="64" y="40"/>
                  </a:lnTo>
                  <a:lnTo>
                    <a:pt x="66" y="40"/>
                  </a:lnTo>
                  <a:lnTo>
                    <a:pt x="68" y="40"/>
                  </a:lnTo>
                  <a:lnTo>
                    <a:pt x="68" y="40"/>
                  </a:lnTo>
                  <a:lnTo>
                    <a:pt x="72" y="40"/>
                  </a:lnTo>
                  <a:lnTo>
                    <a:pt x="74" y="40"/>
                  </a:lnTo>
                  <a:lnTo>
                    <a:pt x="76" y="40"/>
                  </a:lnTo>
                  <a:lnTo>
                    <a:pt x="76" y="38"/>
                  </a:lnTo>
                  <a:lnTo>
                    <a:pt x="78" y="38"/>
                  </a:lnTo>
                  <a:lnTo>
                    <a:pt x="78" y="38"/>
                  </a:lnTo>
                  <a:lnTo>
                    <a:pt x="78" y="38"/>
                  </a:lnTo>
                  <a:lnTo>
                    <a:pt x="78" y="38"/>
                  </a:lnTo>
                  <a:lnTo>
                    <a:pt x="80" y="36"/>
                  </a:lnTo>
                  <a:lnTo>
                    <a:pt x="80" y="34"/>
                  </a:lnTo>
                  <a:lnTo>
                    <a:pt x="80" y="32"/>
                  </a:lnTo>
                  <a:lnTo>
                    <a:pt x="82" y="30"/>
                  </a:lnTo>
                  <a:lnTo>
                    <a:pt x="82" y="28"/>
                  </a:lnTo>
                  <a:lnTo>
                    <a:pt x="82" y="28"/>
                  </a:lnTo>
                  <a:lnTo>
                    <a:pt x="84" y="26"/>
                  </a:lnTo>
                  <a:lnTo>
                    <a:pt x="84" y="26"/>
                  </a:lnTo>
                  <a:lnTo>
                    <a:pt x="88" y="24"/>
                  </a:lnTo>
                  <a:lnTo>
                    <a:pt x="90" y="24"/>
                  </a:lnTo>
                  <a:lnTo>
                    <a:pt x="92" y="24"/>
                  </a:lnTo>
                  <a:lnTo>
                    <a:pt x="92" y="22"/>
                  </a:lnTo>
                  <a:lnTo>
                    <a:pt x="94" y="22"/>
                  </a:lnTo>
                  <a:lnTo>
                    <a:pt x="94" y="20"/>
                  </a:lnTo>
                  <a:lnTo>
                    <a:pt x="96" y="18"/>
                  </a:lnTo>
                  <a:lnTo>
                    <a:pt x="96" y="18"/>
                  </a:lnTo>
                  <a:lnTo>
                    <a:pt x="98" y="14"/>
                  </a:lnTo>
                  <a:lnTo>
                    <a:pt x="98" y="12"/>
                  </a:lnTo>
                  <a:lnTo>
                    <a:pt x="98" y="10"/>
                  </a:lnTo>
                  <a:lnTo>
                    <a:pt x="100" y="8"/>
                  </a:lnTo>
                  <a:lnTo>
                    <a:pt x="104" y="6"/>
                  </a:lnTo>
                  <a:lnTo>
                    <a:pt x="106" y="4"/>
                  </a:lnTo>
                  <a:lnTo>
                    <a:pt x="108" y="2"/>
                  </a:lnTo>
                  <a:lnTo>
                    <a:pt x="108" y="2"/>
                  </a:lnTo>
                  <a:lnTo>
                    <a:pt x="110" y="2"/>
                  </a:lnTo>
                  <a:lnTo>
                    <a:pt x="112" y="0"/>
                  </a:lnTo>
                  <a:lnTo>
                    <a:pt x="112" y="0"/>
                  </a:lnTo>
                  <a:lnTo>
                    <a:pt x="114" y="0"/>
                  </a:lnTo>
                  <a:lnTo>
                    <a:pt x="114" y="0"/>
                  </a:lnTo>
                  <a:lnTo>
                    <a:pt x="116" y="0"/>
                  </a:lnTo>
                  <a:lnTo>
                    <a:pt x="116" y="0"/>
                  </a:lnTo>
                  <a:lnTo>
                    <a:pt x="116" y="0"/>
                  </a:lnTo>
                  <a:lnTo>
                    <a:pt x="118" y="2"/>
                  </a:lnTo>
                  <a:lnTo>
                    <a:pt x="118" y="2"/>
                  </a:lnTo>
                  <a:lnTo>
                    <a:pt x="120" y="4"/>
                  </a:lnTo>
                  <a:lnTo>
                    <a:pt x="120" y="8"/>
                  </a:lnTo>
                  <a:lnTo>
                    <a:pt x="122" y="10"/>
                  </a:lnTo>
                  <a:lnTo>
                    <a:pt x="124" y="14"/>
                  </a:lnTo>
                  <a:lnTo>
                    <a:pt x="126" y="18"/>
                  </a:lnTo>
                  <a:lnTo>
                    <a:pt x="128" y="20"/>
                  </a:lnTo>
                  <a:lnTo>
                    <a:pt x="128" y="22"/>
                  </a:lnTo>
                  <a:lnTo>
                    <a:pt x="128" y="24"/>
                  </a:lnTo>
                  <a:lnTo>
                    <a:pt x="130" y="24"/>
                  </a:lnTo>
                  <a:lnTo>
                    <a:pt x="130" y="26"/>
                  </a:lnTo>
                  <a:lnTo>
                    <a:pt x="128" y="28"/>
                  </a:lnTo>
                  <a:lnTo>
                    <a:pt x="128" y="32"/>
                  </a:lnTo>
                  <a:lnTo>
                    <a:pt x="128" y="32"/>
                  </a:lnTo>
                  <a:lnTo>
                    <a:pt x="128" y="34"/>
                  </a:lnTo>
                  <a:lnTo>
                    <a:pt x="128" y="36"/>
                  </a:lnTo>
                  <a:lnTo>
                    <a:pt x="128" y="36"/>
                  </a:lnTo>
                  <a:lnTo>
                    <a:pt x="128" y="38"/>
                  </a:lnTo>
                  <a:lnTo>
                    <a:pt x="128" y="38"/>
                  </a:lnTo>
                  <a:lnTo>
                    <a:pt x="130" y="38"/>
                  </a:lnTo>
                  <a:lnTo>
                    <a:pt x="130" y="40"/>
                  </a:lnTo>
                  <a:lnTo>
                    <a:pt x="132" y="40"/>
                  </a:lnTo>
                  <a:lnTo>
                    <a:pt x="134" y="40"/>
                  </a:lnTo>
                  <a:lnTo>
                    <a:pt x="134" y="40"/>
                  </a:lnTo>
                  <a:lnTo>
                    <a:pt x="134" y="42"/>
                  </a:lnTo>
                  <a:lnTo>
                    <a:pt x="134" y="42"/>
                  </a:lnTo>
                  <a:lnTo>
                    <a:pt x="134" y="44"/>
                  </a:lnTo>
                  <a:lnTo>
                    <a:pt x="134" y="46"/>
                  </a:lnTo>
                  <a:lnTo>
                    <a:pt x="134" y="48"/>
                  </a:lnTo>
                  <a:lnTo>
                    <a:pt x="134" y="48"/>
                  </a:lnTo>
                  <a:lnTo>
                    <a:pt x="136" y="48"/>
                  </a:lnTo>
                  <a:lnTo>
                    <a:pt x="136" y="48"/>
                  </a:lnTo>
                  <a:lnTo>
                    <a:pt x="136" y="48"/>
                  </a:lnTo>
                  <a:lnTo>
                    <a:pt x="136" y="48"/>
                  </a:lnTo>
                  <a:lnTo>
                    <a:pt x="138" y="48"/>
                  </a:lnTo>
                  <a:lnTo>
                    <a:pt x="140" y="48"/>
                  </a:lnTo>
                  <a:lnTo>
                    <a:pt x="140" y="48"/>
                  </a:lnTo>
                  <a:lnTo>
                    <a:pt x="142" y="48"/>
                  </a:lnTo>
                  <a:lnTo>
                    <a:pt x="144" y="46"/>
                  </a:lnTo>
                  <a:lnTo>
                    <a:pt x="144" y="46"/>
                  </a:lnTo>
                  <a:lnTo>
                    <a:pt x="146" y="46"/>
                  </a:lnTo>
                  <a:lnTo>
                    <a:pt x="146" y="46"/>
                  </a:lnTo>
                  <a:lnTo>
                    <a:pt x="146" y="48"/>
                  </a:lnTo>
                  <a:lnTo>
                    <a:pt x="146" y="48"/>
                  </a:lnTo>
                  <a:lnTo>
                    <a:pt x="146" y="48"/>
                  </a:lnTo>
                  <a:lnTo>
                    <a:pt x="148" y="50"/>
                  </a:lnTo>
                  <a:lnTo>
                    <a:pt x="148" y="52"/>
                  </a:lnTo>
                  <a:lnTo>
                    <a:pt x="148" y="54"/>
                  </a:lnTo>
                  <a:lnTo>
                    <a:pt x="148" y="56"/>
                  </a:lnTo>
                  <a:lnTo>
                    <a:pt x="148" y="58"/>
                  </a:lnTo>
                  <a:lnTo>
                    <a:pt x="148" y="58"/>
                  </a:lnTo>
                  <a:lnTo>
                    <a:pt x="148" y="60"/>
                  </a:lnTo>
                  <a:lnTo>
                    <a:pt x="148" y="60"/>
                  </a:lnTo>
                  <a:lnTo>
                    <a:pt x="150" y="60"/>
                  </a:lnTo>
                  <a:lnTo>
                    <a:pt x="150" y="60"/>
                  </a:lnTo>
                  <a:lnTo>
                    <a:pt x="150" y="62"/>
                  </a:lnTo>
                  <a:lnTo>
                    <a:pt x="152" y="62"/>
                  </a:lnTo>
                  <a:lnTo>
                    <a:pt x="154" y="62"/>
                  </a:lnTo>
                  <a:lnTo>
                    <a:pt x="156" y="62"/>
                  </a:lnTo>
                  <a:lnTo>
                    <a:pt x="158" y="62"/>
                  </a:lnTo>
                  <a:lnTo>
                    <a:pt x="160" y="62"/>
                  </a:lnTo>
                  <a:lnTo>
                    <a:pt x="162" y="62"/>
                  </a:lnTo>
                  <a:lnTo>
                    <a:pt x="162" y="62"/>
                  </a:lnTo>
                  <a:lnTo>
                    <a:pt x="162" y="64"/>
                  </a:lnTo>
                  <a:lnTo>
                    <a:pt x="164" y="64"/>
                  </a:lnTo>
                  <a:lnTo>
                    <a:pt x="164" y="64"/>
                  </a:lnTo>
                  <a:lnTo>
                    <a:pt x="164" y="66"/>
                  </a:lnTo>
                  <a:lnTo>
                    <a:pt x="164" y="66"/>
                  </a:lnTo>
                  <a:lnTo>
                    <a:pt x="164" y="68"/>
                  </a:lnTo>
                  <a:lnTo>
                    <a:pt x="164" y="72"/>
                  </a:lnTo>
                  <a:lnTo>
                    <a:pt x="164" y="74"/>
                  </a:lnTo>
                  <a:lnTo>
                    <a:pt x="164" y="76"/>
                  </a:lnTo>
                  <a:lnTo>
                    <a:pt x="164" y="76"/>
                  </a:lnTo>
                  <a:lnTo>
                    <a:pt x="164" y="78"/>
                  </a:lnTo>
                  <a:lnTo>
                    <a:pt x="164" y="78"/>
                  </a:lnTo>
                  <a:lnTo>
                    <a:pt x="166" y="80"/>
                  </a:lnTo>
                  <a:lnTo>
                    <a:pt x="166" y="80"/>
                  </a:lnTo>
                  <a:lnTo>
                    <a:pt x="166" y="80"/>
                  </a:lnTo>
                  <a:lnTo>
                    <a:pt x="168" y="80"/>
                  </a:lnTo>
                  <a:lnTo>
                    <a:pt x="170" y="80"/>
                  </a:lnTo>
                  <a:lnTo>
                    <a:pt x="172" y="82"/>
                  </a:lnTo>
                  <a:lnTo>
                    <a:pt x="172" y="82"/>
                  </a:lnTo>
                  <a:lnTo>
                    <a:pt x="174" y="82"/>
                  </a:lnTo>
                  <a:lnTo>
                    <a:pt x="174" y="84"/>
                  </a:lnTo>
                  <a:lnTo>
                    <a:pt x="174" y="84"/>
                  </a:lnTo>
                  <a:lnTo>
                    <a:pt x="176" y="86"/>
                  </a:lnTo>
                  <a:lnTo>
                    <a:pt x="178" y="88"/>
                  </a:lnTo>
                  <a:lnTo>
                    <a:pt x="178" y="90"/>
                  </a:lnTo>
                  <a:lnTo>
                    <a:pt x="180" y="92"/>
                  </a:lnTo>
                  <a:lnTo>
                    <a:pt x="180" y="92"/>
                  </a:lnTo>
                  <a:lnTo>
                    <a:pt x="180" y="92"/>
                  </a:lnTo>
                  <a:lnTo>
                    <a:pt x="180" y="94"/>
                  </a:lnTo>
                  <a:lnTo>
                    <a:pt x="180" y="96"/>
                  </a:lnTo>
                  <a:lnTo>
                    <a:pt x="180" y="98"/>
                  </a:lnTo>
                  <a:lnTo>
                    <a:pt x="178" y="98"/>
                  </a:lnTo>
                  <a:lnTo>
                    <a:pt x="178" y="98"/>
                  </a:lnTo>
                  <a:lnTo>
                    <a:pt x="178" y="10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1" name="Freeform 378"/>
            <p:cNvSpPr>
              <a:spLocks/>
            </p:cNvSpPr>
            <p:nvPr/>
          </p:nvSpPr>
          <p:spPr bwMode="auto">
            <a:xfrm>
              <a:off x="4882366" y="3717819"/>
              <a:ext cx="266740" cy="315238"/>
            </a:xfrm>
            <a:custGeom>
              <a:avLst/>
              <a:gdLst>
                <a:gd name="T0" fmla="*/ 4 w 154"/>
                <a:gd name="T1" fmla="*/ 180 h 182"/>
                <a:gd name="T2" fmla="*/ 14 w 154"/>
                <a:gd name="T3" fmla="*/ 172 h 182"/>
                <a:gd name="T4" fmla="*/ 20 w 154"/>
                <a:gd name="T5" fmla="*/ 168 h 182"/>
                <a:gd name="T6" fmla="*/ 36 w 154"/>
                <a:gd name="T7" fmla="*/ 166 h 182"/>
                <a:gd name="T8" fmla="*/ 54 w 154"/>
                <a:gd name="T9" fmla="*/ 164 h 182"/>
                <a:gd name="T10" fmla="*/ 74 w 154"/>
                <a:gd name="T11" fmla="*/ 162 h 182"/>
                <a:gd name="T12" fmla="*/ 94 w 154"/>
                <a:gd name="T13" fmla="*/ 164 h 182"/>
                <a:gd name="T14" fmla="*/ 110 w 154"/>
                <a:gd name="T15" fmla="*/ 168 h 182"/>
                <a:gd name="T16" fmla="*/ 116 w 154"/>
                <a:gd name="T17" fmla="*/ 168 h 182"/>
                <a:gd name="T18" fmla="*/ 118 w 154"/>
                <a:gd name="T19" fmla="*/ 172 h 182"/>
                <a:gd name="T20" fmla="*/ 122 w 154"/>
                <a:gd name="T21" fmla="*/ 176 h 182"/>
                <a:gd name="T22" fmla="*/ 124 w 154"/>
                <a:gd name="T23" fmla="*/ 176 h 182"/>
                <a:gd name="T24" fmla="*/ 128 w 154"/>
                <a:gd name="T25" fmla="*/ 174 h 182"/>
                <a:gd name="T26" fmla="*/ 134 w 154"/>
                <a:gd name="T27" fmla="*/ 170 h 182"/>
                <a:gd name="T28" fmla="*/ 146 w 154"/>
                <a:gd name="T29" fmla="*/ 160 h 182"/>
                <a:gd name="T30" fmla="*/ 148 w 154"/>
                <a:gd name="T31" fmla="*/ 148 h 182"/>
                <a:gd name="T32" fmla="*/ 148 w 154"/>
                <a:gd name="T33" fmla="*/ 140 h 182"/>
                <a:gd name="T34" fmla="*/ 148 w 154"/>
                <a:gd name="T35" fmla="*/ 136 h 182"/>
                <a:gd name="T36" fmla="*/ 152 w 154"/>
                <a:gd name="T37" fmla="*/ 134 h 182"/>
                <a:gd name="T38" fmla="*/ 154 w 154"/>
                <a:gd name="T39" fmla="*/ 132 h 182"/>
                <a:gd name="T40" fmla="*/ 154 w 154"/>
                <a:gd name="T41" fmla="*/ 128 h 182"/>
                <a:gd name="T42" fmla="*/ 152 w 154"/>
                <a:gd name="T43" fmla="*/ 122 h 182"/>
                <a:gd name="T44" fmla="*/ 148 w 154"/>
                <a:gd name="T45" fmla="*/ 116 h 182"/>
                <a:gd name="T46" fmla="*/ 140 w 154"/>
                <a:gd name="T47" fmla="*/ 104 h 182"/>
                <a:gd name="T48" fmla="*/ 126 w 154"/>
                <a:gd name="T49" fmla="*/ 86 h 182"/>
                <a:gd name="T50" fmla="*/ 120 w 154"/>
                <a:gd name="T51" fmla="*/ 78 h 182"/>
                <a:gd name="T52" fmla="*/ 110 w 154"/>
                <a:gd name="T53" fmla="*/ 62 h 182"/>
                <a:gd name="T54" fmla="*/ 104 w 154"/>
                <a:gd name="T55" fmla="*/ 50 h 182"/>
                <a:gd name="T56" fmla="*/ 100 w 154"/>
                <a:gd name="T57" fmla="*/ 46 h 182"/>
                <a:gd name="T58" fmla="*/ 100 w 154"/>
                <a:gd name="T59" fmla="*/ 36 h 182"/>
                <a:gd name="T60" fmla="*/ 100 w 154"/>
                <a:gd name="T61" fmla="*/ 32 h 182"/>
                <a:gd name="T62" fmla="*/ 100 w 154"/>
                <a:gd name="T63" fmla="*/ 30 h 182"/>
                <a:gd name="T64" fmla="*/ 102 w 154"/>
                <a:gd name="T65" fmla="*/ 30 h 182"/>
                <a:gd name="T66" fmla="*/ 104 w 154"/>
                <a:gd name="T67" fmla="*/ 32 h 182"/>
                <a:gd name="T68" fmla="*/ 108 w 154"/>
                <a:gd name="T69" fmla="*/ 40 h 182"/>
                <a:gd name="T70" fmla="*/ 112 w 154"/>
                <a:gd name="T71" fmla="*/ 44 h 182"/>
                <a:gd name="T72" fmla="*/ 118 w 154"/>
                <a:gd name="T73" fmla="*/ 54 h 182"/>
                <a:gd name="T74" fmla="*/ 122 w 154"/>
                <a:gd name="T75" fmla="*/ 58 h 182"/>
                <a:gd name="T76" fmla="*/ 126 w 154"/>
                <a:gd name="T77" fmla="*/ 60 h 182"/>
                <a:gd name="T78" fmla="*/ 128 w 154"/>
                <a:gd name="T79" fmla="*/ 60 h 182"/>
                <a:gd name="T80" fmla="*/ 132 w 154"/>
                <a:gd name="T81" fmla="*/ 56 h 182"/>
                <a:gd name="T82" fmla="*/ 134 w 154"/>
                <a:gd name="T83" fmla="*/ 48 h 182"/>
                <a:gd name="T84" fmla="*/ 120 w 154"/>
                <a:gd name="T85" fmla="*/ 6 h 182"/>
                <a:gd name="T86" fmla="*/ 100 w 154"/>
                <a:gd name="T87" fmla="*/ 4 h 182"/>
                <a:gd name="T88" fmla="*/ 88 w 154"/>
                <a:gd name="T89" fmla="*/ 2 h 182"/>
                <a:gd name="T90" fmla="*/ 76 w 154"/>
                <a:gd name="T91" fmla="*/ 0 h 182"/>
                <a:gd name="T92" fmla="*/ 70 w 154"/>
                <a:gd name="T93" fmla="*/ 0 h 182"/>
                <a:gd name="T94" fmla="*/ 66 w 154"/>
                <a:gd name="T95" fmla="*/ 0 h 182"/>
                <a:gd name="T96" fmla="*/ 64 w 154"/>
                <a:gd name="T97" fmla="*/ 2 h 182"/>
                <a:gd name="T98" fmla="*/ 62 w 154"/>
                <a:gd name="T99" fmla="*/ 8 h 182"/>
                <a:gd name="T100" fmla="*/ 62 w 154"/>
                <a:gd name="T101" fmla="*/ 16 h 182"/>
                <a:gd name="T102" fmla="*/ 60 w 154"/>
                <a:gd name="T103" fmla="*/ 18 h 182"/>
                <a:gd name="T104" fmla="*/ 58 w 154"/>
                <a:gd name="T105" fmla="*/ 18 h 182"/>
                <a:gd name="T106" fmla="*/ 54 w 154"/>
                <a:gd name="T107" fmla="*/ 18 h 182"/>
                <a:gd name="T108" fmla="*/ 48 w 154"/>
                <a:gd name="T109" fmla="*/ 12 h 182"/>
                <a:gd name="T110" fmla="*/ 44 w 154"/>
                <a:gd name="T111" fmla="*/ 6 h 182"/>
                <a:gd name="T112" fmla="*/ 40 w 154"/>
                <a:gd name="T113" fmla="*/ 2 h 182"/>
                <a:gd name="T114" fmla="*/ 36 w 154"/>
                <a:gd name="T115" fmla="*/ 2 h 182"/>
                <a:gd name="T116" fmla="*/ 26 w 154"/>
                <a:gd name="T117" fmla="*/ 2 h 182"/>
                <a:gd name="T118" fmla="*/ 10 w 154"/>
                <a:gd name="T119" fmla="*/ 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2">
                  <a:moveTo>
                    <a:pt x="0" y="4"/>
                  </a:moveTo>
                  <a:lnTo>
                    <a:pt x="0" y="182"/>
                  </a:lnTo>
                  <a:lnTo>
                    <a:pt x="4" y="180"/>
                  </a:lnTo>
                  <a:lnTo>
                    <a:pt x="10" y="176"/>
                  </a:lnTo>
                  <a:lnTo>
                    <a:pt x="12" y="174"/>
                  </a:lnTo>
                  <a:lnTo>
                    <a:pt x="14" y="172"/>
                  </a:lnTo>
                  <a:lnTo>
                    <a:pt x="18" y="170"/>
                  </a:lnTo>
                  <a:lnTo>
                    <a:pt x="20" y="168"/>
                  </a:lnTo>
                  <a:lnTo>
                    <a:pt x="20" y="168"/>
                  </a:lnTo>
                  <a:lnTo>
                    <a:pt x="26" y="168"/>
                  </a:lnTo>
                  <a:lnTo>
                    <a:pt x="30" y="166"/>
                  </a:lnTo>
                  <a:lnTo>
                    <a:pt x="36" y="166"/>
                  </a:lnTo>
                  <a:lnTo>
                    <a:pt x="42" y="164"/>
                  </a:lnTo>
                  <a:lnTo>
                    <a:pt x="48" y="164"/>
                  </a:lnTo>
                  <a:lnTo>
                    <a:pt x="54" y="164"/>
                  </a:lnTo>
                  <a:lnTo>
                    <a:pt x="62" y="164"/>
                  </a:lnTo>
                  <a:lnTo>
                    <a:pt x="68" y="162"/>
                  </a:lnTo>
                  <a:lnTo>
                    <a:pt x="74" y="162"/>
                  </a:lnTo>
                  <a:lnTo>
                    <a:pt x="82" y="164"/>
                  </a:lnTo>
                  <a:lnTo>
                    <a:pt x="88" y="164"/>
                  </a:lnTo>
                  <a:lnTo>
                    <a:pt x="94" y="164"/>
                  </a:lnTo>
                  <a:lnTo>
                    <a:pt x="100" y="164"/>
                  </a:lnTo>
                  <a:lnTo>
                    <a:pt x="106" y="166"/>
                  </a:lnTo>
                  <a:lnTo>
                    <a:pt x="110" y="168"/>
                  </a:lnTo>
                  <a:lnTo>
                    <a:pt x="112" y="168"/>
                  </a:lnTo>
                  <a:lnTo>
                    <a:pt x="114" y="168"/>
                  </a:lnTo>
                  <a:lnTo>
                    <a:pt x="116" y="168"/>
                  </a:lnTo>
                  <a:lnTo>
                    <a:pt x="116" y="170"/>
                  </a:lnTo>
                  <a:lnTo>
                    <a:pt x="116" y="170"/>
                  </a:lnTo>
                  <a:lnTo>
                    <a:pt x="118" y="172"/>
                  </a:lnTo>
                  <a:lnTo>
                    <a:pt x="120" y="174"/>
                  </a:lnTo>
                  <a:lnTo>
                    <a:pt x="122" y="174"/>
                  </a:lnTo>
                  <a:lnTo>
                    <a:pt x="122" y="176"/>
                  </a:lnTo>
                  <a:lnTo>
                    <a:pt x="122" y="176"/>
                  </a:lnTo>
                  <a:lnTo>
                    <a:pt x="124" y="176"/>
                  </a:lnTo>
                  <a:lnTo>
                    <a:pt x="124" y="176"/>
                  </a:lnTo>
                  <a:lnTo>
                    <a:pt x="124" y="176"/>
                  </a:lnTo>
                  <a:lnTo>
                    <a:pt x="126" y="176"/>
                  </a:lnTo>
                  <a:lnTo>
                    <a:pt x="128" y="174"/>
                  </a:lnTo>
                  <a:lnTo>
                    <a:pt x="130" y="174"/>
                  </a:lnTo>
                  <a:lnTo>
                    <a:pt x="132" y="172"/>
                  </a:lnTo>
                  <a:lnTo>
                    <a:pt x="134" y="170"/>
                  </a:lnTo>
                  <a:lnTo>
                    <a:pt x="138" y="166"/>
                  </a:lnTo>
                  <a:lnTo>
                    <a:pt x="142" y="162"/>
                  </a:lnTo>
                  <a:lnTo>
                    <a:pt x="146" y="160"/>
                  </a:lnTo>
                  <a:lnTo>
                    <a:pt x="148" y="156"/>
                  </a:lnTo>
                  <a:lnTo>
                    <a:pt x="148" y="154"/>
                  </a:lnTo>
                  <a:lnTo>
                    <a:pt x="148" y="148"/>
                  </a:lnTo>
                  <a:lnTo>
                    <a:pt x="148" y="144"/>
                  </a:lnTo>
                  <a:lnTo>
                    <a:pt x="148" y="140"/>
                  </a:lnTo>
                  <a:lnTo>
                    <a:pt x="148" y="140"/>
                  </a:lnTo>
                  <a:lnTo>
                    <a:pt x="148" y="138"/>
                  </a:lnTo>
                  <a:lnTo>
                    <a:pt x="148" y="136"/>
                  </a:lnTo>
                  <a:lnTo>
                    <a:pt x="148" y="136"/>
                  </a:lnTo>
                  <a:lnTo>
                    <a:pt x="148" y="136"/>
                  </a:lnTo>
                  <a:lnTo>
                    <a:pt x="150" y="134"/>
                  </a:lnTo>
                  <a:lnTo>
                    <a:pt x="152" y="134"/>
                  </a:lnTo>
                  <a:lnTo>
                    <a:pt x="152" y="132"/>
                  </a:lnTo>
                  <a:lnTo>
                    <a:pt x="154" y="132"/>
                  </a:lnTo>
                  <a:lnTo>
                    <a:pt x="154" y="132"/>
                  </a:lnTo>
                  <a:lnTo>
                    <a:pt x="154" y="130"/>
                  </a:lnTo>
                  <a:lnTo>
                    <a:pt x="154" y="128"/>
                  </a:lnTo>
                  <a:lnTo>
                    <a:pt x="154" y="128"/>
                  </a:lnTo>
                  <a:lnTo>
                    <a:pt x="154" y="126"/>
                  </a:lnTo>
                  <a:lnTo>
                    <a:pt x="152" y="124"/>
                  </a:lnTo>
                  <a:lnTo>
                    <a:pt x="152" y="122"/>
                  </a:lnTo>
                  <a:lnTo>
                    <a:pt x="152" y="120"/>
                  </a:lnTo>
                  <a:lnTo>
                    <a:pt x="150" y="118"/>
                  </a:lnTo>
                  <a:lnTo>
                    <a:pt x="148" y="116"/>
                  </a:lnTo>
                  <a:lnTo>
                    <a:pt x="146" y="112"/>
                  </a:lnTo>
                  <a:lnTo>
                    <a:pt x="144" y="108"/>
                  </a:lnTo>
                  <a:lnTo>
                    <a:pt x="140" y="104"/>
                  </a:lnTo>
                  <a:lnTo>
                    <a:pt x="134" y="96"/>
                  </a:lnTo>
                  <a:lnTo>
                    <a:pt x="128" y="90"/>
                  </a:lnTo>
                  <a:lnTo>
                    <a:pt x="126" y="86"/>
                  </a:lnTo>
                  <a:lnTo>
                    <a:pt x="124" y="84"/>
                  </a:lnTo>
                  <a:lnTo>
                    <a:pt x="122" y="80"/>
                  </a:lnTo>
                  <a:lnTo>
                    <a:pt x="120" y="78"/>
                  </a:lnTo>
                  <a:lnTo>
                    <a:pt x="118" y="74"/>
                  </a:lnTo>
                  <a:lnTo>
                    <a:pt x="116" y="70"/>
                  </a:lnTo>
                  <a:lnTo>
                    <a:pt x="110" y="62"/>
                  </a:lnTo>
                  <a:lnTo>
                    <a:pt x="106" y="58"/>
                  </a:lnTo>
                  <a:lnTo>
                    <a:pt x="104" y="52"/>
                  </a:lnTo>
                  <a:lnTo>
                    <a:pt x="104" y="50"/>
                  </a:lnTo>
                  <a:lnTo>
                    <a:pt x="102" y="48"/>
                  </a:lnTo>
                  <a:lnTo>
                    <a:pt x="102" y="46"/>
                  </a:lnTo>
                  <a:lnTo>
                    <a:pt x="100" y="46"/>
                  </a:lnTo>
                  <a:lnTo>
                    <a:pt x="100" y="42"/>
                  </a:lnTo>
                  <a:lnTo>
                    <a:pt x="100" y="38"/>
                  </a:lnTo>
                  <a:lnTo>
                    <a:pt x="100" y="36"/>
                  </a:lnTo>
                  <a:lnTo>
                    <a:pt x="100" y="34"/>
                  </a:lnTo>
                  <a:lnTo>
                    <a:pt x="100" y="34"/>
                  </a:lnTo>
                  <a:lnTo>
                    <a:pt x="100" y="32"/>
                  </a:lnTo>
                  <a:lnTo>
                    <a:pt x="100" y="32"/>
                  </a:lnTo>
                  <a:lnTo>
                    <a:pt x="100" y="30"/>
                  </a:lnTo>
                  <a:lnTo>
                    <a:pt x="100" y="30"/>
                  </a:lnTo>
                  <a:lnTo>
                    <a:pt x="100" y="30"/>
                  </a:lnTo>
                  <a:lnTo>
                    <a:pt x="102" y="30"/>
                  </a:lnTo>
                  <a:lnTo>
                    <a:pt x="102" y="30"/>
                  </a:lnTo>
                  <a:lnTo>
                    <a:pt x="104" y="30"/>
                  </a:lnTo>
                  <a:lnTo>
                    <a:pt x="104" y="30"/>
                  </a:lnTo>
                  <a:lnTo>
                    <a:pt x="104" y="32"/>
                  </a:lnTo>
                  <a:lnTo>
                    <a:pt x="104" y="32"/>
                  </a:lnTo>
                  <a:lnTo>
                    <a:pt x="106" y="34"/>
                  </a:lnTo>
                  <a:lnTo>
                    <a:pt x="108" y="40"/>
                  </a:lnTo>
                  <a:lnTo>
                    <a:pt x="110" y="42"/>
                  </a:lnTo>
                  <a:lnTo>
                    <a:pt x="110" y="42"/>
                  </a:lnTo>
                  <a:lnTo>
                    <a:pt x="112" y="44"/>
                  </a:lnTo>
                  <a:lnTo>
                    <a:pt x="114" y="48"/>
                  </a:lnTo>
                  <a:lnTo>
                    <a:pt x="116" y="50"/>
                  </a:lnTo>
                  <a:lnTo>
                    <a:pt x="118" y="54"/>
                  </a:lnTo>
                  <a:lnTo>
                    <a:pt x="120" y="56"/>
                  </a:lnTo>
                  <a:lnTo>
                    <a:pt x="122" y="58"/>
                  </a:lnTo>
                  <a:lnTo>
                    <a:pt x="122" y="58"/>
                  </a:lnTo>
                  <a:lnTo>
                    <a:pt x="124" y="60"/>
                  </a:lnTo>
                  <a:lnTo>
                    <a:pt x="124" y="60"/>
                  </a:lnTo>
                  <a:lnTo>
                    <a:pt x="126" y="60"/>
                  </a:lnTo>
                  <a:lnTo>
                    <a:pt x="128" y="60"/>
                  </a:lnTo>
                  <a:lnTo>
                    <a:pt x="128" y="60"/>
                  </a:lnTo>
                  <a:lnTo>
                    <a:pt x="128" y="60"/>
                  </a:lnTo>
                  <a:lnTo>
                    <a:pt x="130" y="58"/>
                  </a:lnTo>
                  <a:lnTo>
                    <a:pt x="130" y="58"/>
                  </a:lnTo>
                  <a:lnTo>
                    <a:pt x="132" y="56"/>
                  </a:lnTo>
                  <a:lnTo>
                    <a:pt x="132" y="52"/>
                  </a:lnTo>
                  <a:lnTo>
                    <a:pt x="134" y="50"/>
                  </a:lnTo>
                  <a:lnTo>
                    <a:pt x="134" y="48"/>
                  </a:lnTo>
                  <a:lnTo>
                    <a:pt x="134" y="46"/>
                  </a:lnTo>
                  <a:lnTo>
                    <a:pt x="134" y="28"/>
                  </a:lnTo>
                  <a:lnTo>
                    <a:pt x="120" y="6"/>
                  </a:lnTo>
                  <a:lnTo>
                    <a:pt x="112" y="6"/>
                  </a:lnTo>
                  <a:lnTo>
                    <a:pt x="100" y="4"/>
                  </a:lnTo>
                  <a:lnTo>
                    <a:pt x="100" y="4"/>
                  </a:lnTo>
                  <a:lnTo>
                    <a:pt x="96" y="4"/>
                  </a:lnTo>
                  <a:lnTo>
                    <a:pt x="92" y="4"/>
                  </a:lnTo>
                  <a:lnTo>
                    <a:pt x="88" y="2"/>
                  </a:lnTo>
                  <a:lnTo>
                    <a:pt x="82" y="0"/>
                  </a:lnTo>
                  <a:lnTo>
                    <a:pt x="80" y="0"/>
                  </a:lnTo>
                  <a:lnTo>
                    <a:pt x="76" y="0"/>
                  </a:lnTo>
                  <a:lnTo>
                    <a:pt x="74" y="0"/>
                  </a:lnTo>
                  <a:lnTo>
                    <a:pt x="72" y="0"/>
                  </a:lnTo>
                  <a:lnTo>
                    <a:pt x="70" y="0"/>
                  </a:lnTo>
                  <a:lnTo>
                    <a:pt x="68" y="0"/>
                  </a:lnTo>
                  <a:lnTo>
                    <a:pt x="66" y="0"/>
                  </a:lnTo>
                  <a:lnTo>
                    <a:pt x="66" y="0"/>
                  </a:lnTo>
                  <a:lnTo>
                    <a:pt x="64" y="0"/>
                  </a:lnTo>
                  <a:lnTo>
                    <a:pt x="64" y="2"/>
                  </a:lnTo>
                  <a:lnTo>
                    <a:pt x="64" y="2"/>
                  </a:lnTo>
                  <a:lnTo>
                    <a:pt x="62" y="4"/>
                  </a:lnTo>
                  <a:lnTo>
                    <a:pt x="62" y="4"/>
                  </a:lnTo>
                  <a:lnTo>
                    <a:pt x="62" y="8"/>
                  </a:lnTo>
                  <a:lnTo>
                    <a:pt x="62" y="10"/>
                  </a:lnTo>
                  <a:lnTo>
                    <a:pt x="62" y="12"/>
                  </a:lnTo>
                  <a:lnTo>
                    <a:pt x="62" y="16"/>
                  </a:lnTo>
                  <a:lnTo>
                    <a:pt x="62" y="16"/>
                  </a:lnTo>
                  <a:lnTo>
                    <a:pt x="60" y="18"/>
                  </a:lnTo>
                  <a:lnTo>
                    <a:pt x="60" y="18"/>
                  </a:lnTo>
                  <a:lnTo>
                    <a:pt x="60" y="18"/>
                  </a:lnTo>
                  <a:lnTo>
                    <a:pt x="60" y="18"/>
                  </a:lnTo>
                  <a:lnTo>
                    <a:pt x="58" y="18"/>
                  </a:lnTo>
                  <a:lnTo>
                    <a:pt x="58" y="18"/>
                  </a:lnTo>
                  <a:lnTo>
                    <a:pt x="56" y="18"/>
                  </a:lnTo>
                  <a:lnTo>
                    <a:pt x="54" y="18"/>
                  </a:lnTo>
                  <a:lnTo>
                    <a:pt x="52" y="16"/>
                  </a:lnTo>
                  <a:lnTo>
                    <a:pt x="50" y="14"/>
                  </a:lnTo>
                  <a:lnTo>
                    <a:pt x="48" y="12"/>
                  </a:lnTo>
                  <a:lnTo>
                    <a:pt x="48" y="12"/>
                  </a:lnTo>
                  <a:lnTo>
                    <a:pt x="44" y="8"/>
                  </a:lnTo>
                  <a:lnTo>
                    <a:pt x="44" y="6"/>
                  </a:lnTo>
                  <a:lnTo>
                    <a:pt x="42" y="4"/>
                  </a:lnTo>
                  <a:lnTo>
                    <a:pt x="40" y="4"/>
                  </a:lnTo>
                  <a:lnTo>
                    <a:pt x="40" y="2"/>
                  </a:lnTo>
                  <a:lnTo>
                    <a:pt x="40" y="2"/>
                  </a:lnTo>
                  <a:lnTo>
                    <a:pt x="38" y="2"/>
                  </a:lnTo>
                  <a:lnTo>
                    <a:pt x="36" y="2"/>
                  </a:lnTo>
                  <a:lnTo>
                    <a:pt x="32" y="0"/>
                  </a:lnTo>
                  <a:lnTo>
                    <a:pt x="30" y="0"/>
                  </a:lnTo>
                  <a:lnTo>
                    <a:pt x="26" y="2"/>
                  </a:lnTo>
                  <a:lnTo>
                    <a:pt x="22" y="2"/>
                  </a:lnTo>
                  <a:lnTo>
                    <a:pt x="16" y="2"/>
                  </a:lnTo>
                  <a:lnTo>
                    <a:pt x="10" y="2"/>
                  </a:lnTo>
                  <a:lnTo>
                    <a:pt x="4" y="4"/>
                  </a:lnTo>
                  <a:lnTo>
                    <a:pt x="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2" name="Freeform 379"/>
            <p:cNvSpPr>
              <a:spLocks/>
            </p:cNvSpPr>
            <p:nvPr/>
          </p:nvSpPr>
          <p:spPr bwMode="auto">
            <a:xfrm>
              <a:off x="4882366" y="3717819"/>
              <a:ext cx="266740" cy="315238"/>
            </a:xfrm>
            <a:custGeom>
              <a:avLst/>
              <a:gdLst>
                <a:gd name="T0" fmla="*/ 4 w 154"/>
                <a:gd name="T1" fmla="*/ 180 h 182"/>
                <a:gd name="T2" fmla="*/ 14 w 154"/>
                <a:gd name="T3" fmla="*/ 172 h 182"/>
                <a:gd name="T4" fmla="*/ 20 w 154"/>
                <a:gd name="T5" fmla="*/ 168 h 182"/>
                <a:gd name="T6" fmla="*/ 36 w 154"/>
                <a:gd name="T7" fmla="*/ 166 h 182"/>
                <a:gd name="T8" fmla="*/ 54 w 154"/>
                <a:gd name="T9" fmla="*/ 164 h 182"/>
                <a:gd name="T10" fmla="*/ 74 w 154"/>
                <a:gd name="T11" fmla="*/ 162 h 182"/>
                <a:gd name="T12" fmla="*/ 94 w 154"/>
                <a:gd name="T13" fmla="*/ 164 h 182"/>
                <a:gd name="T14" fmla="*/ 110 w 154"/>
                <a:gd name="T15" fmla="*/ 168 h 182"/>
                <a:gd name="T16" fmla="*/ 116 w 154"/>
                <a:gd name="T17" fmla="*/ 168 h 182"/>
                <a:gd name="T18" fmla="*/ 118 w 154"/>
                <a:gd name="T19" fmla="*/ 172 h 182"/>
                <a:gd name="T20" fmla="*/ 122 w 154"/>
                <a:gd name="T21" fmla="*/ 176 h 182"/>
                <a:gd name="T22" fmla="*/ 124 w 154"/>
                <a:gd name="T23" fmla="*/ 176 h 182"/>
                <a:gd name="T24" fmla="*/ 128 w 154"/>
                <a:gd name="T25" fmla="*/ 174 h 182"/>
                <a:gd name="T26" fmla="*/ 134 w 154"/>
                <a:gd name="T27" fmla="*/ 170 h 182"/>
                <a:gd name="T28" fmla="*/ 146 w 154"/>
                <a:gd name="T29" fmla="*/ 160 h 182"/>
                <a:gd name="T30" fmla="*/ 148 w 154"/>
                <a:gd name="T31" fmla="*/ 148 h 182"/>
                <a:gd name="T32" fmla="*/ 148 w 154"/>
                <a:gd name="T33" fmla="*/ 140 h 182"/>
                <a:gd name="T34" fmla="*/ 148 w 154"/>
                <a:gd name="T35" fmla="*/ 136 h 182"/>
                <a:gd name="T36" fmla="*/ 152 w 154"/>
                <a:gd name="T37" fmla="*/ 134 h 182"/>
                <a:gd name="T38" fmla="*/ 154 w 154"/>
                <a:gd name="T39" fmla="*/ 132 h 182"/>
                <a:gd name="T40" fmla="*/ 154 w 154"/>
                <a:gd name="T41" fmla="*/ 128 h 182"/>
                <a:gd name="T42" fmla="*/ 152 w 154"/>
                <a:gd name="T43" fmla="*/ 122 h 182"/>
                <a:gd name="T44" fmla="*/ 148 w 154"/>
                <a:gd name="T45" fmla="*/ 116 h 182"/>
                <a:gd name="T46" fmla="*/ 140 w 154"/>
                <a:gd name="T47" fmla="*/ 104 h 182"/>
                <a:gd name="T48" fmla="*/ 126 w 154"/>
                <a:gd name="T49" fmla="*/ 86 h 182"/>
                <a:gd name="T50" fmla="*/ 120 w 154"/>
                <a:gd name="T51" fmla="*/ 78 h 182"/>
                <a:gd name="T52" fmla="*/ 110 w 154"/>
                <a:gd name="T53" fmla="*/ 62 h 182"/>
                <a:gd name="T54" fmla="*/ 104 w 154"/>
                <a:gd name="T55" fmla="*/ 50 h 182"/>
                <a:gd name="T56" fmla="*/ 100 w 154"/>
                <a:gd name="T57" fmla="*/ 46 h 182"/>
                <a:gd name="T58" fmla="*/ 100 w 154"/>
                <a:gd name="T59" fmla="*/ 36 h 182"/>
                <a:gd name="T60" fmla="*/ 100 w 154"/>
                <a:gd name="T61" fmla="*/ 32 h 182"/>
                <a:gd name="T62" fmla="*/ 100 w 154"/>
                <a:gd name="T63" fmla="*/ 30 h 182"/>
                <a:gd name="T64" fmla="*/ 102 w 154"/>
                <a:gd name="T65" fmla="*/ 30 h 182"/>
                <a:gd name="T66" fmla="*/ 104 w 154"/>
                <a:gd name="T67" fmla="*/ 32 h 182"/>
                <a:gd name="T68" fmla="*/ 108 w 154"/>
                <a:gd name="T69" fmla="*/ 40 h 182"/>
                <a:gd name="T70" fmla="*/ 112 w 154"/>
                <a:gd name="T71" fmla="*/ 44 h 182"/>
                <a:gd name="T72" fmla="*/ 118 w 154"/>
                <a:gd name="T73" fmla="*/ 54 h 182"/>
                <a:gd name="T74" fmla="*/ 122 w 154"/>
                <a:gd name="T75" fmla="*/ 58 h 182"/>
                <a:gd name="T76" fmla="*/ 126 w 154"/>
                <a:gd name="T77" fmla="*/ 60 h 182"/>
                <a:gd name="T78" fmla="*/ 128 w 154"/>
                <a:gd name="T79" fmla="*/ 60 h 182"/>
                <a:gd name="T80" fmla="*/ 132 w 154"/>
                <a:gd name="T81" fmla="*/ 56 h 182"/>
                <a:gd name="T82" fmla="*/ 134 w 154"/>
                <a:gd name="T83" fmla="*/ 48 h 182"/>
                <a:gd name="T84" fmla="*/ 120 w 154"/>
                <a:gd name="T85" fmla="*/ 6 h 182"/>
                <a:gd name="T86" fmla="*/ 100 w 154"/>
                <a:gd name="T87" fmla="*/ 4 h 182"/>
                <a:gd name="T88" fmla="*/ 88 w 154"/>
                <a:gd name="T89" fmla="*/ 2 h 182"/>
                <a:gd name="T90" fmla="*/ 76 w 154"/>
                <a:gd name="T91" fmla="*/ 0 h 182"/>
                <a:gd name="T92" fmla="*/ 70 w 154"/>
                <a:gd name="T93" fmla="*/ 0 h 182"/>
                <a:gd name="T94" fmla="*/ 66 w 154"/>
                <a:gd name="T95" fmla="*/ 0 h 182"/>
                <a:gd name="T96" fmla="*/ 64 w 154"/>
                <a:gd name="T97" fmla="*/ 2 h 182"/>
                <a:gd name="T98" fmla="*/ 62 w 154"/>
                <a:gd name="T99" fmla="*/ 8 h 182"/>
                <a:gd name="T100" fmla="*/ 62 w 154"/>
                <a:gd name="T101" fmla="*/ 16 h 182"/>
                <a:gd name="T102" fmla="*/ 60 w 154"/>
                <a:gd name="T103" fmla="*/ 18 h 182"/>
                <a:gd name="T104" fmla="*/ 58 w 154"/>
                <a:gd name="T105" fmla="*/ 18 h 182"/>
                <a:gd name="T106" fmla="*/ 54 w 154"/>
                <a:gd name="T107" fmla="*/ 18 h 182"/>
                <a:gd name="T108" fmla="*/ 48 w 154"/>
                <a:gd name="T109" fmla="*/ 12 h 182"/>
                <a:gd name="T110" fmla="*/ 44 w 154"/>
                <a:gd name="T111" fmla="*/ 6 h 182"/>
                <a:gd name="T112" fmla="*/ 40 w 154"/>
                <a:gd name="T113" fmla="*/ 2 h 182"/>
                <a:gd name="T114" fmla="*/ 36 w 154"/>
                <a:gd name="T115" fmla="*/ 2 h 182"/>
                <a:gd name="T116" fmla="*/ 26 w 154"/>
                <a:gd name="T117" fmla="*/ 2 h 182"/>
                <a:gd name="T118" fmla="*/ 10 w 154"/>
                <a:gd name="T119" fmla="*/ 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2">
                  <a:moveTo>
                    <a:pt x="0" y="4"/>
                  </a:moveTo>
                  <a:lnTo>
                    <a:pt x="0" y="182"/>
                  </a:lnTo>
                  <a:lnTo>
                    <a:pt x="4" y="180"/>
                  </a:lnTo>
                  <a:lnTo>
                    <a:pt x="10" y="176"/>
                  </a:lnTo>
                  <a:lnTo>
                    <a:pt x="12" y="174"/>
                  </a:lnTo>
                  <a:lnTo>
                    <a:pt x="14" y="172"/>
                  </a:lnTo>
                  <a:lnTo>
                    <a:pt x="18" y="170"/>
                  </a:lnTo>
                  <a:lnTo>
                    <a:pt x="20" y="168"/>
                  </a:lnTo>
                  <a:lnTo>
                    <a:pt x="20" y="168"/>
                  </a:lnTo>
                  <a:lnTo>
                    <a:pt x="26" y="168"/>
                  </a:lnTo>
                  <a:lnTo>
                    <a:pt x="30" y="166"/>
                  </a:lnTo>
                  <a:lnTo>
                    <a:pt x="36" y="166"/>
                  </a:lnTo>
                  <a:lnTo>
                    <a:pt x="42" y="164"/>
                  </a:lnTo>
                  <a:lnTo>
                    <a:pt x="48" y="164"/>
                  </a:lnTo>
                  <a:lnTo>
                    <a:pt x="54" y="164"/>
                  </a:lnTo>
                  <a:lnTo>
                    <a:pt x="62" y="164"/>
                  </a:lnTo>
                  <a:lnTo>
                    <a:pt x="68" y="162"/>
                  </a:lnTo>
                  <a:lnTo>
                    <a:pt x="74" y="162"/>
                  </a:lnTo>
                  <a:lnTo>
                    <a:pt x="82" y="164"/>
                  </a:lnTo>
                  <a:lnTo>
                    <a:pt x="88" y="164"/>
                  </a:lnTo>
                  <a:lnTo>
                    <a:pt x="94" y="164"/>
                  </a:lnTo>
                  <a:lnTo>
                    <a:pt x="100" y="164"/>
                  </a:lnTo>
                  <a:lnTo>
                    <a:pt x="106" y="166"/>
                  </a:lnTo>
                  <a:lnTo>
                    <a:pt x="110" y="168"/>
                  </a:lnTo>
                  <a:lnTo>
                    <a:pt x="112" y="168"/>
                  </a:lnTo>
                  <a:lnTo>
                    <a:pt x="114" y="168"/>
                  </a:lnTo>
                  <a:lnTo>
                    <a:pt x="116" y="168"/>
                  </a:lnTo>
                  <a:lnTo>
                    <a:pt x="116" y="170"/>
                  </a:lnTo>
                  <a:lnTo>
                    <a:pt x="116" y="170"/>
                  </a:lnTo>
                  <a:lnTo>
                    <a:pt x="118" y="172"/>
                  </a:lnTo>
                  <a:lnTo>
                    <a:pt x="120" y="174"/>
                  </a:lnTo>
                  <a:lnTo>
                    <a:pt x="122" y="174"/>
                  </a:lnTo>
                  <a:lnTo>
                    <a:pt x="122" y="176"/>
                  </a:lnTo>
                  <a:lnTo>
                    <a:pt x="122" y="176"/>
                  </a:lnTo>
                  <a:lnTo>
                    <a:pt x="124" y="176"/>
                  </a:lnTo>
                  <a:lnTo>
                    <a:pt x="124" y="176"/>
                  </a:lnTo>
                  <a:lnTo>
                    <a:pt x="124" y="176"/>
                  </a:lnTo>
                  <a:lnTo>
                    <a:pt x="126" y="176"/>
                  </a:lnTo>
                  <a:lnTo>
                    <a:pt x="128" y="174"/>
                  </a:lnTo>
                  <a:lnTo>
                    <a:pt x="130" y="174"/>
                  </a:lnTo>
                  <a:lnTo>
                    <a:pt x="132" y="172"/>
                  </a:lnTo>
                  <a:lnTo>
                    <a:pt x="134" y="170"/>
                  </a:lnTo>
                  <a:lnTo>
                    <a:pt x="138" y="166"/>
                  </a:lnTo>
                  <a:lnTo>
                    <a:pt x="142" y="162"/>
                  </a:lnTo>
                  <a:lnTo>
                    <a:pt x="146" y="160"/>
                  </a:lnTo>
                  <a:lnTo>
                    <a:pt x="148" y="156"/>
                  </a:lnTo>
                  <a:lnTo>
                    <a:pt x="148" y="154"/>
                  </a:lnTo>
                  <a:lnTo>
                    <a:pt x="148" y="148"/>
                  </a:lnTo>
                  <a:lnTo>
                    <a:pt x="148" y="144"/>
                  </a:lnTo>
                  <a:lnTo>
                    <a:pt x="148" y="140"/>
                  </a:lnTo>
                  <a:lnTo>
                    <a:pt x="148" y="140"/>
                  </a:lnTo>
                  <a:lnTo>
                    <a:pt x="148" y="138"/>
                  </a:lnTo>
                  <a:lnTo>
                    <a:pt x="148" y="136"/>
                  </a:lnTo>
                  <a:lnTo>
                    <a:pt x="148" y="136"/>
                  </a:lnTo>
                  <a:lnTo>
                    <a:pt x="148" y="136"/>
                  </a:lnTo>
                  <a:lnTo>
                    <a:pt x="150" y="134"/>
                  </a:lnTo>
                  <a:lnTo>
                    <a:pt x="152" y="134"/>
                  </a:lnTo>
                  <a:lnTo>
                    <a:pt x="152" y="132"/>
                  </a:lnTo>
                  <a:lnTo>
                    <a:pt x="154" y="132"/>
                  </a:lnTo>
                  <a:lnTo>
                    <a:pt x="154" y="132"/>
                  </a:lnTo>
                  <a:lnTo>
                    <a:pt x="154" y="130"/>
                  </a:lnTo>
                  <a:lnTo>
                    <a:pt x="154" y="128"/>
                  </a:lnTo>
                  <a:lnTo>
                    <a:pt x="154" y="128"/>
                  </a:lnTo>
                  <a:lnTo>
                    <a:pt x="154" y="126"/>
                  </a:lnTo>
                  <a:lnTo>
                    <a:pt x="152" y="124"/>
                  </a:lnTo>
                  <a:lnTo>
                    <a:pt x="152" y="122"/>
                  </a:lnTo>
                  <a:lnTo>
                    <a:pt x="152" y="120"/>
                  </a:lnTo>
                  <a:lnTo>
                    <a:pt x="150" y="118"/>
                  </a:lnTo>
                  <a:lnTo>
                    <a:pt x="148" y="116"/>
                  </a:lnTo>
                  <a:lnTo>
                    <a:pt x="146" y="112"/>
                  </a:lnTo>
                  <a:lnTo>
                    <a:pt x="144" y="108"/>
                  </a:lnTo>
                  <a:lnTo>
                    <a:pt x="140" y="104"/>
                  </a:lnTo>
                  <a:lnTo>
                    <a:pt x="134" y="96"/>
                  </a:lnTo>
                  <a:lnTo>
                    <a:pt x="128" y="90"/>
                  </a:lnTo>
                  <a:lnTo>
                    <a:pt x="126" y="86"/>
                  </a:lnTo>
                  <a:lnTo>
                    <a:pt x="124" y="84"/>
                  </a:lnTo>
                  <a:lnTo>
                    <a:pt x="122" y="80"/>
                  </a:lnTo>
                  <a:lnTo>
                    <a:pt x="120" y="78"/>
                  </a:lnTo>
                  <a:lnTo>
                    <a:pt x="118" y="74"/>
                  </a:lnTo>
                  <a:lnTo>
                    <a:pt x="116" y="70"/>
                  </a:lnTo>
                  <a:lnTo>
                    <a:pt x="110" y="62"/>
                  </a:lnTo>
                  <a:lnTo>
                    <a:pt x="106" y="58"/>
                  </a:lnTo>
                  <a:lnTo>
                    <a:pt x="104" y="52"/>
                  </a:lnTo>
                  <a:lnTo>
                    <a:pt x="104" y="50"/>
                  </a:lnTo>
                  <a:lnTo>
                    <a:pt x="102" y="48"/>
                  </a:lnTo>
                  <a:lnTo>
                    <a:pt x="102" y="46"/>
                  </a:lnTo>
                  <a:lnTo>
                    <a:pt x="100" y="46"/>
                  </a:lnTo>
                  <a:lnTo>
                    <a:pt x="100" y="42"/>
                  </a:lnTo>
                  <a:lnTo>
                    <a:pt x="100" y="38"/>
                  </a:lnTo>
                  <a:lnTo>
                    <a:pt x="100" y="36"/>
                  </a:lnTo>
                  <a:lnTo>
                    <a:pt x="100" y="34"/>
                  </a:lnTo>
                  <a:lnTo>
                    <a:pt x="100" y="34"/>
                  </a:lnTo>
                  <a:lnTo>
                    <a:pt x="100" y="32"/>
                  </a:lnTo>
                  <a:lnTo>
                    <a:pt x="100" y="32"/>
                  </a:lnTo>
                  <a:lnTo>
                    <a:pt x="100" y="30"/>
                  </a:lnTo>
                  <a:lnTo>
                    <a:pt x="100" y="30"/>
                  </a:lnTo>
                  <a:lnTo>
                    <a:pt x="100" y="30"/>
                  </a:lnTo>
                  <a:lnTo>
                    <a:pt x="102" y="30"/>
                  </a:lnTo>
                  <a:lnTo>
                    <a:pt x="102" y="30"/>
                  </a:lnTo>
                  <a:lnTo>
                    <a:pt x="104" y="30"/>
                  </a:lnTo>
                  <a:lnTo>
                    <a:pt x="104" y="30"/>
                  </a:lnTo>
                  <a:lnTo>
                    <a:pt x="104" y="32"/>
                  </a:lnTo>
                  <a:lnTo>
                    <a:pt x="104" y="32"/>
                  </a:lnTo>
                  <a:lnTo>
                    <a:pt x="106" y="34"/>
                  </a:lnTo>
                  <a:lnTo>
                    <a:pt x="108" y="40"/>
                  </a:lnTo>
                  <a:lnTo>
                    <a:pt x="110" y="42"/>
                  </a:lnTo>
                  <a:lnTo>
                    <a:pt x="110" y="42"/>
                  </a:lnTo>
                  <a:lnTo>
                    <a:pt x="112" y="44"/>
                  </a:lnTo>
                  <a:lnTo>
                    <a:pt x="114" y="48"/>
                  </a:lnTo>
                  <a:lnTo>
                    <a:pt x="116" y="50"/>
                  </a:lnTo>
                  <a:lnTo>
                    <a:pt x="118" y="54"/>
                  </a:lnTo>
                  <a:lnTo>
                    <a:pt x="120" y="56"/>
                  </a:lnTo>
                  <a:lnTo>
                    <a:pt x="122" y="58"/>
                  </a:lnTo>
                  <a:lnTo>
                    <a:pt x="122" y="58"/>
                  </a:lnTo>
                  <a:lnTo>
                    <a:pt x="124" y="60"/>
                  </a:lnTo>
                  <a:lnTo>
                    <a:pt x="124" y="60"/>
                  </a:lnTo>
                  <a:lnTo>
                    <a:pt x="126" y="60"/>
                  </a:lnTo>
                  <a:lnTo>
                    <a:pt x="128" y="60"/>
                  </a:lnTo>
                  <a:lnTo>
                    <a:pt x="128" y="60"/>
                  </a:lnTo>
                  <a:lnTo>
                    <a:pt x="128" y="60"/>
                  </a:lnTo>
                  <a:lnTo>
                    <a:pt x="130" y="58"/>
                  </a:lnTo>
                  <a:lnTo>
                    <a:pt x="130" y="58"/>
                  </a:lnTo>
                  <a:lnTo>
                    <a:pt x="132" y="56"/>
                  </a:lnTo>
                  <a:lnTo>
                    <a:pt x="132" y="52"/>
                  </a:lnTo>
                  <a:lnTo>
                    <a:pt x="134" y="50"/>
                  </a:lnTo>
                  <a:lnTo>
                    <a:pt x="134" y="48"/>
                  </a:lnTo>
                  <a:lnTo>
                    <a:pt x="134" y="46"/>
                  </a:lnTo>
                  <a:lnTo>
                    <a:pt x="134" y="28"/>
                  </a:lnTo>
                  <a:lnTo>
                    <a:pt x="120" y="6"/>
                  </a:lnTo>
                  <a:lnTo>
                    <a:pt x="112" y="6"/>
                  </a:lnTo>
                  <a:lnTo>
                    <a:pt x="100" y="4"/>
                  </a:lnTo>
                  <a:lnTo>
                    <a:pt x="100" y="4"/>
                  </a:lnTo>
                  <a:lnTo>
                    <a:pt x="96" y="4"/>
                  </a:lnTo>
                  <a:lnTo>
                    <a:pt x="92" y="4"/>
                  </a:lnTo>
                  <a:lnTo>
                    <a:pt x="88" y="2"/>
                  </a:lnTo>
                  <a:lnTo>
                    <a:pt x="82" y="0"/>
                  </a:lnTo>
                  <a:lnTo>
                    <a:pt x="80" y="0"/>
                  </a:lnTo>
                  <a:lnTo>
                    <a:pt x="76" y="0"/>
                  </a:lnTo>
                  <a:lnTo>
                    <a:pt x="74" y="0"/>
                  </a:lnTo>
                  <a:lnTo>
                    <a:pt x="72" y="0"/>
                  </a:lnTo>
                  <a:lnTo>
                    <a:pt x="70" y="0"/>
                  </a:lnTo>
                  <a:lnTo>
                    <a:pt x="68" y="0"/>
                  </a:lnTo>
                  <a:lnTo>
                    <a:pt x="66" y="0"/>
                  </a:lnTo>
                  <a:lnTo>
                    <a:pt x="66" y="0"/>
                  </a:lnTo>
                  <a:lnTo>
                    <a:pt x="64" y="0"/>
                  </a:lnTo>
                  <a:lnTo>
                    <a:pt x="64" y="2"/>
                  </a:lnTo>
                  <a:lnTo>
                    <a:pt x="64" y="2"/>
                  </a:lnTo>
                  <a:lnTo>
                    <a:pt x="62" y="4"/>
                  </a:lnTo>
                  <a:lnTo>
                    <a:pt x="62" y="4"/>
                  </a:lnTo>
                  <a:lnTo>
                    <a:pt x="62" y="8"/>
                  </a:lnTo>
                  <a:lnTo>
                    <a:pt x="62" y="10"/>
                  </a:lnTo>
                  <a:lnTo>
                    <a:pt x="62" y="12"/>
                  </a:lnTo>
                  <a:lnTo>
                    <a:pt x="62" y="16"/>
                  </a:lnTo>
                  <a:lnTo>
                    <a:pt x="62" y="16"/>
                  </a:lnTo>
                  <a:lnTo>
                    <a:pt x="60" y="18"/>
                  </a:lnTo>
                  <a:lnTo>
                    <a:pt x="60" y="18"/>
                  </a:lnTo>
                  <a:lnTo>
                    <a:pt x="60" y="18"/>
                  </a:lnTo>
                  <a:lnTo>
                    <a:pt x="60" y="18"/>
                  </a:lnTo>
                  <a:lnTo>
                    <a:pt x="58" y="18"/>
                  </a:lnTo>
                  <a:lnTo>
                    <a:pt x="58" y="18"/>
                  </a:lnTo>
                  <a:lnTo>
                    <a:pt x="56" y="18"/>
                  </a:lnTo>
                  <a:lnTo>
                    <a:pt x="54" y="18"/>
                  </a:lnTo>
                  <a:lnTo>
                    <a:pt x="52" y="16"/>
                  </a:lnTo>
                  <a:lnTo>
                    <a:pt x="50" y="14"/>
                  </a:lnTo>
                  <a:lnTo>
                    <a:pt x="48" y="12"/>
                  </a:lnTo>
                  <a:lnTo>
                    <a:pt x="48" y="12"/>
                  </a:lnTo>
                  <a:lnTo>
                    <a:pt x="44" y="8"/>
                  </a:lnTo>
                  <a:lnTo>
                    <a:pt x="44" y="6"/>
                  </a:lnTo>
                  <a:lnTo>
                    <a:pt x="42" y="4"/>
                  </a:lnTo>
                  <a:lnTo>
                    <a:pt x="40" y="4"/>
                  </a:lnTo>
                  <a:lnTo>
                    <a:pt x="40" y="2"/>
                  </a:lnTo>
                  <a:lnTo>
                    <a:pt x="40" y="2"/>
                  </a:lnTo>
                  <a:lnTo>
                    <a:pt x="38" y="2"/>
                  </a:lnTo>
                  <a:lnTo>
                    <a:pt x="36" y="2"/>
                  </a:lnTo>
                  <a:lnTo>
                    <a:pt x="32" y="0"/>
                  </a:lnTo>
                  <a:lnTo>
                    <a:pt x="30" y="0"/>
                  </a:lnTo>
                  <a:lnTo>
                    <a:pt x="26" y="2"/>
                  </a:lnTo>
                  <a:lnTo>
                    <a:pt x="22" y="2"/>
                  </a:lnTo>
                  <a:lnTo>
                    <a:pt x="16" y="2"/>
                  </a:lnTo>
                  <a:lnTo>
                    <a:pt x="10" y="2"/>
                  </a:lnTo>
                  <a:lnTo>
                    <a:pt x="4" y="4"/>
                  </a:lnTo>
                  <a:lnTo>
                    <a:pt x="0"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3" name="Freeform 380"/>
            <p:cNvSpPr>
              <a:spLocks/>
            </p:cNvSpPr>
            <p:nvPr/>
          </p:nvSpPr>
          <p:spPr bwMode="auto">
            <a:xfrm>
              <a:off x="4064827" y="3544611"/>
              <a:ext cx="491909" cy="561192"/>
            </a:xfrm>
            <a:custGeom>
              <a:avLst/>
              <a:gdLst>
                <a:gd name="T0" fmla="*/ 98 w 284"/>
                <a:gd name="T1" fmla="*/ 50 h 324"/>
                <a:gd name="T2" fmla="*/ 98 w 284"/>
                <a:gd name="T3" fmla="*/ 56 h 324"/>
                <a:gd name="T4" fmla="*/ 92 w 284"/>
                <a:gd name="T5" fmla="*/ 66 h 324"/>
                <a:gd name="T6" fmla="*/ 98 w 284"/>
                <a:gd name="T7" fmla="*/ 70 h 324"/>
                <a:gd name="T8" fmla="*/ 102 w 284"/>
                <a:gd name="T9" fmla="*/ 76 h 324"/>
                <a:gd name="T10" fmla="*/ 98 w 284"/>
                <a:gd name="T11" fmla="*/ 92 h 324"/>
                <a:gd name="T12" fmla="*/ 92 w 284"/>
                <a:gd name="T13" fmla="*/ 98 h 324"/>
                <a:gd name="T14" fmla="*/ 80 w 284"/>
                <a:gd name="T15" fmla="*/ 98 h 324"/>
                <a:gd name="T16" fmla="*/ 76 w 284"/>
                <a:gd name="T17" fmla="*/ 104 h 324"/>
                <a:gd name="T18" fmla="*/ 78 w 284"/>
                <a:gd name="T19" fmla="*/ 112 h 324"/>
                <a:gd name="T20" fmla="*/ 84 w 284"/>
                <a:gd name="T21" fmla="*/ 118 h 324"/>
                <a:gd name="T22" fmla="*/ 72 w 284"/>
                <a:gd name="T23" fmla="*/ 126 h 324"/>
                <a:gd name="T24" fmla="*/ 56 w 284"/>
                <a:gd name="T25" fmla="*/ 142 h 324"/>
                <a:gd name="T26" fmla="*/ 40 w 284"/>
                <a:gd name="T27" fmla="*/ 152 h 324"/>
                <a:gd name="T28" fmla="*/ 30 w 284"/>
                <a:gd name="T29" fmla="*/ 152 h 324"/>
                <a:gd name="T30" fmla="*/ 28 w 284"/>
                <a:gd name="T31" fmla="*/ 158 h 324"/>
                <a:gd name="T32" fmla="*/ 20 w 284"/>
                <a:gd name="T33" fmla="*/ 158 h 324"/>
                <a:gd name="T34" fmla="*/ 16 w 284"/>
                <a:gd name="T35" fmla="*/ 158 h 324"/>
                <a:gd name="T36" fmla="*/ 14 w 284"/>
                <a:gd name="T37" fmla="*/ 166 h 324"/>
                <a:gd name="T38" fmla="*/ 6 w 284"/>
                <a:gd name="T39" fmla="*/ 168 h 324"/>
                <a:gd name="T40" fmla="*/ 44 w 284"/>
                <a:gd name="T41" fmla="*/ 212 h 324"/>
                <a:gd name="T42" fmla="*/ 108 w 284"/>
                <a:gd name="T43" fmla="*/ 266 h 324"/>
                <a:gd name="T44" fmla="*/ 146 w 284"/>
                <a:gd name="T45" fmla="*/ 294 h 324"/>
                <a:gd name="T46" fmla="*/ 158 w 284"/>
                <a:gd name="T47" fmla="*/ 300 h 324"/>
                <a:gd name="T48" fmla="*/ 160 w 284"/>
                <a:gd name="T49" fmla="*/ 316 h 324"/>
                <a:gd name="T50" fmla="*/ 164 w 284"/>
                <a:gd name="T51" fmla="*/ 324 h 324"/>
                <a:gd name="T52" fmla="*/ 176 w 284"/>
                <a:gd name="T53" fmla="*/ 322 h 324"/>
                <a:gd name="T54" fmla="*/ 178 w 284"/>
                <a:gd name="T55" fmla="*/ 312 h 324"/>
                <a:gd name="T56" fmla="*/ 192 w 284"/>
                <a:gd name="T57" fmla="*/ 312 h 324"/>
                <a:gd name="T58" fmla="*/ 202 w 284"/>
                <a:gd name="T59" fmla="*/ 312 h 324"/>
                <a:gd name="T60" fmla="*/ 212 w 284"/>
                <a:gd name="T61" fmla="*/ 300 h 324"/>
                <a:gd name="T62" fmla="*/ 220 w 284"/>
                <a:gd name="T63" fmla="*/ 294 h 324"/>
                <a:gd name="T64" fmla="*/ 224 w 284"/>
                <a:gd name="T65" fmla="*/ 284 h 324"/>
                <a:gd name="T66" fmla="*/ 240 w 284"/>
                <a:gd name="T67" fmla="*/ 280 h 324"/>
                <a:gd name="T68" fmla="*/ 250 w 284"/>
                <a:gd name="T69" fmla="*/ 274 h 324"/>
                <a:gd name="T70" fmla="*/ 262 w 284"/>
                <a:gd name="T71" fmla="*/ 260 h 324"/>
                <a:gd name="T72" fmla="*/ 280 w 284"/>
                <a:gd name="T73" fmla="*/ 252 h 324"/>
                <a:gd name="T74" fmla="*/ 284 w 284"/>
                <a:gd name="T75" fmla="*/ 236 h 324"/>
                <a:gd name="T76" fmla="*/ 278 w 284"/>
                <a:gd name="T77" fmla="*/ 228 h 324"/>
                <a:gd name="T78" fmla="*/ 262 w 284"/>
                <a:gd name="T79" fmla="*/ 228 h 324"/>
                <a:gd name="T80" fmla="*/ 252 w 284"/>
                <a:gd name="T81" fmla="*/ 220 h 324"/>
                <a:gd name="T82" fmla="*/ 250 w 284"/>
                <a:gd name="T83" fmla="*/ 202 h 324"/>
                <a:gd name="T84" fmla="*/ 254 w 284"/>
                <a:gd name="T85" fmla="*/ 104 h 324"/>
                <a:gd name="T86" fmla="*/ 246 w 284"/>
                <a:gd name="T87" fmla="*/ 102 h 324"/>
                <a:gd name="T88" fmla="*/ 244 w 284"/>
                <a:gd name="T89" fmla="*/ 90 h 324"/>
                <a:gd name="T90" fmla="*/ 240 w 284"/>
                <a:gd name="T91" fmla="*/ 86 h 324"/>
                <a:gd name="T92" fmla="*/ 230 w 284"/>
                <a:gd name="T93" fmla="*/ 82 h 324"/>
                <a:gd name="T94" fmla="*/ 224 w 284"/>
                <a:gd name="T95" fmla="*/ 68 h 324"/>
                <a:gd name="T96" fmla="*/ 226 w 284"/>
                <a:gd name="T97" fmla="*/ 54 h 324"/>
                <a:gd name="T98" fmla="*/ 234 w 284"/>
                <a:gd name="T99" fmla="*/ 48 h 324"/>
                <a:gd name="T100" fmla="*/ 240 w 284"/>
                <a:gd name="T101" fmla="*/ 44 h 324"/>
                <a:gd name="T102" fmla="*/ 234 w 284"/>
                <a:gd name="T103" fmla="*/ 36 h 324"/>
                <a:gd name="T104" fmla="*/ 234 w 284"/>
                <a:gd name="T105" fmla="*/ 28 h 324"/>
                <a:gd name="T106" fmla="*/ 236 w 284"/>
                <a:gd name="T107" fmla="*/ 22 h 324"/>
                <a:gd name="T108" fmla="*/ 242 w 284"/>
                <a:gd name="T109" fmla="*/ 20 h 324"/>
                <a:gd name="T110" fmla="*/ 240 w 284"/>
                <a:gd name="T111" fmla="*/ 6 h 324"/>
                <a:gd name="T112" fmla="*/ 196 w 284"/>
                <a:gd name="T113" fmla="*/ 0 h 324"/>
                <a:gd name="T114" fmla="*/ 172 w 284"/>
                <a:gd name="T115" fmla="*/ 4 h 324"/>
                <a:gd name="T116" fmla="*/ 152 w 284"/>
                <a:gd name="T117" fmla="*/ 10 h 324"/>
                <a:gd name="T118" fmla="*/ 128 w 284"/>
                <a:gd name="T119" fmla="*/ 12 h 324"/>
                <a:gd name="T120" fmla="*/ 116 w 284"/>
                <a:gd name="T121" fmla="*/ 22 h 324"/>
                <a:gd name="T122" fmla="*/ 100 w 284"/>
                <a:gd name="T123" fmla="*/ 24 h 324"/>
                <a:gd name="T124" fmla="*/ 92 w 284"/>
                <a:gd name="T125" fmla="*/ 3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24">
                  <a:moveTo>
                    <a:pt x="88" y="42"/>
                  </a:moveTo>
                  <a:lnTo>
                    <a:pt x="88" y="42"/>
                  </a:lnTo>
                  <a:lnTo>
                    <a:pt x="90" y="42"/>
                  </a:lnTo>
                  <a:lnTo>
                    <a:pt x="94" y="46"/>
                  </a:lnTo>
                  <a:lnTo>
                    <a:pt x="96" y="48"/>
                  </a:lnTo>
                  <a:lnTo>
                    <a:pt x="98" y="50"/>
                  </a:lnTo>
                  <a:lnTo>
                    <a:pt x="98" y="50"/>
                  </a:lnTo>
                  <a:lnTo>
                    <a:pt x="100" y="52"/>
                  </a:lnTo>
                  <a:lnTo>
                    <a:pt x="100" y="52"/>
                  </a:lnTo>
                  <a:lnTo>
                    <a:pt x="100" y="52"/>
                  </a:lnTo>
                  <a:lnTo>
                    <a:pt x="100" y="54"/>
                  </a:lnTo>
                  <a:lnTo>
                    <a:pt x="100" y="54"/>
                  </a:lnTo>
                  <a:lnTo>
                    <a:pt x="100" y="56"/>
                  </a:lnTo>
                  <a:lnTo>
                    <a:pt x="98" y="56"/>
                  </a:lnTo>
                  <a:lnTo>
                    <a:pt x="98" y="58"/>
                  </a:lnTo>
                  <a:lnTo>
                    <a:pt x="96" y="60"/>
                  </a:lnTo>
                  <a:lnTo>
                    <a:pt x="94" y="62"/>
                  </a:lnTo>
                  <a:lnTo>
                    <a:pt x="94" y="64"/>
                  </a:lnTo>
                  <a:lnTo>
                    <a:pt x="92" y="64"/>
                  </a:lnTo>
                  <a:lnTo>
                    <a:pt x="92" y="66"/>
                  </a:lnTo>
                  <a:lnTo>
                    <a:pt x="92" y="66"/>
                  </a:lnTo>
                  <a:lnTo>
                    <a:pt x="92" y="66"/>
                  </a:lnTo>
                  <a:lnTo>
                    <a:pt x="92" y="68"/>
                  </a:lnTo>
                  <a:lnTo>
                    <a:pt x="92" y="68"/>
                  </a:lnTo>
                  <a:lnTo>
                    <a:pt x="94" y="68"/>
                  </a:lnTo>
                  <a:lnTo>
                    <a:pt x="96" y="68"/>
                  </a:lnTo>
                  <a:lnTo>
                    <a:pt x="96" y="70"/>
                  </a:lnTo>
                  <a:lnTo>
                    <a:pt x="98" y="70"/>
                  </a:lnTo>
                  <a:lnTo>
                    <a:pt x="100" y="70"/>
                  </a:lnTo>
                  <a:lnTo>
                    <a:pt x="100" y="70"/>
                  </a:lnTo>
                  <a:lnTo>
                    <a:pt x="100" y="72"/>
                  </a:lnTo>
                  <a:lnTo>
                    <a:pt x="102" y="72"/>
                  </a:lnTo>
                  <a:lnTo>
                    <a:pt x="102" y="74"/>
                  </a:lnTo>
                  <a:lnTo>
                    <a:pt x="102" y="74"/>
                  </a:lnTo>
                  <a:lnTo>
                    <a:pt x="102" y="76"/>
                  </a:lnTo>
                  <a:lnTo>
                    <a:pt x="102" y="78"/>
                  </a:lnTo>
                  <a:lnTo>
                    <a:pt x="102" y="80"/>
                  </a:lnTo>
                  <a:lnTo>
                    <a:pt x="102" y="82"/>
                  </a:lnTo>
                  <a:lnTo>
                    <a:pt x="100" y="86"/>
                  </a:lnTo>
                  <a:lnTo>
                    <a:pt x="100" y="88"/>
                  </a:lnTo>
                  <a:lnTo>
                    <a:pt x="98" y="90"/>
                  </a:lnTo>
                  <a:lnTo>
                    <a:pt x="98" y="92"/>
                  </a:lnTo>
                  <a:lnTo>
                    <a:pt x="98" y="94"/>
                  </a:lnTo>
                  <a:lnTo>
                    <a:pt x="96" y="94"/>
                  </a:lnTo>
                  <a:lnTo>
                    <a:pt x="96" y="96"/>
                  </a:lnTo>
                  <a:lnTo>
                    <a:pt x="94" y="96"/>
                  </a:lnTo>
                  <a:lnTo>
                    <a:pt x="94" y="98"/>
                  </a:lnTo>
                  <a:lnTo>
                    <a:pt x="94" y="98"/>
                  </a:lnTo>
                  <a:lnTo>
                    <a:pt x="92" y="98"/>
                  </a:lnTo>
                  <a:lnTo>
                    <a:pt x="92" y="98"/>
                  </a:lnTo>
                  <a:lnTo>
                    <a:pt x="90" y="98"/>
                  </a:lnTo>
                  <a:lnTo>
                    <a:pt x="86" y="98"/>
                  </a:lnTo>
                  <a:lnTo>
                    <a:pt x="84" y="98"/>
                  </a:lnTo>
                  <a:lnTo>
                    <a:pt x="82" y="98"/>
                  </a:lnTo>
                  <a:lnTo>
                    <a:pt x="80" y="98"/>
                  </a:lnTo>
                  <a:lnTo>
                    <a:pt x="80" y="98"/>
                  </a:lnTo>
                  <a:lnTo>
                    <a:pt x="80" y="98"/>
                  </a:lnTo>
                  <a:lnTo>
                    <a:pt x="78" y="98"/>
                  </a:lnTo>
                  <a:lnTo>
                    <a:pt x="78" y="100"/>
                  </a:lnTo>
                  <a:lnTo>
                    <a:pt x="78" y="100"/>
                  </a:lnTo>
                  <a:lnTo>
                    <a:pt x="76" y="102"/>
                  </a:lnTo>
                  <a:lnTo>
                    <a:pt x="76" y="102"/>
                  </a:lnTo>
                  <a:lnTo>
                    <a:pt x="76" y="104"/>
                  </a:lnTo>
                  <a:lnTo>
                    <a:pt x="76" y="106"/>
                  </a:lnTo>
                  <a:lnTo>
                    <a:pt x="76" y="108"/>
                  </a:lnTo>
                  <a:lnTo>
                    <a:pt x="76" y="108"/>
                  </a:lnTo>
                  <a:lnTo>
                    <a:pt x="76" y="108"/>
                  </a:lnTo>
                  <a:lnTo>
                    <a:pt x="76" y="110"/>
                  </a:lnTo>
                  <a:lnTo>
                    <a:pt x="78" y="110"/>
                  </a:lnTo>
                  <a:lnTo>
                    <a:pt x="78" y="112"/>
                  </a:lnTo>
                  <a:lnTo>
                    <a:pt x="80" y="112"/>
                  </a:lnTo>
                  <a:lnTo>
                    <a:pt x="82" y="114"/>
                  </a:lnTo>
                  <a:lnTo>
                    <a:pt x="82" y="114"/>
                  </a:lnTo>
                  <a:lnTo>
                    <a:pt x="84" y="114"/>
                  </a:lnTo>
                  <a:lnTo>
                    <a:pt x="84" y="116"/>
                  </a:lnTo>
                  <a:lnTo>
                    <a:pt x="84" y="116"/>
                  </a:lnTo>
                  <a:lnTo>
                    <a:pt x="84" y="118"/>
                  </a:lnTo>
                  <a:lnTo>
                    <a:pt x="82" y="118"/>
                  </a:lnTo>
                  <a:lnTo>
                    <a:pt x="82" y="120"/>
                  </a:lnTo>
                  <a:lnTo>
                    <a:pt x="82" y="120"/>
                  </a:lnTo>
                  <a:lnTo>
                    <a:pt x="80" y="122"/>
                  </a:lnTo>
                  <a:lnTo>
                    <a:pt x="78" y="122"/>
                  </a:lnTo>
                  <a:lnTo>
                    <a:pt x="76" y="124"/>
                  </a:lnTo>
                  <a:lnTo>
                    <a:pt x="72" y="126"/>
                  </a:lnTo>
                  <a:lnTo>
                    <a:pt x="70" y="128"/>
                  </a:lnTo>
                  <a:lnTo>
                    <a:pt x="66" y="130"/>
                  </a:lnTo>
                  <a:lnTo>
                    <a:pt x="66" y="132"/>
                  </a:lnTo>
                  <a:lnTo>
                    <a:pt x="64" y="132"/>
                  </a:lnTo>
                  <a:lnTo>
                    <a:pt x="62" y="136"/>
                  </a:lnTo>
                  <a:lnTo>
                    <a:pt x="58" y="138"/>
                  </a:lnTo>
                  <a:lnTo>
                    <a:pt x="56" y="142"/>
                  </a:lnTo>
                  <a:lnTo>
                    <a:pt x="54" y="144"/>
                  </a:lnTo>
                  <a:lnTo>
                    <a:pt x="52" y="144"/>
                  </a:lnTo>
                  <a:lnTo>
                    <a:pt x="50" y="146"/>
                  </a:lnTo>
                  <a:lnTo>
                    <a:pt x="46" y="148"/>
                  </a:lnTo>
                  <a:lnTo>
                    <a:pt x="44" y="150"/>
                  </a:lnTo>
                  <a:lnTo>
                    <a:pt x="42" y="150"/>
                  </a:lnTo>
                  <a:lnTo>
                    <a:pt x="40" y="152"/>
                  </a:lnTo>
                  <a:lnTo>
                    <a:pt x="40" y="152"/>
                  </a:lnTo>
                  <a:lnTo>
                    <a:pt x="38" y="152"/>
                  </a:lnTo>
                  <a:lnTo>
                    <a:pt x="36" y="150"/>
                  </a:lnTo>
                  <a:lnTo>
                    <a:pt x="34" y="150"/>
                  </a:lnTo>
                  <a:lnTo>
                    <a:pt x="32" y="150"/>
                  </a:lnTo>
                  <a:lnTo>
                    <a:pt x="32" y="150"/>
                  </a:lnTo>
                  <a:lnTo>
                    <a:pt x="30" y="152"/>
                  </a:lnTo>
                  <a:lnTo>
                    <a:pt x="30" y="152"/>
                  </a:lnTo>
                  <a:lnTo>
                    <a:pt x="30" y="152"/>
                  </a:lnTo>
                  <a:lnTo>
                    <a:pt x="28" y="154"/>
                  </a:lnTo>
                  <a:lnTo>
                    <a:pt x="28" y="156"/>
                  </a:lnTo>
                  <a:lnTo>
                    <a:pt x="28" y="158"/>
                  </a:lnTo>
                  <a:lnTo>
                    <a:pt x="28" y="158"/>
                  </a:lnTo>
                  <a:lnTo>
                    <a:pt x="28" y="158"/>
                  </a:lnTo>
                  <a:lnTo>
                    <a:pt x="28" y="158"/>
                  </a:lnTo>
                  <a:lnTo>
                    <a:pt x="26" y="158"/>
                  </a:lnTo>
                  <a:lnTo>
                    <a:pt x="26" y="158"/>
                  </a:lnTo>
                  <a:lnTo>
                    <a:pt x="24" y="158"/>
                  </a:lnTo>
                  <a:lnTo>
                    <a:pt x="22" y="158"/>
                  </a:lnTo>
                  <a:lnTo>
                    <a:pt x="22" y="158"/>
                  </a:lnTo>
                  <a:lnTo>
                    <a:pt x="20" y="158"/>
                  </a:lnTo>
                  <a:lnTo>
                    <a:pt x="18" y="158"/>
                  </a:lnTo>
                  <a:lnTo>
                    <a:pt x="18" y="158"/>
                  </a:lnTo>
                  <a:lnTo>
                    <a:pt x="16" y="158"/>
                  </a:lnTo>
                  <a:lnTo>
                    <a:pt x="16" y="158"/>
                  </a:lnTo>
                  <a:lnTo>
                    <a:pt x="16" y="158"/>
                  </a:lnTo>
                  <a:lnTo>
                    <a:pt x="16" y="158"/>
                  </a:lnTo>
                  <a:lnTo>
                    <a:pt x="16" y="158"/>
                  </a:lnTo>
                  <a:lnTo>
                    <a:pt x="14" y="160"/>
                  </a:lnTo>
                  <a:lnTo>
                    <a:pt x="14" y="160"/>
                  </a:lnTo>
                  <a:lnTo>
                    <a:pt x="14" y="162"/>
                  </a:lnTo>
                  <a:lnTo>
                    <a:pt x="16" y="164"/>
                  </a:lnTo>
                  <a:lnTo>
                    <a:pt x="16" y="164"/>
                  </a:lnTo>
                  <a:lnTo>
                    <a:pt x="14" y="166"/>
                  </a:lnTo>
                  <a:lnTo>
                    <a:pt x="14" y="166"/>
                  </a:lnTo>
                  <a:lnTo>
                    <a:pt x="14" y="166"/>
                  </a:lnTo>
                  <a:lnTo>
                    <a:pt x="14" y="166"/>
                  </a:lnTo>
                  <a:lnTo>
                    <a:pt x="12" y="166"/>
                  </a:lnTo>
                  <a:lnTo>
                    <a:pt x="12" y="168"/>
                  </a:lnTo>
                  <a:lnTo>
                    <a:pt x="10" y="168"/>
                  </a:lnTo>
                  <a:lnTo>
                    <a:pt x="8" y="168"/>
                  </a:lnTo>
                  <a:lnTo>
                    <a:pt x="6" y="168"/>
                  </a:lnTo>
                  <a:lnTo>
                    <a:pt x="4" y="168"/>
                  </a:lnTo>
                  <a:lnTo>
                    <a:pt x="2" y="166"/>
                  </a:lnTo>
                  <a:lnTo>
                    <a:pt x="0" y="166"/>
                  </a:lnTo>
                  <a:lnTo>
                    <a:pt x="30" y="202"/>
                  </a:lnTo>
                  <a:lnTo>
                    <a:pt x="36" y="206"/>
                  </a:lnTo>
                  <a:lnTo>
                    <a:pt x="40" y="210"/>
                  </a:lnTo>
                  <a:lnTo>
                    <a:pt x="44" y="212"/>
                  </a:lnTo>
                  <a:lnTo>
                    <a:pt x="50" y="216"/>
                  </a:lnTo>
                  <a:lnTo>
                    <a:pt x="56" y="222"/>
                  </a:lnTo>
                  <a:lnTo>
                    <a:pt x="62" y="226"/>
                  </a:lnTo>
                  <a:lnTo>
                    <a:pt x="68" y="232"/>
                  </a:lnTo>
                  <a:lnTo>
                    <a:pt x="80" y="242"/>
                  </a:lnTo>
                  <a:lnTo>
                    <a:pt x="94" y="254"/>
                  </a:lnTo>
                  <a:lnTo>
                    <a:pt x="108" y="266"/>
                  </a:lnTo>
                  <a:lnTo>
                    <a:pt x="114" y="272"/>
                  </a:lnTo>
                  <a:lnTo>
                    <a:pt x="122" y="276"/>
                  </a:lnTo>
                  <a:lnTo>
                    <a:pt x="128" y="282"/>
                  </a:lnTo>
                  <a:lnTo>
                    <a:pt x="134" y="286"/>
                  </a:lnTo>
                  <a:lnTo>
                    <a:pt x="140" y="290"/>
                  </a:lnTo>
                  <a:lnTo>
                    <a:pt x="146" y="294"/>
                  </a:lnTo>
                  <a:lnTo>
                    <a:pt x="146" y="294"/>
                  </a:lnTo>
                  <a:lnTo>
                    <a:pt x="148" y="294"/>
                  </a:lnTo>
                  <a:lnTo>
                    <a:pt x="152" y="296"/>
                  </a:lnTo>
                  <a:lnTo>
                    <a:pt x="154" y="296"/>
                  </a:lnTo>
                  <a:lnTo>
                    <a:pt x="156" y="298"/>
                  </a:lnTo>
                  <a:lnTo>
                    <a:pt x="158" y="298"/>
                  </a:lnTo>
                  <a:lnTo>
                    <a:pt x="158" y="300"/>
                  </a:lnTo>
                  <a:lnTo>
                    <a:pt x="158" y="300"/>
                  </a:lnTo>
                  <a:lnTo>
                    <a:pt x="160" y="300"/>
                  </a:lnTo>
                  <a:lnTo>
                    <a:pt x="160" y="302"/>
                  </a:lnTo>
                  <a:lnTo>
                    <a:pt x="160" y="304"/>
                  </a:lnTo>
                  <a:lnTo>
                    <a:pt x="160" y="306"/>
                  </a:lnTo>
                  <a:lnTo>
                    <a:pt x="160" y="308"/>
                  </a:lnTo>
                  <a:lnTo>
                    <a:pt x="160" y="312"/>
                  </a:lnTo>
                  <a:lnTo>
                    <a:pt x="160" y="316"/>
                  </a:lnTo>
                  <a:lnTo>
                    <a:pt x="160" y="318"/>
                  </a:lnTo>
                  <a:lnTo>
                    <a:pt x="160" y="320"/>
                  </a:lnTo>
                  <a:lnTo>
                    <a:pt x="160" y="320"/>
                  </a:lnTo>
                  <a:lnTo>
                    <a:pt x="162" y="322"/>
                  </a:lnTo>
                  <a:lnTo>
                    <a:pt x="162" y="324"/>
                  </a:lnTo>
                  <a:lnTo>
                    <a:pt x="162" y="324"/>
                  </a:lnTo>
                  <a:lnTo>
                    <a:pt x="164" y="324"/>
                  </a:lnTo>
                  <a:lnTo>
                    <a:pt x="164" y="324"/>
                  </a:lnTo>
                  <a:lnTo>
                    <a:pt x="164" y="324"/>
                  </a:lnTo>
                  <a:lnTo>
                    <a:pt x="166" y="324"/>
                  </a:lnTo>
                  <a:lnTo>
                    <a:pt x="168" y="324"/>
                  </a:lnTo>
                  <a:lnTo>
                    <a:pt x="170" y="324"/>
                  </a:lnTo>
                  <a:lnTo>
                    <a:pt x="174" y="322"/>
                  </a:lnTo>
                  <a:lnTo>
                    <a:pt x="176" y="322"/>
                  </a:lnTo>
                  <a:lnTo>
                    <a:pt x="176" y="320"/>
                  </a:lnTo>
                  <a:lnTo>
                    <a:pt x="176" y="318"/>
                  </a:lnTo>
                  <a:lnTo>
                    <a:pt x="176" y="316"/>
                  </a:lnTo>
                  <a:lnTo>
                    <a:pt x="176" y="316"/>
                  </a:lnTo>
                  <a:lnTo>
                    <a:pt x="176" y="314"/>
                  </a:lnTo>
                  <a:lnTo>
                    <a:pt x="176" y="314"/>
                  </a:lnTo>
                  <a:lnTo>
                    <a:pt x="178" y="312"/>
                  </a:lnTo>
                  <a:lnTo>
                    <a:pt x="178" y="312"/>
                  </a:lnTo>
                  <a:lnTo>
                    <a:pt x="180" y="312"/>
                  </a:lnTo>
                  <a:lnTo>
                    <a:pt x="182" y="312"/>
                  </a:lnTo>
                  <a:lnTo>
                    <a:pt x="184" y="312"/>
                  </a:lnTo>
                  <a:lnTo>
                    <a:pt x="186" y="312"/>
                  </a:lnTo>
                  <a:lnTo>
                    <a:pt x="188" y="312"/>
                  </a:lnTo>
                  <a:lnTo>
                    <a:pt x="192" y="312"/>
                  </a:lnTo>
                  <a:lnTo>
                    <a:pt x="196" y="312"/>
                  </a:lnTo>
                  <a:lnTo>
                    <a:pt x="196" y="312"/>
                  </a:lnTo>
                  <a:lnTo>
                    <a:pt x="198" y="312"/>
                  </a:lnTo>
                  <a:lnTo>
                    <a:pt x="200" y="312"/>
                  </a:lnTo>
                  <a:lnTo>
                    <a:pt x="200" y="312"/>
                  </a:lnTo>
                  <a:lnTo>
                    <a:pt x="202" y="312"/>
                  </a:lnTo>
                  <a:lnTo>
                    <a:pt x="202" y="312"/>
                  </a:lnTo>
                  <a:lnTo>
                    <a:pt x="204" y="310"/>
                  </a:lnTo>
                  <a:lnTo>
                    <a:pt x="204" y="308"/>
                  </a:lnTo>
                  <a:lnTo>
                    <a:pt x="206" y="306"/>
                  </a:lnTo>
                  <a:lnTo>
                    <a:pt x="208" y="304"/>
                  </a:lnTo>
                  <a:lnTo>
                    <a:pt x="210" y="302"/>
                  </a:lnTo>
                  <a:lnTo>
                    <a:pt x="210" y="300"/>
                  </a:lnTo>
                  <a:lnTo>
                    <a:pt x="212" y="300"/>
                  </a:lnTo>
                  <a:lnTo>
                    <a:pt x="212" y="300"/>
                  </a:lnTo>
                  <a:lnTo>
                    <a:pt x="216" y="298"/>
                  </a:lnTo>
                  <a:lnTo>
                    <a:pt x="218" y="296"/>
                  </a:lnTo>
                  <a:lnTo>
                    <a:pt x="218" y="296"/>
                  </a:lnTo>
                  <a:lnTo>
                    <a:pt x="220" y="296"/>
                  </a:lnTo>
                  <a:lnTo>
                    <a:pt x="220" y="294"/>
                  </a:lnTo>
                  <a:lnTo>
                    <a:pt x="220" y="294"/>
                  </a:lnTo>
                  <a:lnTo>
                    <a:pt x="220" y="290"/>
                  </a:lnTo>
                  <a:lnTo>
                    <a:pt x="220" y="290"/>
                  </a:lnTo>
                  <a:lnTo>
                    <a:pt x="222" y="288"/>
                  </a:lnTo>
                  <a:lnTo>
                    <a:pt x="222" y="286"/>
                  </a:lnTo>
                  <a:lnTo>
                    <a:pt x="222" y="286"/>
                  </a:lnTo>
                  <a:lnTo>
                    <a:pt x="222" y="286"/>
                  </a:lnTo>
                  <a:lnTo>
                    <a:pt x="224" y="284"/>
                  </a:lnTo>
                  <a:lnTo>
                    <a:pt x="224" y="284"/>
                  </a:lnTo>
                  <a:lnTo>
                    <a:pt x="226" y="284"/>
                  </a:lnTo>
                  <a:lnTo>
                    <a:pt x="226" y="284"/>
                  </a:lnTo>
                  <a:lnTo>
                    <a:pt x="230" y="282"/>
                  </a:lnTo>
                  <a:lnTo>
                    <a:pt x="234" y="282"/>
                  </a:lnTo>
                  <a:lnTo>
                    <a:pt x="238" y="280"/>
                  </a:lnTo>
                  <a:lnTo>
                    <a:pt x="240" y="280"/>
                  </a:lnTo>
                  <a:lnTo>
                    <a:pt x="242" y="280"/>
                  </a:lnTo>
                  <a:lnTo>
                    <a:pt x="244" y="280"/>
                  </a:lnTo>
                  <a:lnTo>
                    <a:pt x="246" y="278"/>
                  </a:lnTo>
                  <a:lnTo>
                    <a:pt x="246" y="278"/>
                  </a:lnTo>
                  <a:lnTo>
                    <a:pt x="246" y="278"/>
                  </a:lnTo>
                  <a:lnTo>
                    <a:pt x="248" y="276"/>
                  </a:lnTo>
                  <a:lnTo>
                    <a:pt x="250" y="274"/>
                  </a:lnTo>
                  <a:lnTo>
                    <a:pt x="250" y="270"/>
                  </a:lnTo>
                  <a:lnTo>
                    <a:pt x="252" y="268"/>
                  </a:lnTo>
                  <a:lnTo>
                    <a:pt x="252" y="268"/>
                  </a:lnTo>
                  <a:lnTo>
                    <a:pt x="254" y="266"/>
                  </a:lnTo>
                  <a:lnTo>
                    <a:pt x="254" y="266"/>
                  </a:lnTo>
                  <a:lnTo>
                    <a:pt x="258" y="262"/>
                  </a:lnTo>
                  <a:lnTo>
                    <a:pt x="262" y="260"/>
                  </a:lnTo>
                  <a:lnTo>
                    <a:pt x="264" y="258"/>
                  </a:lnTo>
                  <a:lnTo>
                    <a:pt x="266" y="258"/>
                  </a:lnTo>
                  <a:lnTo>
                    <a:pt x="268" y="256"/>
                  </a:lnTo>
                  <a:lnTo>
                    <a:pt x="272" y="254"/>
                  </a:lnTo>
                  <a:lnTo>
                    <a:pt x="276" y="254"/>
                  </a:lnTo>
                  <a:lnTo>
                    <a:pt x="278" y="252"/>
                  </a:lnTo>
                  <a:lnTo>
                    <a:pt x="280" y="252"/>
                  </a:lnTo>
                  <a:lnTo>
                    <a:pt x="280" y="250"/>
                  </a:lnTo>
                  <a:lnTo>
                    <a:pt x="282" y="250"/>
                  </a:lnTo>
                  <a:lnTo>
                    <a:pt x="282" y="248"/>
                  </a:lnTo>
                  <a:lnTo>
                    <a:pt x="284" y="246"/>
                  </a:lnTo>
                  <a:lnTo>
                    <a:pt x="284" y="244"/>
                  </a:lnTo>
                  <a:lnTo>
                    <a:pt x="284" y="238"/>
                  </a:lnTo>
                  <a:lnTo>
                    <a:pt x="284" y="236"/>
                  </a:lnTo>
                  <a:lnTo>
                    <a:pt x="284" y="234"/>
                  </a:lnTo>
                  <a:lnTo>
                    <a:pt x="282" y="232"/>
                  </a:lnTo>
                  <a:lnTo>
                    <a:pt x="282" y="232"/>
                  </a:lnTo>
                  <a:lnTo>
                    <a:pt x="282" y="230"/>
                  </a:lnTo>
                  <a:lnTo>
                    <a:pt x="282" y="230"/>
                  </a:lnTo>
                  <a:lnTo>
                    <a:pt x="280" y="230"/>
                  </a:lnTo>
                  <a:lnTo>
                    <a:pt x="278" y="228"/>
                  </a:lnTo>
                  <a:lnTo>
                    <a:pt x="278" y="228"/>
                  </a:lnTo>
                  <a:lnTo>
                    <a:pt x="274" y="228"/>
                  </a:lnTo>
                  <a:lnTo>
                    <a:pt x="272" y="228"/>
                  </a:lnTo>
                  <a:lnTo>
                    <a:pt x="268" y="228"/>
                  </a:lnTo>
                  <a:lnTo>
                    <a:pt x="264" y="228"/>
                  </a:lnTo>
                  <a:lnTo>
                    <a:pt x="264" y="228"/>
                  </a:lnTo>
                  <a:lnTo>
                    <a:pt x="262" y="228"/>
                  </a:lnTo>
                  <a:lnTo>
                    <a:pt x="260" y="228"/>
                  </a:lnTo>
                  <a:lnTo>
                    <a:pt x="260" y="226"/>
                  </a:lnTo>
                  <a:lnTo>
                    <a:pt x="258" y="226"/>
                  </a:lnTo>
                  <a:lnTo>
                    <a:pt x="258" y="226"/>
                  </a:lnTo>
                  <a:lnTo>
                    <a:pt x="256" y="224"/>
                  </a:lnTo>
                  <a:lnTo>
                    <a:pt x="254" y="222"/>
                  </a:lnTo>
                  <a:lnTo>
                    <a:pt x="252" y="220"/>
                  </a:lnTo>
                  <a:lnTo>
                    <a:pt x="252" y="220"/>
                  </a:lnTo>
                  <a:lnTo>
                    <a:pt x="252" y="218"/>
                  </a:lnTo>
                  <a:lnTo>
                    <a:pt x="252" y="216"/>
                  </a:lnTo>
                  <a:lnTo>
                    <a:pt x="250" y="214"/>
                  </a:lnTo>
                  <a:lnTo>
                    <a:pt x="250" y="210"/>
                  </a:lnTo>
                  <a:lnTo>
                    <a:pt x="250" y="206"/>
                  </a:lnTo>
                  <a:lnTo>
                    <a:pt x="250" y="202"/>
                  </a:lnTo>
                  <a:lnTo>
                    <a:pt x="250" y="190"/>
                  </a:lnTo>
                  <a:lnTo>
                    <a:pt x="252" y="176"/>
                  </a:lnTo>
                  <a:lnTo>
                    <a:pt x="252" y="160"/>
                  </a:lnTo>
                  <a:lnTo>
                    <a:pt x="252" y="144"/>
                  </a:lnTo>
                  <a:lnTo>
                    <a:pt x="254" y="116"/>
                  </a:lnTo>
                  <a:lnTo>
                    <a:pt x="254" y="104"/>
                  </a:lnTo>
                  <a:lnTo>
                    <a:pt x="254" y="104"/>
                  </a:lnTo>
                  <a:lnTo>
                    <a:pt x="250" y="104"/>
                  </a:lnTo>
                  <a:lnTo>
                    <a:pt x="250" y="104"/>
                  </a:lnTo>
                  <a:lnTo>
                    <a:pt x="248" y="104"/>
                  </a:lnTo>
                  <a:lnTo>
                    <a:pt x="246" y="104"/>
                  </a:lnTo>
                  <a:lnTo>
                    <a:pt x="246" y="104"/>
                  </a:lnTo>
                  <a:lnTo>
                    <a:pt x="246" y="104"/>
                  </a:lnTo>
                  <a:lnTo>
                    <a:pt x="246" y="102"/>
                  </a:lnTo>
                  <a:lnTo>
                    <a:pt x="244" y="102"/>
                  </a:lnTo>
                  <a:lnTo>
                    <a:pt x="244" y="102"/>
                  </a:lnTo>
                  <a:lnTo>
                    <a:pt x="244" y="100"/>
                  </a:lnTo>
                  <a:lnTo>
                    <a:pt x="244" y="98"/>
                  </a:lnTo>
                  <a:lnTo>
                    <a:pt x="244" y="96"/>
                  </a:lnTo>
                  <a:lnTo>
                    <a:pt x="244" y="92"/>
                  </a:lnTo>
                  <a:lnTo>
                    <a:pt x="244" y="90"/>
                  </a:lnTo>
                  <a:lnTo>
                    <a:pt x="242" y="90"/>
                  </a:lnTo>
                  <a:lnTo>
                    <a:pt x="242" y="88"/>
                  </a:lnTo>
                  <a:lnTo>
                    <a:pt x="242" y="88"/>
                  </a:lnTo>
                  <a:lnTo>
                    <a:pt x="242" y="86"/>
                  </a:lnTo>
                  <a:lnTo>
                    <a:pt x="242" y="86"/>
                  </a:lnTo>
                  <a:lnTo>
                    <a:pt x="240" y="86"/>
                  </a:lnTo>
                  <a:lnTo>
                    <a:pt x="240" y="86"/>
                  </a:lnTo>
                  <a:lnTo>
                    <a:pt x="238" y="84"/>
                  </a:lnTo>
                  <a:lnTo>
                    <a:pt x="236" y="84"/>
                  </a:lnTo>
                  <a:lnTo>
                    <a:pt x="234" y="84"/>
                  </a:lnTo>
                  <a:lnTo>
                    <a:pt x="232" y="84"/>
                  </a:lnTo>
                  <a:lnTo>
                    <a:pt x="230" y="82"/>
                  </a:lnTo>
                  <a:lnTo>
                    <a:pt x="230" y="82"/>
                  </a:lnTo>
                  <a:lnTo>
                    <a:pt x="230" y="82"/>
                  </a:lnTo>
                  <a:lnTo>
                    <a:pt x="228" y="80"/>
                  </a:lnTo>
                  <a:lnTo>
                    <a:pt x="226" y="78"/>
                  </a:lnTo>
                  <a:lnTo>
                    <a:pt x="226" y="76"/>
                  </a:lnTo>
                  <a:lnTo>
                    <a:pt x="226" y="74"/>
                  </a:lnTo>
                  <a:lnTo>
                    <a:pt x="224" y="72"/>
                  </a:lnTo>
                  <a:lnTo>
                    <a:pt x="224" y="70"/>
                  </a:lnTo>
                  <a:lnTo>
                    <a:pt x="224" y="68"/>
                  </a:lnTo>
                  <a:lnTo>
                    <a:pt x="224" y="66"/>
                  </a:lnTo>
                  <a:lnTo>
                    <a:pt x="224" y="64"/>
                  </a:lnTo>
                  <a:lnTo>
                    <a:pt x="224" y="62"/>
                  </a:lnTo>
                  <a:lnTo>
                    <a:pt x="224" y="60"/>
                  </a:lnTo>
                  <a:lnTo>
                    <a:pt x="224" y="58"/>
                  </a:lnTo>
                  <a:lnTo>
                    <a:pt x="224" y="56"/>
                  </a:lnTo>
                  <a:lnTo>
                    <a:pt x="226" y="54"/>
                  </a:lnTo>
                  <a:lnTo>
                    <a:pt x="226" y="52"/>
                  </a:lnTo>
                  <a:lnTo>
                    <a:pt x="226" y="50"/>
                  </a:lnTo>
                  <a:lnTo>
                    <a:pt x="228" y="50"/>
                  </a:lnTo>
                  <a:lnTo>
                    <a:pt x="228" y="50"/>
                  </a:lnTo>
                  <a:lnTo>
                    <a:pt x="230" y="48"/>
                  </a:lnTo>
                  <a:lnTo>
                    <a:pt x="232" y="48"/>
                  </a:lnTo>
                  <a:lnTo>
                    <a:pt x="234" y="48"/>
                  </a:lnTo>
                  <a:lnTo>
                    <a:pt x="236" y="48"/>
                  </a:lnTo>
                  <a:lnTo>
                    <a:pt x="238" y="48"/>
                  </a:lnTo>
                  <a:lnTo>
                    <a:pt x="240" y="46"/>
                  </a:lnTo>
                  <a:lnTo>
                    <a:pt x="240" y="46"/>
                  </a:lnTo>
                  <a:lnTo>
                    <a:pt x="240" y="46"/>
                  </a:lnTo>
                  <a:lnTo>
                    <a:pt x="240" y="46"/>
                  </a:lnTo>
                  <a:lnTo>
                    <a:pt x="240" y="44"/>
                  </a:lnTo>
                  <a:lnTo>
                    <a:pt x="240" y="44"/>
                  </a:lnTo>
                  <a:lnTo>
                    <a:pt x="240" y="44"/>
                  </a:lnTo>
                  <a:lnTo>
                    <a:pt x="240" y="42"/>
                  </a:lnTo>
                  <a:lnTo>
                    <a:pt x="238" y="42"/>
                  </a:lnTo>
                  <a:lnTo>
                    <a:pt x="238" y="40"/>
                  </a:lnTo>
                  <a:lnTo>
                    <a:pt x="236" y="38"/>
                  </a:lnTo>
                  <a:lnTo>
                    <a:pt x="234" y="36"/>
                  </a:lnTo>
                  <a:lnTo>
                    <a:pt x="234" y="36"/>
                  </a:lnTo>
                  <a:lnTo>
                    <a:pt x="234" y="34"/>
                  </a:lnTo>
                  <a:lnTo>
                    <a:pt x="234" y="34"/>
                  </a:lnTo>
                  <a:lnTo>
                    <a:pt x="232" y="32"/>
                  </a:lnTo>
                  <a:lnTo>
                    <a:pt x="232" y="32"/>
                  </a:lnTo>
                  <a:lnTo>
                    <a:pt x="234" y="30"/>
                  </a:lnTo>
                  <a:lnTo>
                    <a:pt x="234" y="28"/>
                  </a:lnTo>
                  <a:lnTo>
                    <a:pt x="234" y="26"/>
                  </a:lnTo>
                  <a:lnTo>
                    <a:pt x="234" y="24"/>
                  </a:lnTo>
                  <a:lnTo>
                    <a:pt x="234" y="24"/>
                  </a:lnTo>
                  <a:lnTo>
                    <a:pt x="236" y="22"/>
                  </a:lnTo>
                  <a:lnTo>
                    <a:pt x="236" y="22"/>
                  </a:lnTo>
                  <a:lnTo>
                    <a:pt x="236" y="22"/>
                  </a:lnTo>
                  <a:lnTo>
                    <a:pt x="236" y="22"/>
                  </a:lnTo>
                  <a:lnTo>
                    <a:pt x="238" y="22"/>
                  </a:lnTo>
                  <a:lnTo>
                    <a:pt x="240" y="22"/>
                  </a:lnTo>
                  <a:lnTo>
                    <a:pt x="242" y="22"/>
                  </a:lnTo>
                  <a:lnTo>
                    <a:pt x="242" y="22"/>
                  </a:lnTo>
                  <a:lnTo>
                    <a:pt x="242" y="22"/>
                  </a:lnTo>
                  <a:lnTo>
                    <a:pt x="242" y="22"/>
                  </a:lnTo>
                  <a:lnTo>
                    <a:pt x="242" y="20"/>
                  </a:lnTo>
                  <a:lnTo>
                    <a:pt x="242" y="20"/>
                  </a:lnTo>
                  <a:lnTo>
                    <a:pt x="242" y="18"/>
                  </a:lnTo>
                  <a:lnTo>
                    <a:pt x="242" y="16"/>
                  </a:lnTo>
                  <a:lnTo>
                    <a:pt x="242" y="16"/>
                  </a:lnTo>
                  <a:lnTo>
                    <a:pt x="242" y="12"/>
                  </a:lnTo>
                  <a:lnTo>
                    <a:pt x="242" y="8"/>
                  </a:lnTo>
                  <a:lnTo>
                    <a:pt x="240" y="6"/>
                  </a:lnTo>
                  <a:lnTo>
                    <a:pt x="240" y="4"/>
                  </a:lnTo>
                  <a:lnTo>
                    <a:pt x="234" y="4"/>
                  </a:lnTo>
                  <a:lnTo>
                    <a:pt x="222" y="2"/>
                  </a:lnTo>
                  <a:lnTo>
                    <a:pt x="214" y="2"/>
                  </a:lnTo>
                  <a:lnTo>
                    <a:pt x="208" y="2"/>
                  </a:lnTo>
                  <a:lnTo>
                    <a:pt x="200" y="0"/>
                  </a:lnTo>
                  <a:lnTo>
                    <a:pt x="196" y="0"/>
                  </a:lnTo>
                  <a:lnTo>
                    <a:pt x="192" y="2"/>
                  </a:lnTo>
                  <a:lnTo>
                    <a:pt x="186" y="2"/>
                  </a:lnTo>
                  <a:lnTo>
                    <a:pt x="180" y="2"/>
                  </a:lnTo>
                  <a:lnTo>
                    <a:pt x="178" y="2"/>
                  </a:lnTo>
                  <a:lnTo>
                    <a:pt x="176" y="4"/>
                  </a:lnTo>
                  <a:lnTo>
                    <a:pt x="174" y="4"/>
                  </a:lnTo>
                  <a:lnTo>
                    <a:pt x="172" y="4"/>
                  </a:lnTo>
                  <a:lnTo>
                    <a:pt x="168" y="6"/>
                  </a:lnTo>
                  <a:lnTo>
                    <a:pt x="164" y="8"/>
                  </a:lnTo>
                  <a:lnTo>
                    <a:pt x="162" y="10"/>
                  </a:lnTo>
                  <a:lnTo>
                    <a:pt x="160" y="10"/>
                  </a:lnTo>
                  <a:lnTo>
                    <a:pt x="158" y="10"/>
                  </a:lnTo>
                  <a:lnTo>
                    <a:pt x="156" y="10"/>
                  </a:lnTo>
                  <a:lnTo>
                    <a:pt x="152" y="10"/>
                  </a:lnTo>
                  <a:lnTo>
                    <a:pt x="144" y="10"/>
                  </a:lnTo>
                  <a:lnTo>
                    <a:pt x="138" y="10"/>
                  </a:lnTo>
                  <a:lnTo>
                    <a:pt x="134" y="10"/>
                  </a:lnTo>
                  <a:lnTo>
                    <a:pt x="132" y="10"/>
                  </a:lnTo>
                  <a:lnTo>
                    <a:pt x="130" y="12"/>
                  </a:lnTo>
                  <a:lnTo>
                    <a:pt x="130" y="12"/>
                  </a:lnTo>
                  <a:lnTo>
                    <a:pt x="128" y="12"/>
                  </a:lnTo>
                  <a:lnTo>
                    <a:pt x="126" y="12"/>
                  </a:lnTo>
                  <a:lnTo>
                    <a:pt x="126" y="14"/>
                  </a:lnTo>
                  <a:lnTo>
                    <a:pt x="124" y="16"/>
                  </a:lnTo>
                  <a:lnTo>
                    <a:pt x="122" y="18"/>
                  </a:lnTo>
                  <a:lnTo>
                    <a:pt x="120" y="20"/>
                  </a:lnTo>
                  <a:lnTo>
                    <a:pt x="118" y="22"/>
                  </a:lnTo>
                  <a:lnTo>
                    <a:pt x="116" y="22"/>
                  </a:lnTo>
                  <a:lnTo>
                    <a:pt x="116" y="22"/>
                  </a:lnTo>
                  <a:lnTo>
                    <a:pt x="114" y="22"/>
                  </a:lnTo>
                  <a:lnTo>
                    <a:pt x="112" y="24"/>
                  </a:lnTo>
                  <a:lnTo>
                    <a:pt x="108" y="24"/>
                  </a:lnTo>
                  <a:lnTo>
                    <a:pt x="106" y="24"/>
                  </a:lnTo>
                  <a:lnTo>
                    <a:pt x="102" y="24"/>
                  </a:lnTo>
                  <a:lnTo>
                    <a:pt x="100" y="24"/>
                  </a:lnTo>
                  <a:lnTo>
                    <a:pt x="98" y="24"/>
                  </a:lnTo>
                  <a:lnTo>
                    <a:pt x="98" y="26"/>
                  </a:lnTo>
                  <a:lnTo>
                    <a:pt x="96" y="26"/>
                  </a:lnTo>
                  <a:lnTo>
                    <a:pt x="96" y="26"/>
                  </a:lnTo>
                  <a:lnTo>
                    <a:pt x="94" y="26"/>
                  </a:lnTo>
                  <a:lnTo>
                    <a:pt x="94" y="28"/>
                  </a:lnTo>
                  <a:lnTo>
                    <a:pt x="92" y="30"/>
                  </a:lnTo>
                  <a:lnTo>
                    <a:pt x="92" y="32"/>
                  </a:lnTo>
                  <a:lnTo>
                    <a:pt x="90" y="34"/>
                  </a:lnTo>
                  <a:lnTo>
                    <a:pt x="90" y="40"/>
                  </a:lnTo>
                  <a:lnTo>
                    <a:pt x="88" y="4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4" name="Freeform 381"/>
            <p:cNvSpPr>
              <a:spLocks/>
            </p:cNvSpPr>
            <p:nvPr/>
          </p:nvSpPr>
          <p:spPr bwMode="auto">
            <a:xfrm>
              <a:off x="4064827" y="3544611"/>
              <a:ext cx="491909" cy="561192"/>
            </a:xfrm>
            <a:custGeom>
              <a:avLst/>
              <a:gdLst>
                <a:gd name="T0" fmla="*/ 98 w 284"/>
                <a:gd name="T1" fmla="*/ 50 h 324"/>
                <a:gd name="T2" fmla="*/ 98 w 284"/>
                <a:gd name="T3" fmla="*/ 56 h 324"/>
                <a:gd name="T4" fmla="*/ 92 w 284"/>
                <a:gd name="T5" fmla="*/ 66 h 324"/>
                <a:gd name="T6" fmla="*/ 98 w 284"/>
                <a:gd name="T7" fmla="*/ 70 h 324"/>
                <a:gd name="T8" fmla="*/ 102 w 284"/>
                <a:gd name="T9" fmla="*/ 76 h 324"/>
                <a:gd name="T10" fmla="*/ 98 w 284"/>
                <a:gd name="T11" fmla="*/ 92 h 324"/>
                <a:gd name="T12" fmla="*/ 92 w 284"/>
                <a:gd name="T13" fmla="*/ 98 h 324"/>
                <a:gd name="T14" fmla="*/ 80 w 284"/>
                <a:gd name="T15" fmla="*/ 98 h 324"/>
                <a:gd name="T16" fmla="*/ 76 w 284"/>
                <a:gd name="T17" fmla="*/ 104 h 324"/>
                <a:gd name="T18" fmla="*/ 78 w 284"/>
                <a:gd name="T19" fmla="*/ 112 h 324"/>
                <a:gd name="T20" fmla="*/ 84 w 284"/>
                <a:gd name="T21" fmla="*/ 118 h 324"/>
                <a:gd name="T22" fmla="*/ 72 w 284"/>
                <a:gd name="T23" fmla="*/ 126 h 324"/>
                <a:gd name="T24" fmla="*/ 56 w 284"/>
                <a:gd name="T25" fmla="*/ 142 h 324"/>
                <a:gd name="T26" fmla="*/ 40 w 284"/>
                <a:gd name="T27" fmla="*/ 152 h 324"/>
                <a:gd name="T28" fmla="*/ 30 w 284"/>
                <a:gd name="T29" fmla="*/ 152 h 324"/>
                <a:gd name="T30" fmla="*/ 28 w 284"/>
                <a:gd name="T31" fmla="*/ 158 h 324"/>
                <a:gd name="T32" fmla="*/ 20 w 284"/>
                <a:gd name="T33" fmla="*/ 158 h 324"/>
                <a:gd name="T34" fmla="*/ 16 w 284"/>
                <a:gd name="T35" fmla="*/ 158 h 324"/>
                <a:gd name="T36" fmla="*/ 14 w 284"/>
                <a:gd name="T37" fmla="*/ 166 h 324"/>
                <a:gd name="T38" fmla="*/ 6 w 284"/>
                <a:gd name="T39" fmla="*/ 168 h 324"/>
                <a:gd name="T40" fmla="*/ 44 w 284"/>
                <a:gd name="T41" fmla="*/ 212 h 324"/>
                <a:gd name="T42" fmla="*/ 108 w 284"/>
                <a:gd name="T43" fmla="*/ 266 h 324"/>
                <a:gd name="T44" fmla="*/ 146 w 284"/>
                <a:gd name="T45" fmla="*/ 294 h 324"/>
                <a:gd name="T46" fmla="*/ 158 w 284"/>
                <a:gd name="T47" fmla="*/ 300 h 324"/>
                <a:gd name="T48" fmla="*/ 160 w 284"/>
                <a:gd name="T49" fmla="*/ 316 h 324"/>
                <a:gd name="T50" fmla="*/ 164 w 284"/>
                <a:gd name="T51" fmla="*/ 324 h 324"/>
                <a:gd name="T52" fmla="*/ 176 w 284"/>
                <a:gd name="T53" fmla="*/ 322 h 324"/>
                <a:gd name="T54" fmla="*/ 178 w 284"/>
                <a:gd name="T55" fmla="*/ 312 h 324"/>
                <a:gd name="T56" fmla="*/ 192 w 284"/>
                <a:gd name="T57" fmla="*/ 312 h 324"/>
                <a:gd name="T58" fmla="*/ 202 w 284"/>
                <a:gd name="T59" fmla="*/ 312 h 324"/>
                <a:gd name="T60" fmla="*/ 212 w 284"/>
                <a:gd name="T61" fmla="*/ 300 h 324"/>
                <a:gd name="T62" fmla="*/ 220 w 284"/>
                <a:gd name="T63" fmla="*/ 294 h 324"/>
                <a:gd name="T64" fmla="*/ 224 w 284"/>
                <a:gd name="T65" fmla="*/ 284 h 324"/>
                <a:gd name="T66" fmla="*/ 240 w 284"/>
                <a:gd name="T67" fmla="*/ 280 h 324"/>
                <a:gd name="T68" fmla="*/ 250 w 284"/>
                <a:gd name="T69" fmla="*/ 274 h 324"/>
                <a:gd name="T70" fmla="*/ 262 w 284"/>
                <a:gd name="T71" fmla="*/ 260 h 324"/>
                <a:gd name="T72" fmla="*/ 280 w 284"/>
                <a:gd name="T73" fmla="*/ 252 h 324"/>
                <a:gd name="T74" fmla="*/ 284 w 284"/>
                <a:gd name="T75" fmla="*/ 236 h 324"/>
                <a:gd name="T76" fmla="*/ 278 w 284"/>
                <a:gd name="T77" fmla="*/ 228 h 324"/>
                <a:gd name="T78" fmla="*/ 262 w 284"/>
                <a:gd name="T79" fmla="*/ 228 h 324"/>
                <a:gd name="T80" fmla="*/ 252 w 284"/>
                <a:gd name="T81" fmla="*/ 220 h 324"/>
                <a:gd name="T82" fmla="*/ 250 w 284"/>
                <a:gd name="T83" fmla="*/ 202 h 324"/>
                <a:gd name="T84" fmla="*/ 254 w 284"/>
                <a:gd name="T85" fmla="*/ 104 h 324"/>
                <a:gd name="T86" fmla="*/ 246 w 284"/>
                <a:gd name="T87" fmla="*/ 102 h 324"/>
                <a:gd name="T88" fmla="*/ 244 w 284"/>
                <a:gd name="T89" fmla="*/ 90 h 324"/>
                <a:gd name="T90" fmla="*/ 240 w 284"/>
                <a:gd name="T91" fmla="*/ 86 h 324"/>
                <a:gd name="T92" fmla="*/ 230 w 284"/>
                <a:gd name="T93" fmla="*/ 82 h 324"/>
                <a:gd name="T94" fmla="*/ 224 w 284"/>
                <a:gd name="T95" fmla="*/ 68 h 324"/>
                <a:gd name="T96" fmla="*/ 226 w 284"/>
                <a:gd name="T97" fmla="*/ 54 h 324"/>
                <a:gd name="T98" fmla="*/ 234 w 284"/>
                <a:gd name="T99" fmla="*/ 48 h 324"/>
                <a:gd name="T100" fmla="*/ 240 w 284"/>
                <a:gd name="T101" fmla="*/ 44 h 324"/>
                <a:gd name="T102" fmla="*/ 234 w 284"/>
                <a:gd name="T103" fmla="*/ 36 h 324"/>
                <a:gd name="T104" fmla="*/ 234 w 284"/>
                <a:gd name="T105" fmla="*/ 28 h 324"/>
                <a:gd name="T106" fmla="*/ 236 w 284"/>
                <a:gd name="T107" fmla="*/ 22 h 324"/>
                <a:gd name="T108" fmla="*/ 242 w 284"/>
                <a:gd name="T109" fmla="*/ 20 h 324"/>
                <a:gd name="T110" fmla="*/ 240 w 284"/>
                <a:gd name="T111" fmla="*/ 6 h 324"/>
                <a:gd name="T112" fmla="*/ 196 w 284"/>
                <a:gd name="T113" fmla="*/ 0 h 324"/>
                <a:gd name="T114" fmla="*/ 172 w 284"/>
                <a:gd name="T115" fmla="*/ 4 h 324"/>
                <a:gd name="T116" fmla="*/ 152 w 284"/>
                <a:gd name="T117" fmla="*/ 10 h 324"/>
                <a:gd name="T118" fmla="*/ 128 w 284"/>
                <a:gd name="T119" fmla="*/ 12 h 324"/>
                <a:gd name="T120" fmla="*/ 116 w 284"/>
                <a:gd name="T121" fmla="*/ 22 h 324"/>
                <a:gd name="T122" fmla="*/ 100 w 284"/>
                <a:gd name="T123" fmla="*/ 24 h 324"/>
                <a:gd name="T124" fmla="*/ 92 w 284"/>
                <a:gd name="T125" fmla="*/ 3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24">
                  <a:moveTo>
                    <a:pt x="88" y="42"/>
                  </a:moveTo>
                  <a:lnTo>
                    <a:pt x="88" y="42"/>
                  </a:lnTo>
                  <a:lnTo>
                    <a:pt x="90" y="42"/>
                  </a:lnTo>
                  <a:lnTo>
                    <a:pt x="94" y="46"/>
                  </a:lnTo>
                  <a:lnTo>
                    <a:pt x="96" y="48"/>
                  </a:lnTo>
                  <a:lnTo>
                    <a:pt x="98" y="50"/>
                  </a:lnTo>
                  <a:lnTo>
                    <a:pt x="98" y="50"/>
                  </a:lnTo>
                  <a:lnTo>
                    <a:pt x="100" y="52"/>
                  </a:lnTo>
                  <a:lnTo>
                    <a:pt x="100" y="52"/>
                  </a:lnTo>
                  <a:lnTo>
                    <a:pt x="100" y="52"/>
                  </a:lnTo>
                  <a:lnTo>
                    <a:pt x="100" y="54"/>
                  </a:lnTo>
                  <a:lnTo>
                    <a:pt x="100" y="54"/>
                  </a:lnTo>
                  <a:lnTo>
                    <a:pt x="100" y="56"/>
                  </a:lnTo>
                  <a:lnTo>
                    <a:pt x="98" y="56"/>
                  </a:lnTo>
                  <a:lnTo>
                    <a:pt x="98" y="58"/>
                  </a:lnTo>
                  <a:lnTo>
                    <a:pt x="96" y="60"/>
                  </a:lnTo>
                  <a:lnTo>
                    <a:pt x="94" y="62"/>
                  </a:lnTo>
                  <a:lnTo>
                    <a:pt x="94" y="64"/>
                  </a:lnTo>
                  <a:lnTo>
                    <a:pt x="92" y="64"/>
                  </a:lnTo>
                  <a:lnTo>
                    <a:pt x="92" y="66"/>
                  </a:lnTo>
                  <a:lnTo>
                    <a:pt x="92" y="66"/>
                  </a:lnTo>
                  <a:lnTo>
                    <a:pt x="92" y="66"/>
                  </a:lnTo>
                  <a:lnTo>
                    <a:pt x="92" y="68"/>
                  </a:lnTo>
                  <a:lnTo>
                    <a:pt x="92" y="68"/>
                  </a:lnTo>
                  <a:lnTo>
                    <a:pt x="94" y="68"/>
                  </a:lnTo>
                  <a:lnTo>
                    <a:pt x="96" y="68"/>
                  </a:lnTo>
                  <a:lnTo>
                    <a:pt x="96" y="70"/>
                  </a:lnTo>
                  <a:lnTo>
                    <a:pt x="98" y="70"/>
                  </a:lnTo>
                  <a:lnTo>
                    <a:pt x="100" y="70"/>
                  </a:lnTo>
                  <a:lnTo>
                    <a:pt x="100" y="70"/>
                  </a:lnTo>
                  <a:lnTo>
                    <a:pt x="100" y="72"/>
                  </a:lnTo>
                  <a:lnTo>
                    <a:pt x="102" y="72"/>
                  </a:lnTo>
                  <a:lnTo>
                    <a:pt x="102" y="74"/>
                  </a:lnTo>
                  <a:lnTo>
                    <a:pt x="102" y="74"/>
                  </a:lnTo>
                  <a:lnTo>
                    <a:pt x="102" y="76"/>
                  </a:lnTo>
                  <a:lnTo>
                    <a:pt x="102" y="78"/>
                  </a:lnTo>
                  <a:lnTo>
                    <a:pt x="102" y="80"/>
                  </a:lnTo>
                  <a:lnTo>
                    <a:pt x="102" y="82"/>
                  </a:lnTo>
                  <a:lnTo>
                    <a:pt x="100" y="86"/>
                  </a:lnTo>
                  <a:lnTo>
                    <a:pt x="100" y="88"/>
                  </a:lnTo>
                  <a:lnTo>
                    <a:pt x="98" y="90"/>
                  </a:lnTo>
                  <a:lnTo>
                    <a:pt x="98" y="92"/>
                  </a:lnTo>
                  <a:lnTo>
                    <a:pt x="98" y="94"/>
                  </a:lnTo>
                  <a:lnTo>
                    <a:pt x="96" y="94"/>
                  </a:lnTo>
                  <a:lnTo>
                    <a:pt x="96" y="96"/>
                  </a:lnTo>
                  <a:lnTo>
                    <a:pt x="94" y="96"/>
                  </a:lnTo>
                  <a:lnTo>
                    <a:pt x="94" y="98"/>
                  </a:lnTo>
                  <a:lnTo>
                    <a:pt x="94" y="98"/>
                  </a:lnTo>
                  <a:lnTo>
                    <a:pt x="92" y="98"/>
                  </a:lnTo>
                  <a:lnTo>
                    <a:pt x="92" y="98"/>
                  </a:lnTo>
                  <a:lnTo>
                    <a:pt x="90" y="98"/>
                  </a:lnTo>
                  <a:lnTo>
                    <a:pt x="86" y="98"/>
                  </a:lnTo>
                  <a:lnTo>
                    <a:pt x="84" y="98"/>
                  </a:lnTo>
                  <a:lnTo>
                    <a:pt x="82" y="98"/>
                  </a:lnTo>
                  <a:lnTo>
                    <a:pt x="80" y="98"/>
                  </a:lnTo>
                  <a:lnTo>
                    <a:pt x="80" y="98"/>
                  </a:lnTo>
                  <a:lnTo>
                    <a:pt x="80" y="98"/>
                  </a:lnTo>
                  <a:lnTo>
                    <a:pt x="78" y="98"/>
                  </a:lnTo>
                  <a:lnTo>
                    <a:pt x="78" y="100"/>
                  </a:lnTo>
                  <a:lnTo>
                    <a:pt x="78" y="100"/>
                  </a:lnTo>
                  <a:lnTo>
                    <a:pt x="76" y="102"/>
                  </a:lnTo>
                  <a:lnTo>
                    <a:pt x="76" y="102"/>
                  </a:lnTo>
                  <a:lnTo>
                    <a:pt x="76" y="104"/>
                  </a:lnTo>
                  <a:lnTo>
                    <a:pt x="76" y="106"/>
                  </a:lnTo>
                  <a:lnTo>
                    <a:pt x="76" y="108"/>
                  </a:lnTo>
                  <a:lnTo>
                    <a:pt x="76" y="108"/>
                  </a:lnTo>
                  <a:lnTo>
                    <a:pt x="76" y="108"/>
                  </a:lnTo>
                  <a:lnTo>
                    <a:pt x="76" y="110"/>
                  </a:lnTo>
                  <a:lnTo>
                    <a:pt x="78" y="110"/>
                  </a:lnTo>
                  <a:lnTo>
                    <a:pt x="78" y="112"/>
                  </a:lnTo>
                  <a:lnTo>
                    <a:pt x="80" y="112"/>
                  </a:lnTo>
                  <a:lnTo>
                    <a:pt x="82" y="114"/>
                  </a:lnTo>
                  <a:lnTo>
                    <a:pt x="82" y="114"/>
                  </a:lnTo>
                  <a:lnTo>
                    <a:pt x="84" y="114"/>
                  </a:lnTo>
                  <a:lnTo>
                    <a:pt x="84" y="116"/>
                  </a:lnTo>
                  <a:lnTo>
                    <a:pt x="84" y="116"/>
                  </a:lnTo>
                  <a:lnTo>
                    <a:pt x="84" y="118"/>
                  </a:lnTo>
                  <a:lnTo>
                    <a:pt x="82" y="118"/>
                  </a:lnTo>
                  <a:lnTo>
                    <a:pt x="82" y="120"/>
                  </a:lnTo>
                  <a:lnTo>
                    <a:pt x="82" y="120"/>
                  </a:lnTo>
                  <a:lnTo>
                    <a:pt x="80" y="122"/>
                  </a:lnTo>
                  <a:lnTo>
                    <a:pt x="78" y="122"/>
                  </a:lnTo>
                  <a:lnTo>
                    <a:pt x="76" y="124"/>
                  </a:lnTo>
                  <a:lnTo>
                    <a:pt x="72" y="126"/>
                  </a:lnTo>
                  <a:lnTo>
                    <a:pt x="70" y="128"/>
                  </a:lnTo>
                  <a:lnTo>
                    <a:pt x="66" y="130"/>
                  </a:lnTo>
                  <a:lnTo>
                    <a:pt x="66" y="132"/>
                  </a:lnTo>
                  <a:lnTo>
                    <a:pt x="64" y="132"/>
                  </a:lnTo>
                  <a:lnTo>
                    <a:pt x="62" y="136"/>
                  </a:lnTo>
                  <a:lnTo>
                    <a:pt x="58" y="138"/>
                  </a:lnTo>
                  <a:lnTo>
                    <a:pt x="56" y="142"/>
                  </a:lnTo>
                  <a:lnTo>
                    <a:pt x="54" y="144"/>
                  </a:lnTo>
                  <a:lnTo>
                    <a:pt x="52" y="144"/>
                  </a:lnTo>
                  <a:lnTo>
                    <a:pt x="50" y="146"/>
                  </a:lnTo>
                  <a:lnTo>
                    <a:pt x="46" y="148"/>
                  </a:lnTo>
                  <a:lnTo>
                    <a:pt x="44" y="150"/>
                  </a:lnTo>
                  <a:lnTo>
                    <a:pt x="42" y="150"/>
                  </a:lnTo>
                  <a:lnTo>
                    <a:pt x="40" y="152"/>
                  </a:lnTo>
                  <a:lnTo>
                    <a:pt x="40" y="152"/>
                  </a:lnTo>
                  <a:lnTo>
                    <a:pt x="38" y="152"/>
                  </a:lnTo>
                  <a:lnTo>
                    <a:pt x="36" y="150"/>
                  </a:lnTo>
                  <a:lnTo>
                    <a:pt x="34" y="150"/>
                  </a:lnTo>
                  <a:lnTo>
                    <a:pt x="32" y="150"/>
                  </a:lnTo>
                  <a:lnTo>
                    <a:pt x="32" y="150"/>
                  </a:lnTo>
                  <a:lnTo>
                    <a:pt x="30" y="152"/>
                  </a:lnTo>
                  <a:lnTo>
                    <a:pt x="30" y="152"/>
                  </a:lnTo>
                  <a:lnTo>
                    <a:pt x="30" y="152"/>
                  </a:lnTo>
                  <a:lnTo>
                    <a:pt x="28" y="154"/>
                  </a:lnTo>
                  <a:lnTo>
                    <a:pt x="28" y="156"/>
                  </a:lnTo>
                  <a:lnTo>
                    <a:pt x="28" y="158"/>
                  </a:lnTo>
                  <a:lnTo>
                    <a:pt x="28" y="158"/>
                  </a:lnTo>
                  <a:lnTo>
                    <a:pt x="28" y="158"/>
                  </a:lnTo>
                  <a:lnTo>
                    <a:pt x="28" y="158"/>
                  </a:lnTo>
                  <a:lnTo>
                    <a:pt x="26" y="158"/>
                  </a:lnTo>
                  <a:lnTo>
                    <a:pt x="26" y="158"/>
                  </a:lnTo>
                  <a:lnTo>
                    <a:pt x="24" y="158"/>
                  </a:lnTo>
                  <a:lnTo>
                    <a:pt x="22" y="158"/>
                  </a:lnTo>
                  <a:lnTo>
                    <a:pt x="22" y="158"/>
                  </a:lnTo>
                  <a:lnTo>
                    <a:pt x="20" y="158"/>
                  </a:lnTo>
                  <a:lnTo>
                    <a:pt x="18" y="158"/>
                  </a:lnTo>
                  <a:lnTo>
                    <a:pt x="18" y="158"/>
                  </a:lnTo>
                  <a:lnTo>
                    <a:pt x="16" y="158"/>
                  </a:lnTo>
                  <a:lnTo>
                    <a:pt x="16" y="158"/>
                  </a:lnTo>
                  <a:lnTo>
                    <a:pt x="16" y="158"/>
                  </a:lnTo>
                  <a:lnTo>
                    <a:pt x="16" y="158"/>
                  </a:lnTo>
                  <a:lnTo>
                    <a:pt x="16" y="158"/>
                  </a:lnTo>
                  <a:lnTo>
                    <a:pt x="14" y="160"/>
                  </a:lnTo>
                  <a:lnTo>
                    <a:pt x="14" y="160"/>
                  </a:lnTo>
                  <a:lnTo>
                    <a:pt x="14" y="162"/>
                  </a:lnTo>
                  <a:lnTo>
                    <a:pt x="16" y="164"/>
                  </a:lnTo>
                  <a:lnTo>
                    <a:pt x="16" y="164"/>
                  </a:lnTo>
                  <a:lnTo>
                    <a:pt x="14" y="166"/>
                  </a:lnTo>
                  <a:lnTo>
                    <a:pt x="14" y="166"/>
                  </a:lnTo>
                  <a:lnTo>
                    <a:pt x="14" y="166"/>
                  </a:lnTo>
                  <a:lnTo>
                    <a:pt x="14" y="166"/>
                  </a:lnTo>
                  <a:lnTo>
                    <a:pt x="12" y="166"/>
                  </a:lnTo>
                  <a:lnTo>
                    <a:pt x="12" y="168"/>
                  </a:lnTo>
                  <a:lnTo>
                    <a:pt x="10" y="168"/>
                  </a:lnTo>
                  <a:lnTo>
                    <a:pt x="8" y="168"/>
                  </a:lnTo>
                  <a:lnTo>
                    <a:pt x="6" y="168"/>
                  </a:lnTo>
                  <a:lnTo>
                    <a:pt x="4" y="168"/>
                  </a:lnTo>
                  <a:lnTo>
                    <a:pt x="2" y="166"/>
                  </a:lnTo>
                  <a:lnTo>
                    <a:pt x="0" y="166"/>
                  </a:lnTo>
                  <a:lnTo>
                    <a:pt x="30" y="202"/>
                  </a:lnTo>
                  <a:lnTo>
                    <a:pt x="36" y="206"/>
                  </a:lnTo>
                  <a:lnTo>
                    <a:pt x="40" y="210"/>
                  </a:lnTo>
                  <a:lnTo>
                    <a:pt x="44" y="212"/>
                  </a:lnTo>
                  <a:lnTo>
                    <a:pt x="50" y="216"/>
                  </a:lnTo>
                  <a:lnTo>
                    <a:pt x="56" y="222"/>
                  </a:lnTo>
                  <a:lnTo>
                    <a:pt x="62" y="226"/>
                  </a:lnTo>
                  <a:lnTo>
                    <a:pt x="68" y="232"/>
                  </a:lnTo>
                  <a:lnTo>
                    <a:pt x="80" y="242"/>
                  </a:lnTo>
                  <a:lnTo>
                    <a:pt x="94" y="254"/>
                  </a:lnTo>
                  <a:lnTo>
                    <a:pt x="108" y="266"/>
                  </a:lnTo>
                  <a:lnTo>
                    <a:pt x="114" y="272"/>
                  </a:lnTo>
                  <a:lnTo>
                    <a:pt x="122" y="276"/>
                  </a:lnTo>
                  <a:lnTo>
                    <a:pt x="128" y="282"/>
                  </a:lnTo>
                  <a:lnTo>
                    <a:pt x="134" y="286"/>
                  </a:lnTo>
                  <a:lnTo>
                    <a:pt x="140" y="290"/>
                  </a:lnTo>
                  <a:lnTo>
                    <a:pt x="146" y="294"/>
                  </a:lnTo>
                  <a:lnTo>
                    <a:pt x="146" y="294"/>
                  </a:lnTo>
                  <a:lnTo>
                    <a:pt x="148" y="294"/>
                  </a:lnTo>
                  <a:lnTo>
                    <a:pt x="152" y="296"/>
                  </a:lnTo>
                  <a:lnTo>
                    <a:pt x="154" y="296"/>
                  </a:lnTo>
                  <a:lnTo>
                    <a:pt x="156" y="298"/>
                  </a:lnTo>
                  <a:lnTo>
                    <a:pt x="158" y="298"/>
                  </a:lnTo>
                  <a:lnTo>
                    <a:pt x="158" y="300"/>
                  </a:lnTo>
                  <a:lnTo>
                    <a:pt x="158" y="300"/>
                  </a:lnTo>
                  <a:lnTo>
                    <a:pt x="160" y="300"/>
                  </a:lnTo>
                  <a:lnTo>
                    <a:pt x="160" y="302"/>
                  </a:lnTo>
                  <a:lnTo>
                    <a:pt x="160" y="304"/>
                  </a:lnTo>
                  <a:lnTo>
                    <a:pt x="160" y="306"/>
                  </a:lnTo>
                  <a:lnTo>
                    <a:pt x="160" y="308"/>
                  </a:lnTo>
                  <a:lnTo>
                    <a:pt x="160" y="312"/>
                  </a:lnTo>
                  <a:lnTo>
                    <a:pt x="160" y="316"/>
                  </a:lnTo>
                  <a:lnTo>
                    <a:pt x="160" y="318"/>
                  </a:lnTo>
                  <a:lnTo>
                    <a:pt x="160" y="320"/>
                  </a:lnTo>
                  <a:lnTo>
                    <a:pt x="160" y="320"/>
                  </a:lnTo>
                  <a:lnTo>
                    <a:pt x="162" y="322"/>
                  </a:lnTo>
                  <a:lnTo>
                    <a:pt x="162" y="324"/>
                  </a:lnTo>
                  <a:lnTo>
                    <a:pt x="162" y="324"/>
                  </a:lnTo>
                  <a:lnTo>
                    <a:pt x="164" y="324"/>
                  </a:lnTo>
                  <a:lnTo>
                    <a:pt x="164" y="324"/>
                  </a:lnTo>
                  <a:lnTo>
                    <a:pt x="164" y="324"/>
                  </a:lnTo>
                  <a:lnTo>
                    <a:pt x="166" y="324"/>
                  </a:lnTo>
                  <a:lnTo>
                    <a:pt x="168" y="324"/>
                  </a:lnTo>
                  <a:lnTo>
                    <a:pt x="170" y="324"/>
                  </a:lnTo>
                  <a:lnTo>
                    <a:pt x="174" y="322"/>
                  </a:lnTo>
                  <a:lnTo>
                    <a:pt x="176" y="322"/>
                  </a:lnTo>
                  <a:lnTo>
                    <a:pt x="176" y="320"/>
                  </a:lnTo>
                  <a:lnTo>
                    <a:pt x="176" y="318"/>
                  </a:lnTo>
                  <a:lnTo>
                    <a:pt x="176" y="316"/>
                  </a:lnTo>
                  <a:lnTo>
                    <a:pt x="176" y="316"/>
                  </a:lnTo>
                  <a:lnTo>
                    <a:pt x="176" y="314"/>
                  </a:lnTo>
                  <a:lnTo>
                    <a:pt x="176" y="314"/>
                  </a:lnTo>
                  <a:lnTo>
                    <a:pt x="178" y="312"/>
                  </a:lnTo>
                  <a:lnTo>
                    <a:pt x="178" y="312"/>
                  </a:lnTo>
                  <a:lnTo>
                    <a:pt x="180" y="312"/>
                  </a:lnTo>
                  <a:lnTo>
                    <a:pt x="182" y="312"/>
                  </a:lnTo>
                  <a:lnTo>
                    <a:pt x="184" y="312"/>
                  </a:lnTo>
                  <a:lnTo>
                    <a:pt x="186" y="312"/>
                  </a:lnTo>
                  <a:lnTo>
                    <a:pt x="188" y="312"/>
                  </a:lnTo>
                  <a:lnTo>
                    <a:pt x="192" y="312"/>
                  </a:lnTo>
                  <a:lnTo>
                    <a:pt x="196" y="312"/>
                  </a:lnTo>
                  <a:lnTo>
                    <a:pt x="196" y="312"/>
                  </a:lnTo>
                  <a:lnTo>
                    <a:pt x="198" y="312"/>
                  </a:lnTo>
                  <a:lnTo>
                    <a:pt x="200" y="312"/>
                  </a:lnTo>
                  <a:lnTo>
                    <a:pt x="200" y="312"/>
                  </a:lnTo>
                  <a:lnTo>
                    <a:pt x="202" y="312"/>
                  </a:lnTo>
                  <a:lnTo>
                    <a:pt x="202" y="312"/>
                  </a:lnTo>
                  <a:lnTo>
                    <a:pt x="204" y="310"/>
                  </a:lnTo>
                  <a:lnTo>
                    <a:pt x="204" y="308"/>
                  </a:lnTo>
                  <a:lnTo>
                    <a:pt x="206" y="306"/>
                  </a:lnTo>
                  <a:lnTo>
                    <a:pt x="208" y="304"/>
                  </a:lnTo>
                  <a:lnTo>
                    <a:pt x="210" y="302"/>
                  </a:lnTo>
                  <a:lnTo>
                    <a:pt x="210" y="300"/>
                  </a:lnTo>
                  <a:lnTo>
                    <a:pt x="212" y="300"/>
                  </a:lnTo>
                  <a:lnTo>
                    <a:pt x="212" y="300"/>
                  </a:lnTo>
                  <a:lnTo>
                    <a:pt x="216" y="298"/>
                  </a:lnTo>
                  <a:lnTo>
                    <a:pt x="218" y="296"/>
                  </a:lnTo>
                  <a:lnTo>
                    <a:pt x="218" y="296"/>
                  </a:lnTo>
                  <a:lnTo>
                    <a:pt x="220" y="296"/>
                  </a:lnTo>
                  <a:lnTo>
                    <a:pt x="220" y="294"/>
                  </a:lnTo>
                  <a:lnTo>
                    <a:pt x="220" y="294"/>
                  </a:lnTo>
                  <a:lnTo>
                    <a:pt x="220" y="290"/>
                  </a:lnTo>
                  <a:lnTo>
                    <a:pt x="220" y="290"/>
                  </a:lnTo>
                  <a:lnTo>
                    <a:pt x="222" y="288"/>
                  </a:lnTo>
                  <a:lnTo>
                    <a:pt x="222" y="286"/>
                  </a:lnTo>
                  <a:lnTo>
                    <a:pt x="222" y="286"/>
                  </a:lnTo>
                  <a:lnTo>
                    <a:pt x="222" y="286"/>
                  </a:lnTo>
                  <a:lnTo>
                    <a:pt x="224" y="284"/>
                  </a:lnTo>
                  <a:lnTo>
                    <a:pt x="224" y="284"/>
                  </a:lnTo>
                  <a:lnTo>
                    <a:pt x="226" y="284"/>
                  </a:lnTo>
                  <a:lnTo>
                    <a:pt x="226" y="284"/>
                  </a:lnTo>
                  <a:lnTo>
                    <a:pt x="230" y="282"/>
                  </a:lnTo>
                  <a:lnTo>
                    <a:pt x="234" y="282"/>
                  </a:lnTo>
                  <a:lnTo>
                    <a:pt x="238" y="280"/>
                  </a:lnTo>
                  <a:lnTo>
                    <a:pt x="240" y="280"/>
                  </a:lnTo>
                  <a:lnTo>
                    <a:pt x="242" y="280"/>
                  </a:lnTo>
                  <a:lnTo>
                    <a:pt x="244" y="280"/>
                  </a:lnTo>
                  <a:lnTo>
                    <a:pt x="246" y="278"/>
                  </a:lnTo>
                  <a:lnTo>
                    <a:pt x="246" y="278"/>
                  </a:lnTo>
                  <a:lnTo>
                    <a:pt x="246" y="278"/>
                  </a:lnTo>
                  <a:lnTo>
                    <a:pt x="248" y="276"/>
                  </a:lnTo>
                  <a:lnTo>
                    <a:pt x="250" y="274"/>
                  </a:lnTo>
                  <a:lnTo>
                    <a:pt x="250" y="270"/>
                  </a:lnTo>
                  <a:lnTo>
                    <a:pt x="252" y="268"/>
                  </a:lnTo>
                  <a:lnTo>
                    <a:pt x="252" y="268"/>
                  </a:lnTo>
                  <a:lnTo>
                    <a:pt x="254" y="266"/>
                  </a:lnTo>
                  <a:lnTo>
                    <a:pt x="254" y="266"/>
                  </a:lnTo>
                  <a:lnTo>
                    <a:pt x="258" y="262"/>
                  </a:lnTo>
                  <a:lnTo>
                    <a:pt x="262" y="260"/>
                  </a:lnTo>
                  <a:lnTo>
                    <a:pt x="264" y="258"/>
                  </a:lnTo>
                  <a:lnTo>
                    <a:pt x="266" y="258"/>
                  </a:lnTo>
                  <a:lnTo>
                    <a:pt x="268" y="256"/>
                  </a:lnTo>
                  <a:lnTo>
                    <a:pt x="272" y="254"/>
                  </a:lnTo>
                  <a:lnTo>
                    <a:pt x="276" y="254"/>
                  </a:lnTo>
                  <a:lnTo>
                    <a:pt x="278" y="252"/>
                  </a:lnTo>
                  <a:lnTo>
                    <a:pt x="280" y="252"/>
                  </a:lnTo>
                  <a:lnTo>
                    <a:pt x="280" y="250"/>
                  </a:lnTo>
                  <a:lnTo>
                    <a:pt x="282" y="250"/>
                  </a:lnTo>
                  <a:lnTo>
                    <a:pt x="282" y="248"/>
                  </a:lnTo>
                  <a:lnTo>
                    <a:pt x="284" y="246"/>
                  </a:lnTo>
                  <a:lnTo>
                    <a:pt x="284" y="244"/>
                  </a:lnTo>
                  <a:lnTo>
                    <a:pt x="284" y="238"/>
                  </a:lnTo>
                  <a:lnTo>
                    <a:pt x="284" y="236"/>
                  </a:lnTo>
                  <a:lnTo>
                    <a:pt x="284" y="234"/>
                  </a:lnTo>
                  <a:lnTo>
                    <a:pt x="282" y="232"/>
                  </a:lnTo>
                  <a:lnTo>
                    <a:pt x="282" y="232"/>
                  </a:lnTo>
                  <a:lnTo>
                    <a:pt x="282" y="230"/>
                  </a:lnTo>
                  <a:lnTo>
                    <a:pt x="282" y="230"/>
                  </a:lnTo>
                  <a:lnTo>
                    <a:pt x="280" y="230"/>
                  </a:lnTo>
                  <a:lnTo>
                    <a:pt x="278" y="228"/>
                  </a:lnTo>
                  <a:lnTo>
                    <a:pt x="278" y="228"/>
                  </a:lnTo>
                  <a:lnTo>
                    <a:pt x="274" y="228"/>
                  </a:lnTo>
                  <a:lnTo>
                    <a:pt x="272" y="228"/>
                  </a:lnTo>
                  <a:lnTo>
                    <a:pt x="268" y="228"/>
                  </a:lnTo>
                  <a:lnTo>
                    <a:pt x="264" y="228"/>
                  </a:lnTo>
                  <a:lnTo>
                    <a:pt x="264" y="228"/>
                  </a:lnTo>
                  <a:lnTo>
                    <a:pt x="262" y="228"/>
                  </a:lnTo>
                  <a:lnTo>
                    <a:pt x="260" y="228"/>
                  </a:lnTo>
                  <a:lnTo>
                    <a:pt x="260" y="226"/>
                  </a:lnTo>
                  <a:lnTo>
                    <a:pt x="258" y="226"/>
                  </a:lnTo>
                  <a:lnTo>
                    <a:pt x="258" y="226"/>
                  </a:lnTo>
                  <a:lnTo>
                    <a:pt x="256" y="224"/>
                  </a:lnTo>
                  <a:lnTo>
                    <a:pt x="254" y="222"/>
                  </a:lnTo>
                  <a:lnTo>
                    <a:pt x="252" y="220"/>
                  </a:lnTo>
                  <a:lnTo>
                    <a:pt x="252" y="220"/>
                  </a:lnTo>
                  <a:lnTo>
                    <a:pt x="252" y="218"/>
                  </a:lnTo>
                  <a:lnTo>
                    <a:pt x="252" y="216"/>
                  </a:lnTo>
                  <a:lnTo>
                    <a:pt x="250" y="214"/>
                  </a:lnTo>
                  <a:lnTo>
                    <a:pt x="250" y="210"/>
                  </a:lnTo>
                  <a:lnTo>
                    <a:pt x="250" y="206"/>
                  </a:lnTo>
                  <a:lnTo>
                    <a:pt x="250" y="202"/>
                  </a:lnTo>
                  <a:lnTo>
                    <a:pt x="250" y="190"/>
                  </a:lnTo>
                  <a:lnTo>
                    <a:pt x="252" y="176"/>
                  </a:lnTo>
                  <a:lnTo>
                    <a:pt x="252" y="160"/>
                  </a:lnTo>
                  <a:lnTo>
                    <a:pt x="252" y="144"/>
                  </a:lnTo>
                  <a:lnTo>
                    <a:pt x="254" y="116"/>
                  </a:lnTo>
                  <a:lnTo>
                    <a:pt x="254" y="104"/>
                  </a:lnTo>
                  <a:lnTo>
                    <a:pt x="254" y="104"/>
                  </a:lnTo>
                  <a:lnTo>
                    <a:pt x="250" y="104"/>
                  </a:lnTo>
                  <a:lnTo>
                    <a:pt x="250" y="104"/>
                  </a:lnTo>
                  <a:lnTo>
                    <a:pt x="248" y="104"/>
                  </a:lnTo>
                  <a:lnTo>
                    <a:pt x="246" y="104"/>
                  </a:lnTo>
                  <a:lnTo>
                    <a:pt x="246" y="104"/>
                  </a:lnTo>
                  <a:lnTo>
                    <a:pt x="246" y="104"/>
                  </a:lnTo>
                  <a:lnTo>
                    <a:pt x="246" y="102"/>
                  </a:lnTo>
                  <a:lnTo>
                    <a:pt x="244" y="102"/>
                  </a:lnTo>
                  <a:lnTo>
                    <a:pt x="244" y="102"/>
                  </a:lnTo>
                  <a:lnTo>
                    <a:pt x="244" y="100"/>
                  </a:lnTo>
                  <a:lnTo>
                    <a:pt x="244" y="98"/>
                  </a:lnTo>
                  <a:lnTo>
                    <a:pt x="244" y="96"/>
                  </a:lnTo>
                  <a:lnTo>
                    <a:pt x="244" y="92"/>
                  </a:lnTo>
                  <a:lnTo>
                    <a:pt x="244" y="90"/>
                  </a:lnTo>
                  <a:lnTo>
                    <a:pt x="242" y="90"/>
                  </a:lnTo>
                  <a:lnTo>
                    <a:pt x="242" y="88"/>
                  </a:lnTo>
                  <a:lnTo>
                    <a:pt x="242" y="88"/>
                  </a:lnTo>
                  <a:lnTo>
                    <a:pt x="242" y="86"/>
                  </a:lnTo>
                  <a:lnTo>
                    <a:pt x="242" y="86"/>
                  </a:lnTo>
                  <a:lnTo>
                    <a:pt x="240" y="86"/>
                  </a:lnTo>
                  <a:lnTo>
                    <a:pt x="240" y="86"/>
                  </a:lnTo>
                  <a:lnTo>
                    <a:pt x="238" y="84"/>
                  </a:lnTo>
                  <a:lnTo>
                    <a:pt x="236" y="84"/>
                  </a:lnTo>
                  <a:lnTo>
                    <a:pt x="234" y="84"/>
                  </a:lnTo>
                  <a:lnTo>
                    <a:pt x="232" y="84"/>
                  </a:lnTo>
                  <a:lnTo>
                    <a:pt x="230" y="82"/>
                  </a:lnTo>
                  <a:lnTo>
                    <a:pt x="230" y="82"/>
                  </a:lnTo>
                  <a:lnTo>
                    <a:pt x="230" y="82"/>
                  </a:lnTo>
                  <a:lnTo>
                    <a:pt x="228" y="80"/>
                  </a:lnTo>
                  <a:lnTo>
                    <a:pt x="226" y="78"/>
                  </a:lnTo>
                  <a:lnTo>
                    <a:pt x="226" y="76"/>
                  </a:lnTo>
                  <a:lnTo>
                    <a:pt x="226" y="74"/>
                  </a:lnTo>
                  <a:lnTo>
                    <a:pt x="224" y="72"/>
                  </a:lnTo>
                  <a:lnTo>
                    <a:pt x="224" y="70"/>
                  </a:lnTo>
                  <a:lnTo>
                    <a:pt x="224" y="68"/>
                  </a:lnTo>
                  <a:lnTo>
                    <a:pt x="224" y="66"/>
                  </a:lnTo>
                  <a:lnTo>
                    <a:pt x="224" y="64"/>
                  </a:lnTo>
                  <a:lnTo>
                    <a:pt x="224" y="62"/>
                  </a:lnTo>
                  <a:lnTo>
                    <a:pt x="224" y="60"/>
                  </a:lnTo>
                  <a:lnTo>
                    <a:pt x="224" y="58"/>
                  </a:lnTo>
                  <a:lnTo>
                    <a:pt x="224" y="56"/>
                  </a:lnTo>
                  <a:lnTo>
                    <a:pt x="226" y="54"/>
                  </a:lnTo>
                  <a:lnTo>
                    <a:pt x="226" y="52"/>
                  </a:lnTo>
                  <a:lnTo>
                    <a:pt x="226" y="50"/>
                  </a:lnTo>
                  <a:lnTo>
                    <a:pt x="228" y="50"/>
                  </a:lnTo>
                  <a:lnTo>
                    <a:pt x="228" y="50"/>
                  </a:lnTo>
                  <a:lnTo>
                    <a:pt x="230" y="48"/>
                  </a:lnTo>
                  <a:lnTo>
                    <a:pt x="232" y="48"/>
                  </a:lnTo>
                  <a:lnTo>
                    <a:pt x="234" y="48"/>
                  </a:lnTo>
                  <a:lnTo>
                    <a:pt x="236" y="48"/>
                  </a:lnTo>
                  <a:lnTo>
                    <a:pt x="238" y="48"/>
                  </a:lnTo>
                  <a:lnTo>
                    <a:pt x="240" y="46"/>
                  </a:lnTo>
                  <a:lnTo>
                    <a:pt x="240" y="46"/>
                  </a:lnTo>
                  <a:lnTo>
                    <a:pt x="240" y="46"/>
                  </a:lnTo>
                  <a:lnTo>
                    <a:pt x="240" y="46"/>
                  </a:lnTo>
                  <a:lnTo>
                    <a:pt x="240" y="44"/>
                  </a:lnTo>
                  <a:lnTo>
                    <a:pt x="240" y="44"/>
                  </a:lnTo>
                  <a:lnTo>
                    <a:pt x="240" y="44"/>
                  </a:lnTo>
                  <a:lnTo>
                    <a:pt x="240" y="42"/>
                  </a:lnTo>
                  <a:lnTo>
                    <a:pt x="238" y="42"/>
                  </a:lnTo>
                  <a:lnTo>
                    <a:pt x="238" y="40"/>
                  </a:lnTo>
                  <a:lnTo>
                    <a:pt x="236" y="38"/>
                  </a:lnTo>
                  <a:lnTo>
                    <a:pt x="234" y="36"/>
                  </a:lnTo>
                  <a:lnTo>
                    <a:pt x="234" y="36"/>
                  </a:lnTo>
                  <a:lnTo>
                    <a:pt x="234" y="34"/>
                  </a:lnTo>
                  <a:lnTo>
                    <a:pt x="234" y="34"/>
                  </a:lnTo>
                  <a:lnTo>
                    <a:pt x="232" y="32"/>
                  </a:lnTo>
                  <a:lnTo>
                    <a:pt x="232" y="32"/>
                  </a:lnTo>
                  <a:lnTo>
                    <a:pt x="234" y="30"/>
                  </a:lnTo>
                  <a:lnTo>
                    <a:pt x="234" y="28"/>
                  </a:lnTo>
                  <a:lnTo>
                    <a:pt x="234" y="26"/>
                  </a:lnTo>
                  <a:lnTo>
                    <a:pt x="234" y="24"/>
                  </a:lnTo>
                  <a:lnTo>
                    <a:pt x="234" y="24"/>
                  </a:lnTo>
                  <a:lnTo>
                    <a:pt x="236" y="22"/>
                  </a:lnTo>
                  <a:lnTo>
                    <a:pt x="236" y="22"/>
                  </a:lnTo>
                  <a:lnTo>
                    <a:pt x="236" y="22"/>
                  </a:lnTo>
                  <a:lnTo>
                    <a:pt x="236" y="22"/>
                  </a:lnTo>
                  <a:lnTo>
                    <a:pt x="238" y="22"/>
                  </a:lnTo>
                  <a:lnTo>
                    <a:pt x="240" y="22"/>
                  </a:lnTo>
                  <a:lnTo>
                    <a:pt x="242" y="22"/>
                  </a:lnTo>
                  <a:lnTo>
                    <a:pt x="242" y="22"/>
                  </a:lnTo>
                  <a:lnTo>
                    <a:pt x="242" y="22"/>
                  </a:lnTo>
                  <a:lnTo>
                    <a:pt x="242" y="22"/>
                  </a:lnTo>
                  <a:lnTo>
                    <a:pt x="242" y="20"/>
                  </a:lnTo>
                  <a:lnTo>
                    <a:pt x="242" y="20"/>
                  </a:lnTo>
                  <a:lnTo>
                    <a:pt x="242" y="18"/>
                  </a:lnTo>
                  <a:lnTo>
                    <a:pt x="242" y="16"/>
                  </a:lnTo>
                  <a:lnTo>
                    <a:pt x="242" y="16"/>
                  </a:lnTo>
                  <a:lnTo>
                    <a:pt x="242" y="12"/>
                  </a:lnTo>
                  <a:lnTo>
                    <a:pt x="242" y="8"/>
                  </a:lnTo>
                  <a:lnTo>
                    <a:pt x="240" y="6"/>
                  </a:lnTo>
                  <a:lnTo>
                    <a:pt x="240" y="4"/>
                  </a:lnTo>
                  <a:lnTo>
                    <a:pt x="234" y="4"/>
                  </a:lnTo>
                  <a:lnTo>
                    <a:pt x="222" y="2"/>
                  </a:lnTo>
                  <a:lnTo>
                    <a:pt x="214" y="2"/>
                  </a:lnTo>
                  <a:lnTo>
                    <a:pt x="208" y="2"/>
                  </a:lnTo>
                  <a:lnTo>
                    <a:pt x="200" y="0"/>
                  </a:lnTo>
                  <a:lnTo>
                    <a:pt x="196" y="0"/>
                  </a:lnTo>
                  <a:lnTo>
                    <a:pt x="192" y="2"/>
                  </a:lnTo>
                  <a:lnTo>
                    <a:pt x="186" y="2"/>
                  </a:lnTo>
                  <a:lnTo>
                    <a:pt x="180" y="2"/>
                  </a:lnTo>
                  <a:lnTo>
                    <a:pt x="178" y="2"/>
                  </a:lnTo>
                  <a:lnTo>
                    <a:pt x="176" y="4"/>
                  </a:lnTo>
                  <a:lnTo>
                    <a:pt x="174" y="4"/>
                  </a:lnTo>
                  <a:lnTo>
                    <a:pt x="172" y="4"/>
                  </a:lnTo>
                  <a:lnTo>
                    <a:pt x="168" y="6"/>
                  </a:lnTo>
                  <a:lnTo>
                    <a:pt x="164" y="8"/>
                  </a:lnTo>
                  <a:lnTo>
                    <a:pt x="162" y="10"/>
                  </a:lnTo>
                  <a:lnTo>
                    <a:pt x="160" y="10"/>
                  </a:lnTo>
                  <a:lnTo>
                    <a:pt x="158" y="10"/>
                  </a:lnTo>
                  <a:lnTo>
                    <a:pt x="156" y="10"/>
                  </a:lnTo>
                  <a:lnTo>
                    <a:pt x="152" y="10"/>
                  </a:lnTo>
                  <a:lnTo>
                    <a:pt x="144" y="10"/>
                  </a:lnTo>
                  <a:lnTo>
                    <a:pt x="138" y="10"/>
                  </a:lnTo>
                  <a:lnTo>
                    <a:pt x="134" y="10"/>
                  </a:lnTo>
                  <a:lnTo>
                    <a:pt x="132" y="10"/>
                  </a:lnTo>
                  <a:lnTo>
                    <a:pt x="130" y="12"/>
                  </a:lnTo>
                  <a:lnTo>
                    <a:pt x="130" y="12"/>
                  </a:lnTo>
                  <a:lnTo>
                    <a:pt x="128" y="12"/>
                  </a:lnTo>
                  <a:lnTo>
                    <a:pt x="126" y="12"/>
                  </a:lnTo>
                  <a:lnTo>
                    <a:pt x="126" y="14"/>
                  </a:lnTo>
                  <a:lnTo>
                    <a:pt x="124" y="16"/>
                  </a:lnTo>
                  <a:lnTo>
                    <a:pt x="122" y="18"/>
                  </a:lnTo>
                  <a:lnTo>
                    <a:pt x="120" y="20"/>
                  </a:lnTo>
                  <a:lnTo>
                    <a:pt x="118" y="22"/>
                  </a:lnTo>
                  <a:lnTo>
                    <a:pt x="116" y="22"/>
                  </a:lnTo>
                  <a:lnTo>
                    <a:pt x="116" y="22"/>
                  </a:lnTo>
                  <a:lnTo>
                    <a:pt x="114" y="22"/>
                  </a:lnTo>
                  <a:lnTo>
                    <a:pt x="112" y="24"/>
                  </a:lnTo>
                  <a:lnTo>
                    <a:pt x="108" y="24"/>
                  </a:lnTo>
                  <a:lnTo>
                    <a:pt x="106" y="24"/>
                  </a:lnTo>
                  <a:lnTo>
                    <a:pt x="102" y="24"/>
                  </a:lnTo>
                  <a:lnTo>
                    <a:pt x="100" y="24"/>
                  </a:lnTo>
                  <a:lnTo>
                    <a:pt x="98" y="24"/>
                  </a:lnTo>
                  <a:lnTo>
                    <a:pt x="98" y="26"/>
                  </a:lnTo>
                  <a:lnTo>
                    <a:pt x="96" y="26"/>
                  </a:lnTo>
                  <a:lnTo>
                    <a:pt x="96" y="26"/>
                  </a:lnTo>
                  <a:lnTo>
                    <a:pt x="94" y="26"/>
                  </a:lnTo>
                  <a:lnTo>
                    <a:pt x="94" y="28"/>
                  </a:lnTo>
                  <a:lnTo>
                    <a:pt x="92" y="30"/>
                  </a:lnTo>
                  <a:lnTo>
                    <a:pt x="92" y="32"/>
                  </a:lnTo>
                  <a:lnTo>
                    <a:pt x="90" y="34"/>
                  </a:lnTo>
                  <a:lnTo>
                    <a:pt x="90" y="40"/>
                  </a:lnTo>
                  <a:lnTo>
                    <a:pt x="88" y="4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5" name="Freeform 382"/>
            <p:cNvSpPr>
              <a:spLocks/>
            </p:cNvSpPr>
            <p:nvPr/>
          </p:nvSpPr>
          <p:spPr bwMode="auto">
            <a:xfrm>
              <a:off x="4438955" y="4251298"/>
              <a:ext cx="239026" cy="363736"/>
            </a:xfrm>
            <a:custGeom>
              <a:avLst/>
              <a:gdLst>
                <a:gd name="T0" fmla="*/ 12 w 138"/>
                <a:gd name="T1" fmla="*/ 150 h 210"/>
                <a:gd name="T2" fmla="*/ 28 w 138"/>
                <a:gd name="T3" fmla="*/ 136 h 210"/>
                <a:gd name="T4" fmla="*/ 36 w 138"/>
                <a:gd name="T5" fmla="*/ 126 h 210"/>
                <a:gd name="T6" fmla="*/ 48 w 138"/>
                <a:gd name="T7" fmla="*/ 114 h 210"/>
                <a:gd name="T8" fmla="*/ 60 w 138"/>
                <a:gd name="T9" fmla="*/ 106 h 210"/>
                <a:gd name="T10" fmla="*/ 66 w 138"/>
                <a:gd name="T11" fmla="*/ 100 h 210"/>
                <a:gd name="T12" fmla="*/ 72 w 138"/>
                <a:gd name="T13" fmla="*/ 86 h 210"/>
                <a:gd name="T14" fmla="*/ 76 w 138"/>
                <a:gd name="T15" fmla="*/ 68 h 210"/>
                <a:gd name="T16" fmla="*/ 80 w 138"/>
                <a:gd name="T17" fmla="*/ 56 h 210"/>
                <a:gd name="T18" fmla="*/ 84 w 138"/>
                <a:gd name="T19" fmla="*/ 50 h 210"/>
                <a:gd name="T20" fmla="*/ 92 w 138"/>
                <a:gd name="T21" fmla="*/ 46 h 210"/>
                <a:gd name="T22" fmla="*/ 94 w 138"/>
                <a:gd name="T23" fmla="*/ 40 h 210"/>
                <a:gd name="T24" fmla="*/ 94 w 138"/>
                <a:gd name="T25" fmla="*/ 26 h 210"/>
                <a:gd name="T26" fmla="*/ 92 w 138"/>
                <a:gd name="T27" fmla="*/ 0 h 210"/>
                <a:gd name="T28" fmla="*/ 98 w 138"/>
                <a:gd name="T29" fmla="*/ 0 h 210"/>
                <a:gd name="T30" fmla="*/ 98 w 138"/>
                <a:gd name="T31" fmla="*/ 2 h 210"/>
                <a:gd name="T32" fmla="*/ 100 w 138"/>
                <a:gd name="T33" fmla="*/ 8 h 210"/>
                <a:gd name="T34" fmla="*/ 104 w 138"/>
                <a:gd name="T35" fmla="*/ 18 h 210"/>
                <a:gd name="T36" fmla="*/ 112 w 138"/>
                <a:gd name="T37" fmla="*/ 32 h 210"/>
                <a:gd name="T38" fmla="*/ 112 w 138"/>
                <a:gd name="T39" fmla="*/ 38 h 210"/>
                <a:gd name="T40" fmla="*/ 110 w 138"/>
                <a:gd name="T41" fmla="*/ 40 h 210"/>
                <a:gd name="T42" fmla="*/ 106 w 138"/>
                <a:gd name="T43" fmla="*/ 42 h 210"/>
                <a:gd name="T44" fmla="*/ 106 w 138"/>
                <a:gd name="T45" fmla="*/ 44 h 210"/>
                <a:gd name="T46" fmla="*/ 108 w 138"/>
                <a:gd name="T47" fmla="*/ 46 h 210"/>
                <a:gd name="T48" fmla="*/ 110 w 138"/>
                <a:gd name="T49" fmla="*/ 52 h 210"/>
                <a:gd name="T50" fmla="*/ 112 w 138"/>
                <a:gd name="T51" fmla="*/ 56 h 210"/>
                <a:gd name="T52" fmla="*/ 116 w 138"/>
                <a:gd name="T53" fmla="*/ 62 h 210"/>
                <a:gd name="T54" fmla="*/ 116 w 138"/>
                <a:gd name="T55" fmla="*/ 68 h 210"/>
                <a:gd name="T56" fmla="*/ 114 w 138"/>
                <a:gd name="T57" fmla="*/ 70 h 210"/>
                <a:gd name="T58" fmla="*/ 108 w 138"/>
                <a:gd name="T59" fmla="*/ 74 h 210"/>
                <a:gd name="T60" fmla="*/ 108 w 138"/>
                <a:gd name="T61" fmla="*/ 78 h 210"/>
                <a:gd name="T62" fmla="*/ 112 w 138"/>
                <a:gd name="T63" fmla="*/ 86 h 210"/>
                <a:gd name="T64" fmla="*/ 120 w 138"/>
                <a:gd name="T65" fmla="*/ 94 h 210"/>
                <a:gd name="T66" fmla="*/ 126 w 138"/>
                <a:gd name="T67" fmla="*/ 104 h 210"/>
                <a:gd name="T68" fmla="*/ 122 w 138"/>
                <a:gd name="T69" fmla="*/ 120 h 210"/>
                <a:gd name="T70" fmla="*/ 116 w 138"/>
                <a:gd name="T71" fmla="*/ 130 h 210"/>
                <a:gd name="T72" fmla="*/ 114 w 138"/>
                <a:gd name="T73" fmla="*/ 138 h 210"/>
                <a:gd name="T74" fmla="*/ 116 w 138"/>
                <a:gd name="T75" fmla="*/ 144 h 210"/>
                <a:gd name="T76" fmla="*/ 124 w 138"/>
                <a:gd name="T77" fmla="*/ 154 h 210"/>
                <a:gd name="T78" fmla="*/ 128 w 138"/>
                <a:gd name="T79" fmla="*/ 168 h 210"/>
                <a:gd name="T80" fmla="*/ 134 w 138"/>
                <a:gd name="T81" fmla="*/ 180 h 210"/>
                <a:gd name="T82" fmla="*/ 90 w 138"/>
                <a:gd name="T83" fmla="*/ 192 h 210"/>
                <a:gd name="T84" fmla="*/ 72 w 138"/>
                <a:gd name="T85" fmla="*/ 194 h 210"/>
                <a:gd name="T86" fmla="*/ 66 w 138"/>
                <a:gd name="T87" fmla="*/ 196 h 210"/>
                <a:gd name="T88" fmla="*/ 62 w 138"/>
                <a:gd name="T89" fmla="*/ 200 h 210"/>
                <a:gd name="T90" fmla="*/ 60 w 138"/>
                <a:gd name="T91" fmla="*/ 206 h 210"/>
                <a:gd name="T92" fmla="*/ 38 w 138"/>
                <a:gd name="T93" fmla="*/ 204 h 210"/>
                <a:gd name="T94" fmla="*/ 38 w 138"/>
                <a:gd name="T95" fmla="*/ 194 h 210"/>
                <a:gd name="T96" fmla="*/ 40 w 138"/>
                <a:gd name="T97" fmla="*/ 190 h 210"/>
                <a:gd name="T98" fmla="*/ 44 w 138"/>
                <a:gd name="T99" fmla="*/ 182 h 210"/>
                <a:gd name="T100" fmla="*/ 44 w 138"/>
                <a:gd name="T101" fmla="*/ 178 h 210"/>
                <a:gd name="T102" fmla="*/ 40 w 138"/>
                <a:gd name="T103" fmla="*/ 172 h 210"/>
                <a:gd name="T104" fmla="*/ 34 w 138"/>
                <a:gd name="T105" fmla="*/ 168 h 210"/>
                <a:gd name="T106" fmla="*/ 10 w 138"/>
                <a:gd name="T107"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210">
                  <a:moveTo>
                    <a:pt x="0" y="158"/>
                  </a:moveTo>
                  <a:lnTo>
                    <a:pt x="0" y="158"/>
                  </a:lnTo>
                  <a:lnTo>
                    <a:pt x="4" y="156"/>
                  </a:lnTo>
                  <a:lnTo>
                    <a:pt x="12" y="150"/>
                  </a:lnTo>
                  <a:lnTo>
                    <a:pt x="20" y="142"/>
                  </a:lnTo>
                  <a:lnTo>
                    <a:pt x="24" y="140"/>
                  </a:lnTo>
                  <a:lnTo>
                    <a:pt x="26" y="136"/>
                  </a:lnTo>
                  <a:lnTo>
                    <a:pt x="28" y="136"/>
                  </a:lnTo>
                  <a:lnTo>
                    <a:pt x="30" y="134"/>
                  </a:lnTo>
                  <a:lnTo>
                    <a:pt x="32" y="130"/>
                  </a:lnTo>
                  <a:lnTo>
                    <a:pt x="34" y="128"/>
                  </a:lnTo>
                  <a:lnTo>
                    <a:pt x="36" y="126"/>
                  </a:lnTo>
                  <a:lnTo>
                    <a:pt x="38" y="122"/>
                  </a:lnTo>
                  <a:lnTo>
                    <a:pt x="42" y="120"/>
                  </a:lnTo>
                  <a:lnTo>
                    <a:pt x="44" y="116"/>
                  </a:lnTo>
                  <a:lnTo>
                    <a:pt x="48" y="114"/>
                  </a:lnTo>
                  <a:lnTo>
                    <a:pt x="48" y="112"/>
                  </a:lnTo>
                  <a:lnTo>
                    <a:pt x="50" y="112"/>
                  </a:lnTo>
                  <a:lnTo>
                    <a:pt x="56" y="108"/>
                  </a:lnTo>
                  <a:lnTo>
                    <a:pt x="60" y="106"/>
                  </a:lnTo>
                  <a:lnTo>
                    <a:pt x="62" y="104"/>
                  </a:lnTo>
                  <a:lnTo>
                    <a:pt x="64" y="102"/>
                  </a:lnTo>
                  <a:lnTo>
                    <a:pt x="64" y="102"/>
                  </a:lnTo>
                  <a:lnTo>
                    <a:pt x="66" y="100"/>
                  </a:lnTo>
                  <a:lnTo>
                    <a:pt x="68" y="98"/>
                  </a:lnTo>
                  <a:lnTo>
                    <a:pt x="68" y="94"/>
                  </a:lnTo>
                  <a:lnTo>
                    <a:pt x="70" y="90"/>
                  </a:lnTo>
                  <a:lnTo>
                    <a:pt x="72" y="86"/>
                  </a:lnTo>
                  <a:lnTo>
                    <a:pt x="74" y="84"/>
                  </a:lnTo>
                  <a:lnTo>
                    <a:pt x="74" y="80"/>
                  </a:lnTo>
                  <a:lnTo>
                    <a:pt x="76" y="72"/>
                  </a:lnTo>
                  <a:lnTo>
                    <a:pt x="76" y="68"/>
                  </a:lnTo>
                  <a:lnTo>
                    <a:pt x="78" y="64"/>
                  </a:lnTo>
                  <a:lnTo>
                    <a:pt x="78" y="60"/>
                  </a:lnTo>
                  <a:lnTo>
                    <a:pt x="80" y="58"/>
                  </a:lnTo>
                  <a:lnTo>
                    <a:pt x="80" y="56"/>
                  </a:lnTo>
                  <a:lnTo>
                    <a:pt x="82" y="54"/>
                  </a:lnTo>
                  <a:lnTo>
                    <a:pt x="82" y="52"/>
                  </a:lnTo>
                  <a:lnTo>
                    <a:pt x="84" y="52"/>
                  </a:lnTo>
                  <a:lnTo>
                    <a:pt x="84" y="50"/>
                  </a:lnTo>
                  <a:lnTo>
                    <a:pt x="86" y="50"/>
                  </a:lnTo>
                  <a:lnTo>
                    <a:pt x="88" y="48"/>
                  </a:lnTo>
                  <a:lnTo>
                    <a:pt x="90" y="46"/>
                  </a:lnTo>
                  <a:lnTo>
                    <a:pt x="92" y="46"/>
                  </a:lnTo>
                  <a:lnTo>
                    <a:pt x="92" y="44"/>
                  </a:lnTo>
                  <a:lnTo>
                    <a:pt x="92" y="44"/>
                  </a:lnTo>
                  <a:lnTo>
                    <a:pt x="94" y="42"/>
                  </a:lnTo>
                  <a:lnTo>
                    <a:pt x="94" y="40"/>
                  </a:lnTo>
                  <a:lnTo>
                    <a:pt x="94" y="38"/>
                  </a:lnTo>
                  <a:lnTo>
                    <a:pt x="94" y="36"/>
                  </a:lnTo>
                  <a:lnTo>
                    <a:pt x="94" y="30"/>
                  </a:lnTo>
                  <a:lnTo>
                    <a:pt x="94" y="26"/>
                  </a:lnTo>
                  <a:lnTo>
                    <a:pt x="94" y="22"/>
                  </a:lnTo>
                  <a:lnTo>
                    <a:pt x="94" y="20"/>
                  </a:lnTo>
                  <a:lnTo>
                    <a:pt x="94" y="10"/>
                  </a:lnTo>
                  <a:lnTo>
                    <a:pt x="92" y="0"/>
                  </a:lnTo>
                  <a:lnTo>
                    <a:pt x="92" y="0"/>
                  </a:lnTo>
                  <a:lnTo>
                    <a:pt x="94" y="0"/>
                  </a:lnTo>
                  <a:lnTo>
                    <a:pt x="96" y="0"/>
                  </a:lnTo>
                  <a:lnTo>
                    <a:pt x="98" y="0"/>
                  </a:lnTo>
                  <a:lnTo>
                    <a:pt x="98" y="0"/>
                  </a:lnTo>
                  <a:lnTo>
                    <a:pt x="98" y="0"/>
                  </a:lnTo>
                  <a:lnTo>
                    <a:pt x="98" y="0"/>
                  </a:lnTo>
                  <a:lnTo>
                    <a:pt x="98" y="2"/>
                  </a:lnTo>
                  <a:lnTo>
                    <a:pt x="100" y="4"/>
                  </a:lnTo>
                  <a:lnTo>
                    <a:pt x="100" y="4"/>
                  </a:lnTo>
                  <a:lnTo>
                    <a:pt x="100" y="8"/>
                  </a:lnTo>
                  <a:lnTo>
                    <a:pt x="100" y="8"/>
                  </a:lnTo>
                  <a:lnTo>
                    <a:pt x="100" y="10"/>
                  </a:lnTo>
                  <a:lnTo>
                    <a:pt x="102" y="12"/>
                  </a:lnTo>
                  <a:lnTo>
                    <a:pt x="102" y="14"/>
                  </a:lnTo>
                  <a:lnTo>
                    <a:pt x="104" y="18"/>
                  </a:lnTo>
                  <a:lnTo>
                    <a:pt x="108" y="24"/>
                  </a:lnTo>
                  <a:lnTo>
                    <a:pt x="110" y="28"/>
                  </a:lnTo>
                  <a:lnTo>
                    <a:pt x="112" y="30"/>
                  </a:lnTo>
                  <a:lnTo>
                    <a:pt x="112" y="32"/>
                  </a:lnTo>
                  <a:lnTo>
                    <a:pt x="112" y="34"/>
                  </a:lnTo>
                  <a:lnTo>
                    <a:pt x="112" y="36"/>
                  </a:lnTo>
                  <a:lnTo>
                    <a:pt x="112" y="36"/>
                  </a:lnTo>
                  <a:lnTo>
                    <a:pt x="112" y="38"/>
                  </a:lnTo>
                  <a:lnTo>
                    <a:pt x="112" y="38"/>
                  </a:lnTo>
                  <a:lnTo>
                    <a:pt x="112" y="40"/>
                  </a:lnTo>
                  <a:lnTo>
                    <a:pt x="112" y="40"/>
                  </a:lnTo>
                  <a:lnTo>
                    <a:pt x="110" y="40"/>
                  </a:lnTo>
                  <a:lnTo>
                    <a:pt x="108" y="42"/>
                  </a:lnTo>
                  <a:lnTo>
                    <a:pt x="108" y="42"/>
                  </a:lnTo>
                  <a:lnTo>
                    <a:pt x="106" y="42"/>
                  </a:lnTo>
                  <a:lnTo>
                    <a:pt x="106" y="42"/>
                  </a:lnTo>
                  <a:lnTo>
                    <a:pt x="106" y="42"/>
                  </a:lnTo>
                  <a:lnTo>
                    <a:pt x="106" y="42"/>
                  </a:lnTo>
                  <a:lnTo>
                    <a:pt x="106" y="44"/>
                  </a:lnTo>
                  <a:lnTo>
                    <a:pt x="106" y="44"/>
                  </a:lnTo>
                  <a:lnTo>
                    <a:pt x="106" y="44"/>
                  </a:lnTo>
                  <a:lnTo>
                    <a:pt x="108" y="44"/>
                  </a:lnTo>
                  <a:lnTo>
                    <a:pt x="108" y="46"/>
                  </a:lnTo>
                  <a:lnTo>
                    <a:pt x="108" y="46"/>
                  </a:lnTo>
                  <a:lnTo>
                    <a:pt x="110" y="46"/>
                  </a:lnTo>
                  <a:lnTo>
                    <a:pt x="110" y="48"/>
                  </a:lnTo>
                  <a:lnTo>
                    <a:pt x="110" y="50"/>
                  </a:lnTo>
                  <a:lnTo>
                    <a:pt x="110" y="52"/>
                  </a:lnTo>
                  <a:lnTo>
                    <a:pt x="112" y="54"/>
                  </a:lnTo>
                  <a:lnTo>
                    <a:pt x="112" y="54"/>
                  </a:lnTo>
                  <a:lnTo>
                    <a:pt x="112" y="56"/>
                  </a:lnTo>
                  <a:lnTo>
                    <a:pt x="112" y="56"/>
                  </a:lnTo>
                  <a:lnTo>
                    <a:pt x="114" y="58"/>
                  </a:lnTo>
                  <a:lnTo>
                    <a:pt x="116" y="60"/>
                  </a:lnTo>
                  <a:lnTo>
                    <a:pt x="116" y="60"/>
                  </a:lnTo>
                  <a:lnTo>
                    <a:pt x="116" y="62"/>
                  </a:lnTo>
                  <a:lnTo>
                    <a:pt x="116" y="62"/>
                  </a:lnTo>
                  <a:lnTo>
                    <a:pt x="116" y="64"/>
                  </a:lnTo>
                  <a:lnTo>
                    <a:pt x="116" y="66"/>
                  </a:lnTo>
                  <a:lnTo>
                    <a:pt x="116" y="68"/>
                  </a:lnTo>
                  <a:lnTo>
                    <a:pt x="116" y="68"/>
                  </a:lnTo>
                  <a:lnTo>
                    <a:pt x="116" y="70"/>
                  </a:lnTo>
                  <a:lnTo>
                    <a:pt x="114" y="70"/>
                  </a:lnTo>
                  <a:lnTo>
                    <a:pt x="114" y="70"/>
                  </a:lnTo>
                  <a:lnTo>
                    <a:pt x="112" y="72"/>
                  </a:lnTo>
                  <a:lnTo>
                    <a:pt x="110" y="72"/>
                  </a:lnTo>
                  <a:lnTo>
                    <a:pt x="110" y="74"/>
                  </a:lnTo>
                  <a:lnTo>
                    <a:pt x="108" y="74"/>
                  </a:lnTo>
                  <a:lnTo>
                    <a:pt x="108" y="74"/>
                  </a:lnTo>
                  <a:lnTo>
                    <a:pt x="108" y="76"/>
                  </a:lnTo>
                  <a:lnTo>
                    <a:pt x="108" y="76"/>
                  </a:lnTo>
                  <a:lnTo>
                    <a:pt x="108" y="78"/>
                  </a:lnTo>
                  <a:lnTo>
                    <a:pt x="110" y="80"/>
                  </a:lnTo>
                  <a:lnTo>
                    <a:pt x="110" y="82"/>
                  </a:lnTo>
                  <a:lnTo>
                    <a:pt x="110" y="84"/>
                  </a:lnTo>
                  <a:lnTo>
                    <a:pt x="112" y="86"/>
                  </a:lnTo>
                  <a:lnTo>
                    <a:pt x="114" y="86"/>
                  </a:lnTo>
                  <a:lnTo>
                    <a:pt x="114" y="88"/>
                  </a:lnTo>
                  <a:lnTo>
                    <a:pt x="118" y="92"/>
                  </a:lnTo>
                  <a:lnTo>
                    <a:pt x="120" y="94"/>
                  </a:lnTo>
                  <a:lnTo>
                    <a:pt x="120" y="96"/>
                  </a:lnTo>
                  <a:lnTo>
                    <a:pt x="122" y="98"/>
                  </a:lnTo>
                  <a:lnTo>
                    <a:pt x="122" y="100"/>
                  </a:lnTo>
                  <a:lnTo>
                    <a:pt x="126" y="104"/>
                  </a:lnTo>
                  <a:lnTo>
                    <a:pt x="128" y="112"/>
                  </a:lnTo>
                  <a:lnTo>
                    <a:pt x="126" y="116"/>
                  </a:lnTo>
                  <a:lnTo>
                    <a:pt x="122" y="118"/>
                  </a:lnTo>
                  <a:lnTo>
                    <a:pt x="122" y="120"/>
                  </a:lnTo>
                  <a:lnTo>
                    <a:pt x="122" y="120"/>
                  </a:lnTo>
                  <a:lnTo>
                    <a:pt x="120" y="124"/>
                  </a:lnTo>
                  <a:lnTo>
                    <a:pt x="118" y="128"/>
                  </a:lnTo>
                  <a:lnTo>
                    <a:pt x="116" y="130"/>
                  </a:lnTo>
                  <a:lnTo>
                    <a:pt x="116" y="132"/>
                  </a:lnTo>
                  <a:lnTo>
                    <a:pt x="116" y="136"/>
                  </a:lnTo>
                  <a:lnTo>
                    <a:pt x="114" y="138"/>
                  </a:lnTo>
                  <a:lnTo>
                    <a:pt x="114" y="138"/>
                  </a:lnTo>
                  <a:lnTo>
                    <a:pt x="114" y="140"/>
                  </a:lnTo>
                  <a:lnTo>
                    <a:pt x="116" y="140"/>
                  </a:lnTo>
                  <a:lnTo>
                    <a:pt x="116" y="142"/>
                  </a:lnTo>
                  <a:lnTo>
                    <a:pt x="116" y="144"/>
                  </a:lnTo>
                  <a:lnTo>
                    <a:pt x="118" y="146"/>
                  </a:lnTo>
                  <a:lnTo>
                    <a:pt x="120" y="148"/>
                  </a:lnTo>
                  <a:lnTo>
                    <a:pt x="124" y="152"/>
                  </a:lnTo>
                  <a:lnTo>
                    <a:pt x="124" y="154"/>
                  </a:lnTo>
                  <a:lnTo>
                    <a:pt x="126" y="156"/>
                  </a:lnTo>
                  <a:lnTo>
                    <a:pt x="126" y="158"/>
                  </a:lnTo>
                  <a:lnTo>
                    <a:pt x="128" y="162"/>
                  </a:lnTo>
                  <a:lnTo>
                    <a:pt x="128" y="168"/>
                  </a:lnTo>
                  <a:lnTo>
                    <a:pt x="130" y="172"/>
                  </a:lnTo>
                  <a:lnTo>
                    <a:pt x="132" y="176"/>
                  </a:lnTo>
                  <a:lnTo>
                    <a:pt x="132" y="178"/>
                  </a:lnTo>
                  <a:lnTo>
                    <a:pt x="134" y="180"/>
                  </a:lnTo>
                  <a:lnTo>
                    <a:pt x="136" y="182"/>
                  </a:lnTo>
                  <a:lnTo>
                    <a:pt x="138" y="186"/>
                  </a:lnTo>
                  <a:lnTo>
                    <a:pt x="92" y="192"/>
                  </a:lnTo>
                  <a:lnTo>
                    <a:pt x="90" y="192"/>
                  </a:lnTo>
                  <a:lnTo>
                    <a:pt x="82" y="192"/>
                  </a:lnTo>
                  <a:lnTo>
                    <a:pt x="78" y="192"/>
                  </a:lnTo>
                  <a:lnTo>
                    <a:pt x="74" y="192"/>
                  </a:lnTo>
                  <a:lnTo>
                    <a:pt x="72" y="194"/>
                  </a:lnTo>
                  <a:lnTo>
                    <a:pt x="70" y="194"/>
                  </a:lnTo>
                  <a:lnTo>
                    <a:pt x="70" y="194"/>
                  </a:lnTo>
                  <a:lnTo>
                    <a:pt x="68" y="194"/>
                  </a:lnTo>
                  <a:lnTo>
                    <a:pt x="66" y="196"/>
                  </a:lnTo>
                  <a:lnTo>
                    <a:pt x="64" y="196"/>
                  </a:lnTo>
                  <a:lnTo>
                    <a:pt x="64" y="198"/>
                  </a:lnTo>
                  <a:lnTo>
                    <a:pt x="62" y="198"/>
                  </a:lnTo>
                  <a:lnTo>
                    <a:pt x="62" y="200"/>
                  </a:lnTo>
                  <a:lnTo>
                    <a:pt x="60" y="200"/>
                  </a:lnTo>
                  <a:lnTo>
                    <a:pt x="60" y="202"/>
                  </a:lnTo>
                  <a:lnTo>
                    <a:pt x="60" y="202"/>
                  </a:lnTo>
                  <a:lnTo>
                    <a:pt x="60" y="206"/>
                  </a:lnTo>
                  <a:lnTo>
                    <a:pt x="60" y="208"/>
                  </a:lnTo>
                  <a:lnTo>
                    <a:pt x="40" y="210"/>
                  </a:lnTo>
                  <a:lnTo>
                    <a:pt x="40" y="208"/>
                  </a:lnTo>
                  <a:lnTo>
                    <a:pt x="38" y="204"/>
                  </a:lnTo>
                  <a:lnTo>
                    <a:pt x="38" y="202"/>
                  </a:lnTo>
                  <a:lnTo>
                    <a:pt x="38" y="198"/>
                  </a:lnTo>
                  <a:lnTo>
                    <a:pt x="38" y="196"/>
                  </a:lnTo>
                  <a:lnTo>
                    <a:pt x="38" y="194"/>
                  </a:lnTo>
                  <a:lnTo>
                    <a:pt x="38" y="194"/>
                  </a:lnTo>
                  <a:lnTo>
                    <a:pt x="38" y="192"/>
                  </a:lnTo>
                  <a:lnTo>
                    <a:pt x="40" y="190"/>
                  </a:lnTo>
                  <a:lnTo>
                    <a:pt x="40" y="190"/>
                  </a:lnTo>
                  <a:lnTo>
                    <a:pt x="42" y="188"/>
                  </a:lnTo>
                  <a:lnTo>
                    <a:pt x="44" y="186"/>
                  </a:lnTo>
                  <a:lnTo>
                    <a:pt x="44" y="184"/>
                  </a:lnTo>
                  <a:lnTo>
                    <a:pt x="44" y="182"/>
                  </a:lnTo>
                  <a:lnTo>
                    <a:pt x="44" y="182"/>
                  </a:lnTo>
                  <a:lnTo>
                    <a:pt x="46" y="180"/>
                  </a:lnTo>
                  <a:lnTo>
                    <a:pt x="46" y="180"/>
                  </a:lnTo>
                  <a:lnTo>
                    <a:pt x="44" y="178"/>
                  </a:lnTo>
                  <a:lnTo>
                    <a:pt x="44" y="178"/>
                  </a:lnTo>
                  <a:lnTo>
                    <a:pt x="44" y="176"/>
                  </a:lnTo>
                  <a:lnTo>
                    <a:pt x="42" y="174"/>
                  </a:lnTo>
                  <a:lnTo>
                    <a:pt x="40" y="172"/>
                  </a:lnTo>
                  <a:lnTo>
                    <a:pt x="38" y="172"/>
                  </a:lnTo>
                  <a:lnTo>
                    <a:pt x="36" y="170"/>
                  </a:lnTo>
                  <a:lnTo>
                    <a:pt x="36" y="170"/>
                  </a:lnTo>
                  <a:lnTo>
                    <a:pt x="34" y="168"/>
                  </a:lnTo>
                  <a:lnTo>
                    <a:pt x="32" y="168"/>
                  </a:lnTo>
                  <a:lnTo>
                    <a:pt x="24" y="166"/>
                  </a:lnTo>
                  <a:lnTo>
                    <a:pt x="18" y="164"/>
                  </a:lnTo>
                  <a:lnTo>
                    <a:pt x="10" y="162"/>
                  </a:lnTo>
                  <a:lnTo>
                    <a:pt x="0" y="15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6" name="Freeform 383"/>
            <p:cNvSpPr>
              <a:spLocks/>
            </p:cNvSpPr>
            <p:nvPr/>
          </p:nvSpPr>
          <p:spPr bwMode="auto">
            <a:xfrm>
              <a:off x="4438955" y="4251298"/>
              <a:ext cx="239026" cy="363736"/>
            </a:xfrm>
            <a:custGeom>
              <a:avLst/>
              <a:gdLst>
                <a:gd name="T0" fmla="*/ 12 w 138"/>
                <a:gd name="T1" fmla="*/ 150 h 210"/>
                <a:gd name="T2" fmla="*/ 28 w 138"/>
                <a:gd name="T3" fmla="*/ 136 h 210"/>
                <a:gd name="T4" fmla="*/ 36 w 138"/>
                <a:gd name="T5" fmla="*/ 126 h 210"/>
                <a:gd name="T6" fmla="*/ 48 w 138"/>
                <a:gd name="T7" fmla="*/ 114 h 210"/>
                <a:gd name="T8" fmla="*/ 60 w 138"/>
                <a:gd name="T9" fmla="*/ 106 h 210"/>
                <a:gd name="T10" fmla="*/ 66 w 138"/>
                <a:gd name="T11" fmla="*/ 100 h 210"/>
                <a:gd name="T12" fmla="*/ 72 w 138"/>
                <a:gd name="T13" fmla="*/ 86 h 210"/>
                <a:gd name="T14" fmla="*/ 76 w 138"/>
                <a:gd name="T15" fmla="*/ 68 h 210"/>
                <a:gd name="T16" fmla="*/ 80 w 138"/>
                <a:gd name="T17" fmla="*/ 56 h 210"/>
                <a:gd name="T18" fmla="*/ 84 w 138"/>
                <a:gd name="T19" fmla="*/ 50 h 210"/>
                <a:gd name="T20" fmla="*/ 92 w 138"/>
                <a:gd name="T21" fmla="*/ 46 h 210"/>
                <a:gd name="T22" fmla="*/ 94 w 138"/>
                <a:gd name="T23" fmla="*/ 40 h 210"/>
                <a:gd name="T24" fmla="*/ 94 w 138"/>
                <a:gd name="T25" fmla="*/ 26 h 210"/>
                <a:gd name="T26" fmla="*/ 92 w 138"/>
                <a:gd name="T27" fmla="*/ 0 h 210"/>
                <a:gd name="T28" fmla="*/ 98 w 138"/>
                <a:gd name="T29" fmla="*/ 0 h 210"/>
                <a:gd name="T30" fmla="*/ 98 w 138"/>
                <a:gd name="T31" fmla="*/ 2 h 210"/>
                <a:gd name="T32" fmla="*/ 100 w 138"/>
                <a:gd name="T33" fmla="*/ 8 h 210"/>
                <a:gd name="T34" fmla="*/ 104 w 138"/>
                <a:gd name="T35" fmla="*/ 18 h 210"/>
                <a:gd name="T36" fmla="*/ 112 w 138"/>
                <a:gd name="T37" fmla="*/ 32 h 210"/>
                <a:gd name="T38" fmla="*/ 112 w 138"/>
                <a:gd name="T39" fmla="*/ 38 h 210"/>
                <a:gd name="T40" fmla="*/ 110 w 138"/>
                <a:gd name="T41" fmla="*/ 40 h 210"/>
                <a:gd name="T42" fmla="*/ 106 w 138"/>
                <a:gd name="T43" fmla="*/ 42 h 210"/>
                <a:gd name="T44" fmla="*/ 106 w 138"/>
                <a:gd name="T45" fmla="*/ 44 h 210"/>
                <a:gd name="T46" fmla="*/ 108 w 138"/>
                <a:gd name="T47" fmla="*/ 46 h 210"/>
                <a:gd name="T48" fmla="*/ 110 w 138"/>
                <a:gd name="T49" fmla="*/ 52 h 210"/>
                <a:gd name="T50" fmla="*/ 112 w 138"/>
                <a:gd name="T51" fmla="*/ 56 h 210"/>
                <a:gd name="T52" fmla="*/ 116 w 138"/>
                <a:gd name="T53" fmla="*/ 62 h 210"/>
                <a:gd name="T54" fmla="*/ 116 w 138"/>
                <a:gd name="T55" fmla="*/ 68 h 210"/>
                <a:gd name="T56" fmla="*/ 114 w 138"/>
                <a:gd name="T57" fmla="*/ 70 h 210"/>
                <a:gd name="T58" fmla="*/ 108 w 138"/>
                <a:gd name="T59" fmla="*/ 74 h 210"/>
                <a:gd name="T60" fmla="*/ 108 w 138"/>
                <a:gd name="T61" fmla="*/ 78 h 210"/>
                <a:gd name="T62" fmla="*/ 112 w 138"/>
                <a:gd name="T63" fmla="*/ 86 h 210"/>
                <a:gd name="T64" fmla="*/ 120 w 138"/>
                <a:gd name="T65" fmla="*/ 94 h 210"/>
                <a:gd name="T66" fmla="*/ 126 w 138"/>
                <a:gd name="T67" fmla="*/ 104 h 210"/>
                <a:gd name="T68" fmla="*/ 122 w 138"/>
                <a:gd name="T69" fmla="*/ 120 h 210"/>
                <a:gd name="T70" fmla="*/ 116 w 138"/>
                <a:gd name="T71" fmla="*/ 130 h 210"/>
                <a:gd name="T72" fmla="*/ 114 w 138"/>
                <a:gd name="T73" fmla="*/ 138 h 210"/>
                <a:gd name="T74" fmla="*/ 116 w 138"/>
                <a:gd name="T75" fmla="*/ 144 h 210"/>
                <a:gd name="T76" fmla="*/ 124 w 138"/>
                <a:gd name="T77" fmla="*/ 154 h 210"/>
                <a:gd name="T78" fmla="*/ 128 w 138"/>
                <a:gd name="T79" fmla="*/ 168 h 210"/>
                <a:gd name="T80" fmla="*/ 134 w 138"/>
                <a:gd name="T81" fmla="*/ 180 h 210"/>
                <a:gd name="T82" fmla="*/ 90 w 138"/>
                <a:gd name="T83" fmla="*/ 192 h 210"/>
                <a:gd name="T84" fmla="*/ 72 w 138"/>
                <a:gd name="T85" fmla="*/ 194 h 210"/>
                <a:gd name="T86" fmla="*/ 66 w 138"/>
                <a:gd name="T87" fmla="*/ 196 h 210"/>
                <a:gd name="T88" fmla="*/ 62 w 138"/>
                <a:gd name="T89" fmla="*/ 200 h 210"/>
                <a:gd name="T90" fmla="*/ 60 w 138"/>
                <a:gd name="T91" fmla="*/ 206 h 210"/>
                <a:gd name="T92" fmla="*/ 38 w 138"/>
                <a:gd name="T93" fmla="*/ 204 h 210"/>
                <a:gd name="T94" fmla="*/ 38 w 138"/>
                <a:gd name="T95" fmla="*/ 194 h 210"/>
                <a:gd name="T96" fmla="*/ 40 w 138"/>
                <a:gd name="T97" fmla="*/ 190 h 210"/>
                <a:gd name="T98" fmla="*/ 44 w 138"/>
                <a:gd name="T99" fmla="*/ 182 h 210"/>
                <a:gd name="T100" fmla="*/ 44 w 138"/>
                <a:gd name="T101" fmla="*/ 178 h 210"/>
                <a:gd name="T102" fmla="*/ 40 w 138"/>
                <a:gd name="T103" fmla="*/ 172 h 210"/>
                <a:gd name="T104" fmla="*/ 34 w 138"/>
                <a:gd name="T105" fmla="*/ 168 h 210"/>
                <a:gd name="T106" fmla="*/ 10 w 138"/>
                <a:gd name="T107"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210">
                  <a:moveTo>
                    <a:pt x="0" y="158"/>
                  </a:moveTo>
                  <a:lnTo>
                    <a:pt x="0" y="158"/>
                  </a:lnTo>
                  <a:lnTo>
                    <a:pt x="4" y="156"/>
                  </a:lnTo>
                  <a:lnTo>
                    <a:pt x="12" y="150"/>
                  </a:lnTo>
                  <a:lnTo>
                    <a:pt x="20" y="142"/>
                  </a:lnTo>
                  <a:lnTo>
                    <a:pt x="24" y="140"/>
                  </a:lnTo>
                  <a:lnTo>
                    <a:pt x="26" y="136"/>
                  </a:lnTo>
                  <a:lnTo>
                    <a:pt x="28" y="136"/>
                  </a:lnTo>
                  <a:lnTo>
                    <a:pt x="30" y="134"/>
                  </a:lnTo>
                  <a:lnTo>
                    <a:pt x="32" y="130"/>
                  </a:lnTo>
                  <a:lnTo>
                    <a:pt x="34" y="128"/>
                  </a:lnTo>
                  <a:lnTo>
                    <a:pt x="36" y="126"/>
                  </a:lnTo>
                  <a:lnTo>
                    <a:pt x="38" y="122"/>
                  </a:lnTo>
                  <a:lnTo>
                    <a:pt x="42" y="120"/>
                  </a:lnTo>
                  <a:lnTo>
                    <a:pt x="44" y="116"/>
                  </a:lnTo>
                  <a:lnTo>
                    <a:pt x="48" y="114"/>
                  </a:lnTo>
                  <a:lnTo>
                    <a:pt x="48" y="112"/>
                  </a:lnTo>
                  <a:lnTo>
                    <a:pt x="50" y="112"/>
                  </a:lnTo>
                  <a:lnTo>
                    <a:pt x="56" y="108"/>
                  </a:lnTo>
                  <a:lnTo>
                    <a:pt x="60" y="106"/>
                  </a:lnTo>
                  <a:lnTo>
                    <a:pt x="62" y="104"/>
                  </a:lnTo>
                  <a:lnTo>
                    <a:pt x="64" y="102"/>
                  </a:lnTo>
                  <a:lnTo>
                    <a:pt x="64" y="102"/>
                  </a:lnTo>
                  <a:lnTo>
                    <a:pt x="66" y="100"/>
                  </a:lnTo>
                  <a:lnTo>
                    <a:pt x="68" y="98"/>
                  </a:lnTo>
                  <a:lnTo>
                    <a:pt x="68" y="94"/>
                  </a:lnTo>
                  <a:lnTo>
                    <a:pt x="70" y="90"/>
                  </a:lnTo>
                  <a:lnTo>
                    <a:pt x="72" y="86"/>
                  </a:lnTo>
                  <a:lnTo>
                    <a:pt x="74" y="84"/>
                  </a:lnTo>
                  <a:lnTo>
                    <a:pt x="74" y="80"/>
                  </a:lnTo>
                  <a:lnTo>
                    <a:pt x="76" y="72"/>
                  </a:lnTo>
                  <a:lnTo>
                    <a:pt x="76" y="68"/>
                  </a:lnTo>
                  <a:lnTo>
                    <a:pt x="78" y="64"/>
                  </a:lnTo>
                  <a:lnTo>
                    <a:pt x="78" y="60"/>
                  </a:lnTo>
                  <a:lnTo>
                    <a:pt x="80" y="58"/>
                  </a:lnTo>
                  <a:lnTo>
                    <a:pt x="80" y="56"/>
                  </a:lnTo>
                  <a:lnTo>
                    <a:pt x="82" y="54"/>
                  </a:lnTo>
                  <a:lnTo>
                    <a:pt x="82" y="52"/>
                  </a:lnTo>
                  <a:lnTo>
                    <a:pt x="84" y="52"/>
                  </a:lnTo>
                  <a:lnTo>
                    <a:pt x="84" y="50"/>
                  </a:lnTo>
                  <a:lnTo>
                    <a:pt x="86" y="50"/>
                  </a:lnTo>
                  <a:lnTo>
                    <a:pt x="88" y="48"/>
                  </a:lnTo>
                  <a:lnTo>
                    <a:pt x="90" y="46"/>
                  </a:lnTo>
                  <a:lnTo>
                    <a:pt x="92" y="46"/>
                  </a:lnTo>
                  <a:lnTo>
                    <a:pt x="92" y="44"/>
                  </a:lnTo>
                  <a:lnTo>
                    <a:pt x="92" y="44"/>
                  </a:lnTo>
                  <a:lnTo>
                    <a:pt x="94" y="42"/>
                  </a:lnTo>
                  <a:lnTo>
                    <a:pt x="94" y="40"/>
                  </a:lnTo>
                  <a:lnTo>
                    <a:pt x="94" y="38"/>
                  </a:lnTo>
                  <a:lnTo>
                    <a:pt x="94" y="36"/>
                  </a:lnTo>
                  <a:lnTo>
                    <a:pt x="94" y="30"/>
                  </a:lnTo>
                  <a:lnTo>
                    <a:pt x="94" y="26"/>
                  </a:lnTo>
                  <a:lnTo>
                    <a:pt x="94" y="22"/>
                  </a:lnTo>
                  <a:lnTo>
                    <a:pt x="94" y="20"/>
                  </a:lnTo>
                  <a:lnTo>
                    <a:pt x="94" y="10"/>
                  </a:lnTo>
                  <a:lnTo>
                    <a:pt x="92" y="0"/>
                  </a:lnTo>
                  <a:lnTo>
                    <a:pt x="92" y="0"/>
                  </a:lnTo>
                  <a:lnTo>
                    <a:pt x="94" y="0"/>
                  </a:lnTo>
                  <a:lnTo>
                    <a:pt x="96" y="0"/>
                  </a:lnTo>
                  <a:lnTo>
                    <a:pt x="98" y="0"/>
                  </a:lnTo>
                  <a:lnTo>
                    <a:pt x="98" y="0"/>
                  </a:lnTo>
                  <a:lnTo>
                    <a:pt x="98" y="0"/>
                  </a:lnTo>
                  <a:lnTo>
                    <a:pt x="98" y="0"/>
                  </a:lnTo>
                  <a:lnTo>
                    <a:pt x="98" y="2"/>
                  </a:lnTo>
                  <a:lnTo>
                    <a:pt x="100" y="4"/>
                  </a:lnTo>
                  <a:lnTo>
                    <a:pt x="100" y="4"/>
                  </a:lnTo>
                  <a:lnTo>
                    <a:pt x="100" y="8"/>
                  </a:lnTo>
                  <a:lnTo>
                    <a:pt x="100" y="8"/>
                  </a:lnTo>
                  <a:lnTo>
                    <a:pt x="100" y="10"/>
                  </a:lnTo>
                  <a:lnTo>
                    <a:pt x="102" y="12"/>
                  </a:lnTo>
                  <a:lnTo>
                    <a:pt x="102" y="14"/>
                  </a:lnTo>
                  <a:lnTo>
                    <a:pt x="104" y="18"/>
                  </a:lnTo>
                  <a:lnTo>
                    <a:pt x="108" y="24"/>
                  </a:lnTo>
                  <a:lnTo>
                    <a:pt x="110" y="28"/>
                  </a:lnTo>
                  <a:lnTo>
                    <a:pt x="112" y="30"/>
                  </a:lnTo>
                  <a:lnTo>
                    <a:pt x="112" y="32"/>
                  </a:lnTo>
                  <a:lnTo>
                    <a:pt x="112" y="34"/>
                  </a:lnTo>
                  <a:lnTo>
                    <a:pt x="112" y="36"/>
                  </a:lnTo>
                  <a:lnTo>
                    <a:pt x="112" y="36"/>
                  </a:lnTo>
                  <a:lnTo>
                    <a:pt x="112" y="38"/>
                  </a:lnTo>
                  <a:lnTo>
                    <a:pt x="112" y="38"/>
                  </a:lnTo>
                  <a:lnTo>
                    <a:pt x="112" y="40"/>
                  </a:lnTo>
                  <a:lnTo>
                    <a:pt x="112" y="40"/>
                  </a:lnTo>
                  <a:lnTo>
                    <a:pt x="110" y="40"/>
                  </a:lnTo>
                  <a:lnTo>
                    <a:pt x="108" y="42"/>
                  </a:lnTo>
                  <a:lnTo>
                    <a:pt x="108" y="42"/>
                  </a:lnTo>
                  <a:lnTo>
                    <a:pt x="106" y="42"/>
                  </a:lnTo>
                  <a:lnTo>
                    <a:pt x="106" y="42"/>
                  </a:lnTo>
                  <a:lnTo>
                    <a:pt x="106" y="42"/>
                  </a:lnTo>
                  <a:lnTo>
                    <a:pt x="106" y="42"/>
                  </a:lnTo>
                  <a:lnTo>
                    <a:pt x="106" y="44"/>
                  </a:lnTo>
                  <a:lnTo>
                    <a:pt x="106" y="44"/>
                  </a:lnTo>
                  <a:lnTo>
                    <a:pt x="106" y="44"/>
                  </a:lnTo>
                  <a:lnTo>
                    <a:pt x="108" y="44"/>
                  </a:lnTo>
                  <a:lnTo>
                    <a:pt x="108" y="46"/>
                  </a:lnTo>
                  <a:lnTo>
                    <a:pt x="108" y="46"/>
                  </a:lnTo>
                  <a:lnTo>
                    <a:pt x="110" y="46"/>
                  </a:lnTo>
                  <a:lnTo>
                    <a:pt x="110" y="48"/>
                  </a:lnTo>
                  <a:lnTo>
                    <a:pt x="110" y="50"/>
                  </a:lnTo>
                  <a:lnTo>
                    <a:pt x="110" y="52"/>
                  </a:lnTo>
                  <a:lnTo>
                    <a:pt x="112" y="54"/>
                  </a:lnTo>
                  <a:lnTo>
                    <a:pt x="112" y="54"/>
                  </a:lnTo>
                  <a:lnTo>
                    <a:pt x="112" y="56"/>
                  </a:lnTo>
                  <a:lnTo>
                    <a:pt x="112" y="56"/>
                  </a:lnTo>
                  <a:lnTo>
                    <a:pt x="114" y="58"/>
                  </a:lnTo>
                  <a:lnTo>
                    <a:pt x="116" y="60"/>
                  </a:lnTo>
                  <a:lnTo>
                    <a:pt x="116" y="60"/>
                  </a:lnTo>
                  <a:lnTo>
                    <a:pt x="116" y="62"/>
                  </a:lnTo>
                  <a:lnTo>
                    <a:pt x="116" y="62"/>
                  </a:lnTo>
                  <a:lnTo>
                    <a:pt x="116" y="64"/>
                  </a:lnTo>
                  <a:lnTo>
                    <a:pt x="116" y="66"/>
                  </a:lnTo>
                  <a:lnTo>
                    <a:pt x="116" y="68"/>
                  </a:lnTo>
                  <a:lnTo>
                    <a:pt x="116" y="68"/>
                  </a:lnTo>
                  <a:lnTo>
                    <a:pt x="116" y="70"/>
                  </a:lnTo>
                  <a:lnTo>
                    <a:pt x="114" y="70"/>
                  </a:lnTo>
                  <a:lnTo>
                    <a:pt x="114" y="70"/>
                  </a:lnTo>
                  <a:lnTo>
                    <a:pt x="112" y="72"/>
                  </a:lnTo>
                  <a:lnTo>
                    <a:pt x="110" y="72"/>
                  </a:lnTo>
                  <a:lnTo>
                    <a:pt x="110" y="74"/>
                  </a:lnTo>
                  <a:lnTo>
                    <a:pt x="108" y="74"/>
                  </a:lnTo>
                  <a:lnTo>
                    <a:pt x="108" y="74"/>
                  </a:lnTo>
                  <a:lnTo>
                    <a:pt x="108" y="76"/>
                  </a:lnTo>
                  <a:lnTo>
                    <a:pt x="108" y="76"/>
                  </a:lnTo>
                  <a:lnTo>
                    <a:pt x="108" y="78"/>
                  </a:lnTo>
                  <a:lnTo>
                    <a:pt x="110" y="80"/>
                  </a:lnTo>
                  <a:lnTo>
                    <a:pt x="110" y="82"/>
                  </a:lnTo>
                  <a:lnTo>
                    <a:pt x="110" y="84"/>
                  </a:lnTo>
                  <a:lnTo>
                    <a:pt x="112" y="86"/>
                  </a:lnTo>
                  <a:lnTo>
                    <a:pt x="114" y="86"/>
                  </a:lnTo>
                  <a:lnTo>
                    <a:pt x="114" y="88"/>
                  </a:lnTo>
                  <a:lnTo>
                    <a:pt x="118" y="92"/>
                  </a:lnTo>
                  <a:lnTo>
                    <a:pt x="120" y="94"/>
                  </a:lnTo>
                  <a:lnTo>
                    <a:pt x="120" y="96"/>
                  </a:lnTo>
                  <a:lnTo>
                    <a:pt x="122" y="98"/>
                  </a:lnTo>
                  <a:lnTo>
                    <a:pt x="122" y="100"/>
                  </a:lnTo>
                  <a:lnTo>
                    <a:pt x="126" y="104"/>
                  </a:lnTo>
                  <a:lnTo>
                    <a:pt x="128" y="112"/>
                  </a:lnTo>
                  <a:lnTo>
                    <a:pt x="126" y="116"/>
                  </a:lnTo>
                  <a:lnTo>
                    <a:pt x="122" y="118"/>
                  </a:lnTo>
                  <a:lnTo>
                    <a:pt x="122" y="120"/>
                  </a:lnTo>
                  <a:lnTo>
                    <a:pt x="122" y="120"/>
                  </a:lnTo>
                  <a:lnTo>
                    <a:pt x="120" y="124"/>
                  </a:lnTo>
                  <a:lnTo>
                    <a:pt x="118" y="128"/>
                  </a:lnTo>
                  <a:lnTo>
                    <a:pt x="116" y="130"/>
                  </a:lnTo>
                  <a:lnTo>
                    <a:pt x="116" y="132"/>
                  </a:lnTo>
                  <a:lnTo>
                    <a:pt x="116" y="136"/>
                  </a:lnTo>
                  <a:lnTo>
                    <a:pt x="114" y="138"/>
                  </a:lnTo>
                  <a:lnTo>
                    <a:pt x="114" y="138"/>
                  </a:lnTo>
                  <a:lnTo>
                    <a:pt x="114" y="140"/>
                  </a:lnTo>
                  <a:lnTo>
                    <a:pt x="116" y="140"/>
                  </a:lnTo>
                  <a:lnTo>
                    <a:pt x="116" y="142"/>
                  </a:lnTo>
                  <a:lnTo>
                    <a:pt x="116" y="144"/>
                  </a:lnTo>
                  <a:lnTo>
                    <a:pt x="118" y="146"/>
                  </a:lnTo>
                  <a:lnTo>
                    <a:pt x="120" y="148"/>
                  </a:lnTo>
                  <a:lnTo>
                    <a:pt x="124" y="152"/>
                  </a:lnTo>
                  <a:lnTo>
                    <a:pt x="124" y="154"/>
                  </a:lnTo>
                  <a:lnTo>
                    <a:pt x="126" y="156"/>
                  </a:lnTo>
                  <a:lnTo>
                    <a:pt x="126" y="158"/>
                  </a:lnTo>
                  <a:lnTo>
                    <a:pt x="128" y="162"/>
                  </a:lnTo>
                  <a:lnTo>
                    <a:pt x="128" y="168"/>
                  </a:lnTo>
                  <a:lnTo>
                    <a:pt x="130" y="172"/>
                  </a:lnTo>
                  <a:lnTo>
                    <a:pt x="132" y="176"/>
                  </a:lnTo>
                  <a:lnTo>
                    <a:pt x="132" y="178"/>
                  </a:lnTo>
                  <a:lnTo>
                    <a:pt x="134" y="180"/>
                  </a:lnTo>
                  <a:lnTo>
                    <a:pt x="136" y="182"/>
                  </a:lnTo>
                  <a:lnTo>
                    <a:pt x="138" y="186"/>
                  </a:lnTo>
                  <a:lnTo>
                    <a:pt x="92" y="192"/>
                  </a:lnTo>
                  <a:lnTo>
                    <a:pt x="90" y="192"/>
                  </a:lnTo>
                  <a:lnTo>
                    <a:pt x="82" y="192"/>
                  </a:lnTo>
                  <a:lnTo>
                    <a:pt x="78" y="192"/>
                  </a:lnTo>
                  <a:lnTo>
                    <a:pt x="74" y="192"/>
                  </a:lnTo>
                  <a:lnTo>
                    <a:pt x="72" y="194"/>
                  </a:lnTo>
                  <a:lnTo>
                    <a:pt x="70" y="194"/>
                  </a:lnTo>
                  <a:lnTo>
                    <a:pt x="70" y="194"/>
                  </a:lnTo>
                  <a:lnTo>
                    <a:pt x="68" y="194"/>
                  </a:lnTo>
                  <a:lnTo>
                    <a:pt x="66" y="196"/>
                  </a:lnTo>
                  <a:lnTo>
                    <a:pt x="64" y="196"/>
                  </a:lnTo>
                  <a:lnTo>
                    <a:pt x="64" y="198"/>
                  </a:lnTo>
                  <a:lnTo>
                    <a:pt x="62" y="198"/>
                  </a:lnTo>
                  <a:lnTo>
                    <a:pt x="62" y="200"/>
                  </a:lnTo>
                  <a:lnTo>
                    <a:pt x="60" y="200"/>
                  </a:lnTo>
                  <a:lnTo>
                    <a:pt x="60" y="202"/>
                  </a:lnTo>
                  <a:lnTo>
                    <a:pt x="60" y="202"/>
                  </a:lnTo>
                  <a:lnTo>
                    <a:pt x="60" y="206"/>
                  </a:lnTo>
                  <a:lnTo>
                    <a:pt x="60" y="208"/>
                  </a:lnTo>
                  <a:lnTo>
                    <a:pt x="40" y="210"/>
                  </a:lnTo>
                  <a:lnTo>
                    <a:pt x="40" y="208"/>
                  </a:lnTo>
                  <a:lnTo>
                    <a:pt x="38" y="204"/>
                  </a:lnTo>
                  <a:lnTo>
                    <a:pt x="38" y="202"/>
                  </a:lnTo>
                  <a:lnTo>
                    <a:pt x="38" y="198"/>
                  </a:lnTo>
                  <a:lnTo>
                    <a:pt x="38" y="196"/>
                  </a:lnTo>
                  <a:lnTo>
                    <a:pt x="38" y="194"/>
                  </a:lnTo>
                  <a:lnTo>
                    <a:pt x="38" y="194"/>
                  </a:lnTo>
                  <a:lnTo>
                    <a:pt x="38" y="192"/>
                  </a:lnTo>
                  <a:lnTo>
                    <a:pt x="40" y="190"/>
                  </a:lnTo>
                  <a:lnTo>
                    <a:pt x="40" y="190"/>
                  </a:lnTo>
                  <a:lnTo>
                    <a:pt x="42" y="188"/>
                  </a:lnTo>
                  <a:lnTo>
                    <a:pt x="44" y="186"/>
                  </a:lnTo>
                  <a:lnTo>
                    <a:pt x="44" y="184"/>
                  </a:lnTo>
                  <a:lnTo>
                    <a:pt x="44" y="182"/>
                  </a:lnTo>
                  <a:lnTo>
                    <a:pt x="44" y="182"/>
                  </a:lnTo>
                  <a:lnTo>
                    <a:pt x="46" y="180"/>
                  </a:lnTo>
                  <a:lnTo>
                    <a:pt x="46" y="180"/>
                  </a:lnTo>
                  <a:lnTo>
                    <a:pt x="44" y="178"/>
                  </a:lnTo>
                  <a:lnTo>
                    <a:pt x="44" y="178"/>
                  </a:lnTo>
                  <a:lnTo>
                    <a:pt x="44" y="176"/>
                  </a:lnTo>
                  <a:lnTo>
                    <a:pt x="42" y="174"/>
                  </a:lnTo>
                  <a:lnTo>
                    <a:pt x="40" y="172"/>
                  </a:lnTo>
                  <a:lnTo>
                    <a:pt x="38" y="172"/>
                  </a:lnTo>
                  <a:lnTo>
                    <a:pt x="36" y="170"/>
                  </a:lnTo>
                  <a:lnTo>
                    <a:pt x="36" y="170"/>
                  </a:lnTo>
                  <a:lnTo>
                    <a:pt x="34" y="168"/>
                  </a:lnTo>
                  <a:lnTo>
                    <a:pt x="32" y="168"/>
                  </a:lnTo>
                  <a:lnTo>
                    <a:pt x="24" y="166"/>
                  </a:lnTo>
                  <a:lnTo>
                    <a:pt x="18" y="164"/>
                  </a:lnTo>
                  <a:lnTo>
                    <a:pt x="10" y="162"/>
                  </a:lnTo>
                  <a:lnTo>
                    <a:pt x="0" y="15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7" name="Freeform 384"/>
            <p:cNvSpPr>
              <a:spLocks/>
            </p:cNvSpPr>
            <p:nvPr/>
          </p:nvSpPr>
          <p:spPr bwMode="auto">
            <a:xfrm>
              <a:off x="4754193" y="5158905"/>
              <a:ext cx="245955" cy="273668"/>
            </a:xfrm>
            <a:custGeom>
              <a:avLst/>
              <a:gdLst>
                <a:gd name="T0" fmla="*/ 60 w 142"/>
                <a:gd name="T1" fmla="*/ 2 h 158"/>
                <a:gd name="T2" fmla="*/ 92 w 142"/>
                <a:gd name="T3" fmla="*/ 14 h 158"/>
                <a:gd name="T4" fmla="*/ 96 w 142"/>
                <a:gd name="T5" fmla="*/ 28 h 158"/>
                <a:gd name="T6" fmla="*/ 96 w 142"/>
                <a:gd name="T7" fmla="*/ 36 h 158"/>
                <a:gd name="T8" fmla="*/ 100 w 142"/>
                <a:gd name="T9" fmla="*/ 40 h 158"/>
                <a:gd name="T10" fmla="*/ 104 w 142"/>
                <a:gd name="T11" fmla="*/ 42 h 158"/>
                <a:gd name="T12" fmla="*/ 106 w 142"/>
                <a:gd name="T13" fmla="*/ 48 h 158"/>
                <a:gd name="T14" fmla="*/ 106 w 142"/>
                <a:gd name="T15" fmla="*/ 54 h 158"/>
                <a:gd name="T16" fmla="*/ 110 w 142"/>
                <a:gd name="T17" fmla="*/ 54 h 158"/>
                <a:gd name="T18" fmla="*/ 114 w 142"/>
                <a:gd name="T19" fmla="*/ 54 h 158"/>
                <a:gd name="T20" fmla="*/ 116 w 142"/>
                <a:gd name="T21" fmla="*/ 54 h 158"/>
                <a:gd name="T22" fmla="*/ 118 w 142"/>
                <a:gd name="T23" fmla="*/ 60 h 158"/>
                <a:gd name="T24" fmla="*/ 120 w 142"/>
                <a:gd name="T25" fmla="*/ 68 h 158"/>
                <a:gd name="T26" fmla="*/ 122 w 142"/>
                <a:gd name="T27" fmla="*/ 70 h 158"/>
                <a:gd name="T28" fmla="*/ 128 w 142"/>
                <a:gd name="T29" fmla="*/ 72 h 158"/>
                <a:gd name="T30" fmla="*/ 142 w 142"/>
                <a:gd name="T31" fmla="*/ 78 h 158"/>
                <a:gd name="T32" fmla="*/ 138 w 142"/>
                <a:gd name="T33" fmla="*/ 86 h 158"/>
                <a:gd name="T34" fmla="*/ 130 w 142"/>
                <a:gd name="T35" fmla="*/ 92 h 158"/>
                <a:gd name="T36" fmla="*/ 122 w 142"/>
                <a:gd name="T37" fmla="*/ 100 h 158"/>
                <a:gd name="T38" fmla="*/ 118 w 142"/>
                <a:gd name="T39" fmla="*/ 104 h 158"/>
                <a:gd name="T40" fmla="*/ 110 w 142"/>
                <a:gd name="T41" fmla="*/ 106 h 158"/>
                <a:gd name="T42" fmla="*/ 108 w 142"/>
                <a:gd name="T43" fmla="*/ 110 h 158"/>
                <a:gd name="T44" fmla="*/ 106 w 142"/>
                <a:gd name="T45" fmla="*/ 120 h 158"/>
                <a:gd name="T46" fmla="*/ 106 w 142"/>
                <a:gd name="T47" fmla="*/ 122 h 158"/>
                <a:gd name="T48" fmla="*/ 100 w 142"/>
                <a:gd name="T49" fmla="*/ 124 h 158"/>
                <a:gd name="T50" fmla="*/ 96 w 142"/>
                <a:gd name="T51" fmla="*/ 124 h 158"/>
                <a:gd name="T52" fmla="*/ 92 w 142"/>
                <a:gd name="T53" fmla="*/ 132 h 158"/>
                <a:gd name="T54" fmla="*/ 86 w 142"/>
                <a:gd name="T55" fmla="*/ 138 h 158"/>
                <a:gd name="T56" fmla="*/ 82 w 142"/>
                <a:gd name="T57" fmla="*/ 142 h 158"/>
                <a:gd name="T58" fmla="*/ 74 w 142"/>
                <a:gd name="T59" fmla="*/ 144 h 158"/>
                <a:gd name="T60" fmla="*/ 68 w 142"/>
                <a:gd name="T61" fmla="*/ 142 h 158"/>
                <a:gd name="T62" fmla="*/ 60 w 142"/>
                <a:gd name="T63" fmla="*/ 138 h 158"/>
                <a:gd name="T64" fmla="*/ 54 w 142"/>
                <a:gd name="T65" fmla="*/ 136 h 158"/>
                <a:gd name="T66" fmla="*/ 50 w 142"/>
                <a:gd name="T67" fmla="*/ 138 h 158"/>
                <a:gd name="T68" fmla="*/ 46 w 142"/>
                <a:gd name="T69" fmla="*/ 142 h 158"/>
                <a:gd name="T70" fmla="*/ 42 w 142"/>
                <a:gd name="T71" fmla="*/ 150 h 158"/>
                <a:gd name="T72" fmla="*/ 40 w 142"/>
                <a:gd name="T73" fmla="*/ 154 h 158"/>
                <a:gd name="T74" fmla="*/ 34 w 142"/>
                <a:gd name="T75" fmla="*/ 158 h 158"/>
                <a:gd name="T76" fmla="*/ 26 w 142"/>
                <a:gd name="T77" fmla="*/ 158 h 158"/>
                <a:gd name="T78" fmla="*/ 14 w 142"/>
                <a:gd name="T79" fmla="*/ 156 h 158"/>
                <a:gd name="T80" fmla="*/ 12 w 142"/>
                <a:gd name="T81" fmla="*/ 152 h 158"/>
                <a:gd name="T82" fmla="*/ 10 w 142"/>
                <a:gd name="T83" fmla="*/ 142 h 158"/>
                <a:gd name="T84" fmla="*/ 8 w 142"/>
                <a:gd name="T85" fmla="*/ 138 h 158"/>
                <a:gd name="T86" fmla="*/ 2 w 142"/>
                <a:gd name="T87" fmla="*/ 118 h 158"/>
                <a:gd name="T88" fmla="*/ 0 w 142"/>
                <a:gd name="T89" fmla="*/ 98 h 158"/>
                <a:gd name="T90" fmla="*/ 2 w 142"/>
                <a:gd name="T91" fmla="*/ 84 h 158"/>
                <a:gd name="T92" fmla="*/ 4 w 142"/>
                <a:gd name="T93" fmla="*/ 80 h 158"/>
                <a:gd name="T94" fmla="*/ 8 w 142"/>
                <a:gd name="T95" fmla="*/ 78 h 158"/>
                <a:gd name="T96" fmla="*/ 14 w 142"/>
                <a:gd name="T97" fmla="*/ 74 h 158"/>
                <a:gd name="T98" fmla="*/ 18 w 142"/>
                <a:gd name="T99" fmla="*/ 72 h 158"/>
                <a:gd name="T100" fmla="*/ 20 w 142"/>
                <a:gd name="T101" fmla="*/ 64 h 158"/>
                <a:gd name="T102" fmla="*/ 20 w 142"/>
                <a:gd name="T103" fmla="*/ 46 h 158"/>
                <a:gd name="T104" fmla="*/ 18 w 142"/>
                <a:gd name="T105" fmla="*/ 26 h 158"/>
                <a:gd name="T106" fmla="*/ 20 w 142"/>
                <a:gd name="T107" fmla="*/ 16 h 158"/>
                <a:gd name="T108" fmla="*/ 42 w 142"/>
                <a:gd name="T10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58">
                  <a:moveTo>
                    <a:pt x="50" y="2"/>
                  </a:moveTo>
                  <a:lnTo>
                    <a:pt x="50" y="2"/>
                  </a:lnTo>
                  <a:lnTo>
                    <a:pt x="54" y="2"/>
                  </a:lnTo>
                  <a:lnTo>
                    <a:pt x="60" y="2"/>
                  </a:lnTo>
                  <a:lnTo>
                    <a:pt x="74" y="4"/>
                  </a:lnTo>
                  <a:lnTo>
                    <a:pt x="84" y="4"/>
                  </a:lnTo>
                  <a:lnTo>
                    <a:pt x="90" y="4"/>
                  </a:lnTo>
                  <a:lnTo>
                    <a:pt x="92" y="14"/>
                  </a:lnTo>
                  <a:lnTo>
                    <a:pt x="94" y="20"/>
                  </a:lnTo>
                  <a:lnTo>
                    <a:pt x="94" y="26"/>
                  </a:lnTo>
                  <a:lnTo>
                    <a:pt x="94" y="28"/>
                  </a:lnTo>
                  <a:lnTo>
                    <a:pt x="96" y="28"/>
                  </a:lnTo>
                  <a:lnTo>
                    <a:pt x="96" y="32"/>
                  </a:lnTo>
                  <a:lnTo>
                    <a:pt x="96" y="34"/>
                  </a:lnTo>
                  <a:lnTo>
                    <a:pt x="96" y="36"/>
                  </a:lnTo>
                  <a:lnTo>
                    <a:pt x="96" y="36"/>
                  </a:lnTo>
                  <a:lnTo>
                    <a:pt x="96" y="38"/>
                  </a:lnTo>
                  <a:lnTo>
                    <a:pt x="96" y="38"/>
                  </a:lnTo>
                  <a:lnTo>
                    <a:pt x="98" y="40"/>
                  </a:lnTo>
                  <a:lnTo>
                    <a:pt x="100" y="40"/>
                  </a:lnTo>
                  <a:lnTo>
                    <a:pt x="102" y="40"/>
                  </a:lnTo>
                  <a:lnTo>
                    <a:pt x="104" y="40"/>
                  </a:lnTo>
                  <a:lnTo>
                    <a:pt x="104" y="42"/>
                  </a:lnTo>
                  <a:lnTo>
                    <a:pt x="104" y="42"/>
                  </a:lnTo>
                  <a:lnTo>
                    <a:pt x="104" y="42"/>
                  </a:lnTo>
                  <a:lnTo>
                    <a:pt x="106" y="44"/>
                  </a:lnTo>
                  <a:lnTo>
                    <a:pt x="106" y="46"/>
                  </a:lnTo>
                  <a:lnTo>
                    <a:pt x="106" y="48"/>
                  </a:lnTo>
                  <a:lnTo>
                    <a:pt x="106" y="50"/>
                  </a:lnTo>
                  <a:lnTo>
                    <a:pt x="106" y="52"/>
                  </a:lnTo>
                  <a:lnTo>
                    <a:pt x="106" y="52"/>
                  </a:lnTo>
                  <a:lnTo>
                    <a:pt x="106" y="54"/>
                  </a:lnTo>
                  <a:lnTo>
                    <a:pt x="108" y="54"/>
                  </a:lnTo>
                  <a:lnTo>
                    <a:pt x="108" y="54"/>
                  </a:lnTo>
                  <a:lnTo>
                    <a:pt x="108" y="54"/>
                  </a:lnTo>
                  <a:lnTo>
                    <a:pt x="110" y="54"/>
                  </a:lnTo>
                  <a:lnTo>
                    <a:pt x="110" y="54"/>
                  </a:lnTo>
                  <a:lnTo>
                    <a:pt x="112" y="54"/>
                  </a:lnTo>
                  <a:lnTo>
                    <a:pt x="114" y="54"/>
                  </a:lnTo>
                  <a:lnTo>
                    <a:pt x="114" y="54"/>
                  </a:lnTo>
                  <a:lnTo>
                    <a:pt x="116" y="54"/>
                  </a:lnTo>
                  <a:lnTo>
                    <a:pt x="116" y="54"/>
                  </a:lnTo>
                  <a:lnTo>
                    <a:pt x="116" y="54"/>
                  </a:lnTo>
                  <a:lnTo>
                    <a:pt x="116" y="54"/>
                  </a:lnTo>
                  <a:lnTo>
                    <a:pt x="118" y="56"/>
                  </a:lnTo>
                  <a:lnTo>
                    <a:pt x="118" y="56"/>
                  </a:lnTo>
                  <a:lnTo>
                    <a:pt x="118" y="58"/>
                  </a:lnTo>
                  <a:lnTo>
                    <a:pt x="118" y="60"/>
                  </a:lnTo>
                  <a:lnTo>
                    <a:pt x="118" y="62"/>
                  </a:lnTo>
                  <a:lnTo>
                    <a:pt x="118" y="64"/>
                  </a:lnTo>
                  <a:lnTo>
                    <a:pt x="120" y="66"/>
                  </a:lnTo>
                  <a:lnTo>
                    <a:pt x="120" y="68"/>
                  </a:lnTo>
                  <a:lnTo>
                    <a:pt x="120" y="68"/>
                  </a:lnTo>
                  <a:lnTo>
                    <a:pt x="120" y="70"/>
                  </a:lnTo>
                  <a:lnTo>
                    <a:pt x="120" y="70"/>
                  </a:lnTo>
                  <a:lnTo>
                    <a:pt x="122" y="70"/>
                  </a:lnTo>
                  <a:lnTo>
                    <a:pt x="122" y="70"/>
                  </a:lnTo>
                  <a:lnTo>
                    <a:pt x="124" y="70"/>
                  </a:lnTo>
                  <a:lnTo>
                    <a:pt x="126" y="70"/>
                  </a:lnTo>
                  <a:lnTo>
                    <a:pt x="128" y="72"/>
                  </a:lnTo>
                  <a:lnTo>
                    <a:pt x="128" y="72"/>
                  </a:lnTo>
                  <a:lnTo>
                    <a:pt x="130" y="72"/>
                  </a:lnTo>
                  <a:lnTo>
                    <a:pt x="136" y="74"/>
                  </a:lnTo>
                  <a:lnTo>
                    <a:pt x="142" y="78"/>
                  </a:lnTo>
                  <a:lnTo>
                    <a:pt x="140" y="82"/>
                  </a:lnTo>
                  <a:lnTo>
                    <a:pt x="138" y="84"/>
                  </a:lnTo>
                  <a:lnTo>
                    <a:pt x="138" y="86"/>
                  </a:lnTo>
                  <a:lnTo>
                    <a:pt x="138" y="86"/>
                  </a:lnTo>
                  <a:lnTo>
                    <a:pt x="136" y="88"/>
                  </a:lnTo>
                  <a:lnTo>
                    <a:pt x="136" y="88"/>
                  </a:lnTo>
                  <a:lnTo>
                    <a:pt x="134" y="90"/>
                  </a:lnTo>
                  <a:lnTo>
                    <a:pt x="130" y="92"/>
                  </a:lnTo>
                  <a:lnTo>
                    <a:pt x="128" y="94"/>
                  </a:lnTo>
                  <a:lnTo>
                    <a:pt x="128" y="96"/>
                  </a:lnTo>
                  <a:lnTo>
                    <a:pt x="124" y="98"/>
                  </a:lnTo>
                  <a:lnTo>
                    <a:pt x="122" y="100"/>
                  </a:lnTo>
                  <a:lnTo>
                    <a:pt x="122" y="102"/>
                  </a:lnTo>
                  <a:lnTo>
                    <a:pt x="120" y="102"/>
                  </a:lnTo>
                  <a:lnTo>
                    <a:pt x="120" y="102"/>
                  </a:lnTo>
                  <a:lnTo>
                    <a:pt x="118" y="104"/>
                  </a:lnTo>
                  <a:lnTo>
                    <a:pt x="114" y="104"/>
                  </a:lnTo>
                  <a:lnTo>
                    <a:pt x="114" y="106"/>
                  </a:lnTo>
                  <a:lnTo>
                    <a:pt x="112" y="106"/>
                  </a:lnTo>
                  <a:lnTo>
                    <a:pt x="110" y="106"/>
                  </a:lnTo>
                  <a:lnTo>
                    <a:pt x="110" y="108"/>
                  </a:lnTo>
                  <a:lnTo>
                    <a:pt x="108" y="108"/>
                  </a:lnTo>
                  <a:lnTo>
                    <a:pt x="108" y="110"/>
                  </a:lnTo>
                  <a:lnTo>
                    <a:pt x="108" y="110"/>
                  </a:lnTo>
                  <a:lnTo>
                    <a:pt x="108" y="112"/>
                  </a:lnTo>
                  <a:lnTo>
                    <a:pt x="108" y="116"/>
                  </a:lnTo>
                  <a:lnTo>
                    <a:pt x="108" y="118"/>
                  </a:lnTo>
                  <a:lnTo>
                    <a:pt x="106" y="120"/>
                  </a:lnTo>
                  <a:lnTo>
                    <a:pt x="106" y="120"/>
                  </a:lnTo>
                  <a:lnTo>
                    <a:pt x="106" y="122"/>
                  </a:lnTo>
                  <a:lnTo>
                    <a:pt x="106" y="122"/>
                  </a:lnTo>
                  <a:lnTo>
                    <a:pt x="106" y="122"/>
                  </a:lnTo>
                  <a:lnTo>
                    <a:pt x="104" y="122"/>
                  </a:lnTo>
                  <a:lnTo>
                    <a:pt x="104" y="122"/>
                  </a:lnTo>
                  <a:lnTo>
                    <a:pt x="102" y="122"/>
                  </a:lnTo>
                  <a:lnTo>
                    <a:pt x="100" y="124"/>
                  </a:lnTo>
                  <a:lnTo>
                    <a:pt x="98" y="124"/>
                  </a:lnTo>
                  <a:lnTo>
                    <a:pt x="96" y="124"/>
                  </a:lnTo>
                  <a:lnTo>
                    <a:pt x="96" y="124"/>
                  </a:lnTo>
                  <a:lnTo>
                    <a:pt x="96" y="124"/>
                  </a:lnTo>
                  <a:lnTo>
                    <a:pt x="94" y="126"/>
                  </a:lnTo>
                  <a:lnTo>
                    <a:pt x="94" y="128"/>
                  </a:lnTo>
                  <a:lnTo>
                    <a:pt x="92" y="128"/>
                  </a:lnTo>
                  <a:lnTo>
                    <a:pt x="92" y="132"/>
                  </a:lnTo>
                  <a:lnTo>
                    <a:pt x="90" y="132"/>
                  </a:lnTo>
                  <a:lnTo>
                    <a:pt x="90" y="134"/>
                  </a:lnTo>
                  <a:lnTo>
                    <a:pt x="88" y="136"/>
                  </a:lnTo>
                  <a:lnTo>
                    <a:pt x="86" y="138"/>
                  </a:lnTo>
                  <a:lnTo>
                    <a:pt x="84" y="140"/>
                  </a:lnTo>
                  <a:lnTo>
                    <a:pt x="84" y="140"/>
                  </a:lnTo>
                  <a:lnTo>
                    <a:pt x="82" y="142"/>
                  </a:lnTo>
                  <a:lnTo>
                    <a:pt x="82" y="142"/>
                  </a:lnTo>
                  <a:lnTo>
                    <a:pt x="80" y="142"/>
                  </a:lnTo>
                  <a:lnTo>
                    <a:pt x="78" y="144"/>
                  </a:lnTo>
                  <a:lnTo>
                    <a:pt x="76" y="144"/>
                  </a:lnTo>
                  <a:lnTo>
                    <a:pt x="74" y="144"/>
                  </a:lnTo>
                  <a:lnTo>
                    <a:pt x="72" y="144"/>
                  </a:lnTo>
                  <a:lnTo>
                    <a:pt x="70" y="142"/>
                  </a:lnTo>
                  <a:lnTo>
                    <a:pt x="68" y="142"/>
                  </a:lnTo>
                  <a:lnTo>
                    <a:pt x="68" y="142"/>
                  </a:lnTo>
                  <a:lnTo>
                    <a:pt x="66" y="142"/>
                  </a:lnTo>
                  <a:lnTo>
                    <a:pt x="66" y="142"/>
                  </a:lnTo>
                  <a:lnTo>
                    <a:pt x="62" y="140"/>
                  </a:lnTo>
                  <a:lnTo>
                    <a:pt x="60" y="138"/>
                  </a:lnTo>
                  <a:lnTo>
                    <a:pt x="60" y="138"/>
                  </a:lnTo>
                  <a:lnTo>
                    <a:pt x="58" y="136"/>
                  </a:lnTo>
                  <a:lnTo>
                    <a:pt x="56" y="136"/>
                  </a:lnTo>
                  <a:lnTo>
                    <a:pt x="54" y="136"/>
                  </a:lnTo>
                  <a:lnTo>
                    <a:pt x="52" y="136"/>
                  </a:lnTo>
                  <a:lnTo>
                    <a:pt x="50" y="136"/>
                  </a:lnTo>
                  <a:lnTo>
                    <a:pt x="50" y="136"/>
                  </a:lnTo>
                  <a:lnTo>
                    <a:pt x="50" y="138"/>
                  </a:lnTo>
                  <a:lnTo>
                    <a:pt x="48" y="138"/>
                  </a:lnTo>
                  <a:lnTo>
                    <a:pt x="48" y="138"/>
                  </a:lnTo>
                  <a:lnTo>
                    <a:pt x="46" y="140"/>
                  </a:lnTo>
                  <a:lnTo>
                    <a:pt x="46" y="142"/>
                  </a:lnTo>
                  <a:lnTo>
                    <a:pt x="44" y="144"/>
                  </a:lnTo>
                  <a:lnTo>
                    <a:pt x="44" y="146"/>
                  </a:lnTo>
                  <a:lnTo>
                    <a:pt x="44" y="146"/>
                  </a:lnTo>
                  <a:lnTo>
                    <a:pt x="42" y="150"/>
                  </a:lnTo>
                  <a:lnTo>
                    <a:pt x="42" y="152"/>
                  </a:lnTo>
                  <a:lnTo>
                    <a:pt x="42" y="152"/>
                  </a:lnTo>
                  <a:lnTo>
                    <a:pt x="40" y="154"/>
                  </a:lnTo>
                  <a:lnTo>
                    <a:pt x="40" y="154"/>
                  </a:lnTo>
                  <a:lnTo>
                    <a:pt x="40" y="156"/>
                  </a:lnTo>
                  <a:lnTo>
                    <a:pt x="38" y="156"/>
                  </a:lnTo>
                  <a:lnTo>
                    <a:pt x="34" y="158"/>
                  </a:lnTo>
                  <a:lnTo>
                    <a:pt x="34" y="158"/>
                  </a:lnTo>
                  <a:lnTo>
                    <a:pt x="32" y="158"/>
                  </a:lnTo>
                  <a:lnTo>
                    <a:pt x="30" y="158"/>
                  </a:lnTo>
                  <a:lnTo>
                    <a:pt x="28" y="158"/>
                  </a:lnTo>
                  <a:lnTo>
                    <a:pt x="26" y="158"/>
                  </a:lnTo>
                  <a:lnTo>
                    <a:pt x="22" y="158"/>
                  </a:lnTo>
                  <a:lnTo>
                    <a:pt x="20" y="158"/>
                  </a:lnTo>
                  <a:lnTo>
                    <a:pt x="18" y="156"/>
                  </a:lnTo>
                  <a:lnTo>
                    <a:pt x="14" y="156"/>
                  </a:lnTo>
                  <a:lnTo>
                    <a:pt x="14" y="154"/>
                  </a:lnTo>
                  <a:lnTo>
                    <a:pt x="14" y="154"/>
                  </a:lnTo>
                  <a:lnTo>
                    <a:pt x="12" y="154"/>
                  </a:lnTo>
                  <a:lnTo>
                    <a:pt x="12" y="152"/>
                  </a:lnTo>
                  <a:lnTo>
                    <a:pt x="12" y="152"/>
                  </a:lnTo>
                  <a:lnTo>
                    <a:pt x="12" y="150"/>
                  </a:lnTo>
                  <a:lnTo>
                    <a:pt x="12" y="146"/>
                  </a:lnTo>
                  <a:lnTo>
                    <a:pt x="10" y="142"/>
                  </a:lnTo>
                  <a:lnTo>
                    <a:pt x="10" y="140"/>
                  </a:lnTo>
                  <a:lnTo>
                    <a:pt x="10" y="140"/>
                  </a:lnTo>
                  <a:lnTo>
                    <a:pt x="8" y="138"/>
                  </a:lnTo>
                  <a:lnTo>
                    <a:pt x="8" y="138"/>
                  </a:lnTo>
                  <a:lnTo>
                    <a:pt x="6" y="136"/>
                  </a:lnTo>
                  <a:lnTo>
                    <a:pt x="4" y="132"/>
                  </a:lnTo>
                  <a:lnTo>
                    <a:pt x="2" y="126"/>
                  </a:lnTo>
                  <a:lnTo>
                    <a:pt x="2" y="118"/>
                  </a:lnTo>
                  <a:lnTo>
                    <a:pt x="0" y="110"/>
                  </a:lnTo>
                  <a:lnTo>
                    <a:pt x="0" y="106"/>
                  </a:lnTo>
                  <a:lnTo>
                    <a:pt x="0" y="102"/>
                  </a:lnTo>
                  <a:lnTo>
                    <a:pt x="0" y="98"/>
                  </a:lnTo>
                  <a:lnTo>
                    <a:pt x="0" y="94"/>
                  </a:lnTo>
                  <a:lnTo>
                    <a:pt x="0" y="90"/>
                  </a:lnTo>
                  <a:lnTo>
                    <a:pt x="0" y="86"/>
                  </a:lnTo>
                  <a:lnTo>
                    <a:pt x="2" y="84"/>
                  </a:lnTo>
                  <a:lnTo>
                    <a:pt x="2" y="82"/>
                  </a:lnTo>
                  <a:lnTo>
                    <a:pt x="2" y="82"/>
                  </a:lnTo>
                  <a:lnTo>
                    <a:pt x="2" y="80"/>
                  </a:lnTo>
                  <a:lnTo>
                    <a:pt x="4" y="80"/>
                  </a:lnTo>
                  <a:lnTo>
                    <a:pt x="4" y="80"/>
                  </a:lnTo>
                  <a:lnTo>
                    <a:pt x="6" y="78"/>
                  </a:lnTo>
                  <a:lnTo>
                    <a:pt x="6" y="78"/>
                  </a:lnTo>
                  <a:lnTo>
                    <a:pt x="8" y="78"/>
                  </a:lnTo>
                  <a:lnTo>
                    <a:pt x="10" y="78"/>
                  </a:lnTo>
                  <a:lnTo>
                    <a:pt x="10" y="78"/>
                  </a:lnTo>
                  <a:lnTo>
                    <a:pt x="12" y="76"/>
                  </a:lnTo>
                  <a:lnTo>
                    <a:pt x="14" y="74"/>
                  </a:lnTo>
                  <a:lnTo>
                    <a:pt x="16" y="74"/>
                  </a:lnTo>
                  <a:lnTo>
                    <a:pt x="16" y="74"/>
                  </a:lnTo>
                  <a:lnTo>
                    <a:pt x="18" y="72"/>
                  </a:lnTo>
                  <a:lnTo>
                    <a:pt x="18" y="72"/>
                  </a:lnTo>
                  <a:lnTo>
                    <a:pt x="18" y="70"/>
                  </a:lnTo>
                  <a:lnTo>
                    <a:pt x="20" y="70"/>
                  </a:lnTo>
                  <a:lnTo>
                    <a:pt x="20" y="68"/>
                  </a:lnTo>
                  <a:lnTo>
                    <a:pt x="20" y="64"/>
                  </a:lnTo>
                  <a:lnTo>
                    <a:pt x="20" y="62"/>
                  </a:lnTo>
                  <a:lnTo>
                    <a:pt x="20" y="58"/>
                  </a:lnTo>
                  <a:lnTo>
                    <a:pt x="20" y="54"/>
                  </a:lnTo>
                  <a:lnTo>
                    <a:pt x="20" y="46"/>
                  </a:lnTo>
                  <a:lnTo>
                    <a:pt x="18" y="40"/>
                  </a:lnTo>
                  <a:lnTo>
                    <a:pt x="18" y="32"/>
                  </a:lnTo>
                  <a:lnTo>
                    <a:pt x="18" y="28"/>
                  </a:lnTo>
                  <a:lnTo>
                    <a:pt x="18" y="26"/>
                  </a:lnTo>
                  <a:lnTo>
                    <a:pt x="18" y="22"/>
                  </a:lnTo>
                  <a:lnTo>
                    <a:pt x="18" y="20"/>
                  </a:lnTo>
                  <a:lnTo>
                    <a:pt x="20" y="18"/>
                  </a:lnTo>
                  <a:lnTo>
                    <a:pt x="20" y="16"/>
                  </a:lnTo>
                  <a:lnTo>
                    <a:pt x="22" y="12"/>
                  </a:lnTo>
                  <a:lnTo>
                    <a:pt x="26" y="8"/>
                  </a:lnTo>
                  <a:lnTo>
                    <a:pt x="26" y="6"/>
                  </a:lnTo>
                  <a:lnTo>
                    <a:pt x="42" y="0"/>
                  </a:lnTo>
                  <a:lnTo>
                    <a:pt x="46" y="0"/>
                  </a:lnTo>
                  <a:lnTo>
                    <a:pt x="48" y="2"/>
                  </a:lnTo>
                  <a:lnTo>
                    <a:pt x="5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8" name="Freeform 385"/>
            <p:cNvSpPr>
              <a:spLocks/>
            </p:cNvSpPr>
            <p:nvPr/>
          </p:nvSpPr>
          <p:spPr bwMode="auto">
            <a:xfrm>
              <a:off x="4754193" y="5158905"/>
              <a:ext cx="245955" cy="273668"/>
            </a:xfrm>
            <a:custGeom>
              <a:avLst/>
              <a:gdLst>
                <a:gd name="T0" fmla="*/ 60 w 142"/>
                <a:gd name="T1" fmla="*/ 2 h 158"/>
                <a:gd name="T2" fmla="*/ 92 w 142"/>
                <a:gd name="T3" fmla="*/ 14 h 158"/>
                <a:gd name="T4" fmla="*/ 96 w 142"/>
                <a:gd name="T5" fmla="*/ 28 h 158"/>
                <a:gd name="T6" fmla="*/ 96 w 142"/>
                <a:gd name="T7" fmla="*/ 36 h 158"/>
                <a:gd name="T8" fmla="*/ 100 w 142"/>
                <a:gd name="T9" fmla="*/ 40 h 158"/>
                <a:gd name="T10" fmla="*/ 104 w 142"/>
                <a:gd name="T11" fmla="*/ 42 h 158"/>
                <a:gd name="T12" fmla="*/ 106 w 142"/>
                <a:gd name="T13" fmla="*/ 48 h 158"/>
                <a:gd name="T14" fmla="*/ 106 w 142"/>
                <a:gd name="T15" fmla="*/ 54 h 158"/>
                <a:gd name="T16" fmla="*/ 110 w 142"/>
                <a:gd name="T17" fmla="*/ 54 h 158"/>
                <a:gd name="T18" fmla="*/ 114 w 142"/>
                <a:gd name="T19" fmla="*/ 54 h 158"/>
                <a:gd name="T20" fmla="*/ 116 w 142"/>
                <a:gd name="T21" fmla="*/ 54 h 158"/>
                <a:gd name="T22" fmla="*/ 118 w 142"/>
                <a:gd name="T23" fmla="*/ 60 h 158"/>
                <a:gd name="T24" fmla="*/ 120 w 142"/>
                <a:gd name="T25" fmla="*/ 68 h 158"/>
                <a:gd name="T26" fmla="*/ 122 w 142"/>
                <a:gd name="T27" fmla="*/ 70 h 158"/>
                <a:gd name="T28" fmla="*/ 128 w 142"/>
                <a:gd name="T29" fmla="*/ 72 h 158"/>
                <a:gd name="T30" fmla="*/ 142 w 142"/>
                <a:gd name="T31" fmla="*/ 78 h 158"/>
                <a:gd name="T32" fmla="*/ 138 w 142"/>
                <a:gd name="T33" fmla="*/ 86 h 158"/>
                <a:gd name="T34" fmla="*/ 130 w 142"/>
                <a:gd name="T35" fmla="*/ 92 h 158"/>
                <a:gd name="T36" fmla="*/ 122 w 142"/>
                <a:gd name="T37" fmla="*/ 100 h 158"/>
                <a:gd name="T38" fmla="*/ 118 w 142"/>
                <a:gd name="T39" fmla="*/ 104 h 158"/>
                <a:gd name="T40" fmla="*/ 110 w 142"/>
                <a:gd name="T41" fmla="*/ 106 h 158"/>
                <a:gd name="T42" fmla="*/ 108 w 142"/>
                <a:gd name="T43" fmla="*/ 110 h 158"/>
                <a:gd name="T44" fmla="*/ 106 w 142"/>
                <a:gd name="T45" fmla="*/ 120 h 158"/>
                <a:gd name="T46" fmla="*/ 106 w 142"/>
                <a:gd name="T47" fmla="*/ 122 h 158"/>
                <a:gd name="T48" fmla="*/ 100 w 142"/>
                <a:gd name="T49" fmla="*/ 124 h 158"/>
                <a:gd name="T50" fmla="*/ 96 w 142"/>
                <a:gd name="T51" fmla="*/ 124 h 158"/>
                <a:gd name="T52" fmla="*/ 92 w 142"/>
                <a:gd name="T53" fmla="*/ 132 h 158"/>
                <a:gd name="T54" fmla="*/ 86 w 142"/>
                <a:gd name="T55" fmla="*/ 138 h 158"/>
                <a:gd name="T56" fmla="*/ 82 w 142"/>
                <a:gd name="T57" fmla="*/ 142 h 158"/>
                <a:gd name="T58" fmla="*/ 74 w 142"/>
                <a:gd name="T59" fmla="*/ 144 h 158"/>
                <a:gd name="T60" fmla="*/ 68 w 142"/>
                <a:gd name="T61" fmla="*/ 142 h 158"/>
                <a:gd name="T62" fmla="*/ 60 w 142"/>
                <a:gd name="T63" fmla="*/ 138 h 158"/>
                <a:gd name="T64" fmla="*/ 54 w 142"/>
                <a:gd name="T65" fmla="*/ 136 h 158"/>
                <a:gd name="T66" fmla="*/ 50 w 142"/>
                <a:gd name="T67" fmla="*/ 138 h 158"/>
                <a:gd name="T68" fmla="*/ 46 w 142"/>
                <a:gd name="T69" fmla="*/ 142 h 158"/>
                <a:gd name="T70" fmla="*/ 42 w 142"/>
                <a:gd name="T71" fmla="*/ 150 h 158"/>
                <a:gd name="T72" fmla="*/ 40 w 142"/>
                <a:gd name="T73" fmla="*/ 154 h 158"/>
                <a:gd name="T74" fmla="*/ 34 w 142"/>
                <a:gd name="T75" fmla="*/ 158 h 158"/>
                <a:gd name="T76" fmla="*/ 26 w 142"/>
                <a:gd name="T77" fmla="*/ 158 h 158"/>
                <a:gd name="T78" fmla="*/ 14 w 142"/>
                <a:gd name="T79" fmla="*/ 156 h 158"/>
                <a:gd name="T80" fmla="*/ 12 w 142"/>
                <a:gd name="T81" fmla="*/ 152 h 158"/>
                <a:gd name="T82" fmla="*/ 10 w 142"/>
                <a:gd name="T83" fmla="*/ 142 h 158"/>
                <a:gd name="T84" fmla="*/ 8 w 142"/>
                <a:gd name="T85" fmla="*/ 138 h 158"/>
                <a:gd name="T86" fmla="*/ 2 w 142"/>
                <a:gd name="T87" fmla="*/ 118 h 158"/>
                <a:gd name="T88" fmla="*/ 0 w 142"/>
                <a:gd name="T89" fmla="*/ 98 h 158"/>
                <a:gd name="T90" fmla="*/ 2 w 142"/>
                <a:gd name="T91" fmla="*/ 84 h 158"/>
                <a:gd name="T92" fmla="*/ 4 w 142"/>
                <a:gd name="T93" fmla="*/ 80 h 158"/>
                <a:gd name="T94" fmla="*/ 8 w 142"/>
                <a:gd name="T95" fmla="*/ 78 h 158"/>
                <a:gd name="T96" fmla="*/ 14 w 142"/>
                <a:gd name="T97" fmla="*/ 74 h 158"/>
                <a:gd name="T98" fmla="*/ 18 w 142"/>
                <a:gd name="T99" fmla="*/ 72 h 158"/>
                <a:gd name="T100" fmla="*/ 20 w 142"/>
                <a:gd name="T101" fmla="*/ 64 h 158"/>
                <a:gd name="T102" fmla="*/ 20 w 142"/>
                <a:gd name="T103" fmla="*/ 46 h 158"/>
                <a:gd name="T104" fmla="*/ 18 w 142"/>
                <a:gd name="T105" fmla="*/ 26 h 158"/>
                <a:gd name="T106" fmla="*/ 20 w 142"/>
                <a:gd name="T107" fmla="*/ 16 h 158"/>
                <a:gd name="T108" fmla="*/ 42 w 142"/>
                <a:gd name="T10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58">
                  <a:moveTo>
                    <a:pt x="50" y="2"/>
                  </a:moveTo>
                  <a:lnTo>
                    <a:pt x="50" y="2"/>
                  </a:lnTo>
                  <a:lnTo>
                    <a:pt x="54" y="2"/>
                  </a:lnTo>
                  <a:lnTo>
                    <a:pt x="60" y="2"/>
                  </a:lnTo>
                  <a:lnTo>
                    <a:pt x="74" y="4"/>
                  </a:lnTo>
                  <a:lnTo>
                    <a:pt x="84" y="4"/>
                  </a:lnTo>
                  <a:lnTo>
                    <a:pt x="90" y="4"/>
                  </a:lnTo>
                  <a:lnTo>
                    <a:pt x="92" y="14"/>
                  </a:lnTo>
                  <a:lnTo>
                    <a:pt x="94" y="20"/>
                  </a:lnTo>
                  <a:lnTo>
                    <a:pt x="94" y="26"/>
                  </a:lnTo>
                  <a:lnTo>
                    <a:pt x="94" y="28"/>
                  </a:lnTo>
                  <a:lnTo>
                    <a:pt x="96" y="28"/>
                  </a:lnTo>
                  <a:lnTo>
                    <a:pt x="96" y="32"/>
                  </a:lnTo>
                  <a:lnTo>
                    <a:pt x="96" y="34"/>
                  </a:lnTo>
                  <a:lnTo>
                    <a:pt x="96" y="36"/>
                  </a:lnTo>
                  <a:lnTo>
                    <a:pt x="96" y="36"/>
                  </a:lnTo>
                  <a:lnTo>
                    <a:pt x="96" y="38"/>
                  </a:lnTo>
                  <a:lnTo>
                    <a:pt x="96" y="38"/>
                  </a:lnTo>
                  <a:lnTo>
                    <a:pt x="98" y="40"/>
                  </a:lnTo>
                  <a:lnTo>
                    <a:pt x="100" y="40"/>
                  </a:lnTo>
                  <a:lnTo>
                    <a:pt x="102" y="40"/>
                  </a:lnTo>
                  <a:lnTo>
                    <a:pt x="104" y="40"/>
                  </a:lnTo>
                  <a:lnTo>
                    <a:pt x="104" y="42"/>
                  </a:lnTo>
                  <a:lnTo>
                    <a:pt x="104" y="42"/>
                  </a:lnTo>
                  <a:lnTo>
                    <a:pt x="104" y="42"/>
                  </a:lnTo>
                  <a:lnTo>
                    <a:pt x="106" y="44"/>
                  </a:lnTo>
                  <a:lnTo>
                    <a:pt x="106" y="46"/>
                  </a:lnTo>
                  <a:lnTo>
                    <a:pt x="106" y="48"/>
                  </a:lnTo>
                  <a:lnTo>
                    <a:pt x="106" y="50"/>
                  </a:lnTo>
                  <a:lnTo>
                    <a:pt x="106" y="52"/>
                  </a:lnTo>
                  <a:lnTo>
                    <a:pt x="106" y="52"/>
                  </a:lnTo>
                  <a:lnTo>
                    <a:pt x="106" y="54"/>
                  </a:lnTo>
                  <a:lnTo>
                    <a:pt x="108" y="54"/>
                  </a:lnTo>
                  <a:lnTo>
                    <a:pt x="108" y="54"/>
                  </a:lnTo>
                  <a:lnTo>
                    <a:pt x="108" y="54"/>
                  </a:lnTo>
                  <a:lnTo>
                    <a:pt x="110" y="54"/>
                  </a:lnTo>
                  <a:lnTo>
                    <a:pt x="110" y="54"/>
                  </a:lnTo>
                  <a:lnTo>
                    <a:pt x="112" y="54"/>
                  </a:lnTo>
                  <a:lnTo>
                    <a:pt x="114" y="54"/>
                  </a:lnTo>
                  <a:lnTo>
                    <a:pt x="114" y="54"/>
                  </a:lnTo>
                  <a:lnTo>
                    <a:pt x="116" y="54"/>
                  </a:lnTo>
                  <a:lnTo>
                    <a:pt x="116" y="54"/>
                  </a:lnTo>
                  <a:lnTo>
                    <a:pt x="116" y="54"/>
                  </a:lnTo>
                  <a:lnTo>
                    <a:pt x="116" y="54"/>
                  </a:lnTo>
                  <a:lnTo>
                    <a:pt x="118" y="56"/>
                  </a:lnTo>
                  <a:lnTo>
                    <a:pt x="118" y="56"/>
                  </a:lnTo>
                  <a:lnTo>
                    <a:pt x="118" y="58"/>
                  </a:lnTo>
                  <a:lnTo>
                    <a:pt x="118" y="60"/>
                  </a:lnTo>
                  <a:lnTo>
                    <a:pt x="118" y="62"/>
                  </a:lnTo>
                  <a:lnTo>
                    <a:pt x="118" y="64"/>
                  </a:lnTo>
                  <a:lnTo>
                    <a:pt x="120" y="66"/>
                  </a:lnTo>
                  <a:lnTo>
                    <a:pt x="120" y="68"/>
                  </a:lnTo>
                  <a:lnTo>
                    <a:pt x="120" y="68"/>
                  </a:lnTo>
                  <a:lnTo>
                    <a:pt x="120" y="70"/>
                  </a:lnTo>
                  <a:lnTo>
                    <a:pt x="120" y="70"/>
                  </a:lnTo>
                  <a:lnTo>
                    <a:pt x="122" y="70"/>
                  </a:lnTo>
                  <a:lnTo>
                    <a:pt x="122" y="70"/>
                  </a:lnTo>
                  <a:lnTo>
                    <a:pt x="124" y="70"/>
                  </a:lnTo>
                  <a:lnTo>
                    <a:pt x="126" y="70"/>
                  </a:lnTo>
                  <a:lnTo>
                    <a:pt x="128" y="72"/>
                  </a:lnTo>
                  <a:lnTo>
                    <a:pt x="128" y="72"/>
                  </a:lnTo>
                  <a:lnTo>
                    <a:pt x="130" y="72"/>
                  </a:lnTo>
                  <a:lnTo>
                    <a:pt x="136" y="74"/>
                  </a:lnTo>
                  <a:lnTo>
                    <a:pt x="142" y="78"/>
                  </a:lnTo>
                  <a:lnTo>
                    <a:pt x="140" y="82"/>
                  </a:lnTo>
                  <a:lnTo>
                    <a:pt x="138" y="84"/>
                  </a:lnTo>
                  <a:lnTo>
                    <a:pt x="138" y="86"/>
                  </a:lnTo>
                  <a:lnTo>
                    <a:pt x="138" y="86"/>
                  </a:lnTo>
                  <a:lnTo>
                    <a:pt x="136" y="88"/>
                  </a:lnTo>
                  <a:lnTo>
                    <a:pt x="136" y="88"/>
                  </a:lnTo>
                  <a:lnTo>
                    <a:pt x="134" y="90"/>
                  </a:lnTo>
                  <a:lnTo>
                    <a:pt x="130" y="92"/>
                  </a:lnTo>
                  <a:lnTo>
                    <a:pt x="128" y="94"/>
                  </a:lnTo>
                  <a:lnTo>
                    <a:pt x="128" y="96"/>
                  </a:lnTo>
                  <a:lnTo>
                    <a:pt x="124" y="98"/>
                  </a:lnTo>
                  <a:lnTo>
                    <a:pt x="122" y="100"/>
                  </a:lnTo>
                  <a:lnTo>
                    <a:pt x="122" y="102"/>
                  </a:lnTo>
                  <a:lnTo>
                    <a:pt x="120" y="102"/>
                  </a:lnTo>
                  <a:lnTo>
                    <a:pt x="120" y="102"/>
                  </a:lnTo>
                  <a:lnTo>
                    <a:pt x="118" y="104"/>
                  </a:lnTo>
                  <a:lnTo>
                    <a:pt x="114" y="104"/>
                  </a:lnTo>
                  <a:lnTo>
                    <a:pt x="114" y="106"/>
                  </a:lnTo>
                  <a:lnTo>
                    <a:pt x="112" y="106"/>
                  </a:lnTo>
                  <a:lnTo>
                    <a:pt x="110" y="106"/>
                  </a:lnTo>
                  <a:lnTo>
                    <a:pt x="110" y="108"/>
                  </a:lnTo>
                  <a:lnTo>
                    <a:pt x="108" y="108"/>
                  </a:lnTo>
                  <a:lnTo>
                    <a:pt x="108" y="110"/>
                  </a:lnTo>
                  <a:lnTo>
                    <a:pt x="108" y="110"/>
                  </a:lnTo>
                  <a:lnTo>
                    <a:pt x="108" y="112"/>
                  </a:lnTo>
                  <a:lnTo>
                    <a:pt x="108" y="116"/>
                  </a:lnTo>
                  <a:lnTo>
                    <a:pt x="108" y="118"/>
                  </a:lnTo>
                  <a:lnTo>
                    <a:pt x="106" y="120"/>
                  </a:lnTo>
                  <a:lnTo>
                    <a:pt x="106" y="120"/>
                  </a:lnTo>
                  <a:lnTo>
                    <a:pt x="106" y="122"/>
                  </a:lnTo>
                  <a:lnTo>
                    <a:pt x="106" y="122"/>
                  </a:lnTo>
                  <a:lnTo>
                    <a:pt x="106" y="122"/>
                  </a:lnTo>
                  <a:lnTo>
                    <a:pt x="104" y="122"/>
                  </a:lnTo>
                  <a:lnTo>
                    <a:pt x="104" y="122"/>
                  </a:lnTo>
                  <a:lnTo>
                    <a:pt x="102" y="122"/>
                  </a:lnTo>
                  <a:lnTo>
                    <a:pt x="100" y="124"/>
                  </a:lnTo>
                  <a:lnTo>
                    <a:pt x="98" y="124"/>
                  </a:lnTo>
                  <a:lnTo>
                    <a:pt x="96" y="124"/>
                  </a:lnTo>
                  <a:lnTo>
                    <a:pt x="96" y="124"/>
                  </a:lnTo>
                  <a:lnTo>
                    <a:pt x="96" y="124"/>
                  </a:lnTo>
                  <a:lnTo>
                    <a:pt x="94" y="126"/>
                  </a:lnTo>
                  <a:lnTo>
                    <a:pt x="94" y="128"/>
                  </a:lnTo>
                  <a:lnTo>
                    <a:pt x="92" y="128"/>
                  </a:lnTo>
                  <a:lnTo>
                    <a:pt x="92" y="132"/>
                  </a:lnTo>
                  <a:lnTo>
                    <a:pt x="90" y="132"/>
                  </a:lnTo>
                  <a:lnTo>
                    <a:pt x="90" y="134"/>
                  </a:lnTo>
                  <a:lnTo>
                    <a:pt x="88" y="136"/>
                  </a:lnTo>
                  <a:lnTo>
                    <a:pt x="86" y="138"/>
                  </a:lnTo>
                  <a:lnTo>
                    <a:pt x="84" y="140"/>
                  </a:lnTo>
                  <a:lnTo>
                    <a:pt x="84" y="140"/>
                  </a:lnTo>
                  <a:lnTo>
                    <a:pt x="82" y="142"/>
                  </a:lnTo>
                  <a:lnTo>
                    <a:pt x="82" y="142"/>
                  </a:lnTo>
                  <a:lnTo>
                    <a:pt x="80" y="142"/>
                  </a:lnTo>
                  <a:lnTo>
                    <a:pt x="78" y="144"/>
                  </a:lnTo>
                  <a:lnTo>
                    <a:pt x="76" y="144"/>
                  </a:lnTo>
                  <a:lnTo>
                    <a:pt x="74" y="144"/>
                  </a:lnTo>
                  <a:lnTo>
                    <a:pt x="72" y="144"/>
                  </a:lnTo>
                  <a:lnTo>
                    <a:pt x="70" y="142"/>
                  </a:lnTo>
                  <a:lnTo>
                    <a:pt x="68" y="142"/>
                  </a:lnTo>
                  <a:lnTo>
                    <a:pt x="68" y="142"/>
                  </a:lnTo>
                  <a:lnTo>
                    <a:pt x="66" y="142"/>
                  </a:lnTo>
                  <a:lnTo>
                    <a:pt x="66" y="142"/>
                  </a:lnTo>
                  <a:lnTo>
                    <a:pt x="62" y="140"/>
                  </a:lnTo>
                  <a:lnTo>
                    <a:pt x="60" y="138"/>
                  </a:lnTo>
                  <a:lnTo>
                    <a:pt x="60" y="138"/>
                  </a:lnTo>
                  <a:lnTo>
                    <a:pt x="58" y="136"/>
                  </a:lnTo>
                  <a:lnTo>
                    <a:pt x="56" y="136"/>
                  </a:lnTo>
                  <a:lnTo>
                    <a:pt x="54" y="136"/>
                  </a:lnTo>
                  <a:lnTo>
                    <a:pt x="52" y="136"/>
                  </a:lnTo>
                  <a:lnTo>
                    <a:pt x="50" y="136"/>
                  </a:lnTo>
                  <a:lnTo>
                    <a:pt x="50" y="136"/>
                  </a:lnTo>
                  <a:lnTo>
                    <a:pt x="50" y="138"/>
                  </a:lnTo>
                  <a:lnTo>
                    <a:pt x="48" y="138"/>
                  </a:lnTo>
                  <a:lnTo>
                    <a:pt x="48" y="138"/>
                  </a:lnTo>
                  <a:lnTo>
                    <a:pt x="46" y="140"/>
                  </a:lnTo>
                  <a:lnTo>
                    <a:pt x="46" y="142"/>
                  </a:lnTo>
                  <a:lnTo>
                    <a:pt x="44" y="144"/>
                  </a:lnTo>
                  <a:lnTo>
                    <a:pt x="44" y="146"/>
                  </a:lnTo>
                  <a:lnTo>
                    <a:pt x="44" y="146"/>
                  </a:lnTo>
                  <a:lnTo>
                    <a:pt x="42" y="150"/>
                  </a:lnTo>
                  <a:lnTo>
                    <a:pt x="42" y="152"/>
                  </a:lnTo>
                  <a:lnTo>
                    <a:pt x="42" y="152"/>
                  </a:lnTo>
                  <a:lnTo>
                    <a:pt x="40" y="154"/>
                  </a:lnTo>
                  <a:lnTo>
                    <a:pt x="40" y="154"/>
                  </a:lnTo>
                  <a:lnTo>
                    <a:pt x="40" y="156"/>
                  </a:lnTo>
                  <a:lnTo>
                    <a:pt x="38" y="156"/>
                  </a:lnTo>
                  <a:lnTo>
                    <a:pt x="34" y="158"/>
                  </a:lnTo>
                  <a:lnTo>
                    <a:pt x="34" y="158"/>
                  </a:lnTo>
                  <a:lnTo>
                    <a:pt x="32" y="158"/>
                  </a:lnTo>
                  <a:lnTo>
                    <a:pt x="30" y="158"/>
                  </a:lnTo>
                  <a:lnTo>
                    <a:pt x="28" y="158"/>
                  </a:lnTo>
                  <a:lnTo>
                    <a:pt x="26" y="158"/>
                  </a:lnTo>
                  <a:lnTo>
                    <a:pt x="22" y="158"/>
                  </a:lnTo>
                  <a:lnTo>
                    <a:pt x="20" y="158"/>
                  </a:lnTo>
                  <a:lnTo>
                    <a:pt x="18" y="156"/>
                  </a:lnTo>
                  <a:lnTo>
                    <a:pt x="14" y="156"/>
                  </a:lnTo>
                  <a:lnTo>
                    <a:pt x="14" y="154"/>
                  </a:lnTo>
                  <a:lnTo>
                    <a:pt x="14" y="154"/>
                  </a:lnTo>
                  <a:lnTo>
                    <a:pt x="12" y="154"/>
                  </a:lnTo>
                  <a:lnTo>
                    <a:pt x="12" y="152"/>
                  </a:lnTo>
                  <a:lnTo>
                    <a:pt x="12" y="152"/>
                  </a:lnTo>
                  <a:lnTo>
                    <a:pt x="12" y="150"/>
                  </a:lnTo>
                  <a:lnTo>
                    <a:pt x="12" y="146"/>
                  </a:lnTo>
                  <a:lnTo>
                    <a:pt x="10" y="142"/>
                  </a:lnTo>
                  <a:lnTo>
                    <a:pt x="10" y="140"/>
                  </a:lnTo>
                  <a:lnTo>
                    <a:pt x="10" y="140"/>
                  </a:lnTo>
                  <a:lnTo>
                    <a:pt x="8" y="138"/>
                  </a:lnTo>
                  <a:lnTo>
                    <a:pt x="8" y="138"/>
                  </a:lnTo>
                  <a:lnTo>
                    <a:pt x="6" y="136"/>
                  </a:lnTo>
                  <a:lnTo>
                    <a:pt x="4" y="132"/>
                  </a:lnTo>
                  <a:lnTo>
                    <a:pt x="2" y="126"/>
                  </a:lnTo>
                  <a:lnTo>
                    <a:pt x="2" y="118"/>
                  </a:lnTo>
                  <a:lnTo>
                    <a:pt x="0" y="110"/>
                  </a:lnTo>
                  <a:lnTo>
                    <a:pt x="0" y="106"/>
                  </a:lnTo>
                  <a:lnTo>
                    <a:pt x="0" y="102"/>
                  </a:lnTo>
                  <a:lnTo>
                    <a:pt x="0" y="98"/>
                  </a:lnTo>
                  <a:lnTo>
                    <a:pt x="0" y="94"/>
                  </a:lnTo>
                  <a:lnTo>
                    <a:pt x="0" y="90"/>
                  </a:lnTo>
                  <a:lnTo>
                    <a:pt x="0" y="86"/>
                  </a:lnTo>
                  <a:lnTo>
                    <a:pt x="2" y="84"/>
                  </a:lnTo>
                  <a:lnTo>
                    <a:pt x="2" y="82"/>
                  </a:lnTo>
                  <a:lnTo>
                    <a:pt x="2" y="82"/>
                  </a:lnTo>
                  <a:lnTo>
                    <a:pt x="2" y="80"/>
                  </a:lnTo>
                  <a:lnTo>
                    <a:pt x="4" y="80"/>
                  </a:lnTo>
                  <a:lnTo>
                    <a:pt x="4" y="80"/>
                  </a:lnTo>
                  <a:lnTo>
                    <a:pt x="6" y="78"/>
                  </a:lnTo>
                  <a:lnTo>
                    <a:pt x="6" y="78"/>
                  </a:lnTo>
                  <a:lnTo>
                    <a:pt x="8" y="78"/>
                  </a:lnTo>
                  <a:lnTo>
                    <a:pt x="10" y="78"/>
                  </a:lnTo>
                  <a:lnTo>
                    <a:pt x="10" y="78"/>
                  </a:lnTo>
                  <a:lnTo>
                    <a:pt x="12" y="76"/>
                  </a:lnTo>
                  <a:lnTo>
                    <a:pt x="14" y="74"/>
                  </a:lnTo>
                  <a:lnTo>
                    <a:pt x="16" y="74"/>
                  </a:lnTo>
                  <a:lnTo>
                    <a:pt x="16" y="74"/>
                  </a:lnTo>
                  <a:lnTo>
                    <a:pt x="18" y="72"/>
                  </a:lnTo>
                  <a:lnTo>
                    <a:pt x="18" y="72"/>
                  </a:lnTo>
                  <a:lnTo>
                    <a:pt x="18" y="70"/>
                  </a:lnTo>
                  <a:lnTo>
                    <a:pt x="20" y="70"/>
                  </a:lnTo>
                  <a:lnTo>
                    <a:pt x="20" y="68"/>
                  </a:lnTo>
                  <a:lnTo>
                    <a:pt x="20" y="64"/>
                  </a:lnTo>
                  <a:lnTo>
                    <a:pt x="20" y="62"/>
                  </a:lnTo>
                  <a:lnTo>
                    <a:pt x="20" y="58"/>
                  </a:lnTo>
                  <a:lnTo>
                    <a:pt x="20" y="54"/>
                  </a:lnTo>
                  <a:lnTo>
                    <a:pt x="20" y="46"/>
                  </a:lnTo>
                  <a:lnTo>
                    <a:pt x="18" y="40"/>
                  </a:lnTo>
                  <a:lnTo>
                    <a:pt x="18" y="32"/>
                  </a:lnTo>
                  <a:lnTo>
                    <a:pt x="18" y="28"/>
                  </a:lnTo>
                  <a:lnTo>
                    <a:pt x="18" y="26"/>
                  </a:lnTo>
                  <a:lnTo>
                    <a:pt x="18" y="22"/>
                  </a:lnTo>
                  <a:lnTo>
                    <a:pt x="18" y="20"/>
                  </a:lnTo>
                  <a:lnTo>
                    <a:pt x="20" y="18"/>
                  </a:lnTo>
                  <a:lnTo>
                    <a:pt x="20" y="16"/>
                  </a:lnTo>
                  <a:lnTo>
                    <a:pt x="22" y="12"/>
                  </a:lnTo>
                  <a:lnTo>
                    <a:pt x="26" y="8"/>
                  </a:lnTo>
                  <a:lnTo>
                    <a:pt x="26" y="6"/>
                  </a:lnTo>
                  <a:lnTo>
                    <a:pt x="42" y="0"/>
                  </a:lnTo>
                  <a:lnTo>
                    <a:pt x="46" y="0"/>
                  </a:lnTo>
                  <a:lnTo>
                    <a:pt x="48" y="2"/>
                  </a:lnTo>
                  <a:lnTo>
                    <a:pt x="5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09" name="Freeform 386"/>
            <p:cNvSpPr>
              <a:spLocks/>
            </p:cNvSpPr>
            <p:nvPr/>
          </p:nvSpPr>
          <p:spPr bwMode="auto">
            <a:xfrm>
              <a:off x="4262283" y="4355222"/>
              <a:ext cx="38106" cy="124709"/>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0" name="Freeform 387"/>
            <p:cNvSpPr>
              <a:spLocks/>
            </p:cNvSpPr>
            <p:nvPr/>
          </p:nvSpPr>
          <p:spPr bwMode="auto">
            <a:xfrm>
              <a:off x="4262283" y="4355222"/>
              <a:ext cx="38106" cy="124709"/>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1" name="Freeform 388"/>
            <p:cNvSpPr>
              <a:spLocks/>
            </p:cNvSpPr>
            <p:nvPr/>
          </p:nvSpPr>
          <p:spPr bwMode="auto">
            <a:xfrm>
              <a:off x="3992080" y="4410649"/>
              <a:ext cx="114317" cy="128174"/>
            </a:xfrm>
            <a:custGeom>
              <a:avLst/>
              <a:gdLst>
                <a:gd name="T0" fmla="*/ 14 w 66"/>
                <a:gd name="T1" fmla="*/ 0 h 74"/>
                <a:gd name="T2" fmla="*/ 16 w 66"/>
                <a:gd name="T3" fmla="*/ 8 h 74"/>
                <a:gd name="T4" fmla="*/ 20 w 66"/>
                <a:gd name="T5" fmla="*/ 14 h 74"/>
                <a:gd name="T6" fmla="*/ 22 w 66"/>
                <a:gd name="T7" fmla="*/ 18 h 74"/>
                <a:gd name="T8" fmla="*/ 24 w 66"/>
                <a:gd name="T9" fmla="*/ 20 h 74"/>
                <a:gd name="T10" fmla="*/ 26 w 66"/>
                <a:gd name="T11" fmla="*/ 20 h 74"/>
                <a:gd name="T12" fmla="*/ 32 w 66"/>
                <a:gd name="T13" fmla="*/ 22 h 74"/>
                <a:gd name="T14" fmla="*/ 34 w 66"/>
                <a:gd name="T15" fmla="*/ 24 h 74"/>
                <a:gd name="T16" fmla="*/ 36 w 66"/>
                <a:gd name="T17" fmla="*/ 30 h 74"/>
                <a:gd name="T18" fmla="*/ 36 w 66"/>
                <a:gd name="T19" fmla="*/ 34 h 74"/>
                <a:gd name="T20" fmla="*/ 38 w 66"/>
                <a:gd name="T21" fmla="*/ 36 h 74"/>
                <a:gd name="T22" fmla="*/ 40 w 66"/>
                <a:gd name="T23" fmla="*/ 36 h 74"/>
                <a:gd name="T24" fmla="*/ 44 w 66"/>
                <a:gd name="T25" fmla="*/ 36 h 74"/>
                <a:gd name="T26" fmla="*/ 46 w 66"/>
                <a:gd name="T27" fmla="*/ 38 h 74"/>
                <a:gd name="T28" fmla="*/ 46 w 66"/>
                <a:gd name="T29" fmla="*/ 38 h 74"/>
                <a:gd name="T30" fmla="*/ 48 w 66"/>
                <a:gd name="T31" fmla="*/ 40 h 74"/>
                <a:gd name="T32" fmla="*/ 48 w 66"/>
                <a:gd name="T33" fmla="*/ 42 h 74"/>
                <a:gd name="T34" fmla="*/ 48 w 66"/>
                <a:gd name="T35" fmla="*/ 46 h 74"/>
                <a:gd name="T36" fmla="*/ 48 w 66"/>
                <a:gd name="T37" fmla="*/ 50 h 74"/>
                <a:gd name="T38" fmla="*/ 48 w 66"/>
                <a:gd name="T39" fmla="*/ 52 h 74"/>
                <a:gd name="T40" fmla="*/ 48 w 66"/>
                <a:gd name="T41" fmla="*/ 54 h 74"/>
                <a:gd name="T42" fmla="*/ 50 w 66"/>
                <a:gd name="T43" fmla="*/ 56 h 74"/>
                <a:gd name="T44" fmla="*/ 56 w 66"/>
                <a:gd name="T45" fmla="*/ 58 h 74"/>
                <a:gd name="T46" fmla="*/ 64 w 66"/>
                <a:gd name="T47" fmla="*/ 60 h 74"/>
                <a:gd name="T48" fmla="*/ 64 w 66"/>
                <a:gd name="T49" fmla="*/ 64 h 74"/>
                <a:gd name="T50" fmla="*/ 62 w 66"/>
                <a:gd name="T51" fmla="*/ 68 h 74"/>
                <a:gd name="T52" fmla="*/ 62 w 66"/>
                <a:gd name="T53" fmla="*/ 70 h 74"/>
                <a:gd name="T54" fmla="*/ 58 w 66"/>
                <a:gd name="T55" fmla="*/ 72 h 74"/>
                <a:gd name="T56" fmla="*/ 56 w 66"/>
                <a:gd name="T57" fmla="*/ 74 h 74"/>
                <a:gd name="T58" fmla="*/ 54 w 66"/>
                <a:gd name="T59" fmla="*/ 74 h 74"/>
                <a:gd name="T60" fmla="*/ 52 w 66"/>
                <a:gd name="T61" fmla="*/ 74 h 74"/>
                <a:gd name="T62" fmla="*/ 48 w 66"/>
                <a:gd name="T63" fmla="*/ 74 h 74"/>
                <a:gd name="T64" fmla="*/ 42 w 66"/>
                <a:gd name="T65" fmla="*/ 72 h 74"/>
                <a:gd name="T66" fmla="*/ 38 w 66"/>
                <a:gd name="T67" fmla="*/ 70 h 74"/>
                <a:gd name="T68" fmla="*/ 34 w 66"/>
                <a:gd name="T69" fmla="*/ 68 h 74"/>
                <a:gd name="T70" fmla="*/ 28 w 66"/>
                <a:gd name="T71" fmla="*/ 62 h 74"/>
                <a:gd name="T72" fmla="*/ 22 w 66"/>
                <a:gd name="T73" fmla="*/ 56 h 74"/>
                <a:gd name="T74" fmla="*/ 14 w 66"/>
                <a:gd name="T75" fmla="*/ 46 h 74"/>
                <a:gd name="T76" fmla="*/ 4 w 66"/>
                <a:gd name="T7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74">
                  <a:moveTo>
                    <a:pt x="0" y="28"/>
                  </a:moveTo>
                  <a:lnTo>
                    <a:pt x="14" y="0"/>
                  </a:lnTo>
                  <a:lnTo>
                    <a:pt x="14" y="4"/>
                  </a:lnTo>
                  <a:lnTo>
                    <a:pt x="16" y="8"/>
                  </a:lnTo>
                  <a:lnTo>
                    <a:pt x="18" y="12"/>
                  </a:lnTo>
                  <a:lnTo>
                    <a:pt x="20" y="14"/>
                  </a:lnTo>
                  <a:lnTo>
                    <a:pt x="20" y="16"/>
                  </a:lnTo>
                  <a:lnTo>
                    <a:pt x="22" y="18"/>
                  </a:lnTo>
                  <a:lnTo>
                    <a:pt x="22" y="18"/>
                  </a:lnTo>
                  <a:lnTo>
                    <a:pt x="24" y="20"/>
                  </a:lnTo>
                  <a:lnTo>
                    <a:pt x="24" y="20"/>
                  </a:lnTo>
                  <a:lnTo>
                    <a:pt x="26" y="20"/>
                  </a:lnTo>
                  <a:lnTo>
                    <a:pt x="28" y="20"/>
                  </a:lnTo>
                  <a:lnTo>
                    <a:pt x="32" y="22"/>
                  </a:lnTo>
                  <a:lnTo>
                    <a:pt x="34" y="22"/>
                  </a:lnTo>
                  <a:lnTo>
                    <a:pt x="34" y="24"/>
                  </a:lnTo>
                  <a:lnTo>
                    <a:pt x="34" y="28"/>
                  </a:lnTo>
                  <a:lnTo>
                    <a:pt x="36" y="30"/>
                  </a:lnTo>
                  <a:lnTo>
                    <a:pt x="36" y="32"/>
                  </a:lnTo>
                  <a:lnTo>
                    <a:pt x="36" y="34"/>
                  </a:lnTo>
                  <a:lnTo>
                    <a:pt x="38" y="34"/>
                  </a:lnTo>
                  <a:lnTo>
                    <a:pt x="38" y="36"/>
                  </a:lnTo>
                  <a:lnTo>
                    <a:pt x="38" y="36"/>
                  </a:lnTo>
                  <a:lnTo>
                    <a:pt x="40" y="36"/>
                  </a:lnTo>
                  <a:lnTo>
                    <a:pt x="42" y="36"/>
                  </a:lnTo>
                  <a:lnTo>
                    <a:pt x="44" y="36"/>
                  </a:lnTo>
                  <a:lnTo>
                    <a:pt x="44" y="38"/>
                  </a:lnTo>
                  <a:lnTo>
                    <a:pt x="46" y="38"/>
                  </a:lnTo>
                  <a:lnTo>
                    <a:pt x="46" y="38"/>
                  </a:lnTo>
                  <a:lnTo>
                    <a:pt x="46" y="38"/>
                  </a:lnTo>
                  <a:lnTo>
                    <a:pt x="46" y="38"/>
                  </a:lnTo>
                  <a:lnTo>
                    <a:pt x="48" y="40"/>
                  </a:lnTo>
                  <a:lnTo>
                    <a:pt x="48" y="40"/>
                  </a:lnTo>
                  <a:lnTo>
                    <a:pt x="48" y="42"/>
                  </a:lnTo>
                  <a:lnTo>
                    <a:pt x="48" y="44"/>
                  </a:lnTo>
                  <a:lnTo>
                    <a:pt x="48" y="46"/>
                  </a:lnTo>
                  <a:lnTo>
                    <a:pt x="48" y="48"/>
                  </a:lnTo>
                  <a:lnTo>
                    <a:pt x="48" y="50"/>
                  </a:lnTo>
                  <a:lnTo>
                    <a:pt x="48" y="52"/>
                  </a:lnTo>
                  <a:lnTo>
                    <a:pt x="48" y="52"/>
                  </a:lnTo>
                  <a:lnTo>
                    <a:pt x="48" y="54"/>
                  </a:lnTo>
                  <a:lnTo>
                    <a:pt x="48" y="54"/>
                  </a:lnTo>
                  <a:lnTo>
                    <a:pt x="50" y="54"/>
                  </a:lnTo>
                  <a:lnTo>
                    <a:pt x="50" y="56"/>
                  </a:lnTo>
                  <a:lnTo>
                    <a:pt x="52" y="56"/>
                  </a:lnTo>
                  <a:lnTo>
                    <a:pt x="56" y="58"/>
                  </a:lnTo>
                  <a:lnTo>
                    <a:pt x="58" y="58"/>
                  </a:lnTo>
                  <a:lnTo>
                    <a:pt x="64" y="60"/>
                  </a:lnTo>
                  <a:lnTo>
                    <a:pt x="66" y="60"/>
                  </a:lnTo>
                  <a:lnTo>
                    <a:pt x="64" y="64"/>
                  </a:lnTo>
                  <a:lnTo>
                    <a:pt x="64" y="66"/>
                  </a:lnTo>
                  <a:lnTo>
                    <a:pt x="62" y="68"/>
                  </a:lnTo>
                  <a:lnTo>
                    <a:pt x="62" y="68"/>
                  </a:lnTo>
                  <a:lnTo>
                    <a:pt x="62" y="70"/>
                  </a:lnTo>
                  <a:lnTo>
                    <a:pt x="60" y="70"/>
                  </a:lnTo>
                  <a:lnTo>
                    <a:pt x="58" y="72"/>
                  </a:lnTo>
                  <a:lnTo>
                    <a:pt x="58" y="74"/>
                  </a:lnTo>
                  <a:lnTo>
                    <a:pt x="56" y="74"/>
                  </a:lnTo>
                  <a:lnTo>
                    <a:pt x="54" y="74"/>
                  </a:lnTo>
                  <a:lnTo>
                    <a:pt x="54" y="74"/>
                  </a:lnTo>
                  <a:lnTo>
                    <a:pt x="52" y="74"/>
                  </a:lnTo>
                  <a:lnTo>
                    <a:pt x="52" y="74"/>
                  </a:lnTo>
                  <a:lnTo>
                    <a:pt x="50" y="74"/>
                  </a:lnTo>
                  <a:lnTo>
                    <a:pt x="48" y="74"/>
                  </a:lnTo>
                  <a:lnTo>
                    <a:pt x="44" y="74"/>
                  </a:lnTo>
                  <a:lnTo>
                    <a:pt x="42" y="72"/>
                  </a:lnTo>
                  <a:lnTo>
                    <a:pt x="40" y="72"/>
                  </a:lnTo>
                  <a:lnTo>
                    <a:pt x="38" y="70"/>
                  </a:lnTo>
                  <a:lnTo>
                    <a:pt x="36" y="70"/>
                  </a:lnTo>
                  <a:lnTo>
                    <a:pt x="34" y="68"/>
                  </a:lnTo>
                  <a:lnTo>
                    <a:pt x="32" y="66"/>
                  </a:lnTo>
                  <a:lnTo>
                    <a:pt x="28" y="62"/>
                  </a:lnTo>
                  <a:lnTo>
                    <a:pt x="26" y="60"/>
                  </a:lnTo>
                  <a:lnTo>
                    <a:pt x="22" y="56"/>
                  </a:lnTo>
                  <a:lnTo>
                    <a:pt x="20" y="52"/>
                  </a:lnTo>
                  <a:lnTo>
                    <a:pt x="14" y="46"/>
                  </a:lnTo>
                  <a:lnTo>
                    <a:pt x="8" y="38"/>
                  </a:lnTo>
                  <a:lnTo>
                    <a:pt x="4" y="32"/>
                  </a:lnTo>
                  <a:lnTo>
                    <a:pt x="0" y="2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2" name="Freeform 389"/>
            <p:cNvSpPr>
              <a:spLocks/>
            </p:cNvSpPr>
            <p:nvPr/>
          </p:nvSpPr>
          <p:spPr bwMode="auto">
            <a:xfrm>
              <a:off x="3992080" y="4410649"/>
              <a:ext cx="114317" cy="128174"/>
            </a:xfrm>
            <a:custGeom>
              <a:avLst/>
              <a:gdLst>
                <a:gd name="T0" fmla="*/ 14 w 66"/>
                <a:gd name="T1" fmla="*/ 0 h 74"/>
                <a:gd name="T2" fmla="*/ 16 w 66"/>
                <a:gd name="T3" fmla="*/ 8 h 74"/>
                <a:gd name="T4" fmla="*/ 20 w 66"/>
                <a:gd name="T5" fmla="*/ 14 h 74"/>
                <a:gd name="T6" fmla="*/ 22 w 66"/>
                <a:gd name="T7" fmla="*/ 18 h 74"/>
                <a:gd name="T8" fmla="*/ 24 w 66"/>
                <a:gd name="T9" fmla="*/ 20 h 74"/>
                <a:gd name="T10" fmla="*/ 26 w 66"/>
                <a:gd name="T11" fmla="*/ 20 h 74"/>
                <a:gd name="T12" fmla="*/ 32 w 66"/>
                <a:gd name="T13" fmla="*/ 22 h 74"/>
                <a:gd name="T14" fmla="*/ 34 w 66"/>
                <a:gd name="T15" fmla="*/ 24 h 74"/>
                <a:gd name="T16" fmla="*/ 36 w 66"/>
                <a:gd name="T17" fmla="*/ 30 h 74"/>
                <a:gd name="T18" fmla="*/ 36 w 66"/>
                <a:gd name="T19" fmla="*/ 34 h 74"/>
                <a:gd name="T20" fmla="*/ 38 w 66"/>
                <a:gd name="T21" fmla="*/ 36 h 74"/>
                <a:gd name="T22" fmla="*/ 40 w 66"/>
                <a:gd name="T23" fmla="*/ 36 h 74"/>
                <a:gd name="T24" fmla="*/ 44 w 66"/>
                <a:gd name="T25" fmla="*/ 36 h 74"/>
                <a:gd name="T26" fmla="*/ 46 w 66"/>
                <a:gd name="T27" fmla="*/ 38 h 74"/>
                <a:gd name="T28" fmla="*/ 46 w 66"/>
                <a:gd name="T29" fmla="*/ 38 h 74"/>
                <a:gd name="T30" fmla="*/ 48 w 66"/>
                <a:gd name="T31" fmla="*/ 40 h 74"/>
                <a:gd name="T32" fmla="*/ 48 w 66"/>
                <a:gd name="T33" fmla="*/ 42 h 74"/>
                <a:gd name="T34" fmla="*/ 48 w 66"/>
                <a:gd name="T35" fmla="*/ 46 h 74"/>
                <a:gd name="T36" fmla="*/ 48 w 66"/>
                <a:gd name="T37" fmla="*/ 50 h 74"/>
                <a:gd name="T38" fmla="*/ 48 w 66"/>
                <a:gd name="T39" fmla="*/ 52 h 74"/>
                <a:gd name="T40" fmla="*/ 48 w 66"/>
                <a:gd name="T41" fmla="*/ 54 h 74"/>
                <a:gd name="T42" fmla="*/ 50 w 66"/>
                <a:gd name="T43" fmla="*/ 56 h 74"/>
                <a:gd name="T44" fmla="*/ 56 w 66"/>
                <a:gd name="T45" fmla="*/ 58 h 74"/>
                <a:gd name="T46" fmla="*/ 64 w 66"/>
                <a:gd name="T47" fmla="*/ 60 h 74"/>
                <a:gd name="T48" fmla="*/ 64 w 66"/>
                <a:gd name="T49" fmla="*/ 64 h 74"/>
                <a:gd name="T50" fmla="*/ 62 w 66"/>
                <a:gd name="T51" fmla="*/ 68 h 74"/>
                <a:gd name="T52" fmla="*/ 62 w 66"/>
                <a:gd name="T53" fmla="*/ 70 h 74"/>
                <a:gd name="T54" fmla="*/ 58 w 66"/>
                <a:gd name="T55" fmla="*/ 72 h 74"/>
                <a:gd name="T56" fmla="*/ 56 w 66"/>
                <a:gd name="T57" fmla="*/ 74 h 74"/>
                <a:gd name="T58" fmla="*/ 54 w 66"/>
                <a:gd name="T59" fmla="*/ 74 h 74"/>
                <a:gd name="T60" fmla="*/ 52 w 66"/>
                <a:gd name="T61" fmla="*/ 74 h 74"/>
                <a:gd name="T62" fmla="*/ 48 w 66"/>
                <a:gd name="T63" fmla="*/ 74 h 74"/>
                <a:gd name="T64" fmla="*/ 42 w 66"/>
                <a:gd name="T65" fmla="*/ 72 h 74"/>
                <a:gd name="T66" fmla="*/ 38 w 66"/>
                <a:gd name="T67" fmla="*/ 70 h 74"/>
                <a:gd name="T68" fmla="*/ 34 w 66"/>
                <a:gd name="T69" fmla="*/ 68 h 74"/>
                <a:gd name="T70" fmla="*/ 28 w 66"/>
                <a:gd name="T71" fmla="*/ 62 h 74"/>
                <a:gd name="T72" fmla="*/ 22 w 66"/>
                <a:gd name="T73" fmla="*/ 56 h 74"/>
                <a:gd name="T74" fmla="*/ 14 w 66"/>
                <a:gd name="T75" fmla="*/ 46 h 74"/>
                <a:gd name="T76" fmla="*/ 4 w 66"/>
                <a:gd name="T7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74">
                  <a:moveTo>
                    <a:pt x="0" y="28"/>
                  </a:moveTo>
                  <a:lnTo>
                    <a:pt x="14" y="0"/>
                  </a:lnTo>
                  <a:lnTo>
                    <a:pt x="14" y="4"/>
                  </a:lnTo>
                  <a:lnTo>
                    <a:pt x="16" y="8"/>
                  </a:lnTo>
                  <a:lnTo>
                    <a:pt x="18" y="12"/>
                  </a:lnTo>
                  <a:lnTo>
                    <a:pt x="20" y="14"/>
                  </a:lnTo>
                  <a:lnTo>
                    <a:pt x="20" y="16"/>
                  </a:lnTo>
                  <a:lnTo>
                    <a:pt x="22" y="18"/>
                  </a:lnTo>
                  <a:lnTo>
                    <a:pt x="22" y="18"/>
                  </a:lnTo>
                  <a:lnTo>
                    <a:pt x="24" y="20"/>
                  </a:lnTo>
                  <a:lnTo>
                    <a:pt x="24" y="20"/>
                  </a:lnTo>
                  <a:lnTo>
                    <a:pt x="26" y="20"/>
                  </a:lnTo>
                  <a:lnTo>
                    <a:pt x="28" y="20"/>
                  </a:lnTo>
                  <a:lnTo>
                    <a:pt x="32" y="22"/>
                  </a:lnTo>
                  <a:lnTo>
                    <a:pt x="34" y="22"/>
                  </a:lnTo>
                  <a:lnTo>
                    <a:pt x="34" y="24"/>
                  </a:lnTo>
                  <a:lnTo>
                    <a:pt x="34" y="28"/>
                  </a:lnTo>
                  <a:lnTo>
                    <a:pt x="36" y="30"/>
                  </a:lnTo>
                  <a:lnTo>
                    <a:pt x="36" y="32"/>
                  </a:lnTo>
                  <a:lnTo>
                    <a:pt x="36" y="34"/>
                  </a:lnTo>
                  <a:lnTo>
                    <a:pt x="38" y="34"/>
                  </a:lnTo>
                  <a:lnTo>
                    <a:pt x="38" y="36"/>
                  </a:lnTo>
                  <a:lnTo>
                    <a:pt x="38" y="36"/>
                  </a:lnTo>
                  <a:lnTo>
                    <a:pt x="40" y="36"/>
                  </a:lnTo>
                  <a:lnTo>
                    <a:pt x="42" y="36"/>
                  </a:lnTo>
                  <a:lnTo>
                    <a:pt x="44" y="36"/>
                  </a:lnTo>
                  <a:lnTo>
                    <a:pt x="44" y="38"/>
                  </a:lnTo>
                  <a:lnTo>
                    <a:pt x="46" y="38"/>
                  </a:lnTo>
                  <a:lnTo>
                    <a:pt x="46" y="38"/>
                  </a:lnTo>
                  <a:lnTo>
                    <a:pt x="46" y="38"/>
                  </a:lnTo>
                  <a:lnTo>
                    <a:pt x="46" y="38"/>
                  </a:lnTo>
                  <a:lnTo>
                    <a:pt x="48" y="40"/>
                  </a:lnTo>
                  <a:lnTo>
                    <a:pt x="48" y="40"/>
                  </a:lnTo>
                  <a:lnTo>
                    <a:pt x="48" y="42"/>
                  </a:lnTo>
                  <a:lnTo>
                    <a:pt x="48" y="44"/>
                  </a:lnTo>
                  <a:lnTo>
                    <a:pt x="48" y="46"/>
                  </a:lnTo>
                  <a:lnTo>
                    <a:pt x="48" y="48"/>
                  </a:lnTo>
                  <a:lnTo>
                    <a:pt x="48" y="50"/>
                  </a:lnTo>
                  <a:lnTo>
                    <a:pt x="48" y="52"/>
                  </a:lnTo>
                  <a:lnTo>
                    <a:pt x="48" y="52"/>
                  </a:lnTo>
                  <a:lnTo>
                    <a:pt x="48" y="54"/>
                  </a:lnTo>
                  <a:lnTo>
                    <a:pt x="48" y="54"/>
                  </a:lnTo>
                  <a:lnTo>
                    <a:pt x="50" y="54"/>
                  </a:lnTo>
                  <a:lnTo>
                    <a:pt x="50" y="56"/>
                  </a:lnTo>
                  <a:lnTo>
                    <a:pt x="52" y="56"/>
                  </a:lnTo>
                  <a:lnTo>
                    <a:pt x="56" y="58"/>
                  </a:lnTo>
                  <a:lnTo>
                    <a:pt x="58" y="58"/>
                  </a:lnTo>
                  <a:lnTo>
                    <a:pt x="64" y="60"/>
                  </a:lnTo>
                  <a:lnTo>
                    <a:pt x="66" y="60"/>
                  </a:lnTo>
                  <a:lnTo>
                    <a:pt x="64" y="64"/>
                  </a:lnTo>
                  <a:lnTo>
                    <a:pt x="64" y="66"/>
                  </a:lnTo>
                  <a:lnTo>
                    <a:pt x="62" y="68"/>
                  </a:lnTo>
                  <a:lnTo>
                    <a:pt x="62" y="68"/>
                  </a:lnTo>
                  <a:lnTo>
                    <a:pt x="62" y="70"/>
                  </a:lnTo>
                  <a:lnTo>
                    <a:pt x="60" y="70"/>
                  </a:lnTo>
                  <a:lnTo>
                    <a:pt x="58" y="72"/>
                  </a:lnTo>
                  <a:lnTo>
                    <a:pt x="58" y="74"/>
                  </a:lnTo>
                  <a:lnTo>
                    <a:pt x="56" y="74"/>
                  </a:lnTo>
                  <a:lnTo>
                    <a:pt x="54" y="74"/>
                  </a:lnTo>
                  <a:lnTo>
                    <a:pt x="54" y="74"/>
                  </a:lnTo>
                  <a:lnTo>
                    <a:pt x="52" y="74"/>
                  </a:lnTo>
                  <a:lnTo>
                    <a:pt x="52" y="74"/>
                  </a:lnTo>
                  <a:lnTo>
                    <a:pt x="50" y="74"/>
                  </a:lnTo>
                  <a:lnTo>
                    <a:pt x="48" y="74"/>
                  </a:lnTo>
                  <a:lnTo>
                    <a:pt x="44" y="74"/>
                  </a:lnTo>
                  <a:lnTo>
                    <a:pt x="42" y="72"/>
                  </a:lnTo>
                  <a:lnTo>
                    <a:pt x="40" y="72"/>
                  </a:lnTo>
                  <a:lnTo>
                    <a:pt x="38" y="70"/>
                  </a:lnTo>
                  <a:lnTo>
                    <a:pt x="36" y="70"/>
                  </a:lnTo>
                  <a:lnTo>
                    <a:pt x="34" y="68"/>
                  </a:lnTo>
                  <a:lnTo>
                    <a:pt x="32" y="66"/>
                  </a:lnTo>
                  <a:lnTo>
                    <a:pt x="28" y="62"/>
                  </a:lnTo>
                  <a:lnTo>
                    <a:pt x="26" y="60"/>
                  </a:lnTo>
                  <a:lnTo>
                    <a:pt x="22" y="56"/>
                  </a:lnTo>
                  <a:lnTo>
                    <a:pt x="20" y="52"/>
                  </a:lnTo>
                  <a:lnTo>
                    <a:pt x="14" y="46"/>
                  </a:lnTo>
                  <a:lnTo>
                    <a:pt x="8" y="38"/>
                  </a:lnTo>
                  <a:lnTo>
                    <a:pt x="4" y="32"/>
                  </a:lnTo>
                  <a:lnTo>
                    <a:pt x="0" y="2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3" name="Freeform 390"/>
            <p:cNvSpPr>
              <a:spLocks/>
            </p:cNvSpPr>
            <p:nvPr/>
          </p:nvSpPr>
          <p:spPr bwMode="auto">
            <a:xfrm>
              <a:off x="4906615" y="5089622"/>
              <a:ext cx="187064" cy="221706"/>
            </a:xfrm>
            <a:custGeom>
              <a:avLst/>
              <a:gdLst>
                <a:gd name="T0" fmla="*/ 64 w 108"/>
                <a:gd name="T1" fmla="*/ 4 h 128"/>
                <a:gd name="T2" fmla="*/ 60 w 108"/>
                <a:gd name="T3" fmla="*/ 10 h 128"/>
                <a:gd name="T4" fmla="*/ 54 w 108"/>
                <a:gd name="T5" fmla="*/ 10 h 128"/>
                <a:gd name="T6" fmla="*/ 48 w 108"/>
                <a:gd name="T7" fmla="*/ 10 h 128"/>
                <a:gd name="T8" fmla="*/ 48 w 108"/>
                <a:gd name="T9" fmla="*/ 14 h 128"/>
                <a:gd name="T10" fmla="*/ 46 w 108"/>
                <a:gd name="T11" fmla="*/ 20 h 128"/>
                <a:gd name="T12" fmla="*/ 44 w 108"/>
                <a:gd name="T13" fmla="*/ 24 h 128"/>
                <a:gd name="T14" fmla="*/ 40 w 108"/>
                <a:gd name="T15" fmla="*/ 26 h 128"/>
                <a:gd name="T16" fmla="*/ 34 w 108"/>
                <a:gd name="T17" fmla="*/ 26 h 128"/>
                <a:gd name="T18" fmla="*/ 32 w 108"/>
                <a:gd name="T19" fmla="*/ 30 h 128"/>
                <a:gd name="T20" fmla="*/ 32 w 108"/>
                <a:gd name="T21" fmla="*/ 36 h 128"/>
                <a:gd name="T22" fmla="*/ 30 w 108"/>
                <a:gd name="T23" fmla="*/ 38 h 128"/>
                <a:gd name="T24" fmla="*/ 24 w 108"/>
                <a:gd name="T25" fmla="*/ 40 h 128"/>
                <a:gd name="T26" fmla="*/ 12 w 108"/>
                <a:gd name="T27" fmla="*/ 40 h 128"/>
                <a:gd name="T28" fmla="*/ 4 w 108"/>
                <a:gd name="T29" fmla="*/ 42 h 128"/>
                <a:gd name="T30" fmla="*/ 6 w 108"/>
                <a:gd name="T31" fmla="*/ 66 h 128"/>
                <a:gd name="T32" fmla="*/ 6 w 108"/>
                <a:gd name="T33" fmla="*/ 74 h 128"/>
                <a:gd name="T34" fmla="*/ 8 w 108"/>
                <a:gd name="T35" fmla="*/ 78 h 128"/>
                <a:gd name="T36" fmla="*/ 16 w 108"/>
                <a:gd name="T37" fmla="*/ 80 h 128"/>
                <a:gd name="T38" fmla="*/ 18 w 108"/>
                <a:gd name="T39" fmla="*/ 84 h 128"/>
                <a:gd name="T40" fmla="*/ 18 w 108"/>
                <a:gd name="T41" fmla="*/ 90 h 128"/>
                <a:gd name="T42" fmla="*/ 20 w 108"/>
                <a:gd name="T43" fmla="*/ 94 h 128"/>
                <a:gd name="T44" fmla="*/ 24 w 108"/>
                <a:gd name="T45" fmla="*/ 94 h 128"/>
                <a:gd name="T46" fmla="*/ 28 w 108"/>
                <a:gd name="T47" fmla="*/ 94 h 128"/>
                <a:gd name="T48" fmla="*/ 30 w 108"/>
                <a:gd name="T49" fmla="*/ 96 h 128"/>
                <a:gd name="T50" fmla="*/ 30 w 108"/>
                <a:gd name="T51" fmla="*/ 104 h 128"/>
                <a:gd name="T52" fmla="*/ 32 w 108"/>
                <a:gd name="T53" fmla="*/ 110 h 128"/>
                <a:gd name="T54" fmla="*/ 36 w 108"/>
                <a:gd name="T55" fmla="*/ 110 h 128"/>
                <a:gd name="T56" fmla="*/ 42 w 108"/>
                <a:gd name="T57" fmla="*/ 112 h 128"/>
                <a:gd name="T58" fmla="*/ 60 w 108"/>
                <a:gd name="T59" fmla="*/ 120 h 128"/>
                <a:gd name="T60" fmla="*/ 64 w 108"/>
                <a:gd name="T61" fmla="*/ 122 h 128"/>
                <a:gd name="T62" fmla="*/ 68 w 108"/>
                <a:gd name="T63" fmla="*/ 126 h 128"/>
                <a:gd name="T64" fmla="*/ 74 w 108"/>
                <a:gd name="T65" fmla="*/ 128 h 128"/>
                <a:gd name="T66" fmla="*/ 84 w 108"/>
                <a:gd name="T67" fmla="*/ 126 h 128"/>
                <a:gd name="T68" fmla="*/ 86 w 108"/>
                <a:gd name="T69" fmla="*/ 116 h 128"/>
                <a:gd name="T70" fmla="*/ 90 w 108"/>
                <a:gd name="T71" fmla="*/ 112 h 128"/>
                <a:gd name="T72" fmla="*/ 94 w 108"/>
                <a:gd name="T73" fmla="*/ 110 h 128"/>
                <a:gd name="T74" fmla="*/ 96 w 108"/>
                <a:gd name="T75" fmla="*/ 106 h 128"/>
                <a:gd name="T76" fmla="*/ 94 w 108"/>
                <a:gd name="T77" fmla="*/ 96 h 128"/>
                <a:gd name="T78" fmla="*/ 94 w 108"/>
                <a:gd name="T79" fmla="*/ 90 h 128"/>
                <a:gd name="T80" fmla="*/ 98 w 108"/>
                <a:gd name="T81" fmla="*/ 88 h 128"/>
                <a:gd name="T82" fmla="*/ 106 w 108"/>
                <a:gd name="T83" fmla="*/ 82 h 128"/>
                <a:gd name="T84" fmla="*/ 108 w 108"/>
                <a:gd name="T85" fmla="*/ 78 h 128"/>
                <a:gd name="T86" fmla="*/ 108 w 108"/>
                <a:gd name="T87" fmla="*/ 74 h 128"/>
                <a:gd name="T88" fmla="*/ 104 w 108"/>
                <a:gd name="T89" fmla="*/ 64 h 128"/>
                <a:gd name="T90" fmla="*/ 102 w 108"/>
                <a:gd name="T91" fmla="*/ 56 h 128"/>
                <a:gd name="T92" fmla="*/ 106 w 108"/>
                <a:gd name="T93" fmla="*/ 42 h 128"/>
                <a:gd name="T94" fmla="*/ 108 w 108"/>
                <a:gd name="T95" fmla="*/ 34 h 128"/>
                <a:gd name="T96" fmla="*/ 106 w 108"/>
                <a:gd name="T97" fmla="*/ 26 h 128"/>
                <a:gd name="T98" fmla="*/ 102 w 108"/>
                <a:gd name="T99" fmla="*/ 20 h 128"/>
                <a:gd name="T100" fmla="*/ 96 w 108"/>
                <a:gd name="T101" fmla="*/ 16 h 128"/>
                <a:gd name="T102" fmla="*/ 86 w 108"/>
                <a:gd name="T103" fmla="*/ 16 h 128"/>
                <a:gd name="T104" fmla="*/ 80 w 108"/>
                <a:gd name="T105" fmla="*/ 14 h 128"/>
                <a:gd name="T106" fmla="*/ 78 w 108"/>
                <a:gd name="T107" fmla="*/ 12 h 128"/>
                <a:gd name="T108" fmla="*/ 74 w 108"/>
                <a:gd name="T109" fmla="*/ 6 h 128"/>
                <a:gd name="T110" fmla="*/ 72 w 108"/>
                <a:gd name="T11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28">
                  <a:moveTo>
                    <a:pt x="66" y="0"/>
                  </a:moveTo>
                  <a:lnTo>
                    <a:pt x="66" y="0"/>
                  </a:lnTo>
                  <a:lnTo>
                    <a:pt x="66" y="2"/>
                  </a:lnTo>
                  <a:lnTo>
                    <a:pt x="64" y="4"/>
                  </a:lnTo>
                  <a:lnTo>
                    <a:pt x="62" y="8"/>
                  </a:lnTo>
                  <a:lnTo>
                    <a:pt x="62" y="8"/>
                  </a:lnTo>
                  <a:lnTo>
                    <a:pt x="62" y="10"/>
                  </a:lnTo>
                  <a:lnTo>
                    <a:pt x="60" y="10"/>
                  </a:lnTo>
                  <a:lnTo>
                    <a:pt x="60" y="10"/>
                  </a:lnTo>
                  <a:lnTo>
                    <a:pt x="58" y="10"/>
                  </a:lnTo>
                  <a:lnTo>
                    <a:pt x="56" y="10"/>
                  </a:lnTo>
                  <a:lnTo>
                    <a:pt x="54" y="10"/>
                  </a:lnTo>
                  <a:lnTo>
                    <a:pt x="52" y="10"/>
                  </a:lnTo>
                  <a:lnTo>
                    <a:pt x="50" y="10"/>
                  </a:lnTo>
                  <a:lnTo>
                    <a:pt x="48" y="10"/>
                  </a:lnTo>
                  <a:lnTo>
                    <a:pt x="48" y="10"/>
                  </a:lnTo>
                  <a:lnTo>
                    <a:pt x="48" y="10"/>
                  </a:lnTo>
                  <a:lnTo>
                    <a:pt x="48" y="12"/>
                  </a:lnTo>
                  <a:lnTo>
                    <a:pt x="48" y="12"/>
                  </a:lnTo>
                  <a:lnTo>
                    <a:pt x="48" y="14"/>
                  </a:lnTo>
                  <a:lnTo>
                    <a:pt x="46" y="14"/>
                  </a:lnTo>
                  <a:lnTo>
                    <a:pt x="48" y="16"/>
                  </a:lnTo>
                  <a:lnTo>
                    <a:pt x="48" y="18"/>
                  </a:lnTo>
                  <a:lnTo>
                    <a:pt x="46" y="20"/>
                  </a:lnTo>
                  <a:lnTo>
                    <a:pt x="46" y="22"/>
                  </a:lnTo>
                  <a:lnTo>
                    <a:pt x="46" y="22"/>
                  </a:lnTo>
                  <a:lnTo>
                    <a:pt x="46" y="22"/>
                  </a:lnTo>
                  <a:lnTo>
                    <a:pt x="44" y="24"/>
                  </a:lnTo>
                  <a:lnTo>
                    <a:pt x="42" y="24"/>
                  </a:lnTo>
                  <a:lnTo>
                    <a:pt x="40" y="24"/>
                  </a:lnTo>
                  <a:lnTo>
                    <a:pt x="40" y="26"/>
                  </a:lnTo>
                  <a:lnTo>
                    <a:pt x="40" y="26"/>
                  </a:lnTo>
                  <a:lnTo>
                    <a:pt x="36" y="26"/>
                  </a:lnTo>
                  <a:lnTo>
                    <a:pt x="34" y="26"/>
                  </a:lnTo>
                  <a:lnTo>
                    <a:pt x="34" y="26"/>
                  </a:lnTo>
                  <a:lnTo>
                    <a:pt x="34" y="26"/>
                  </a:lnTo>
                  <a:lnTo>
                    <a:pt x="34" y="28"/>
                  </a:lnTo>
                  <a:lnTo>
                    <a:pt x="32" y="28"/>
                  </a:lnTo>
                  <a:lnTo>
                    <a:pt x="32" y="28"/>
                  </a:lnTo>
                  <a:lnTo>
                    <a:pt x="32" y="30"/>
                  </a:lnTo>
                  <a:lnTo>
                    <a:pt x="32" y="32"/>
                  </a:lnTo>
                  <a:lnTo>
                    <a:pt x="32" y="34"/>
                  </a:lnTo>
                  <a:lnTo>
                    <a:pt x="32" y="36"/>
                  </a:lnTo>
                  <a:lnTo>
                    <a:pt x="32" y="36"/>
                  </a:lnTo>
                  <a:lnTo>
                    <a:pt x="32" y="38"/>
                  </a:lnTo>
                  <a:lnTo>
                    <a:pt x="32" y="38"/>
                  </a:lnTo>
                  <a:lnTo>
                    <a:pt x="30" y="38"/>
                  </a:lnTo>
                  <a:lnTo>
                    <a:pt x="30" y="38"/>
                  </a:lnTo>
                  <a:lnTo>
                    <a:pt x="28" y="40"/>
                  </a:lnTo>
                  <a:lnTo>
                    <a:pt x="28" y="40"/>
                  </a:lnTo>
                  <a:lnTo>
                    <a:pt x="26" y="40"/>
                  </a:lnTo>
                  <a:lnTo>
                    <a:pt x="24" y="40"/>
                  </a:lnTo>
                  <a:lnTo>
                    <a:pt x="22" y="40"/>
                  </a:lnTo>
                  <a:lnTo>
                    <a:pt x="20" y="42"/>
                  </a:lnTo>
                  <a:lnTo>
                    <a:pt x="16" y="40"/>
                  </a:lnTo>
                  <a:lnTo>
                    <a:pt x="12" y="40"/>
                  </a:lnTo>
                  <a:lnTo>
                    <a:pt x="12" y="40"/>
                  </a:lnTo>
                  <a:lnTo>
                    <a:pt x="10" y="40"/>
                  </a:lnTo>
                  <a:lnTo>
                    <a:pt x="8" y="42"/>
                  </a:lnTo>
                  <a:lnTo>
                    <a:pt x="4" y="42"/>
                  </a:lnTo>
                  <a:lnTo>
                    <a:pt x="0" y="44"/>
                  </a:lnTo>
                  <a:lnTo>
                    <a:pt x="4" y="52"/>
                  </a:lnTo>
                  <a:lnTo>
                    <a:pt x="6" y="60"/>
                  </a:lnTo>
                  <a:lnTo>
                    <a:pt x="6" y="66"/>
                  </a:lnTo>
                  <a:lnTo>
                    <a:pt x="6" y="68"/>
                  </a:lnTo>
                  <a:lnTo>
                    <a:pt x="6" y="68"/>
                  </a:lnTo>
                  <a:lnTo>
                    <a:pt x="6" y="72"/>
                  </a:lnTo>
                  <a:lnTo>
                    <a:pt x="6" y="74"/>
                  </a:lnTo>
                  <a:lnTo>
                    <a:pt x="8" y="76"/>
                  </a:lnTo>
                  <a:lnTo>
                    <a:pt x="8" y="76"/>
                  </a:lnTo>
                  <a:lnTo>
                    <a:pt x="8" y="78"/>
                  </a:lnTo>
                  <a:lnTo>
                    <a:pt x="8" y="78"/>
                  </a:lnTo>
                  <a:lnTo>
                    <a:pt x="10" y="78"/>
                  </a:lnTo>
                  <a:lnTo>
                    <a:pt x="12" y="80"/>
                  </a:lnTo>
                  <a:lnTo>
                    <a:pt x="14" y="80"/>
                  </a:lnTo>
                  <a:lnTo>
                    <a:pt x="16" y="80"/>
                  </a:lnTo>
                  <a:lnTo>
                    <a:pt x="16" y="82"/>
                  </a:lnTo>
                  <a:lnTo>
                    <a:pt x="16" y="82"/>
                  </a:lnTo>
                  <a:lnTo>
                    <a:pt x="16" y="82"/>
                  </a:lnTo>
                  <a:lnTo>
                    <a:pt x="18" y="84"/>
                  </a:lnTo>
                  <a:lnTo>
                    <a:pt x="18" y="86"/>
                  </a:lnTo>
                  <a:lnTo>
                    <a:pt x="18" y="88"/>
                  </a:lnTo>
                  <a:lnTo>
                    <a:pt x="18" y="90"/>
                  </a:lnTo>
                  <a:lnTo>
                    <a:pt x="18" y="90"/>
                  </a:lnTo>
                  <a:lnTo>
                    <a:pt x="18" y="92"/>
                  </a:lnTo>
                  <a:lnTo>
                    <a:pt x="18" y="92"/>
                  </a:lnTo>
                  <a:lnTo>
                    <a:pt x="20" y="94"/>
                  </a:lnTo>
                  <a:lnTo>
                    <a:pt x="20" y="94"/>
                  </a:lnTo>
                  <a:lnTo>
                    <a:pt x="20" y="94"/>
                  </a:lnTo>
                  <a:lnTo>
                    <a:pt x="22" y="94"/>
                  </a:lnTo>
                  <a:lnTo>
                    <a:pt x="22" y="94"/>
                  </a:lnTo>
                  <a:lnTo>
                    <a:pt x="24" y="94"/>
                  </a:lnTo>
                  <a:lnTo>
                    <a:pt x="26" y="94"/>
                  </a:lnTo>
                  <a:lnTo>
                    <a:pt x="26" y="94"/>
                  </a:lnTo>
                  <a:lnTo>
                    <a:pt x="28" y="94"/>
                  </a:lnTo>
                  <a:lnTo>
                    <a:pt x="28" y="94"/>
                  </a:lnTo>
                  <a:lnTo>
                    <a:pt x="28" y="94"/>
                  </a:lnTo>
                  <a:lnTo>
                    <a:pt x="28" y="94"/>
                  </a:lnTo>
                  <a:lnTo>
                    <a:pt x="30" y="96"/>
                  </a:lnTo>
                  <a:lnTo>
                    <a:pt x="30" y="96"/>
                  </a:lnTo>
                  <a:lnTo>
                    <a:pt x="30" y="96"/>
                  </a:lnTo>
                  <a:lnTo>
                    <a:pt x="30" y="100"/>
                  </a:lnTo>
                  <a:lnTo>
                    <a:pt x="30" y="102"/>
                  </a:lnTo>
                  <a:lnTo>
                    <a:pt x="30" y="104"/>
                  </a:lnTo>
                  <a:lnTo>
                    <a:pt x="32" y="106"/>
                  </a:lnTo>
                  <a:lnTo>
                    <a:pt x="32" y="108"/>
                  </a:lnTo>
                  <a:lnTo>
                    <a:pt x="32" y="108"/>
                  </a:lnTo>
                  <a:lnTo>
                    <a:pt x="32" y="110"/>
                  </a:lnTo>
                  <a:lnTo>
                    <a:pt x="32" y="110"/>
                  </a:lnTo>
                  <a:lnTo>
                    <a:pt x="34" y="110"/>
                  </a:lnTo>
                  <a:lnTo>
                    <a:pt x="34" y="110"/>
                  </a:lnTo>
                  <a:lnTo>
                    <a:pt x="36" y="110"/>
                  </a:lnTo>
                  <a:lnTo>
                    <a:pt x="38" y="110"/>
                  </a:lnTo>
                  <a:lnTo>
                    <a:pt x="40" y="110"/>
                  </a:lnTo>
                  <a:lnTo>
                    <a:pt x="40" y="112"/>
                  </a:lnTo>
                  <a:lnTo>
                    <a:pt x="42" y="112"/>
                  </a:lnTo>
                  <a:lnTo>
                    <a:pt x="48" y="114"/>
                  </a:lnTo>
                  <a:lnTo>
                    <a:pt x="54" y="118"/>
                  </a:lnTo>
                  <a:lnTo>
                    <a:pt x="58" y="118"/>
                  </a:lnTo>
                  <a:lnTo>
                    <a:pt x="60" y="120"/>
                  </a:lnTo>
                  <a:lnTo>
                    <a:pt x="62" y="122"/>
                  </a:lnTo>
                  <a:lnTo>
                    <a:pt x="64" y="122"/>
                  </a:lnTo>
                  <a:lnTo>
                    <a:pt x="64" y="122"/>
                  </a:lnTo>
                  <a:lnTo>
                    <a:pt x="64" y="122"/>
                  </a:lnTo>
                  <a:lnTo>
                    <a:pt x="66" y="124"/>
                  </a:lnTo>
                  <a:lnTo>
                    <a:pt x="66" y="126"/>
                  </a:lnTo>
                  <a:lnTo>
                    <a:pt x="66" y="126"/>
                  </a:lnTo>
                  <a:lnTo>
                    <a:pt x="68" y="126"/>
                  </a:lnTo>
                  <a:lnTo>
                    <a:pt x="68" y="128"/>
                  </a:lnTo>
                  <a:lnTo>
                    <a:pt x="70" y="128"/>
                  </a:lnTo>
                  <a:lnTo>
                    <a:pt x="72" y="128"/>
                  </a:lnTo>
                  <a:lnTo>
                    <a:pt x="74" y="128"/>
                  </a:lnTo>
                  <a:lnTo>
                    <a:pt x="76" y="128"/>
                  </a:lnTo>
                  <a:lnTo>
                    <a:pt x="82" y="126"/>
                  </a:lnTo>
                  <a:lnTo>
                    <a:pt x="84" y="126"/>
                  </a:lnTo>
                  <a:lnTo>
                    <a:pt x="84" y="126"/>
                  </a:lnTo>
                  <a:lnTo>
                    <a:pt x="84" y="122"/>
                  </a:lnTo>
                  <a:lnTo>
                    <a:pt x="84" y="120"/>
                  </a:lnTo>
                  <a:lnTo>
                    <a:pt x="86" y="118"/>
                  </a:lnTo>
                  <a:lnTo>
                    <a:pt x="86" y="116"/>
                  </a:lnTo>
                  <a:lnTo>
                    <a:pt x="86" y="116"/>
                  </a:lnTo>
                  <a:lnTo>
                    <a:pt x="88" y="114"/>
                  </a:lnTo>
                  <a:lnTo>
                    <a:pt x="88" y="114"/>
                  </a:lnTo>
                  <a:lnTo>
                    <a:pt x="90" y="112"/>
                  </a:lnTo>
                  <a:lnTo>
                    <a:pt x="92" y="112"/>
                  </a:lnTo>
                  <a:lnTo>
                    <a:pt x="94" y="112"/>
                  </a:lnTo>
                  <a:lnTo>
                    <a:pt x="94" y="112"/>
                  </a:lnTo>
                  <a:lnTo>
                    <a:pt x="94" y="110"/>
                  </a:lnTo>
                  <a:lnTo>
                    <a:pt x="96" y="110"/>
                  </a:lnTo>
                  <a:lnTo>
                    <a:pt x="96" y="108"/>
                  </a:lnTo>
                  <a:lnTo>
                    <a:pt x="96" y="108"/>
                  </a:lnTo>
                  <a:lnTo>
                    <a:pt x="96" y="106"/>
                  </a:lnTo>
                  <a:lnTo>
                    <a:pt x="94" y="104"/>
                  </a:lnTo>
                  <a:lnTo>
                    <a:pt x="94" y="100"/>
                  </a:lnTo>
                  <a:lnTo>
                    <a:pt x="94" y="98"/>
                  </a:lnTo>
                  <a:lnTo>
                    <a:pt x="94" y="96"/>
                  </a:lnTo>
                  <a:lnTo>
                    <a:pt x="94" y="94"/>
                  </a:lnTo>
                  <a:lnTo>
                    <a:pt x="94" y="92"/>
                  </a:lnTo>
                  <a:lnTo>
                    <a:pt x="94" y="92"/>
                  </a:lnTo>
                  <a:lnTo>
                    <a:pt x="94" y="90"/>
                  </a:lnTo>
                  <a:lnTo>
                    <a:pt x="94" y="90"/>
                  </a:lnTo>
                  <a:lnTo>
                    <a:pt x="96" y="88"/>
                  </a:lnTo>
                  <a:lnTo>
                    <a:pt x="98" y="88"/>
                  </a:lnTo>
                  <a:lnTo>
                    <a:pt x="98" y="88"/>
                  </a:lnTo>
                  <a:lnTo>
                    <a:pt x="102" y="86"/>
                  </a:lnTo>
                  <a:lnTo>
                    <a:pt x="102" y="86"/>
                  </a:lnTo>
                  <a:lnTo>
                    <a:pt x="104" y="84"/>
                  </a:lnTo>
                  <a:lnTo>
                    <a:pt x="106" y="82"/>
                  </a:lnTo>
                  <a:lnTo>
                    <a:pt x="106" y="80"/>
                  </a:lnTo>
                  <a:lnTo>
                    <a:pt x="108" y="80"/>
                  </a:lnTo>
                  <a:lnTo>
                    <a:pt x="108" y="78"/>
                  </a:lnTo>
                  <a:lnTo>
                    <a:pt x="108" y="78"/>
                  </a:lnTo>
                  <a:lnTo>
                    <a:pt x="108" y="76"/>
                  </a:lnTo>
                  <a:lnTo>
                    <a:pt x="108" y="76"/>
                  </a:lnTo>
                  <a:lnTo>
                    <a:pt x="108" y="76"/>
                  </a:lnTo>
                  <a:lnTo>
                    <a:pt x="108" y="74"/>
                  </a:lnTo>
                  <a:lnTo>
                    <a:pt x="108" y="72"/>
                  </a:lnTo>
                  <a:lnTo>
                    <a:pt x="106" y="70"/>
                  </a:lnTo>
                  <a:lnTo>
                    <a:pt x="104" y="66"/>
                  </a:lnTo>
                  <a:lnTo>
                    <a:pt x="104" y="64"/>
                  </a:lnTo>
                  <a:lnTo>
                    <a:pt x="102" y="64"/>
                  </a:lnTo>
                  <a:lnTo>
                    <a:pt x="102" y="62"/>
                  </a:lnTo>
                  <a:lnTo>
                    <a:pt x="102" y="58"/>
                  </a:lnTo>
                  <a:lnTo>
                    <a:pt x="102" y="56"/>
                  </a:lnTo>
                  <a:lnTo>
                    <a:pt x="102" y="52"/>
                  </a:lnTo>
                  <a:lnTo>
                    <a:pt x="102" y="50"/>
                  </a:lnTo>
                  <a:lnTo>
                    <a:pt x="104" y="48"/>
                  </a:lnTo>
                  <a:lnTo>
                    <a:pt x="106" y="42"/>
                  </a:lnTo>
                  <a:lnTo>
                    <a:pt x="106" y="40"/>
                  </a:lnTo>
                  <a:lnTo>
                    <a:pt x="106" y="38"/>
                  </a:lnTo>
                  <a:lnTo>
                    <a:pt x="108" y="34"/>
                  </a:lnTo>
                  <a:lnTo>
                    <a:pt x="108" y="34"/>
                  </a:lnTo>
                  <a:lnTo>
                    <a:pt x="108" y="32"/>
                  </a:lnTo>
                  <a:lnTo>
                    <a:pt x="108" y="30"/>
                  </a:lnTo>
                  <a:lnTo>
                    <a:pt x="106" y="28"/>
                  </a:lnTo>
                  <a:lnTo>
                    <a:pt x="106" y="26"/>
                  </a:lnTo>
                  <a:lnTo>
                    <a:pt x="104" y="24"/>
                  </a:lnTo>
                  <a:lnTo>
                    <a:pt x="104" y="22"/>
                  </a:lnTo>
                  <a:lnTo>
                    <a:pt x="102" y="20"/>
                  </a:lnTo>
                  <a:lnTo>
                    <a:pt x="102" y="20"/>
                  </a:lnTo>
                  <a:lnTo>
                    <a:pt x="100" y="18"/>
                  </a:lnTo>
                  <a:lnTo>
                    <a:pt x="98" y="18"/>
                  </a:lnTo>
                  <a:lnTo>
                    <a:pt x="98" y="16"/>
                  </a:lnTo>
                  <a:lnTo>
                    <a:pt x="96" y="16"/>
                  </a:lnTo>
                  <a:lnTo>
                    <a:pt x="96" y="16"/>
                  </a:lnTo>
                  <a:lnTo>
                    <a:pt x="92" y="16"/>
                  </a:lnTo>
                  <a:lnTo>
                    <a:pt x="90" y="16"/>
                  </a:lnTo>
                  <a:lnTo>
                    <a:pt x="86" y="16"/>
                  </a:lnTo>
                  <a:lnTo>
                    <a:pt x="84" y="16"/>
                  </a:lnTo>
                  <a:lnTo>
                    <a:pt x="82" y="16"/>
                  </a:lnTo>
                  <a:lnTo>
                    <a:pt x="80" y="14"/>
                  </a:lnTo>
                  <a:lnTo>
                    <a:pt x="80" y="14"/>
                  </a:lnTo>
                  <a:lnTo>
                    <a:pt x="78" y="14"/>
                  </a:lnTo>
                  <a:lnTo>
                    <a:pt x="78" y="14"/>
                  </a:lnTo>
                  <a:lnTo>
                    <a:pt x="78" y="14"/>
                  </a:lnTo>
                  <a:lnTo>
                    <a:pt x="78" y="12"/>
                  </a:lnTo>
                  <a:lnTo>
                    <a:pt x="76" y="10"/>
                  </a:lnTo>
                  <a:lnTo>
                    <a:pt x="76" y="8"/>
                  </a:lnTo>
                  <a:lnTo>
                    <a:pt x="74" y="6"/>
                  </a:lnTo>
                  <a:lnTo>
                    <a:pt x="74" y="6"/>
                  </a:lnTo>
                  <a:lnTo>
                    <a:pt x="74" y="4"/>
                  </a:lnTo>
                  <a:lnTo>
                    <a:pt x="74" y="4"/>
                  </a:lnTo>
                  <a:lnTo>
                    <a:pt x="72" y="2"/>
                  </a:lnTo>
                  <a:lnTo>
                    <a:pt x="72" y="2"/>
                  </a:lnTo>
                  <a:lnTo>
                    <a:pt x="72" y="2"/>
                  </a:lnTo>
                  <a:lnTo>
                    <a:pt x="70" y="2"/>
                  </a:lnTo>
                  <a:lnTo>
                    <a:pt x="6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4" name="Freeform 391"/>
            <p:cNvSpPr>
              <a:spLocks/>
            </p:cNvSpPr>
            <p:nvPr/>
          </p:nvSpPr>
          <p:spPr bwMode="auto">
            <a:xfrm>
              <a:off x="4906615" y="5089622"/>
              <a:ext cx="187064" cy="221706"/>
            </a:xfrm>
            <a:custGeom>
              <a:avLst/>
              <a:gdLst>
                <a:gd name="T0" fmla="*/ 64 w 108"/>
                <a:gd name="T1" fmla="*/ 4 h 128"/>
                <a:gd name="T2" fmla="*/ 60 w 108"/>
                <a:gd name="T3" fmla="*/ 10 h 128"/>
                <a:gd name="T4" fmla="*/ 54 w 108"/>
                <a:gd name="T5" fmla="*/ 10 h 128"/>
                <a:gd name="T6" fmla="*/ 48 w 108"/>
                <a:gd name="T7" fmla="*/ 10 h 128"/>
                <a:gd name="T8" fmla="*/ 48 w 108"/>
                <a:gd name="T9" fmla="*/ 14 h 128"/>
                <a:gd name="T10" fmla="*/ 46 w 108"/>
                <a:gd name="T11" fmla="*/ 20 h 128"/>
                <a:gd name="T12" fmla="*/ 44 w 108"/>
                <a:gd name="T13" fmla="*/ 24 h 128"/>
                <a:gd name="T14" fmla="*/ 40 w 108"/>
                <a:gd name="T15" fmla="*/ 26 h 128"/>
                <a:gd name="T16" fmla="*/ 34 w 108"/>
                <a:gd name="T17" fmla="*/ 26 h 128"/>
                <a:gd name="T18" fmla="*/ 32 w 108"/>
                <a:gd name="T19" fmla="*/ 30 h 128"/>
                <a:gd name="T20" fmla="*/ 32 w 108"/>
                <a:gd name="T21" fmla="*/ 36 h 128"/>
                <a:gd name="T22" fmla="*/ 30 w 108"/>
                <a:gd name="T23" fmla="*/ 38 h 128"/>
                <a:gd name="T24" fmla="*/ 24 w 108"/>
                <a:gd name="T25" fmla="*/ 40 h 128"/>
                <a:gd name="T26" fmla="*/ 12 w 108"/>
                <a:gd name="T27" fmla="*/ 40 h 128"/>
                <a:gd name="T28" fmla="*/ 4 w 108"/>
                <a:gd name="T29" fmla="*/ 42 h 128"/>
                <a:gd name="T30" fmla="*/ 6 w 108"/>
                <a:gd name="T31" fmla="*/ 66 h 128"/>
                <a:gd name="T32" fmla="*/ 6 w 108"/>
                <a:gd name="T33" fmla="*/ 74 h 128"/>
                <a:gd name="T34" fmla="*/ 8 w 108"/>
                <a:gd name="T35" fmla="*/ 78 h 128"/>
                <a:gd name="T36" fmla="*/ 16 w 108"/>
                <a:gd name="T37" fmla="*/ 80 h 128"/>
                <a:gd name="T38" fmla="*/ 18 w 108"/>
                <a:gd name="T39" fmla="*/ 84 h 128"/>
                <a:gd name="T40" fmla="*/ 18 w 108"/>
                <a:gd name="T41" fmla="*/ 90 h 128"/>
                <a:gd name="T42" fmla="*/ 20 w 108"/>
                <a:gd name="T43" fmla="*/ 94 h 128"/>
                <a:gd name="T44" fmla="*/ 24 w 108"/>
                <a:gd name="T45" fmla="*/ 94 h 128"/>
                <a:gd name="T46" fmla="*/ 28 w 108"/>
                <a:gd name="T47" fmla="*/ 94 h 128"/>
                <a:gd name="T48" fmla="*/ 30 w 108"/>
                <a:gd name="T49" fmla="*/ 96 h 128"/>
                <a:gd name="T50" fmla="*/ 30 w 108"/>
                <a:gd name="T51" fmla="*/ 104 h 128"/>
                <a:gd name="T52" fmla="*/ 32 w 108"/>
                <a:gd name="T53" fmla="*/ 110 h 128"/>
                <a:gd name="T54" fmla="*/ 36 w 108"/>
                <a:gd name="T55" fmla="*/ 110 h 128"/>
                <a:gd name="T56" fmla="*/ 42 w 108"/>
                <a:gd name="T57" fmla="*/ 112 h 128"/>
                <a:gd name="T58" fmla="*/ 60 w 108"/>
                <a:gd name="T59" fmla="*/ 120 h 128"/>
                <a:gd name="T60" fmla="*/ 64 w 108"/>
                <a:gd name="T61" fmla="*/ 122 h 128"/>
                <a:gd name="T62" fmla="*/ 68 w 108"/>
                <a:gd name="T63" fmla="*/ 126 h 128"/>
                <a:gd name="T64" fmla="*/ 74 w 108"/>
                <a:gd name="T65" fmla="*/ 128 h 128"/>
                <a:gd name="T66" fmla="*/ 84 w 108"/>
                <a:gd name="T67" fmla="*/ 126 h 128"/>
                <a:gd name="T68" fmla="*/ 86 w 108"/>
                <a:gd name="T69" fmla="*/ 116 h 128"/>
                <a:gd name="T70" fmla="*/ 90 w 108"/>
                <a:gd name="T71" fmla="*/ 112 h 128"/>
                <a:gd name="T72" fmla="*/ 94 w 108"/>
                <a:gd name="T73" fmla="*/ 110 h 128"/>
                <a:gd name="T74" fmla="*/ 96 w 108"/>
                <a:gd name="T75" fmla="*/ 106 h 128"/>
                <a:gd name="T76" fmla="*/ 94 w 108"/>
                <a:gd name="T77" fmla="*/ 96 h 128"/>
                <a:gd name="T78" fmla="*/ 94 w 108"/>
                <a:gd name="T79" fmla="*/ 90 h 128"/>
                <a:gd name="T80" fmla="*/ 98 w 108"/>
                <a:gd name="T81" fmla="*/ 88 h 128"/>
                <a:gd name="T82" fmla="*/ 106 w 108"/>
                <a:gd name="T83" fmla="*/ 82 h 128"/>
                <a:gd name="T84" fmla="*/ 108 w 108"/>
                <a:gd name="T85" fmla="*/ 78 h 128"/>
                <a:gd name="T86" fmla="*/ 108 w 108"/>
                <a:gd name="T87" fmla="*/ 74 h 128"/>
                <a:gd name="T88" fmla="*/ 104 w 108"/>
                <a:gd name="T89" fmla="*/ 64 h 128"/>
                <a:gd name="T90" fmla="*/ 102 w 108"/>
                <a:gd name="T91" fmla="*/ 56 h 128"/>
                <a:gd name="T92" fmla="*/ 106 w 108"/>
                <a:gd name="T93" fmla="*/ 42 h 128"/>
                <a:gd name="T94" fmla="*/ 108 w 108"/>
                <a:gd name="T95" fmla="*/ 34 h 128"/>
                <a:gd name="T96" fmla="*/ 106 w 108"/>
                <a:gd name="T97" fmla="*/ 26 h 128"/>
                <a:gd name="T98" fmla="*/ 102 w 108"/>
                <a:gd name="T99" fmla="*/ 20 h 128"/>
                <a:gd name="T100" fmla="*/ 96 w 108"/>
                <a:gd name="T101" fmla="*/ 16 h 128"/>
                <a:gd name="T102" fmla="*/ 86 w 108"/>
                <a:gd name="T103" fmla="*/ 16 h 128"/>
                <a:gd name="T104" fmla="*/ 80 w 108"/>
                <a:gd name="T105" fmla="*/ 14 h 128"/>
                <a:gd name="T106" fmla="*/ 78 w 108"/>
                <a:gd name="T107" fmla="*/ 12 h 128"/>
                <a:gd name="T108" fmla="*/ 74 w 108"/>
                <a:gd name="T109" fmla="*/ 6 h 128"/>
                <a:gd name="T110" fmla="*/ 72 w 108"/>
                <a:gd name="T11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28">
                  <a:moveTo>
                    <a:pt x="66" y="0"/>
                  </a:moveTo>
                  <a:lnTo>
                    <a:pt x="66" y="0"/>
                  </a:lnTo>
                  <a:lnTo>
                    <a:pt x="66" y="2"/>
                  </a:lnTo>
                  <a:lnTo>
                    <a:pt x="64" y="4"/>
                  </a:lnTo>
                  <a:lnTo>
                    <a:pt x="62" y="8"/>
                  </a:lnTo>
                  <a:lnTo>
                    <a:pt x="62" y="8"/>
                  </a:lnTo>
                  <a:lnTo>
                    <a:pt x="62" y="10"/>
                  </a:lnTo>
                  <a:lnTo>
                    <a:pt x="60" y="10"/>
                  </a:lnTo>
                  <a:lnTo>
                    <a:pt x="60" y="10"/>
                  </a:lnTo>
                  <a:lnTo>
                    <a:pt x="58" y="10"/>
                  </a:lnTo>
                  <a:lnTo>
                    <a:pt x="56" y="10"/>
                  </a:lnTo>
                  <a:lnTo>
                    <a:pt x="54" y="10"/>
                  </a:lnTo>
                  <a:lnTo>
                    <a:pt x="52" y="10"/>
                  </a:lnTo>
                  <a:lnTo>
                    <a:pt x="50" y="10"/>
                  </a:lnTo>
                  <a:lnTo>
                    <a:pt x="48" y="10"/>
                  </a:lnTo>
                  <a:lnTo>
                    <a:pt x="48" y="10"/>
                  </a:lnTo>
                  <a:lnTo>
                    <a:pt x="48" y="10"/>
                  </a:lnTo>
                  <a:lnTo>
                    <a:pt x="48" y="12"/>
                  </a:lnTo>
                  <a:lnTo>
                    <a:pt x="48" y="12"/>
                  </a:lnTo>
                  <a:lnTo>
                    <a:pt x="48" y="14"/>
                  </a:lnTo>
                  <a:lnTo>
                    <a:pt x="46" y="14"/>
                  </a:lnTo>
                  <a:lnTo>
                    <a:pt x="48" y="16"/>
                  </a:lnTo>
                  <a:lnTo>
                    <a:pt x="48" y="18"/>
                  </a:lnTo>
                  <a:lnTo>
                    <a:pt x="46" y="20"/>
                  </a:lnTo>
                  <a:lnTo>
                    <a:pt x="46" y="22"/>
                  </a:lnTo>
                  <a:lnTo>
                    <a:pt x="46" y="22"/>
                  </a:lnTo>
                  <a:lnTo>
                    <a:pt x="46" y="22"/>
                  </a:lnTo>
                  <a:lnTo>
                    <a:pt x="44" y="24"/>
                  </a:lnTo>
                  <a:lnTo>
                    <a:pt x="42" y="24"/>
                  </a:lnTo>
                  <a:lnTo>
                    <a:pt x="40" y="24"/>
                  </a:lnTo>
                  <a:lnTo>
                    <a:pt x="40" y="26"/>
                  </a:lnTo>
                  <a:lnTo>
                    <a:pt x="40" y="26"/>
                  </a:lnTo>
                  <a:lnTo>
                    <a:pt x="36" y="26"/>
                  </a:lnTo>
                  <a:lnTo>
                    <a:pt x="34" y="26"/>
                  </a:lnTo>
                  <a:lnTo>
                    <a:pt x="34" y="26"/>
                  </a:lnTo>
                  <a:lnTo>
                    <a:pt x="34" y="26"/>
                  </a:lnTo>
                  <a:lnTo>
                    <a:pt x="34" y="28"/>
                  </a:lnTo>
                  <a:lnTo>
                    <a:pt x="32" y="28"/>
                  </a:lnTo>
                  <a:lnTo>
                    <a:pt x="32" y="28"/>
                  </a:lnTo>
                  <a:lnTo>
                    <a:pt x="32" y="30"/>
                  </a:lnTo>
                  <a:lnTo>
                    <a:pt x="32" y="32"/>
                  </a:lnTo>
                  <a:lnTo>
                    <a:pt x="32" y="34"/>
                  </a:lnTo>
                  <a:lnTo>
                    <a:pt x="32" y="36"/>
                  </a:lnTo>
                  <a:lnTo>
                    <a:pt x="32" y="36"/>
                  </a:lnTo>
                  <a:lnTo>
                    <a:pt x="32" y="38"/>
                  </a:lnTo>
                  <a:lnTo>
                    <a:pt x="32" y="38"/>
                  </a:lnTo>
                  <a:lnTo>
                    <a:pt x="30" y="38"/>
                  </a:lnTo>
                  <a:lnTo>
                    <a:pt x="30" y="38"/>
                  </a:lnTo>
                  <a:lnTo>
                    <a:pt x="28" y="40"/>
                  </a:lnTo>
                  <a:lnTo>
                    <a:pt x="28" y="40"/>
                  </a:lnTo>
                  <a:lnTo>
                    <a:pt x="26" y="40"/>
                  </a:lnTo>
                  <a:lnTo>
                    <a:pt x="24" y="40"/>
                  </a:lnTo>
                  <a:lnTo>
                    <a:pt x="22" y="40"/>
                  </a:lnTo>
                  <a:lnTo>
                    <a:pt x="20" y="42"/>
                  </a:lnTo>
                  <a:lnTo>
                    <a:pt x="16" y="40"/>
                  </a:lnTo>
                  <a:lnTo>
                    <a:pt x="12" y="40"/>
                  </a:lnTo>
                  <a:lnTo>
                    <a:pt x="12" y="40"/>
                  </a:lnTo>
                  <a:lnTo>
                    <a:pt x="10" y="40"/>
                  </a:lnTo>
                  <a:lnTo>
                    <a:pt x="8" y="42"/>
                  </a:lnTo>
                  <a:lnTo>
                    <a:pt x="4" y="42"/>
                  </a:lnTo>
                  <a:lnTo>
                    <a:pt x="0" y="44"/>
                  </a:lnTo>
                  <a:lnTo>
                    <a:pt x="4" y="52"/>
                  </a:lnTo>
                  <a:lnTo>
                    <a:pt x="6" y="60"/>
                  </a:lnTo>
                  <a:lnTo>
                    <a:pt x="6" y="66"/>
                  </a:lnTo>
                  <a:lnTo>
                    <a:pt x="6" y="68"/>
                  </a:lnTo>
                  <a:lnTo>
                    <a:pt x="6" y="68"/>
                  </a:lnTo>
                  <a:lnTo>
                    <a:pt x="6" y="72"/>
                  </a:lnTo>
                  <a:lnTo>
                    <a:pt x="6" y="74"/>
                  </a:lnTo>
                  <a:lnTo>
                    <a:pt x="8" y="76"/>
                  </a:lnTo>
                  <a:lnTo>
                    <a:pt x="8" y="76"/>
                  </a:lnTo>
                  <a:lnTo>
                    <a:pt x="8" y="78"/>
                  </a:lnTo>
                  <a:lnTo>
                    <a:pt x="8" y="78"/>
                  </a:lnTo>
                  <a:lnTo>
                    <a:pt x="10" y="78"/>
                  </a:lnTo>
                  <a:lnTo>
                    <a:pt x="12" y="80"/>
                  </a:lnTo>
                  <a:lnTo>
                    <a:pt x="14" y="80"/>
                  </a:lnTo>
                  <a:lnTo>
                    <a:pt x="16" y="80"/>
                  </a:lnTo>
                  <a:lnTo>
                    <a:pt x="16" y="82"/>
                  </a:lnTo>
                  <a:lnTo>
                    <a:pt x="16" y="82"/>
                  </a:lnTo>
                  <a:lnTo>
                    <a:pt x="16" y="82"/>
                  </a:lnTo>
                  <a:lnTo>
                    <a:pt x="18" y="84"/>
                  </a:lnTo>
                  <a:lnTo>
                    <a:pt x="18" y="86"/>
                  </a:lnTo>
                  <a:lnTo>
                    <a:pt x="18" y="88"/>
                  </a:lnTo>
                  <a:lnTo>
                    <a:pt x="18" y="90"/>
                  </a:lnTo>
                  <a:lnTo>
                    <a:pt x="18" y="90"/>
                  </a:lnTo>
                  <a:lnTo>
                    <a:pt x="18" y="92"/>
                  </a:lnTo>
                  <a:lnTo>
                    <a:pt x="18" y="92"/>
                  </a:lnTo>
                  <a:lnTo>
                    <a:pt x="20" y="94"/>
                  </a:lnTo>
                  <a:lnTo>
                    <a:pt x="20" y="94"/>
                  </a:lnTo>
                  <a:lnTo>
                    <a:pt x="20" y="94"/>
                  </a:lnTo>
                  <a:lnTo>
                    <a:pt x="22" y="94"/>
                  </a:lnTo>
                  <a:lnTo>
                    <a:pt x="22" y="94"/>
                  </a:lnTo>
                  <a:lnTo>
                    <a:pt x="24" y="94"/>
                  </a:lnTo>
                  <a:lnTo>
                    <a:pt x="26" y="94"/>
                  </a:lnTo>
                  <a:lnTo>
                    <a:pt x="26" y="94"/>
                  </a:lnTo>
                  <a:lnTo>
                    <a:pt x="28" y="94"/>
                  </a:lnTo>
                  <a:lnTo>
                    <a:pt x="28" y="94"/>
                  </a:lnTo>
                  <a:lnTo>
                    <a:pt x="28" y="94"/>
                  </a:lnTo>
                  <a:lnTo>
                    <a:pt x="28" y="94"/>
                  </a:lnTo>
                  <a:lnTo>
                    <a:pt x="30" y="96"/>
                  </a:lnTo>
                  <a:lnTo>
                    <a:pt x="30" y="96"/>
                  </a:lnTo>
                  <a:lnTo>
                    <a:pt x="30" y="96"/>
                  </a:lnTo>
                  <a:lnTo>
                    <a:pt x="30" y="100"/>
                  </a:lnTo>
                  <a:lnTo>
                    <a:pt x="30" y="102"/>
                  </a:lnTo>
                  <a:lnTo>
                    <a:pt x="30" y="104"/>
                  </a:lnTo>
                  <a:lnTo>
                    <a:pt x="32" y="106"/>
                  </a:lnTo>
                  <a:lnTo>
                    <a:pt x="32" y="108"/>
                  </a:lnTo>
                  <a:lnTo>
                    <a:pt x="32" y="108"/>
                  </a:lnTo>
                  <a:lnTo>
                    <a:pt x="32" y="110"/>
                  </a:lnTo>
                  <a:lnTo>
                    <a:pt x="32" y="110"/>
                  </a:lnTo>
                  <a:lnTo>
                    <a:pt x="34" y="110"/>
                  </a:lnTo>
                  <a:lnTo>
                    <a:pt x="34" y="110"/>
                  </a:lnTo>
                  <a:lnTo>
                    <a:pt x="36" y="110"/>
                  </a:lnTo>
                  <a:lnTo>
                    <a:pt x="38" y="110"/>
                  </a:lnTo>
                  <a:lnTo>
                    <a:pt x="40" y="110"/>
                  </a:lnTo>
                  <a:lnTo>
                    <a:pt x="40" y="112"/>
                  </a:lnTo>
                  <a:lnTo>
                    <a:pt x="42" y="112"/>
                  </a:lnTo>
                  <a:lnTo>
                    <a:pt x="48" y="114"/>
                  </a:lnTo>
                  <a:lnTo>
                    <a:pt x="54" y="118"/>
                  </a:lnTo>
                  <a:lnTo>
                    <a:pt x="58" y="118"/>
                  </a:lnTo>
                  <a:lnTo>
                    <a:pt x="60" y="120"/>
                  </a:lnTo>
                  <a:lnTo>
                    <a:pt x="62" y="122"/>
                  </a:lnTo>
                  <a:lnTo>
                    <a:pt x="64" y="122"/>
                  </a:lnTo>
                  <a:lnTo>
                    <a:pt x="64" y="122"/>
                  </a:lnTo>
                  <a:lnTo>
                    <a:pt x="64" y="122"/>
                  </a:lnTo>
                  <a:lnTo>
                    <a:pt x="66" y="124"/>
                  </a:lnTo>
                  <a:lnTo>
                    <a:pt x="66" y="126"/>
                  </a:lnTo>
                  <a:lnTo>
                    <a:pt x="66" y="126"/>
                  </a:lnTo>
                  <a:lnTo>
                    <a:pt x="68" y="126"/>
                  </a:lnTo>
                  <a:lnTo>
                    <a:pt x="68" y="128"/>
                  </a:lnTo>
                  <a:lnTo>
                    <a:pt x="70" y="128"/>
                  </a:lnTo>
                  <a:lnTo>
                    <a:pt x="72" y="128"/>
                  </a:lnTo>
                  <a:lnTo>
                    <a:pt x="74" y="128"/>
                  </a:lnTo>
                  <a:lnTo>
                    <a:pt x="76" y="128"/>
                  </a:lnTo>
                  <a:lnTo>
                    <a:pt x="82" y="126"/>
                  </a:lnTo>
                  <a:lnTo>
                    <a:pt x="84" y="126"/>
                  </a:lnTo>
                  <a:lnTo>
                    <a:pt x="84" y="126"/>
                  </a:lnTo>
                  <a:lnTo>
                    <a:pt x="84" y="122"/>
                  </a:lnTo>
                  <a:lnTo>
                    <a:pt x="84" y="120"/>
                  </a:lnTo>
                  <a:lnTo>
                    <a:pt x="86" y="118"/>
                  </a:lnTo>
                  <a:lnTo>
                    <a:pt x="86" y="116"/>
                  </a:lnTo>
                  <a:lnTo>
                    <a:pt x="86" y="116"/>
                  </a:lnTo>
                  <a:lnTo>
                    <a:pt x="88" y="114"/>
                  </a:lnTo>
                  <a:lnTo>
                    <a:pt x="88" y="114"/>
                  </a:lnTo>
                  <a:lnTo>
                    <a:pt x="90" y="112"/>
                  </a:lnTo>
                  <a:lnTo>
                    <a:pt x="92" y="112"/>
                  </a:lnTo>
                  <a:lnTo>
                    <a:pt x="94" y="112"/>
                  </a:lnTo>
                  <a:lnTo>
                    <a:pt x="94" y="112"/>
                  </a:lnTo>
                  <a:lnTo>
                    <a:pt x="94" y="110"/>
                  </a:lnTo>
                  <a:lnTo>
                    <a:pt x="96" y="110"/>
                  </a:lnTo>
                  <a:lnTo>
                    <a:pt x="96" y="108"/>
                  </a:lnTo>
                  <a:lnTo>
                    <a:pt x="96" y="108"/>
                  </a:lnTo>
                  <a:lnTo>
                    <a:pt x="96" y="106"/>
                  </a:lnTo>
                  <a:lnTo>
                    <a:pt x="94" y="104"/>
                  </a:lnTo>
                  <a:lnTo>
                    <a:pt x="94" y="100"/>
                  </a:lnTo>
                  <a:lnTo>
                    <a:pt x="94" y="98"/>
                  </a:lnTo>
                  <a:lnTo>
                    <a:pt x="94" y="96"/>
                  </a:lnTo>
                  <a:lnTo>
                    <a:pt x="94" y="94"/>
                  </a:lnTo>
                  <a:lnTo>
                    <a:pt x="94" y="92"/>
                  </a:lnTo>
                  <a:lnTo>
                    <a:pt x="94" y="92"/>
                  </a:lnTo>
                  <a:lnTo>
                    <a:pt x="94" y="90"/>
                  </a:lnTo>
                  <a:lnTo>
                    <a:pt x="94" y="90"/>
                  </a:lnTo>
                  <a:lnTo>
                    <a:pt x="96" y="88"/>
                  </a:lnTo>
                  <a:lnTo>
                    <a:pt x="98" y="88"/>
                  </a:lnTo>
                  <a:lnTo>
                    <a:pt x="98" y="88"/>
                  </a:lnTo>
                  <a:lnTo>
                    <a:pt x="102" y="86"/>
                  </a:lnTo>
                  <a:lnTo>
                    <a:pt x="102" y="86"/>
                  </a:lnTo>
                  <a:lnTo>
                    <a:pt x="104" y="84"/>
                  </a:lnTo>
                  <a:lnTo>
                    <a:pt x="106" y="82"/>
                  </a:lnTo>
                  <a:lnTo>
                    <a:pt x="106" y="80"/>
                  </a:lnTo>
                  <a:lnTo>
                    <a:pt x="108" y="80"/>
                  </a:lnTo>
                  <a:lnTo>
                    <a:pt x="108" y="78"/>
                  </a:lnTo>
                  <a:lnTo>
                    <a:pt x="108" y="78"/>
                  </a:lnTo>
                  <a:lnTo>
                    <a:pt x="108" y="76"/>
                  </a:lnTo>
                  <a:lnTo>
                    <a:pt x="108" y="76"/>
                  </a:lnTo>
                  <a:lnTo>
                    <a:pt x="108" y="76"/>
                  </a:lnTo>
                  <a:lnTo>
                    <a:pt x="108" y="74"/>
                  </a:lnTo>
                  <a:lnTo>
                    <a:pt x="108" y="72"/>
                  </a:lnTo>
                  <a:lnTo>
                    <a:pt x="106" y="70"/>
                  </a:lnTo>
                  <a:lnTo>
                    <a:pt x="104" y="66"/>
                  </a:lnTo>
                  <a:lnTo>
                    <a:pt x="104" y="64"/>
                  </a:lnTo>
                  <a:lnTo>
                    <a:pt x="102" y="64"/>
                  </a:lnTo>
                  <a:lnTo>
                    <a:pt x="102" y="62"/>
                  </a:lnTo>
                  <a:lnTo>
                    <a:pt x="102" y="58"/>
                  </a:lnTo>
                  <a:lnTo>
                    <a:pt x="102" y="56"/>
                  </a:lnTo>
                  <a:lnTo>
                    <a:pt x="102" y="52"/>
                  </a:lnTo>
                  <a:lnTo>
                    <a:pt x="102" y="50"/>
                  </a:lnTo>
                  <a:lnTo>
                    <a:pt x="104" y="48"/>
                  </a:lnTo>
                  <a:lnTo>
                    <a:pt x="106" y="42"/>
                  </a:lnTo>
                  <a:lnTo>
                    <a:pt x="106" y="40"/>
                  </a:lnTo>
                  <a:lnTo>
                    <a:pt x="106" y="38"/>
                  </a:lnTo>
                  <a:lnTo>
                    <a:pt x="108" y="34"/>
                  </a:lnTo>
                  <a:lnTo>
                    <a:pt x="108" y="34"/>
                  </a:lnTo>
                  <a:lnTo>
                    <a:pt x="108" y="32"/>
                  </a:lnTo>
                  <a:lnTo>
                    <a:pt x="108" y="30"/>
                  </a:lnTo>
                  <a:lnTo>
                    <a:pt x="106" y="28"/>
                  </a:lnTo>
                  <a:lnTo>
                    <a:pt x="106" y="26"/>
                  </a:lnTo>
                  <a:lnTo>
                    <a:pt x="104" y="24"/>
                  </a:lnTo>
                  <a:lnTo>
                    <a:pt x="104" y="22"/>
                  </a:lnTo>
                  <a:lnTo>
                    <a:pt x="102" y="20"/>
                  </a:lnTo>
                  <a:lnTo>
                    <a:pt x="102" y="20"/>
                  </a:lnTo>
                  <a:lnTo>
                    <a:pt x="100" y="18"/>
                  </a:lnTo>
                  <a:lnTo>
                    <a:pt x="98" y="18"/>
                  </a:lnTo>
                  <a:lnTo>
                    <a:pt x="98" y="16"/>
                  </a:lnTo>
                  <a:lnTo>
                    <a:pt x="96" y="16"/>
                  </a:lnTo>
                  <a:lnTo>
                    <a:pt x="96" y="16"/>
                  </a:lnTo>
                  <a:lnTo>
                    <a:pt x="92" y="16"/>
                  </a:lnTo>
                  <a:lnTo>
                    <a:pt x="90" y="16"/>
                  </a:lnTo>
                  <a:lnTo>
                    <a:pt x="86" y="16"/>
                  </a:lnTo>
                  <a:lnTo>
                    <a:pt x="84" y="16"/>
                  </a:lnTo>
                  <a:lnTo>
                    <a:pt x="82" y="16"/>
                  </a:lnTo>
                  <a:lnTo>
                    <a:pt x="80" y="14"/>
                  </a:lnTo>
                  <a:lnTo>
                    <a:pt x="80" y="14"/>
                  </a:lnTo>
                  <a:lnTo>
                    <a:pt x="78" y="14"/>
                  </a:lnTo>
                  <a:lnTo>
                    <a:pt x="78" y="14"/>
                  </a:lnTo>
                  <a:lnTo>
                    <a:pt x="78" y="14"/>
                  </a:lnTo>
                  <a:lnTo>
                    <a:pt x="78" y="12"/>
                  </a:lnTo>
                  <a:lnTo>
                    <a:pt x="76" y="10"/>
                  </a:lnTo>
                  <a:lnTo>
                    <a:pt x="76" y="8"/>
                  </a:lnTo>
                  <a:lnTo>
                    <a:pt x="74" y="6"/>
                  </a:lnTo>
                  <a:lnTo>
                    <a:pt x="74" y="6"/>
                  </a:lnTo>
                  <a:lnTo>
                    <a:pt x="74" y="4"/>
                  </a:lnTo>
                  <a:lnTo>
                    <a:pt x="74" y="4"/>
                  </a:lnTo>
                  <a:lnTo>
                    <a:pt x="72" y="2"/>
                  </a:lnTo>
                  <a:lnTo>
                    <a:pt x="72" y="2"/>
                  </a:lnTo>
                  <a:lnTo>
                    <a:pt x="72" y="2"/>
                  </a:lnTo>
                  <a:lnTo>
                    <a:pt x="70" y="2"/>
                  </a:lnTo>
                  <a:lnTo>
                    <a:pt x="6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5" name="Freeform 392"/>
            <p:cNvSpPr>
              <a:spLocks/>
            </p:cNvSpPr>
            <p:nvPr/>
          </p:nvSpPr>
          <p:spPr bwMode="auto">
            <a:xfrm>
              <a:off x="3863906" y="3832136"/>
              <a:ext cx="270204" cy="398377"/>
            </a:xfrm>
            <a:custGeom>
              <a:avLst/>
              <a:gdLst>
                <a:gd name="T0" fmla="*/ 112 w 156"/>
                <a:gd name="T1" fmla="*/ 16 h 230"/>
                <a:gd name="T2" fmla="*/ 106 w 156"/>
                <a:gd name="T3" fmla="*/ 26 h 230"/>
                <a:gd name="T4" fmla="*/ 102 w 156"/>
                <a:gd name="T5" fmla="*/ 30 h 230"/>
                <a:gd name="T6" fmla="*/ 90 w 156"/>
                <a:gd name="T7" fmla="*/ 30 h 230"/>
                <a:gd name="T8" fmla="*/ 72 w 156"/>
                <a:gd name="T9" fmla="*/ 30 h 230"/>
                <a:gd name="T10" fmla="*/ 68 w 156"/>
                <a:gd name="T11" fmla="*/ 32 h 230"/>
                <a:gd name="T12" fmla="*/ 66 w 156"/>
                <a:gd name="T13" fmla="*/ 38 h 230"/>
                <a:gd name="T14" fmla="*/ 68 w 156"/>
                <a:gd name="T15" fmla="*/ 58 h 230"/>
                <a:gd name="T16" fmla="*/ 70 w 156"/>
                <a:gd name="T17" fmla="*/ 74 h 230"/>
                <a:gd name="T18" fmla="*/ 70 w 156"/>
                <a:gd name="T19" fmla="*/ 80 h 230"/>
                <a:gd name="T20" fmla="*/ 66 w 156"/>
                <a:gd name="T21" fmla="*/ 82 h 230"/>
                <a:gd name="T22" fmla="*/ 58 w 156"/>
                <a:gd name="T23" fmla="*/ 78 h 230"/>
                <a:gd name="T24" fmla="*/ 52 w 156"/>
                <a:gd name="T25" fmla="*/ 78 h 230"/>
                <a:gd name="T26" fmla="*/ 46 w 156"/>
                <a:gd name="T27" fmla="*/ 86 h 230"/>
                <a:gd name="T28" fmla="*/ 42 w 156"/>
                <a:gd name="T29" fmla="*/ 98 h 230"/>
                <a:gd name="T30" fmla="*/ 44 w 156"/>
                <a:gd name="T31" fmla="*/ 114 h 230"/>
                <a:gd name="T32" fmla="*/ 42 w 156"/>
                <a:gd name="T33" fmla="*/ 120 h 230"/>
                <a:gd name="T34" fmla="*/ 36 w 156"/>
                <a:gd name="T35" fmla="*/ 120 h 230"/>
                <a:gd name="T36" fmla="*/ 12 w 156"/>
                <a:gd name="T37" fmla="*/ 118 h 230"/>
                <a:gd name="T38" fmla="*/ 2 w 156"/>
                <a:gd name="T39" fmla="*/ 114 h 230"/>
                <a:gd name="T40" fmla="*/ 0 w 156"/>
                <a:gd name="T41" fmla="*/ 146 h 230"/>
                <a:gd name="T42" fmla="*/ 2 w 156"/>
                <a:gd name="T43" fmla="*/ 158 h 230"/>
                <a:gd name="T44" fmla="*/ 6 w 156"/>
                <a:gd name="T45" fmla="*/ 164 h 230"/>
                <a:gd name="T46" fmla="*/ 8 w 156"/>
                <a:gd name="T47" fmla="*/ 178 h 230"/>
                <a:gd name="T48" fmla="*/ 8 w 156"/>
                <a:gd name="T49" fmla="*/ 196 h 230"/>
                <a:gd name="T50" fmla="*/ 18 w 156"/>
                <a:gd name="T51" fmla="*/ 194 h 230"/>
                <a:gd name="T52" fmla="*/ 22 w 156"/>
                <a:gd name="T53" fmla="*/ 198 h 230"/>
                <a:gd name="T54" fmla="*/ 26 w 156"/>
                <a:gd name="T55" fmla="*/ 204 h 230"/>
                <a:gd name="T56" fmla="*/ 36 w 156"/>
                <a:gd name="T57" fmla="*/ 206 h 230"/>
                <a:gd name="T58" fmla="*/ 42 w 156"/>
                <a:gd name="T59" fmla="*/ 214 h 230"/>
                <a:gd name="T60" fmla="*/ 50 w 156"/>
                <a:gd name="T61" fmla="*/ 226 h 230"/>
                <a:gd name="T62" fmla="*/ 62 w 156"/>
                <a:gd name="T63" fmla="*/ 222 h 230"/>
                <a:gd name="T64" fmla="*/ 70 w 156"/>
                <a:gd name="T65" fmla="*/ 212 h 230"/>
                <a:gd name="T66" fmla="*/ 74 w 156"/>
                <a:gd name="T67" fmla="*/ 212 h 230"/>
                <a:gd name="T68" fmla="*/ 84 w 156"/>
                <a:gd name="T69" fmla="*/ 218 h 230"/>
                <a:gd name="T70" fmla="*/ 102 w 156"/>
                <a:gd name="T71" fmla="*/ 220 h 230"/>
                <a:gd name="T72" fmla="*/ 134 w 156"/>
                <a:gd name="T73" fmla="*/ 222 h 230"/>
                <a:gd name="T74" fmla="*/ 150 w 156"/>
                <a:gd name="T75" fmla="*/ 220 h 230"/>
                <a:gd name="T76" fmla="*/ 154 w 156"/>
                <a:gd name="T77" fmla="*/ 218 h 230"/>
                <a:gd name="T78" fmla="*/ 156 w 156"/>
                <a:gd name="T79" fmla="*/ 210 h 230"/>
                <a:gd name="T80" fmla="*/ 152 w 156"/>
                <a:gd name="T81" fmla="*/ 202 h 230"/>
                <a:gd name="T82" fmla="*/ 146 w 156"/>
                <a:gd name="T83" fmla="*/ 200 h 230"/>
                <a:gd name="T84" fmla="*/ 142 w 156"/>
                <a:gd name="T85" fmla="*/ 198 h 230"/>
                <a:gd name="T86" fmla="*/ 136 w 156"/>
                <a:gd name="T87" fmla="*/ 184 h 230"/>
                <a:gd name="T88" fmla="*/ 136 w 156"/>
                <a:gd name="T89" fmla="*/ 166 h 230"/>
                <a:gd name="T90" fmla="*/ 142 w 156"/>
                <a:gd name="T91" fmla="*/ 118 h 230"/>
                <a:gd name="T92" fmla="*/ 144 w 156"/>
                <a:gd name="T93" fmla="*/ 96 h 230"/>
                <a:gd name="T94" fmla="*/ 142 w 156"/>
                <a:gd name="T95" fmla="*/ 84 h 230"/>
                <a:gd name="T96" fmla="*/ 134 w 156"/>
                <a:gd name="T97" fmla="*/ 76 h 230"/>
                <a:gd name="T98" fmla="*/ 134 w 156"/>
                <a:gd name="T99" fmla="*/ 60 h 230"/>
                <a:gd name="T100" fmla="*/ 134 w 156"/>
                <a:gd name="T101" fmla="*/ 54 h 230"/>
                <a:gd name="T102" fmla="*/ 140 w 156"/>
                <a:gd name="T103" fmla="*/ 52 h 230"/>
                <a:gd name="T104" fmla="*/ 146 w 156"/>
                <a:gd name="T105" fmla="*/ 52 h 230"/>
                <a:gd name="T106" fmla="*/ 146 w 156"/>
                <a:gd name="T107" fmla="*/ 4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30">
                  <a:moveTo>
                    <a:pt x="114" y="0"/>
                  </a:moveTo>
                  <a:lnTo>
                    <a:pt x="114" y="0"/>
                  </a:lnTo>
                  <a:lnTo>
                    <a:pt x="114" y="4"/>
                  </a:lnTo>
                  <a:lnTo>
                    <a:pt x="114" y="8"/>
                  </a:lnTo>
                  <a:lnTo>
                    <a:pt x="112" y="16"/>
                  </a:lnTo>
                  <a:lnTo>
                    <a:pt x="110" y="18"/>
                  </a:lnTo>
                  <a:lnTo>
                    <a:pt x="110" y="20"/>
                  </a:lnTo>
                  <a:lnTo>
                    <a:pt x="108" y="24"/>
                  </a:lnTo>
                  <a:lnTo>
                    <a:pt x="106" y="26"/>
                  </a:lnTo>
                  <a:lnTo>
                    <a:pt x="106" y="26"/>
                  </a:lnTo>
                  <a:lnTo>
                    <a:pt x="106" y="28"/>
                  </a:lnTo>
                  <a:lnTo>
                    <a:pt x="104" y="30"/>
                  </a:lnTo>
                  <a:lnTo>
                    <a:pt x="104" y="30"/>
                  </a:lnTo>
                  <a:lnTo>
                    <a:pt x="102" y="30"/>
                  </a:lnTo>
                  <a:lnTo>
                    <a:pt x="102" y="30"/>
                  </a:lnTo>
                  <a:lnTo>
                    <a:pt x="100" y="30"/>
                  </a:lnTo>
                  <a:lnTo>
                    <a:pt x="98" y="30"/>
                  </a:lnTo>
                  <a:lnTo>
                    <a:pt x="96" y="30"/>
                  </a:lnTo>
                  <a:lnTo>
                    <a:pt x="92" y="30"/>
                  </a:lnTo>
                  <a:lnTo>
                    <a:pt x="90" y="30"/>
                  </a:lnTo>
                  <a:lnTo>
                    <a:pt x="84" y="30"/>
                  </a:lnTo>
                  <a:lnTo>
                    <a:pt x="80" y="30"/>
                  </a:lnTo>
                  <a:lnTo>
                    <a:pt x="78" y="30"/>
                  </a:lnTo>
                  <a:lnTo>
                    <a:pt x="74" y="30"/>
                  </a:lnTo>
                  <a:lnTo>
                    <a:pt x="72" y="30"/>
                  </a:lnTo>
                  <a:lnTo>
                    <a:pt x="70" y="30"/>
                  </a:lnTo>
                  <a:lnTo>
                    <a:pt x="70" y="30"/>
                  </a:lnTo>
                  <a:lnTo>
                    <a:pt x="70" y="32"/>
                  </a:lnTo>
                  <a:lnTo>
                    <a:pt x="68" y="32"/>
                  </a:lnTo>
                  <a:lnTo>
                    <a:pt x="68" y="32"/>
                  </a:lnTo>
                  <a:lnTo>
                    <a:pt x="68" y="34"/>
                  </a:lnTo>
                  <a:lnTo>
                    <a:pt x="66" y="34"/>
                  </a:lnTo>
                  <a:lnTo>
                    <a:pt x="66" y="36"/>
                  </a:lnTo>
                  <a:lnTo>
                    <a:pt x="66" y="36"/>
                  </a:lnTo>
                  <a:lnTo>
                    <a:pt x="66" y="38"/>
                  </a:lnTo>
                  <a:lnTo>
                    <a:pt x="66" y="40"/>
                  </a:lnTo>
                  <a:lnTo>
                    <a:pt x="66" y="42"/>
                  </a:lnTo>
                  <a:lnTo>
                    <a:pt x="66" y="46"/>
                  </a:lnTo>
                  <a:lnTo>
                    <a:pt x="66" y="50"/>
                  </a:lnTo>
                  <a:lnTo>
                    <a:pt x="68" y="58"/>
                  </a:lnTo>
                  <a:lnTo>
                    <a:pt x="70" y="62"/>
                  </a:lnTo>
                  <a:lnTo>
                    <a:pt x="70" y="64"/>
                  </a:lnTo>
                  <a:lnTo>
                    <a:pt x="70" y="68"/>
                  </a:lnTo>
                  <a:lnTo>
                    <a:pt x="70" y="72"/>
                  </a:lnTo>
                  <a:lnTo>
                    <a:pt x="70" y="74"/>
                  </a:lnTo>
                  <a:lnTo>
                    <a:pt x="70" y="74"/>
                  </a:lnTo>
                  <a:lnTo>
                    <a:pt x="70" y="76"/>
                  </a:lnTo>
                  <a:lnTo>
                    <a:pt x="70" y="78"/>
                  </a:lnTo>
                  <a:lnTo>
                    <a:pt x="70" y="78"/>
                  </a:lnTo>
                  <a:lnTo>
                    <a:pt x="70" y="80"/>
                  </a:lnTo>
                  <a:lnTo>
                    <a:pt x="68" y="80"/>
                  </a:lnTo>
                  <a:lnTo>
                    <a:pt x="68" y="82"/>
                  </a:lnTo>
                  <a:lnTo>
                    <a:pt x="68" y="82"/>
                  </a:lnTo>
                  <a:lnTo>
                    <a:pt x="66" y="82"/>
                  </a:lnTo>
                  <a:lnTo>
                    <a:pt x="66" y="82"/>
                  </a:lnTo>
                  <a:lnTo>
                    <a:pt x="66" y="82"/>
                  </a:lnTo>
                  <a:lnTo>
                    <a:pt x="64" y="80"/>
                  </a:lnTo>
                  <a:lnTo>
                    <a:pt x="62" y="80"/>
                  </a:lnTo>
                  <a:lnTo>
                    <a:pt x="60" y="80"/>
                  </a:lnTo>
                  <a:lnTo>
                    <a:pt x="58" y="78"/>
                  </a:lnTo>
                  <a:lnTo>
                    <a:pt x="56" y="78"/>
                  </a:lnTo>
                  <a:lnTo>
                    <a:pt x="56" y="78"/>
                  </a:lnTo>
                  <a:lnTo>
                    <a:pt x="56" y="78"/>
                  </a:lnTo>
                  <a:lnTo>
                    <a:pt x="54" y="78"/>
                  </a:lnTo>
                  <a:lnTo>
                    <a:pt x="52" y="78"/>
                  </a:lnTo>
                  <a:lnTo>
                    <a:pt x="52" y="80"/>
                  </a:lnTo>
                  <a:lnTo>
                    <a:pt x="50" y="80"/>
                  </a:lnTo>
                  <a:lnTo>
                    <a:pt x="48" y="82"/>
                  </a:lnTo>
                  <a:lnTo>
                    <a:pt x="46" y="86"/>
                  </a:lnTo>
                  <a:lnTo>
                    <a:pt x="46" y="86"/>
                  </a:lnTo>
                  <a:lnTo>
                    <a:pt x="46" y="88"/>
                  </a:lnTo>
                  <a:lnTo>
                    <a:pt x="44" y="92"/>
                  </a:lnTo>
                  <a:lnTo>
                    <a:pt x="44" y="94"/>
                  </a:lnTo>
                  <a:lnTo>
                    <a:pt x="42" y="98"/>
                  </a:lnTo>
                  <a:lnTo>
                    <a:pt x="42" y="98"/>
                  </a:lnTo>
                  <a:lnTo>
                    <a:pt x="42" y="100"/>
                  </a:lnTo>
                  <a:lnTo>
                    <a:pt x="42" y="102"/>
                  </a:lnTo>
                  <a:lnTo>
                    <a:pt x="44" y="110"/>
                  </a:lnTo>
                  <a:lnTo>
                    <a:pt x="44" y="112"/>
                  </a:lnTo>
                  <a:lnTo>
                    <a:pt x="44" y="114"/>
                  </a:lnTo>
                  <a:lnTo>
                    <a:pt x="44" y="116"/>
                  </a:lnTo>
                  <a:lnTo>
                    <a:pt x="42" y="116"/>
                  </a:lnTo>
                  <a:lnTo>
                    <a:pt x="42" y="118"/>
                  </a:lnTo>
                  <a:lnTo>
                    <a:pt x="42" y="118"/>
                  </a:lnTo>
                  <a:lnTo>
                    <a:pt x="42" y="120"/>
                  </a:lnTo>
                  <a:lnTo>
                    <a:pt x="40" y="120"/>
                  </a:lnTo>
                  <a:lnTo>
                    <a:pt x="40" y="120"/>
                  </a:lnTo>
                  <a:lnTo>
                    <a:pt x="38" y="120"/>
                  </a:lnTo>
                  <a:lnTo>
                    <a:pt x="38" y="120"/>
                  </a:lnTo>
                  <a:lnTo>
                    <a:pt x="36" y="120"/>
                  </a:lnTo>
                  <a:lnTo>
                    <a:pt x="32" y="120"/>
                  </a:lnTo>
                  <a:lnTo>
                    <a:pt x="28" y="120"/>
                  </a:lnTo>
                  <a:lnTo>
                    <a:pt x="24" y="118"/>
                  </a:lnTo>
                  <a:lnTo>
                    <a:pt x="18" y="118"/>
                  </a:lnTo>
                  <a:lnTo>
                    <a:pt x="12" y="118"/>
                  </a:lnTo>
                  <a:lnTo>
                    <a:pt x="10" y="118"/>
                  </a:lnTo>
                  <a:lnTo>
                    <a:pt x="8" y="116"/>
                  </a:lnTo>
                  <a:lnTo>
                    <a:pt x="6" y="116"/>
                  </a:lnTo>
                  <a:lnTo>
                    <a:pt x="4" y="116"/>
                  </a:lnTo>
                  <a:lnTo>
                    <a:pt x="2" y="114"/>
                  </a:lnTo>
                  <a:lnTo>
                    <a:pt x="2" y="120"/>
                  </a:lnTo>
                  <a:lnTo>
                    <a:pt x="2" y="126"/>
                  </a:lnTo>
                  <a:lnTo>
                    <a:pt x="0" y="132"/>
                  </a:lnTo>
                  <a:lnTo>
                    <a:pt x="0" y="140"/>
                  </a:lnTo>
                  <a:lnTo>
                    <a:pt x="0" y="146"/>
                  </a:lnTo>
                  <a:lnTo>
                    <a:pt x="0" y="150"/>
                  </a:lnTo>
                  <a:lnTo>
                    <a:pt x="2" y="154"/>
                  </a:lnTo>
                  <a:lnTo>
                    <a:pt x="2" y="156"/>
                  </a:lnTo>
                  <a:lnTo>
                    <a:pt x="2" y="158"/>
                  </a:lnTo>
                  <a:lnTo>
                    <a:pt x="2" y="158"/>
                  </a:lnTo>
                  <a:lnTo>
                    <a:pt x="2" y="160"/>
                  </a:lnTo>
                  <a:lnTo>
                    <a:pt x="4" y="160"/>
                  </a:lnTo>
                  <a:lnTo>
                    <a:pt x="6" y="162"/>
                  </a:lnTo>
                  <a:lnTo>
                    <a:pt x="6" y="162"/>
                  </a:lnTo>
                  <a:lnTo>
                    <a:pt x="6" y="164"/>
                  </a:lnTo>
                  <a:lnTo>
                    <a:pt x="6" y="164"/>
                  </a:lnTo>
                  <a:lnTo>
                    <a:pt x="6" y="168"/>
                  </a:lnTo>
                  <a:lnTo>
                    <a:pt x="6" y="170"/>
                  </a:lnTo>
                  <a:lnTo>
                    <a:pt x="8" y="172"/>
                  </a:lnTo>
                  <a:lnTo>
                    <a:pt x="8" y="178"/>
                  </a:lnTo>
                  <a:lnTo>
                    <a:pt x="8" y="184"/>
                  </a:lnTo>
                  <a:lnTo>
                    <a:pt x="6" y="188"/>
                  </a:lnTo>
                  <a:lnTo>
                    <a:pt x="6" y="192"/>
                  </a:lnTo>
                  <a:lnTo>
                    <a:pt x="6" y="196"/>
                  </a:lnTo>
                  <a:lnTo>
                    <a:pt x="8" y="196"/>
                  </a:lnTo>
                  <a:lnTo>
                    <a:pt x="12" y="196"/>
                  </a:lnTo>
                  <a:lnTo>
                    <a:pt x="14" y="194"/>
                  </a:lnTo>
                  <a:lnTo>
                    <a:pt x="16" y="194"/>
                  </a:lnTo>
                  <a:lnTo>
                    <a:pt x="18" y="194"/>
                  </a:lnTo>
                  <a:lnTo>
                    <a:pt x="18" y="194"/>
                  </a:lnTo>
                  <a:lnTo>
                    <a:pt x="18" y="194"/>
                  </a:lnTo>
                  <a:lnTo>
                    <a:pt x="20" y="194"/>
                  </a:lnTo>
                  <a:lnTo>
                    <a:pt x="20" y="196"/>
                  </a:lnTo>
                  <a:lnTo>
                    <a:pt x="20" y="196"/>
                  </a:lnTo>
                  <a:lnTo>
                    <a:pt x="22" y="198"/>
                  </a:lnTo>
                  <a:lnTo>
                    <a:pt x="22" y="198"/>
                  </a:lnTo>
                  <a:lnTo>
                    <a:pt x="24" y="202"/>
                  </a:lnTo>
                  <a:lnTo>
                    <a:pt x="24" y="202"/>
                  </a:lnTo>
                  <a:lnTo>
                    <a:pt x="26" y="204"/>
                  </a:lnTo>
                  <a:lnTo>
                    <a:pt x="26" y="204"/>
                  </a:lnTo>
                  <a:lnTo>
                    <a:pt x="28" y="204"/>
                  </a:lnTo>
                  <a:lnTo>
                    <a:pt x="30" y="206"/>
                  </a:lnTo>
                  <a:lnTo>
                    <a:pt x="34" y="206"/>
                  </a:lnTo>
                  <a:lnTo>
                    <a:pt x="34" y="206"/>
                  </a:lnTo>
                  <a:lnTo>
                    <a:pt x="36" y="206"/>
                  </a:lnTo>
                  <a:lnTo>
                    <a:pt x="36" y="208"/>
                  </a:lnTo>
                  <a:lnTo>
                    <a:pt x="36" y="208"/>
                  </a:lnTo>
                  <a:lnTo>
                    <a:pt x="38" y="210"/>
                  </a:lnTo>
                  <a:lnTo>
                    <a:pt x="40" y="212"/>
                  </a:lnTo>
                  <a:lnTo>
                    <a:pt x="42" y="214"/>
                  </a:lnTo>
                  <a:lnTo>
                    <a:pt x="44" y="220"/>
                  </a:lnTo>
                  <a:lnTo>
                    <a:pt x="46" y="222"/>
                  </a:lnTo>
                  <a:lnTo>
                    <a:pt x="46" y="224"/>
                  </a:lnTo>
                  <a:lnTo>
                    <a:pt x="48" y="224"/>
                  </a:lnTo>
                  <a:lnTo>
                    <a:pt x="50" y="226"/>
                  </a:lnTo>
                  <a:lnTo>
                    <a:pt x="52" y="228"/>
                  </a:lnTo>
                  <a:lnTo>
                    <a:pt x="56" y="230"/>
                  </a:lnTo>
                  <a:lnTo>
                    <a:pt x="58" y="228"/>
                  </a:lnTo>
                  <a:lnTo>
                    <a:pt x="60" y="224"/>
                  </a:lnTo>
                  <a:lnTo>
                    <a:pt x="62" y="222"/>
                  </a:lnTo>
                  <a:lnTo>
                    <a:pt x="64" y="218"/>
                  </a:lnTo>
                  <a:lnTo>
                    <a:pt x="66" y="216"/>
                  </a:lnTo>
                  <a:lnTo>
                    <a:pt x="66" y="214"/>
                  </a:lnTo>
                  <a:lnTo>
                    <a:pt x="68" y="214"/>
                  </a:lnTo>
                  <a:lnTo>
                    <a:pt x="70" y="212"/>
                  </a:lnTo>
                  <a:lnTo>
                    <a:pt x="70" y="212"/>
                  </a:lnTo>
                  <a:lnTo>
                    <a:pt x="72" y="212"/>
                  </a:lnTo>
                  <a:lnTo>
                    <a:pt x="72" y="212"/>
                  </a:lnTo>
                  <a:lnTo>
                    <a:pt x="72" y="212"/>
                  </a:lnTo>
                  <a:lnTo>
                    <a:pt x="74" y="212"/>
                  </a:lnTo>
                  <a:lnTo>
                    <a:pt x="76" y="212"/>
                  </a:lnTo>
                  <a:lnTo>
                    <a:pt x="78" y="214"/>
                  </a:lnTo>
                  <a:lnTo>
                    <a:pt x="80" y="216"/>
                  </a:lnTo>
                  <a:lnTo>
                    <a:pt x="82" y="216"/>
                  </a:lnTo>
                  <a:lnTo>
                    <a:pt x="84" y="218"/>
                  </a:lnTo>
                  <a:lnTo>
                    <a:pt x="86" y="218"/>
                  </a:lnTo>
                  <a:lnTo>
                    <a:pt x="88" y="218"/>
                  </a:lnTo>
                  <a:lnTo>
                    <a:pt x="92" y="220"/>
                  </a:lnTo>
                  <a:lnTo>
                    <a:pt x="94" y="220"/>
                  </a:lnTo>
                  <a:lnTo>
                    <a:pt x="102" y="220"/>
                  </a:lnTo>
                  <a:lnTo>
                    <a:pt x="108" y="220"/>
                  </a:lnTo>
                  <a:lnTo>
                    <a:pt x="116" y="222"/>
                  </a:lnTo>
                  <a:lnTo>
                    <a:pt x="124" y="222"/>
                  </a:lnTo>
                  <a:lnTo>
                    <a:pt x="130" y="222"/>
                  </a:lnTo>
                  <a:lnTo>
                    <a:pt x="134" y="222"/>
                  </a:lnTo>
                  <a:lnTo>
                    <a:pt x="140" y="222"/>
                  </a:lnTo>
                  <a:lnTo>
                    <a:pt x="142" y="222"/>
                  </a:lnTo>
                  <a:lnTo>
                    <a:pt x="146" y="222"/>
                  </a:lnTo>
                  <a:lnTo>
                    <a:pt x="148" y="222"/>
                  </a:lnTo>
                  <a:lnTo>
                    <a:pt x="150" y="220"/>
                  </a:lnTo>
                  <a:lnTo>
                    <a:pt x="152" y="220"/>
                  </a:lnTo>
                  <a:lnTo>
                    <a:pt x="152" y="220"/>
                  </a:lnTo>
                  <a:lnTo>
                    <a:pt x="154" y="220"/>
                  </a:lnTo>
                  <a:lnTo>
                    <a:pt x="154" y="218"/>
                  </a:lnTo>
                  <a:lnTo>
                    <a:pt x="154" y="218"/>
                  </a:lnTo>
                  <a:lnTo>
                    <a:pt x="154" y="218"/>
                  </a:lnTo>
                  <a:lnTo>
                    <a:pt x="156" y="216"/>
                  </a:lnTo>
                  <a:lnTo>
                    <a:pt x="156" y="214"/>
                  </a:lnTo>
                  <a:lnTo>
                    <a:pt x="156" y="212"/>
                  </a:lnTo>
                  <a:lnTo>
                    <a:pt x="156" y="210"/>
                  </a:lnTo>
                  <a:lnTo>
                    <a:pt x="156" y="208"/>
                  </a:lnTo>
                  <a:lnTo>
                    <a:pt x="154" y="204"/>
                  </a:lnTo>
                  <a:lnTo>
                    <a:pt x="154" y="202"/>
                  </a:lnTo>
                  <a:lnTo>
                    <a:pt x="154" y="202"/>
                  </a:lnTo>
                  <a:lnTo>
                    <a:pt x="152" y="202"/>
                  </a:lnTo>
                  <a:lnTo>
                    <a:pt x="152" y="200"/>
                  </a:lnTo>
                  <a:lnTo>
                    <a:pt x="152" y="200"/>
                  </a:lnTo>
                  <a:lnTo>
                    <a:pt x="150" y="200"/>
                  </a:lnTo>
                  <a:lnTo>
                    <a:pt x="148" y="200"/>
                  </a:lnTo>
                  <a:lnTo>
                    <a:pt x="146" y="200"/>
                  </a:lnTo>
                  <a:lnTo>
                    <a:pt x="146" y="198"/>
                  </a:lnTo>
                  <a:lnTo>
                    <a:pt x="144" y="198"/>
                  </a:lnTo>
                  <a:lnTo>
                    <a:pt x="142" y="198"/>
                  </a:lnTo>
                  <a:lnTo>
                    <a:pt x="142" y="198"/>
                  </a:lnTo>
                  <a:lnTo>
                    <a:pt x="142" y="198"/>
                  </a:lnTo>
                  <a:lnTo>
                    <a:pt x="140" y="196"/>
                  </a:lnTo>
                  <a:lnTo>
                    <a:pt x="138" y="192"/>
                  </a:lnTo>
                  <a:lnTo>
                    <a:pt x="138" y="190"/>
                  </a:lnTo>
                  <a:lnTo>
                    <a:pt x="138" y="186"/>
                  </a:lnTo>
                  <a:lnTo>
                    <a:pt x="136" y="184"/>
                  </a:lnTo>
                  <a:lnTo>
                    <a:pt x="136" y="180"/>
                  </a:lnTo>
                  <a:lnTo>
                    <a:pt x="136" y="178"/>
                  </a:lnTo>
                  <a:lnTo>
                    <a:pt x="136" y="174"/>
                  </a:lnTo>
                  <a:lnTo>
                    <a:pt x="136" y="170"/>
                  </a:lnTo>
                  <a:lnTo>
                    <a:pt x="136" y="166"/>
                  </a:lnTo>
                  <a:lnTo>
                    <a:pt x="136" y="158"/>
                  </a:lnTo>
                  <a:lnTo>
                    <a:pt x="138" y="150"/>
                  </a:lnTo>
                  <a:lnTo>
                    <a:pt x="140" y="142"/>
                  </a:lnTo>
                  <a:lnTo>
                    <a:pt x="142" y="126"/>
                  </a:lnTo>
                  <a:lnTo>
                    <a:pt x="142" y="118"/>
                  </a:lnTo>
                  <a:lnTo>
                    <a:pt x="144" y="110"/>
                  </a:lnTo>
                  <a:lnTo>
                    <a:pt x="144" y="108"/>
                  </a:lnTo>
                  <a:lnTo>
                    <a:pt x="144" y="104"/>
                  </a:lnTo>
                  <a:lnTo>
                    <a:pt x="144" y="100"/>
                  </a:lnTo>
                  <a:lnTo>
                    <a:pt x="144" y="96"/>
                  </a:lnTo>
                  <a:lnTo>
                    <a:pt x="144" y="94"/>
                  </a:lnTo>
                  <a:lnTo>
                    <a:pt x="144" y="90"/>
                  </a:lnTo>
                  <a:lnTo>
                    <a:pt x="144" y="88"/>
                  </a:lnTo>
                  <a:lnTo>
                    <a:pt x="142" y="86"/>
                  </a:lnTo>
                  <a:lnTo>
                    <a:pt x="142" y="84"/>
                  </a:lnTo>
                  <a:lnTo>
                    <a:pt x="142" y="82"/>
                  </a:lnTo>
                  <a:lnTo>
                    <a:pt x="138" y="80"/>
                  </a:lnTo>
                  <a:lnTo>
                    <a:pt x="136" y="78"/>
                  </a:lnTo>
                  <a:lnTo>
                    <a:pt x="136" y="76"/>
                  </a:lnTo>
                  <a:lnTo>
                    <a:pt x="134" y="76"/>
                  </a:lnTo>
                  <a:lnTo>
                    <a:pt x="134" y="72"/>
                  </a:lnTo>
                  <a:lnTo>
                    <a:pt x="134" y="70"/>
                  </a:lnTo>
                  <a:lnTo>
                    <a:pt x="134" y="68"/>
                  </a:lnTo>
                  <a:lnTo>
                    <a:pt x="134" y="64"/>
                  </a:lnTo>
                  <a:lnTo>
                    <a:pt x="134" y="60"/>
                  </a:lnTo>
                  <a:lnTo>
                    <a:pt x="134" y="58"/>
                  </a:lnTo>
                  <a:lnTo>
                    <a:pt x="134" y="56"/>
                  </a:lnTo>
                  <a:lnTo>
                    <a:pt x="134" y="56"/>
                  </a:lnTo>
                  <a:lnTo>
                    <a:pt x="134" y="54"/>
                  </a:lnTo>
                  <a:lnTo>
                    <a:pt x="134" y="54"/>
                  </a:lnTo>
                  <a:lnTo>
                    <a:pt x="136" y="54"/>
                  </a:lnTo>
                  <a:lnTo>
                    <a:pt x="136" y="52"/>
                  </a:lnTo>
                  <a:lnTo>
                    <a:pt x="138" y="52"/>
                  </a:lnTo>
                  <a:lnTo>
                    <a:pt x="138" y="52"/>
                  </a:lnTo>
                  <a:lnTo>
                    <a:pt x="140" y="52"/>
                  </a:lnTo>
                  <a:lnTo>
                    <a:pt x="142" y="52"/>
                  </a:lnTo>
                  <a:lnTo>
                    <a:pt x="144" y="52"/>
                  </a:lnTo>
                  <a:lnTo>
                    <a:pt x="144" y="52"/>
                  </a:lnTo>
                  <a:lnTo>
                    <a:pt x="144" y="52"/>
                  </a:lnTo>
                  <a:lnTo>
                    <a:pt x="146" y="52"/>
                  </a:lnTo>
                  <a:lnTo>
                    <a:pt x="146" y="50"/>
                  </a:lnTo>
                  <a:lnTo>
                    <a:pt x="146" y="50"/>
                  </a:lnTo>
                  <a:lnTo>
                    <a:pt x="146" y="48"/>
                  </a:lnTo>
                  <a:lnTo>
                    <a:pt x="146" y="46"/>
                  </a:lnTo>
                  <a:lnTo>
                    <a:pt x="146" y="42"/>
                  </a:lnTo>
                  <a:lnTo>
                    <a:pt x="146" y="38"/>
                  </a:lnTo>
                  <a:lnTo>
                    <a:pt x="146" y="36"/>
                  </a:lnTo>
                  <a:lnTo>
                    <a:pt x="11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6" name="Freeform 393"/>
            <p:cNvSpPr>
              <a:spLocks/>
            </p:cNvSpPr>
            <p:nvPr/>
          </p:nvSpPr>
          <p:spPr bwMode="auto">
            <a:xfrm>
              <a:off x="3863906" y="3832136"/>
              <a:ext cx="270204" cy="398377"/>
            </a:xfrm>
            <a:custGeom>
              <a:avLst/>
              <a:gdLst>
                <a:gd name="T0" fmla="*/ 112 w 156"/>
                <a:gd name="T1" fmla="*/ 16 h 230"/>
                <a:gd name="T2" fmla="*/ 106 w 156"/>
                <a:gd name="T3" fmla="*/ 26 h 230"/>
                <a:gd name="T4" fmla="*/ 102 w 156"/>
                <a:gd name="T5" fmla="*/ 30 h 230"/>
                <a:gd name="T6" fmla="*/ 90 w 156"/>
                <a:gd name="T7" fmla="*/ 30 h 230"/>
                <a:gd name="T8" fmla="*/ 72 w 156"/>
                <a:gd name="T9" fmla="*/ 30 h 230"/>
                <a:gd name="T10" fmla="*/ 68 w 156"/>
                <a:gd name="T11" fmla="*/ 32 h 230"/>
                <a:gd name="T12" fmla="*/ 66 w 156"/>
                <a:gd name="T13" fmla="*/ 38 h 230"/>
                <a:gd name="T14" fmla="*/ 68 w 156"/>
                <a:gd name="T15" fmla="*/ 58 h 230"/>
                <a:gd name="T16" fmla="*/ 70 w 156"/>
                <a:gd name="T17" fmla="*/ 74 h 230"/>
                <a:gd name="T18" fmla="*/ 70 w 156"/>
                <a:gd name="T19" fmla="*/ 80 h 230"/>
                <a:gd name="T20" fmla="*/ 66 w 156"/>
                <a:gd name="T21" fmla="*/ 82 h 230"/>
                <a:gd name="T22" fmla="*/ 58 w 156"/>
                <a:gd name="T23" fmla="*/ 78 h 230"/>
                <a:gd name="T24" fmla="*/ 52 w 156"/>
                <a:gd name="T25" fmla="*/ 78 h 230"/>
                <a:gd name="T26" fmla="*/ 46 w 156"/>
                <a:gd name="T27" fmla="*/ 86 h 230"/>
                <a:gd name="T28" fmla="*/ 42 w 156"/>
                <a:gd name="T29" fmla="*/ 98 h 230"/>
                <a:gd name="T30" fmla="*/ 44 w 156"/>
                <a:gd name="T31" fmla="*/ 114 h 230"/>
                <a:gd name="T32" fmla="*/ 42 w 156"/>
                <a:gd name="T33" fmla="*/ 120 h 230"/>
                <a:gd name="T34" fmla="*/ 36 w 156"/>
                <a:gd name="T35" fmla="*/ 120 h 230"/>
                <a:gd name="T36" fmla="*/ 12 w 156"/>
                <a:gd name="T37" fmla="*/ 118 h 230"/>
                <a:gd name="T38" fmla="*/ 2 w 156"/>
                <a:gd name="T39" fmla="*/ 114 h 230"/>
                <a:gd name="T40" fmla="*/ 0 w 156"/>
                <a:gd name="T41" fmla="*/ 146 h 230"/>
                <a:gd name="T42" fmla="*/ 2 w 156"/>
                <a:gd name="T43" fmla="*/ 158 h 230"/>
                <a:gd name="T44" fmla="*/ 6 w 156"/>
                <a:gd name="T45" fmla="*/ 164 h 230"/>
                <a:gd name="T46" fmla="*/ 8 w 156"/>
                <a:gd name="T47" fmla="*/ 178 h 230"/>
                <a:gd name="T48" fmla="*/ 8 w 156"/>
                <a:gd name="T49" fmla="*/ 196 h 230"/>
                <a:gd name="T50" fmla="*/ 18 w 156"/>
                <a:gd name="T51" fmla="*/ 194 h 230"/>
                <a:gd name="T52" fmla="*/ 22 w 156"/>
                <a:gd name="T53" fmla="*/ 198 h 230"/>
                <a:gd name="T54" fmla="*/ 26 w 156"/>
                <a:gd name="T55" fmla="*/ 204 h 230"/>
                <a:gd name="T56" fmla="*/ 36 w 156"/>
                <a:gd name="T57" fmla="*/ 206 h 230"/>
                <a:gd name="T58" fmla="*/ 42 w 156"/>
                <a:gd name="T59" fmla="*/ 214 h 230"/>
                <a:gd name="T60" fmla="*/ 50 w 156"/>
                <a:gd name="T61" fmla="*/ 226 h 230"/>
                <a:gd name="T62" fmla="*/ 62 w 156"/>
                <a:gd name="T63" fmla="*/ 222 h 230"/>
                <a:gd name="T64" fmla="*/ 70 w 156"/>
                <a:gd name="T65" fmla="*/ 212 h 230"/>
                <a:gd name="T66" fmla="*/ 74 w 156"/>
                <a:gd name="T67" fmla="*/ 212 h 230"/>
                <a:gd name="T68" fmla="*/ 84 w 156"/>
                <a:gd name="T69" fmla="*/ 218 h 230"/>
                <a:gd name="T70" fmla="*/ 102 w 156"/>
                <a:gd name="T71" fmla="*/ 220 h 230"/>
                <a:gd name="T72" fmla="*/ 134 w 156"/>
                <a:gd name="T73" fmla="*/ 222 h 230"/>
                <a:gd name="T74" fmla="*/ 150 w 156"/>
                <a:gd name="T75" fmla="*/ 220 h 230"/>
                <a:gd name="T76" fmla="*/ 154 w 156"/>
                <a:gd name="T77" fmla="*/ 218 h 230"/>
                <a:gd name="T78" fmla="*/ 156 w 156"/>
                <a:gd name="T79" fmla="*/ 210 h 230"/>
                <a:gd name="T80" fmla="*/ 152 w 156"/>
                <a:gd name="T81" fmla="*/ 202 h 230"/>
                <a:gd name="T82" fmla="*/ 146 w 156"/>
                <a:gd name="T83" fmla="*/ 200 h 230"/>
                <a:gd name="T84" fmla="*/ 142 w 156"/>
                <a:gd name="T85" fmla="*/ 198 h 230"/>
                <a:gd name="T86" fmla="*/ 136 w 156"/>
                <a:gd name="T87" fmla="*/ 184 h 230"/>
                <a:gd name="T88" fmla="*/ 136 w 156"/>
                <a:gd name="T89" fmla="*/ 166 h 230"/>
                <a:gd name="T90" fmla="*/ 142 w 156"/>
                <a:gd name="T91" fmla="*/ 118 h 230"/>
                <a:gd name="T92" fmla="*/ 144 w 156"/>
                <a:gd name="T93" fmla="*/ 96 h 230"/>
                <a:gd name="T94" fmla="*/ 142 w 156"/>
                <a:gd name="T95" fmla="*/ 84 h 230"/>
                <a:gd name="T96" fmla="*/ 134 w 156"/>
                <a:gd name="T97" fmla="*/ 76 h 230"/>
                <a:gd name="T98" fmla="*/ 134 w 156"/>
                <a:gd name="T99" fmla="*/ 60 h 230"/>
                <a:gd name="T100" fmla="*/ 134 w 156"/>
                <a:gd name="T101" fmla="*/ 54 h 230"/>
                <a:gd name="T102" fmla="*/ 140 w 156"/>
                <a:gd name="T103" fmla="*/ 52 h 230"/>
                <a:gd name="T104" fmla="*/ 146 w 156"/>
                <a:gd name="T105" fmla="*/ 52 h 230"/>
                <a:gd name="T106" fmla="*/ 146 w 156"/>
                <a:gd name="T107" fmla="*/ 4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30">
                  <a:moveTo>
                    <a:pt x="114" y="0"/>
                  </a:moveTo>
                  <a:lnTo>
                    <a:pt x="114" y="0"/>
                  </a:lnTo>
                  <a:lnTo>
                    <a:pt x="114" y="4"/>
                  </a:lnTo>
                  <a:lnTo>
                    <a:pt x="114" y="8"/>
                  </a:lnTo>
                  <a:lnTo>
                    <a:pt x="112" y="16"/>
                  </a:lnTo>
                  <a:lnTo>
                    <a:pt x="110" y="18"/>
                  </a:lnTo>
                  <a:lnTo>
                    <a:pt x="110" y="20"/>
                  </a:lnTo>
                  <a:lnTo>
                    <a:pt x="108" y="24"/>
                  </a:lnTo>
                  <a:lnTo>
                    <a:pt x="106" y="26"/>
                  </a:lnTo>
                  <a:lnTo>
                    <a:pt x="106" y="26"/>
                  </a:lnTo>
                  <a:lnTo>
                    <a:pt x="106" y="28"/>
                  </a:lnTo>
                  <a:lnTo>
                    <a:pt x="104" y="30"/>
                  </a:lnTo>
                  <a:lnTo>
                    <a:pt x="104" y="30"/>
                  </a:lnTo>
                  <a:lnTo>
                    <a:pt x="102" y="30"/>
                  </a:lnTo>
                  <a:lnTo>
                    <a:pt x="102" y="30"/>
                  </a:lnTo>
                  <a:lnTo>
                    <a:pt x="100" y="30"/>
                  </a:lnTo>
                  <a:lnTo>
                    <a:pt x="98" y="30"/>
                  </a:lnTo>
                  <a:lnTo>
                    <a:pt x="96" y="30"/>
                  </a:lnTo>
                  <a:lnTo>
                    <a:pt x="92" y="30"/>
                  </a:lnTo>
                  <a:lnTo>
                    <a:pt x="90" y="30"/>
                  </a:lnTo>
                  <a:lnTo>
                    <a:pt x="84" y="30"/>
                  </a:lnTo>
                  <a:lnTo>
                    <a:pt x="80" y="30"/>
                  </a:lnTo>
                  <a:lnTo>
                    <a:pt x="78" y="30"/>
                  </a:lnTo>
                  <a:lnTo>
                    <a:pt x="74" y="30"/>
                  </a:lnTo>
                  <a:lnTo>
                    <a:pt x="72" y="30"/>
                  </a:lnTo>
                  <a:lnTo>
                    <a:pt x="70" y="30"/>
                  </a:lnTo>
                  <a:lnTo>
                    <a:pt x="70" y="30"/>
                  </a:lnTo>
                  <a:lnTo>
                    <a:pt x="70" y="32"/>
                  </a:lnTo>
                  <a:lnTo>
                    <a:pt x="68" y="32"/>
                  </a:lnTo>
                  <a:lnTo>
                    <a:pt x="68" y="32"/>
                  </a:lnTo>
                  <a:lnTo>
                    <a:pt x="68" y="34"/>
                  </a:lnTo>
                  <a:lnTo>
                    <a:pt x="66" y="34"/>
                  </a:lnTo>
                  <a:lnTo>
                    <a:pt x="66" y="36"/>
                  </a:lnTo>
                  <a:lnTo>
                    <a:pt x="66" y="36"/>
                  </a:lnTo>
                  <a:lnTo>
                    <a:pt x="66" y="38"/>
                  </a:lnTo>
                  <a:lnTo>
                    <a:pt x="66" y="40"/>
                  </a:lnTo>
                  <a:lnTo>
                    <a:pt x="66" y="42"/>
                  </a:lnTo>
                  <a:lnTo>
                    <a:pt x="66" y="46"/>
                  </a:lnTo>
                  <a:lnTo>
                    <a:pt x="66" y="50"/>
                  </a:lnTo>
                  <a:lnTo>
                    <a:pt x="68" y="58"/>
                  </a:lnTo>
                  <a:lnTo>
                    <a:pt x="70" y="62"/>
                  </a:lnTo>
                  <a:lnTo>
                    <a:pt x="70" y="64"/>
                  </a:lnTo>
                  <a:lnTo>
                    <a:pt x="70" y="68"/>
                  </a:lnTo>
                  <a:lnTo>
                    <a:pt x="70" y="72"/>
                  </a:lnTo>
                  <a:lnTo>
                    <a:pt x="70" y="74"/>
                  </a:lnTo>
                  <a:lnTo>
                    <a:pt x="70" y="74"/>
                  </a:lnTo>
                  <a:lnTo>
                    <a:pt x="70" y="76"/>
                  </a:lnTo>
                  <a:lnTo>
                    <a:pt x="70" y="78"/>
                  </a:lnTo>
                  <a:lnTo>
                    <a:pt x="70" y="78"/>
                  </a:lnTo>
                  <a:lnTo>
                    <a:pt x="70" y="80"/>
                  </a:lnTo>
                  <a:lnTo>
                    <a:pt x="68" y="80"/>
                  </a:lnTo>
                  <a:lnTo>
                    <a:pt x="68" y="82"/>
                  </a:lnTo>
                  <a:lnTo>
                    <a:pt x="68" y="82"/>
                  </a:lnTo>
                  <a:lnTo>
                    <a:pt x="66" y="82"/>
                  </a:lnTo>
                  <a:lnTo>
                    <a:pt x="66" y="82"/>
                  </a:lnTo>
                  <a:lnTo>
                    <a:pt x="66" y="82"/>
                  </a:lnTo>
                  <a:lnTo>
                    <a:pt x="64" y="80"/>
                  </a:lnTo>
                  <a:lnTo>
                    <a:pt x="62" y="80"/>
                  </a:lnTo>
                  <a:lnTo>
                    <a:pt x="60" y="80"/>
                  </a:lnTo>
                  <a:lnTo>
                    <a:pt x="58" y="78"/>
                  </a:lnTo>
                  <a:lnTo>
                    <a:pt x="56" y="78"/>
                  </a:lnTo>
                  <a:lnTo>
                    <a:pt x="56" y="78"/>
                  </a:lnTo>
                  <a:lnTo>
                    <a:pt x="56" y="78"/>
                  </a:lnTo>
                  <a:lnTo>
                    <a:pt x="54" y="78"/>
                  </a:lnTo>
                  <a:lnTo>
                    <a:pt x="52" y="78"/>
                  </a:lnTo>
                  <a:lnTo>
                    <a:pt x="52" y="80"/>
                  </a:lnTo>
                  <a:lnTo>
                    <a:pt x="50" y="80"/>
                  </a:lnTo>
                  <a:lnTo>
                    <a:pt x="48" y="82"/>
                  </a:lnTo>
                  <a:lnTo>
                    <a:pt x="46" y="86"/>
                  </a:lnTo>
                  <a:lnTo>
                    <a:pt x="46" y="86"/>
                  </a:lnTo>
                  <a:lnTo>
                    <a:pt x="46" y="88"/>
                  </a:lnTo>
                  <a:lnTo>
                    <a:pt x="44" y="92"/>
                  </a:lnTo>
                  <a:lnTo>
                    <a:pt x="44" y="94"/>
                  </a:lnTo>
                  <a:lnTo>
                    <a:pt x="42" y="98"/>
                  </a:lnTo>
                  <a:lnTo>
                    <a:pt x="42" y="98"/>
                  </a:lnTo>
                  <a:lnTo>
                    <a:pt x="42" y="100"/>
                  </a:lnTo>
                  <a:lnTo>
                    <a:pt x="42" y="102"/>
                  </a:lnTo>
                  <a:lnTo>
                    <a:pt x="44" y="110"/>
                  </a:lnTo>
                  <a:lnTo>
                    <a:pt x="44" y="112"/>
                  </a:lnTo>
                  <a:lnTo>
                    <a:pt x="44" y="114"/>
                  </a:lnTo>
                  <a:lnTo>
                    <a:pt x="44" y="116"/>
                  </a:lnTo>
                  <a:lnTo>
                    <a:pt x="42" y="116"/>
                  </a:lnTo>
                  <a:lnTo>
                    <a:pt x="42" y="118"/>
                  </a:lnTo>
                  <a:lnTo>
                    <a:pt x="42" y="118"/>
                  </a:lnTo>
                  <a:lnTo>
                    <a:pt x="42" y="120"/>
                  </a:lnTo>
                  <a:lnTo>
                    <a:pt x="40" y="120"/>
                  </a:lnTo>
                  <a:lnTo>
                    <a:pt x="40" y="120"/>
                  </a:lnTo>
                  <a:lnTo>
                    <a:pt x="38" y="120"/>
                  </a:lnTo>
                  <a:lnTo>
                    <a:pt x="38" y="120"/>
                  </a:lnTo>
                  <a:lnTo>
                    <a:pt x="36" y="120"/>
                  </a:lnTo>
                  <a:lnTo>
                    <a:pt x="32" y="120"/>
                  </a:lnTo>
                  <a:lnTo>
                    <a:pt x="28" y="120"/>
                  </a:lnTo>
                  <a:lnTo>
                    <a:pt x="24" y="118"/>
                  </a:lnTo>
                  <a:lnTo>
                    <a:pt x="18" y="118"/>
                  </a:lnTo>
                  <a:lnTo>
                    <a:pt x="12" y="118"/>
                  </a:lnTo>
                  <a:lnTo>
                    <a:pt x="10" y="118"/>
                  </a:lnTo>
                  <a:lnTo>
                    <a:pt x="8" y="116"/>
                  </a:lnTo>
                  <a:lnTo>
                    <a:pt x="6" y="116"/>
                  </a:lnTo>
                  <a:lnTo>
                    <a:pt x="4" y="116"/>
                  </a:lnTo>
                  <a:lnTo>
                    <a:pt x="2" y="114"/>
                  </a:lnTo>
                  <a:lnTo>
                    <a:pt x="2" y="120"/>
                  </a:lnTo>
                  <a:lnTo>
                    <a:pt x="2" y="126"/>
                  </a:lnTo>
                  <a:lnTo>
                    <a:pt x="0" y="132"/>
                  </a:lnTo>
                  <a:lnTo>
                    <a:pt x="0" y="140"/>
                  </a:lnTo>
                  <a:lnTo>
                    <a:pt x="0" y="146"/>
                  </a:lnTo>
                  <a:lnTo>
                    <a:pt x="0" y="150"/>
                  </a:lnTo>
                  <a:lnTo>
                    <a:pt x="2" y="154"/>
                  </a:lnTo>
                  <a:lnTo>
                    <a:pt x="2" y="156"/>
                  </a:lnTo>
                  <a:lnTo>
                    <a:pt x="2" y="158"/>
                  </a:lnTo>
                  <a:lnTo>
                    <a:pt x="2" y="158"/>
                  </a:lnTo>
                  <a:lnTo>
                    <a:pt x="2" y="160"/>
                  </a:lnTo>
                  <a:lnTo>
                    <a:pt x="4" y="160"/>
                  </a:lnTo>
                  <a:lnTo>
                    <a:pt x="6" y="162"/>
                  </a:lnTo>
                  <a:lnTo>
                    <a:pt x="6" y="162"/>
                  </a:lnTo>
                  <a:lnTo>
                    <a:pt x="6" y="164"/>
                  </a:lnTo>
                  <a:lnTo>
                    <a:pt x="6" y="164"/>
                  </a:lnTo>
                  <a:lnTo>
                    <a:pt x="6" y="168"/>
                  </a:lnTo>
                  <a:lnTo>
                    <a:pt x="6" y="170"/>
                  </a:lnTo>
                  <a:lnTo>
                    <a:pt x="8" y="172"/>
                  </a:lnTo>
                  <a:lnTo>
                    <a:pt x="8" y="178"/>
                  </a:lnTo>
                  <a:lnTo>
                    <a:pt x="8" y="184"/>
                  </a:lnTo>
                  <a:lnTo>
                    <a:pt x="6" y="188"/>
                  </a:lnTo>
                  <a:lnTo>
                    <a:pt x="6" y="192"/>
                  </a:lnTo>
                  <a:lnTo>
                    <a:pt x="6" y="196"/>
                  </a:lnTo>
                  <a:lnTo>
                    <a:pt x="8" y="196"/>
                  </a:lnTo>
                  <a:lnTo>
                    <a:pt x="12" y="196"/>
                  </a:lnTo>
                  <a:lnTo>
                    <a:pt x="14" y="194"/>
                  </a:lnTo>
                  <a:lnTo>
                    <a:pt x="16" y="194"/>
                  </a:lnTo>
                  <a:lnTo>
                    <a:pt x="18" y="194"/>
                  </a:lnTo>
                  <a:lnTo>
                    <a:pt x="18" y="194"/>
                  </a:lnTo>
                  <a:lnTo>
                    <a:pt x="18" y="194"/>
                  </a:lnTo>
                  <a:lnTo>
                    <a:pt x="20" y="194"/>
                  </a:lnTo>
                  <a:lnTo>
                    <a:pt x="20" y="196"/>
                  </a:lnTo>
                  <a:lnTo>
                    <a:pt x="20" y="196"/>
                  </a:lnTo>
                  <a:lnTo>
                    <a:pt x="22" y="198"/>
                  </a:lnTo>
                  <a:lnTo>
                    <a:pt x="22" y="198"/>
                  </a:lnTo>
                  <a:lnTo>
                    <a:pt x="24" y="202"/>
                  </a:lnTo>
                  <a:lnTo>
                    <a:pt x="24" y="202"/>
                  </a:lnTo>
                  <a:lnTo>
                    <a:pt x="26" y="204"/>
                  </a:lnTo>
                  <a:lnTo>
                    <a:pt x="26" y="204"/>
                  </a:lnTo>
                  <a:lnTo>
                    <a:pt x="28" y="204"/>
                  </a:lnTo>
                  <a:lnTo>
                    <a:pt x="30" y="206"/>
                  </a:lnTo>
                  <a:lnTo>
                    <a:pt x="34" y="206"/>
                  </a:lnTo>
                  <a:lnTo>
                    <a:pt x="34" y="206"/>
                  </a:lnTo>
                  <a:lnTo>
                    <a:pt x="36" y="206"/>
                  </a:lnTo>
                  <a:lnTo>
                    <a:pt x="36" y="208"/>
                  </a:lnTo>
                  <a:lnTo>
                    <a:pt x="36" y="208"/>
                  </a:lnTo>
                  <a:lnTo>
                    <a:pt x="38" y="210"/>
                  </a:lnTo>
                  <a:lnTo>
                    <a:pt x="40" y="212"/>
                  </a:lnTo>
                  <a:lnTo>
                    <a:pt x="42" y="214"/>
                  </a:lnTo>
                  <a:lnTo>
                    <a:pt x="44" y="220"/>
                  </a:lnTo>
                  <a:lnTo>
                    <a:pt x="46" y="222"/>
                  </a:lnTo>
                  <a:lnTo>
                    <a:pt x="46" y="224"/>
                  </a:lnTo>
                  <a:lnTo>
                    <a:pt x="48" y="224"/>
                  </a:lnTo>
                  <a:lnTo>
                    <a:pt x="50" y="226"/>
                  </a:lnTo>
                  <a:lnTo>
                    <a:pt x="52" y="228"/>
                  </a:lnTo>
                  <a:lnTo>
                    <a:pt x="56" y="230"/>
                  </a:lnTo>
                  <a:lnTo>
                    <a:pt x="58" y="228"/>
                  </a:lnTo>
                  <a:lnTo>
                    <a:pt x="60" y="224"/>
                  </a:lnTo>
                  <a:lnTo>
                    <a:pt x="62" y="222"/>
                  </a:lnTo>
                  <a:lnTo>
                    <a:pt x="64" y="218"/>
                  </a:lnTo>
                  <a:lnTo>
                    <a:pt x="66" y="216"/>
                  </a:lnTo>
                  <a:lnTo>
                    <a:pt x="66" y="214"/>
                  </a:lnTo>
                  <a:lnTo>
                    <a:pt x="68" y="214"/>
                  </a:lnTo>
                  <a:lnTo>
                    <a:pt x="70" y="212"/>
                  </a:lnTo>
                  <a:lnTo>
                    <a:pt x="70" y="212"/>
                  </a:lnTo>
                  <a:lnTo>
                    <a:pt x="72" y="212"/>
                  </a:lnTo>
                  <a:lnTo>
                    <a:pt x="72" y="212"/>
                  </a:lnTo>
                  <a:lnTo>
                    <a:pt x="72" y="212"/>
                  </a:lnTo>
                  <a:lnTo>
                    <a:pt x="74" y="212"/>
                  </a:lnTo>
                  <a:lnTo>
                    <a:pt x="76" y="212"/>
                  </a:lnTo>
                  <a:lnTo>
                    <a:pt x="78" y="214"/>
                  </a:lnTo>
                  <a:lnTo>
                    <a:pt x="80" y="216"/>
                  </a:lnTo>
                  <a:lnTo>
                    <a:pt x="82" y="216"/>
                  </a:lnTo>
                  <a:lnTo>
                    <a:pt x="84" y="218"/>
                  </a:lnTo>
                  <a:lnTo>
                    <a:pt x="86" y="218"/>
                  </a:lnTo>
                  <a:lnTo>
                    <a:pt x="88" y="218"/>
                  </a:lnTo>
                  <a:lnTo>
                    <a:pt x="92" y="220"/>
                  </a:lnTo>
                  <a:lnTo>
                    <a:pt x="94" y="220"/>
                  </a:lnTo>
                  <a:lnTo>
                    <a:pt x="102" y="220"/>
                  </a:lnTo>
                  <a:lnTo>
                    <a:pt x="108" y="220"/>
                  </a:lnTo>
                  <a:lnTo>
                    <a:pt x="116" y="222"/>
                  </a:lnTo>
                  <a:lnTo>
                    <a:pt x="124" y="222"/>
                  </a:lnTo>
                  <a:lnTo>
                    <a:pt x="130" y="222"/>
                  </a:lnTo>
                  <a:lnTo>
                    <a:pt x="134" y="222"/>
                  </a:lnTo>
                  <a:lnTo>
                    <a:pt x="140" y="222"/>
                  </a:lnTo>
                  <a:lnTo>
                    <a:pt x="142" y="222"/>
                  </a:lnTo>
                  <a:lnTo>
                    <a:pt x="146" y="222"/>
                  </a:lnTo>
                  <a:lnTo>
                    <a:pt x="148" y="222"/>
                  </a:lnTo>
                  <a:lnTo>
                    <a:pt x="150" y="220"/>
                  </a:lnTo>
                  <a:lnTo>
                    <a:pt x="152" y="220"/>
                  </a:lnTo>
                  <a:lnTo>
                    <a:pt x="152" y="220"/>
                  </a:lnTo>
                  <a:lnTo>
                    <a:pt x="154" y="220"/>
                  </a:lnTo>
                  <a:lnTo>
                    <a:pt x="154" y="218"/>
                  </a:lnTo>
                  <a:lnTo>
                    <a:pt x="154" y="218"/>
                  </a:lnTo>
                  <a:lnTo>
                    <a:pt x="154" y="218"/>
                  </a:lnTo>
                  <a:lnTo>
                    <a:pt x="156" y="216"/>
                  </a:lnTo>
                  <a:lnTo>
                    <a:pt x="156" y="214"/>
                  </a:lnTo>
                  <a:lnTo>
                    <a:pt x="156" y="212"/>
                  </a:lnTo>
                  <a:lnTo>
                    <a:pt x="156" y="210"/>
                  </a:lnTo>
                  <a:lnTo>
                    <a:pt x="156" y="208"/>
                  </a:lnTo>
                  <a:lnTo>
                    <a:pt x="154" y="204"/>
                  </a:lnTo>
                  <a:lnTo>
                    <a:pt x="154" y="202"/>
                  </a:lnTo>
                  <a:lnTo>
                    <a:pt x="154" y="202"/>
                  </a:lnTo>
                  <a:lnTo>
                    <a:pt x="152" y="202"/>
                  </a:lnTo>
                  <a:lnTo>
                    <a:pt x="152" y="200"/>
                  </a:lnTo>
                  <a:lnTo>
                    <a:pt x="152" y="200"/>
                  </a:lnTo>
                  <a:lnTo>
                    <a:pt x="150" y="200"/>
                  </a:lnTo>
                  <a:lnTo>
                    <a:pt x="148" y="200"/>
                  </a:lnTo>
                  <a:lnTo>
                    <a:pt x="146" y="200"/>
                  </a:lnTo>
                  <a:lnTo>
                    <a:pt x="146" y="198"/>
                  </a:lnTo>
                  <a:lnTo>
                    <a:pt x="144" y="198"/>
                  </a:lnTo>
                  <a:lnTo>
                    <a:pt x="142" y="198"/>
                  </a:lnTo>
                  <a:lnTo>
                    <a:pt x="142" y="198"/>
                  </a:lnTo>
                  <a:lnTo>
                    <a:pt x="142" y="198"/>
                  </a:lnTo>
                  <a:lnTo>
                    <a:pt x="140" y="196"/>
                  </a:lnTo>
                  <a:lnTo>
                    <a:pt x="138" y="192"/>
                  </a:lnTo>
                  <a:lnTo>
                    <a:pt x="138" y="190"/>
                  </a:lnTo>
                  <a:lnTo>
                    <a:pt x="138" y="186"/>
                  </a:lnTo>
                  <a:lnTo>
                    <a:pt x="136" y="184"/>
                  </a:lnTo>
                  <a:lnTo>
                    <a:pt x="136" y="180"/>
                  </a:lnTo>
                  <a:lnTo>
                    <a:pt x="136" y="178"/>
                  </a:lnTo>
                  <a:lnTo>
                    <a:pt x="136" y="174"/>
                  </a:lnTo>
                  <a:lnTo>
                    <a:pt x="136" y="170"/>
                  </a:lnTo>
                  <a:lnTo>
                    <a:pt x="136" y="166"/>
                  </a:lnTo>
                  <a:lnTo>
                    <a:pt x="136" y="158"/>
                  </a:lnTo>
                  <a:lnTo>
                    <a:pt x="138" y="150"/>
                  </a:lnTo>
                  <a:lnTo>
                    <a:pt x="140" y="142"/>
                  </a:lnTo>
                  <a:lnTo>
                    <a:pt x="142" y="126"/>
                  </a:lnTo>
                  <a:lnTo>
                    <a:pt x="142" y="118"/>
                  </a:lnTo>
                  <a:lnTo>
                    <a:pt x="144" y="110"/>
                  </a:lnTo>
                  <a:lnTo>
                    <a:pt x="144" y="108"/>
                  </a:lnTo>
                  <a:lnTo>
                    <a:pt x="144" y="104"/>
                  </a:lnTo>
                  <a:lnTo>
                    <a:pt x="144" y="100"/>
                  </a:lnTo>
                  <a:lnTo>
                    <a:pt x="144" y="96"/>
                  </a:lnTo>
                  <a:lnTo>
                    <a:pt x="144" y="94"/>
                  </a:lnTo>
                  <a:lnTo>
                    <a:pt x="144" y="90"/>
                  </a:lnTo>
                  <a:lnTo>
                    <a:pt x="144" y="88"/>
                  </a:lnTo>
                  <a:lnTo>
                    <a:pt x="142" y="86"/>
                  </a:lnTo>
                  <a:lnTo>
                    <a:pt x="142" y="84"/>
                  </a:lnTo>
                  <a:lnTo>
                    <a:pt x="142" y="82"/>
                  </a:lnTo>
                  <a:lnTo>
                    <a:pt x="138" y="80"/>
                  </a:lnTo>
                  <a:lnTo>
                    <a:pt x="136" y="78"/>
                  </a:lnTo>
                  <a:lnTo>
                    <a:pt x="136" y="76"/>
                  </a:lnTo>
                  <a:lnTo>
                    <a:pt x="134" y="76"/>
                  </a:lnTo>
                  <a:lnTo>
                    <a:pt x="134" y="72"/>
                  </a:lnTo>
                  <a:lnTo>
                    <a:pt x="134" y="70"/>
                  </a:lnTo>
                  <a:lnTo>
                    <a:pt x="134" y="68"/>
                  </a:lnTo>
                  <a:lnTo>
                    <a:pt x="134" y="64"/>
                  </a:lnTo>
                  <a:lnTo>
                    <a:pt x="134" y="60"/>
                  </a:lnTo>
                  <a:lnTo>
                    <a:pt x="134" y="58"/>
                  </a:lnTo>
                  <a:lnTo>
                    <a:pt x="134" y="56"/>
                  </a:lnTo>
                  <a:lnTo>
                    <a:pt x="134" y="56"/>
                  </a:lnTo>
                  <a:lnTo>
                    <a:pt x="134" y="54"/>
                  </a:lnTo>
                  <a:lnTo>
                    <a:pt x="134" y="54"/>
                  </a:lnTo>
                  <a:lnTo>
                    <a:pt x="136" y="54"/>
                  </a:lnTo>
                  <a:lnTo>
                    <a:pt x="136" y="52"/>
                  </a:lnTo>
                  <a:lnTo>
                    <a:pt x="138" y="52"/>
                  </a:lnTo>
                  <a:lnTo>
                    <a:pt x="138" y="52"/>
                  </a:lnTo>
                  <a:lnTo>
                    <a:pt x="140" y="52"/>
                  </a:lnTo>
                  <a:lnTo>
                    <a:pt x="142" y="52"/>
                  </a:lnTo>
                  <a:lnTo>
                    <a:pt x="144" y="52"/>
                  </a:lnTo>
                  <a:lnTo>
                    <a:pt x="144" y="52"/>
                  </a:lnTo>
                  <a:lnTo>
                    <a:pt x="144" y="52"/>
                  </a:lnTo>
                  <a:lnTo>
                    <a:pt x="146" y="52"/>
                  </a:lnTo>
                  <a:lnTo>
                    <a:pt x="146" y="50"/>
                  </a:lnTo>
                  <a:lnTo>
                    <a:pt x="146" y="50"/>
                  </a:lnTo>
                  <a:lnTo>
                    <a:pt x="146" y="48"/>
                  </a:lnTo>
                  <a:lnTo>
                    <a:pt x="146" y="46"/>
                  </a:lnTo>
                  <a:lnTo>
                    <a:pt x="146" y="42"/>
                  </a:lnTo>
                  <a:lnTo>
                    <a:pt x="146" y="38"/>
                  </a:lnTo>
                  <a:lnTo>
                    <a:pt x="146" y="36"/>
                  </a:lnTo>
                  <a:lnTo>
                    <a:pt x="11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7" name="Freeform 394"/>
            <p:cNvSpPr>
              <a:spLocks/>
            </p:cNvSpPr>
            <p:nvPr/>
          </p:nvSpPr>
          <p:spPr bwMode="auto">
            <a:xfrm>
              <a:off x="4556736" y="4538822"/>
              <a:ext cx="180136" cy="252883"/>
            </a:xfrm>
            <a:custGeom>
              <a:avLst/>
              <a:gdLst>
                <a:gd name="T0" fmla="*/ 4 w 104"/>
                <a:gd name="T1" fmla="*/ 128 h 146"/>
                <a:gd name="T2" fmla="*/ 10 w 104"/>
                <a:gd name="T3" fmla="*/ 116 h 146"/>
                <a:gd name="T4" fmla="*/ 8 w 104"/>
                <a:gd name="T5" fmla="*/ 114 h 146"/>
                <a:gd name="T6" fmla="*/ 2 w 104"/>
                <a:gd name="T7" fmla="*/ 110 h 146"/>
                <a:gd name="T8" fmla="*/ 2 w 104"/>
                <a:gd name="T9" fmla="*/ 104 h 146"/>
                <a:gd name="T10" fmla="*/ 4 w 104"/>
                <a:gd name="T11" fmla="*/ 100 h 146"/>
                <a:gd name="T12" fmla="*/ 16 w 104"/>
                <a:gd name="T13" fmla="*/ 96 h 146"/>
                <a:gd name="T14" fmla="*/ 20 w 104"/>
                <a:gd name="T15" fmla="*/ 96 h 146"/>
                <a:gd name="T16" fmla="*/ 24 w 104"/>
                <a:gd name="T17" fmla="*/ 102 h 146"/>
                <a:gd name="T18" fmla="*/ 28 w 104"/>
                <a:gd name="T19" fmla="*/ 106 h 146"/>
                <a:gd name="T20" fmla="*/ 34 w 104"/>
                <a:gd name="T21" fmla="*/ 104 h 146"/>
                <a:gd name="T22" fmla="*/ 42 w 104"/>
                <a:gd name="T23" fmla="*/ 96 h 146"/>
                <a:gd name="T24" fmla="*/ 48 w 104"/>
                <a:gd name="T25" fmla="*/ 88 h 146"/>
                <a:gd name="T26" fmla="*/ 48 w 104"/>
                <a:gd name="T27" fmla="*/ 78 h 146"/>
                <a:gd name="T28" fmla="*/ 44 w 104"/>
                <a:gd name="T29" fmla="*/ 72 h 146"/>
                <a:gd name="T30" fmla="*/ 36 w 104"/>
                <a:gd name="T31" fmla="*/ 64 h 146"/>
                <a:gd name="T32" fmla="*/ 34 w 104"/>
                <a:gd name="T33" fmla="*/ 56 h 146"/>
                <a:gd name="T34" fmla="*/ 36 w 104"/>
                <a:gd name="T35" fmla="*/ 50 h 146"/>
                <a:gd name="T36" fmla="*/ 36 w 104"/>
                <a:gd name="T37" fmla="*/ 44 h 146"/>
                <a:gd name="T38" fmla="*/ 34 w 104"/>
                <a:gd name="T39" fmla="*/ 40 h 146"/>
                <a:gd name="T40" fmla="*/ 28 w 104"/>
                <a:gd name="T41" fmla="*/ 40 h 146"/>
                <a:gd name="T42" fmla="*/ 24 w 104"/>
                <a:gd name="T43" fmla="*/ 38 h 146"/>
                <a:gd name="T44" fmla="*/ 24 w 104"/>
                <a:gd name="T45" fmla="*/ 30 h 146"/>
                <a:gd name="T46" fmla="*/ 74 w 104"/>
                <a:gd name="T47" fmla="*/ 14 h 146"/>
                <a:gd name="T48" fmla="*/ 82 w 104"/>
                <a:gd name="T49" fmla="*/ 4 h 146"/>
                <a:gd name="T50" fmla="*/ 92 w 104"/>
                <a:gd name="T51" fmla="*/ 0 h 146"/>
                <a:gd name="T52" fmla="*/ 100 w 104"/>
                <a:gd name="T53" fmla="*/ 2 h 146"/>
                <a:gd name="T54" fmla="*/ 104 w 104"/>
                <a:gd name="T55" fmla="*/ 6 h 146"/>
                <a:gd name="T56" fmla="*/ 102 w 104"/>
                <a:gd name="T57" fmla="*/ 16 h 146"/>
                <a:gd name="T58" fmla="*/ 98 w 104"/>
                <a:gd name="T59" fmla="*/ 24 h 146"/>
                <a:gd name="T60" fmla="*/ 94 w 104"/>
                <a:gd name="T61" fmla="*/ 28 h 146"/>
                <a:gd name="T62" fmla="*/ 92 w 104"/>
                <a:gd name="T63" fmla="*/ 42 h 146"/>
                <a:gd name="T64" fmla="*/ 94 w 104"/>
                <a:gd name="T65" fmla="*/ 68 h 146"/>
                <a:gd name="T66" fmla="*/ 90 w 104"/>
                <a:gd name="T67" fmla="*/ 78 h 146"/>
                <a:gd name="T68" fmla="*/ 84 w 104"/>
                <a:gd name="T69" fmla="*/ 84 h 146"/>
                <a:gd name="T70" fmla="*/ 82 w 104"/>
                <a:gd name="T71" fmla="*/ 92 h 146"/>
                <a:gd name="T72" fmla="*/ 82 w 104"/>
                <a:gd name="T73" fmla="*/ 104 h 146"/>
                <a:gd name="T74" fmla="*/ 80 w 104"/>
                <a:gd name="T75" fmla="*/ 106 h 146"/>
                <a:gd name="T76" fmla="*/ 72 w 104"/>
                <a:gd name="T77" fmla="*/ 106 h 146"/>
                <a:gd name="T78" fmla="*/ 70 w 104"/>
                <a:gd name="T79" fmla="*/ 110 h 146"/>
                <a:gd name="T80" fmla="*/ 70 w 104"/>
                <a:gd name="T81" fmla="*/ 122 h 146"/>
                <a:gd name="T82" fmla="*/ 70 w 104"/>
                <a:gd name="T83" fmla="*/ 130 h 146"/>
                <a:gd name="T84" fmla="*/ 64 w 104"/>
                <a:gd name="T85" fmla="*/ 132 h 146"/>
                <a:gd name="T86" fmla="*/ 54 w 104"/>
                <a:gd name="T87" fmla="*/ 136 h 146"/>
                <a:gd name="T88" fmla="*/ 52 w 104"/>
                <a:gd name="T89" fmla="*/ 140 h 146"/>
                <a:gd name="T90" fmla="*/ 46 w 104"/>
                <a:gd name="T91" fmla="*/ 142 h 146"/>
                <a:gd name="T92" fmla="*/ 38 w 104"/>
                <a:gd name="T93" fmla="*/ 140 h 146"/>
                <a:gd name="T94" fmla="*/ 32 w 104"/>
                <a:gd name="T95" fmla="*/ 136 h 146"/>
                <a:gd name="T96" fmla="*/ 24 w 104"/>
                <a:gd name="T97" fmla="*/ 140 h 146"/>
                <a:gd name="T98" fmla="*/ 10 w 104"/>
                <a:gd name="T99" fmla="*/ 146 h 146"/>
                <a:gd name="T100" fmla="*/ 8 w 104"/>
                <a:gd name="T101" fmla="*/ 140 h 146"/>
                <a:gd name="T102" fmla="*/ 6 w 104"/>
                <a:gd name="T103"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46">
                  <a:moveTo>
                    <a:pt x="0" y="134"/>
                  </a:moveTo>
                  <a:lnTo>
                    <a:pt x="0" y="134"/>
                  </a:lnTo>
                  <a:lnTo>
                    <a:pt x="2" y="132"/>
                  </a:lnTo>
                  <a:lnTo>
                    <a:pt x="4" y="130"/>
                  </a:lnTo>
                  <a:lnTo>
                    <a:pt x="4" y="128"/>
                  </a:lnTo>
                  <a:lnTo>
                    <a:pt x="6" y="124"/>
                  </a:lnTo>
                  <a:lnTo>
                    <a:pt x="8" y="122"/>
                  </a:lnTo>
                  <a:lnTo>
                    <a:pt x="8" y="120"/>
                  </a:lnTo>
                  <a:lnTo>
                    <a:pt x="10" y="118"/>
                  </a:lnTo>
                  <a:lnTo>
                    <a:pt x="10" y="116"/>
                  </a:lnTo>
                  <a:lnTo>
                    <a:pt x="10" y="116"/>
                  </a:lnTo>
                  <a:lnTo>
                    <a:pt x="10" y="116"/>
                  </a:lnTo>
                  <a:lnTo>
                    <a:pt x="10" y="116"/>
                  </a:lnTo>
                  <a:lnTo>
                    <a:pt x="10" y="114"/>
                  </a:lnTo>
                  <a:lnTo>
                    <a:pt x="8" y="114"/>
                  </a:lnTo>
                  <a:lnTo>
                    <a:pt x="8" y="114"/>
                  </a:lnTo>
                  <a:lnTo>
                    <a:pt x="6" y="112"/>
                  </a:lnTo>
                  <a:lnTo>
                    <a:pt x="4" y="112"/>
                  </a:lnTo>
                  <a:lnTo>
                    <a:pt x="4" y="112"/>
                  </a:lnTo>
                  <a:lnTo>
                    <a:pt x="2" y="110"/>
                  </a:lnTo>
                  <a:lnTo>
                    <a:pt x="2" y="110"/>
                  </a:lnTo>
                  <a:lnTo>
                    <a:pt x="2" y="108"/>
                  </a:lnTo>
                  <a:lnTo>
                    <a:pt x="2" y="106"/>
                  </a:lnTo>
                  <a:lnTo>
                    <a:pt x="2" y="106"/>
                  </a:lnTo>
                  <a:lnTo>
                    <a:pt x="2" y="104"/>
                  </a:lnTo>
                  <a:lnTo>
                    <a:pt x="2" y="104"/>
                  </a:lnTo>
                  <a:lnTo>
                    <a:pt x="2" y="102"/>
                  </a:lnTo>
                  <a:lnTo>
                    <a:pt x="2" y="102"/>
                  </a:lnTo>
                  <a:lnTo>
                    <a:pt x="2" y="102"/>
                  </a:lnTo>
                  <a:lnTo>
                    <a:pt x="4" y="100"/>
                  </a:lnTo>
                  <a:lnTo>
                    <a:pt x="4" y="100"/>
                  </a:lnTo>
                  <a:lnTo>
                    <a:pt x="6" y="100"/>
                  </a:lnTo>
                  <a:lnTo>
                    <a:pt x="8" y="98"/>
                  </a:lnTo>
                  <a:lnTo>
                    <a:pt x="12" y="98"/>
                  </a:lnTo>
                  <a:lnTo>
                    <a:pt x="16" y="96"/>
                  </a:lnTo>
                  <a:lnTo>
                    <a:pt x="16" y="96"/>
                  </a:lnTo>
                  <a:lnTo>
                    <a:pt x="18" y="96"/>
                  </a:lnTo>
                  <a:lnTo>
                    <a:pt x="18" y="96"/>
                  </a:lnTo>
                  <a:lnTo>
                    <a:pt x="20" y="96"/>
                  </a:lnTo>
                  <a:lnTo>
                    <a:pt x="20" y="96"/>
                  </a:lnTo>
                  <a:lnTo>
                    <a:pt x="20" y="96"/>
                  </a:lnTo>
                  <a:lnTo>
                    <a:pt x="20" y="98"/>
                  </a:lnTo>
                  <a:lnTo>
                    <a:pt x="22" y="100"/>
                  </a:lnTo>
                  <a:lnTo>
                    <a:pt x="22" y="102"/>
                  </a:lnTo>
                  <a:lnTo>
                    <a:pt x="24" y="102"/>
                  </a:lnTo>
                  <a:lnTo>
                    <a:pt x="24" y="104"/>
                  </a:lnTo>
                  <a:lnTo>
                    <a:pt x="26" y="106"/>
                  </a:lnTo>
                  <a:lnTo>
                    <a:pt x="26" y="106"/>
                  </a:lnTo>
                  <a:lnTo>
                    <a:pt x="26" y="106"/>
                  </a:lnTo>
                  <a:lnTo>
                    <a:pt x="28" y="106"/>
                  </a:lnTo>
                  <a:lnTo>
                    <a:pt x="28" y="106"/>
                  </a:lnTo>
                  <a:lnTo>
                    <a:pt x="30" y="106"/>
                  </a:lnTo>
                  <a:lnTo>
                    <a:pt x="30" y="106"/>
                  </a:lnTo>
                  <a:lnTo>
                    <a:pt x="32" y="104"/>
                  </a:lnTo>
                  <a:lnTo>
                    <a:pt x="34" y="104"/>
                  </a:lnTo>
                  <a:lnTo>
                    <a:pt x="36" y="102"/>
                  </a:lnTo>
                  <a:lnTo>
                    <a:pt x="38" y="102"/>
                  </a:lnTo>
                  <a:lnTo>
                    <a:pt x="40" y="100"/>
                  </a:lnTo>
                  <a:lnTo>
                    <a:pt x="42" y="98"/>
                  </a:lnTo>
                  <a:lnTo>
                    <a:pt x="42" y="96"/>
                  </a:lnTo>
                  <a:lnTo>
                    <a:pt x="44" y="94"/>
                  </a:lnTo>
                  <a:lnTo>
                    <a:pt x="46" y="92"/>
                  </a:lnTo>
                  <a:lnTo>
                    <a:pt x="46" y="90"/>
                  </a:lnTo>
                  <a:lnTo>
                    <a:pt x="48" y="88"/>
                  </a:lnTo>
                  <a:lnTo>
                    <a:pt x="48" y="88"/>
                  </a:lnTo>
                  <a:lnTo>
                    <a:pt x="48" y="86"/>
                  </a:lnTo>
                  <a:lnTo>
                    <a:pt x="48" y="84"/>
                  </a:lnTo>
                  <a:lnTo>
                    <a:pt x="48" y="82"/>
                  </a:lnTo>
                  <a:lnTo>
                    <a:pt x="48" y="80"/>
                  </a:lnTo>
                  <a:lnTo>
                    <a:pt x="48" y="78"/>
                  </a:lnTo>
                  <a:lnTo>
                    <a:pt x="46" y="76"/>
                  </a:lnTo>
                  <a:lnTo>
                    <a:pt x="46" y="74"/>
                  </a:lnTo>
                  <a:lnTo>
                    <a:pt x="46" y="74"/>
                  </a:lnTo>
                  <a:lnTo>
                    <a:pt x="44" y="72"/>
                  </a:lnTo>
                  <a:lnTo>
                    <a:pt x="44" y="72"/>
                  </a:lnTo>
                  <a:lnTo>
                    <a:pt x="42" y="70"/>
                  </a:lnTo>
                  <a:lnTo>
                    <a:pt x="40" y="68"/>
                  </a:lnTo>
                  <a:lnTo>
                    <a:pt x="38" y="68"/>
                  </a:lnTo>
                  <a:lnTo>
                    <a:pt x="38" y="66"/>
                  </a:lnTo>
                  <a:lnTo>
                    <a:pt x="36" y="64"/>
                  </a:lnTo>
                  <a:lnTo>
                    <a:pt x="36" y="62"/>
                  </a:lnTo>
                  <a:lnTo>
                    <a:pt x="34" y="60"/>
                  </a:lnTo>
                  <a:lnTo>
                    <a:pt x="34" y="58"/>
                  </a:lnTo>
                  <a:lnTo>
                    <a:pt x="34" y="58"/>
                  </a:lnTo>
                  <a:lnTo>
                    <a:pt x="34" y="56"/>
                  </a:lnTo>
                  <a:lnTo>
                    <a:pt x="34" y="56"/>
                  </a:lnTo>
                  <a:lnTo>
                    <a:pt x="34" y="54"/>
                  </a:lnTo>
                  <a:lnTo>
                    <a:pt x="36" y="52"/>
                  </a:lnTo>
                  <a:lnTo>
                    <a:pt x="36" y="50"/>
                  </a:lnTo>
                  <a:lnTo>
                    <a:pt x="36" y="50"/>
                  </a:lnTo>
                  <a:lnTo>
                    <a:pt x="38" y="48"/>
                  </a:lnTo>
                  <a:lnTo>
                    <a:pt x="38" y="48"/>
                  </a:lnTo>
                  <a:lnTo>
                    <a:pt x="36" y="46"/>
                  </a:lnTo>
                  <a:lnTo>
                    <a:pt x="36" y="46"/>
                  </a:lnTo>
                  <a:lnTo>
                    <a:pt x="36" y="44"/>
                  </a:lnTo>
                  <a:lnTo>
                    <a:pt x="36" y="42"/>
                  </a:lnTo>
                  <a:lnTo>
                    <a:pt x="36" y="42"/>
                  </a:lnTo>
                  <a:lnTo>
                    <a:pt x="34" y="40"/>
                  </a:lnTo>
                  <a:lnTo>
                    <a:pt x="34" y="40"/>
                  </a:lnTo>
                  <a:lnTo>
                    <a:pt x="34" y="40"/>
                  </a:lnTo>
                  <a:lnTo>
                    <a:pt x="34" y="38"/>
                  </a:lnTo>
                  <a:lnTo>
                    <a:pt x="32" y="38"/>
                  </a:lnTo>
                  <a:lnTo>
                    <a:pt x="30" y="38"/>
                  </a:lnTo>
                  <a:lnTo>
                    <a:pt x="28" y="40"/>
                  </a:lnTo>
                  <a:lnTo>
                    <a:pt x="28" y="40"/>
                  </a:lnTo>
                  <a:lnTo>
                    <a:pt x="26" y="40"/>
                  </a:lnTo>
                  <a:lnTo>
                    <a:pt x="24" y="40"/>
                  </a:lnTo>
                  <a:lnTo>
                    <a:pt x="24" y="38"/>
                  </a:lnTo>
                  <a:lnTo>
                    <a:pt x="24" y="38"/>
                  </a:lnTo>
                  <a:lnTo>
                    <a:pt x="24" y="38"/>
                  </a:lnTo>
                  <a:lnTo>
                    <a:pt x="24" y="38"/>
                  </a:lnTo>
                  <a:lnTo>
                    <a:pt x="24" y="36"/>
                  </a:lnTo>
                  <a:lnTo>
                    <a:pt x="22" y="36"/>
                  </a:lnTo>
                  <a:lnTo>
                    <a:pt x="22" y="34"/>
                  </a:lnTo>
                  <a:lnTo>
                    <a:pt x="24" y="30"/>
                  </a:lnTo>
                  <a:lnTo>
                    <a:pt x="24" y="28"/>
                  </a:lnTo>
                  <a:lnTo>
                    <a:pt x="24" y="26"/>
                  </a:lnTo>
                  <a:lnTo>
                    <a:pt x="70" y="20"/>
                  </a:lnTo>
                  <a:lnTo>
                    <a:pt x="72" y="16"/>
                  </a:lnTo>
                  <a:lnTo>
                    <a:pt x="74" y="14"/>
                  </a:lnTo>
                  <a:lnTo>
                    <a:pt x="74" y="10"/>
                  </a:lnTo>
                  <a:lnTo>
                    <a:pt x="76" y="8"/>
                  </a:lnTo>
                  <a:lnTo>
                    <a:pt x="78" y="6"/>
                  </a:lnTo>
                  <a:lnTo>
                    <a:pt x="80" y="4"/>
                  </a:lnTo>
                  <a:lnTo>
                    <a:pt x="82" y="4"/>
                  </a:lnTo>
                  <a:lnTo>
                    <a:pt x="82" y="2"/>
                  </a:lnTo>
                  <a:lnTo>
                    <a:pt x="84" y="2"/>
                  </a:lnTo>
                  <a:lnTo>
                    <a:pt x="84" y="2"/>
                  </a:lnTo>
                  <a:lnTo>
                    <a:pt x="88" y="2"/>
                  </a:lnTo>
                  <a:lnTo>
                    <a:pt x="92" y="0"/>
                  </a:lnTo>
                  <a:lnTo>
                    <a:pt x="92" y="0"/>
                  </a:lnTo>
                  <a:lnTo>
                    <a:pt x="94" y="0"/>
                  </a:lnTo>
                  <a:lnTo>
                    <a:pt x="98" y="2"/>
                  </a:lnTo>
                  <a:lnTo>
                    <a:pt x="98" y="2"/>
                  </a:lnTo>
                  <a:lnTo>
                    <a:pt x="100" y="2"/>
                  </a:lnTo>
                  <a:lnTo>
                    <a:pt x="102" y="4"/>
                  </a:lnTo>
                  <a:lnTo>
                    <a:pt x="102" y="4"/>
                  </a:lnTo>
                  <a:lnTo>
                    <a:pt x="102" y="4"/>
                  </a:lnTo>
                  <a:lnTo>
                    <a:pt x="102" y="4"/>
                  </a:lnTo>
                  <a:lnTo>
                    <a:pt x="104" y="6"/>
                  </a:lnTo>
                  <a:lnTo>
                    <a:pt x="104" y="6"/>
                  </a:lnTo>
                  <a:lnTo>
                    <a:pt x="104" y="8"/>
                  </a:lnTo>
                  <a:lnTo>
                    <a:pt x="102" y="10"/>
                  </a:lnTo>
                  <a:lnTo>
                    <a:pt x="102" y="14"/>
                  </a:lnTo>
                  <a:lnTo>
                    <a:pt x="102" y="16"/>
                  </a:lnTo>
                  <a:lnTo>
                    <a:pt x="100" y="18"/>
                  </a:lnTo>
                  <a:lnTo>
                    <a:pt x="100" y="22"/>
                  </a:lnTo>
                  <a:lnTo>
                    <a:pt x="98" y="22"/>
                  </a:lnTo>
                  <a:lnTo>
                    <a:pt x="98" y="24"/>
                  </a:lnTo>
                  <a:lnTo>
                    <a:pt x="98" y="24"/>
                  </a:lnTo>
                  <a:lnTo>
                    <a:pt x="96" y="24"/>
                  </a:lnTo>
                  <a:lnTo>
                    <a:pt x="94" y="26"/>
                  </a:lnTo>
                  <a:lnTo>
                    <a:pt x="94" y="26"/>
                  </a:lnTo>
                  <a:lnTo>
                    <a:pt x="94" y="26"/>
                  </a:lnTo>
                  <a:lnTo>
                    <a:pt x="94" y="28"/>
                  </a:lnTo>
                  <a:lnTo>
                    <a:pt x="92" y="32"/>
                  </a:lnTo>
                  <a:lnTo>
                    <a:pt x="92" y="34"/>
                  </a:lnTo>
                  <a:lnTo>
                    <a:pt x="92" y="36"/>
                  </a:lnTo>
                  <a:lnTo>
                    <a:pt x="92" y="40"/>
                  </a:lnTo>
                  <a:lnTo>
                    <a:pt x="92" y="42"/>
                  </a:lnTo>
                  <a:lnTo>
                    <a:pt x="92" y="50"/>
                  </a:lnTo>
                  <a:lnTo>
                    <a:pt x="94" y="56"/>
                  </a:lnTo>
                  <a:lnTo>
                    <a:pt x="94" y="62"/>
                  </a:lnTo>
                  <a:lnTo>
                    <a:pt x="94" y="66"/>
                  </a:lnTo>
                  <a:lnTo>
                    <a:pt x="94" y="68"/>
                  </a:lnTo>
                  <a:lnTo>
                    <a:pt x="94" y="70"/>
                  </a:lnTo>
                  <a:lnTo>
                    <a:pt x="92" y="72"/>
                  </a:lnTo>
                  <a:lnTo>
                    <a:pt x="92" y="74"/>
                  </a:lnTo>
                  <a:lnTo>
                    <a:pt x="92" y="76"/>
                  </a:lnTo>
                  <a:lnTo>
                    <a:pt x="90" y="78"/>
                  </a:lnTo>
                  <a:lnTo>
                    <a:pt x="90" y="80"/>
                  </a:lnTo>
                  <a:lnTo>
                    <a:pt x="88" y="80"/>
                  </a:lnTo>
                  <a:lnTo>
                    <a:pt x="86" y="82"/>
                  </a:lnTo>
                  <a:lnTo>
                    <a:pt x="84" y="84"/>
                  </a:lnTo>
                  <a:lnTo>
                    <a:pt x="84" y="84"/>
                  </a:lnTo>
                  <a:lnTo>
                    <a:pt x="84" y="86"/>
                  </a:lnTo>
                  <a:lnTo>
                    <a:pt x="84" y="86"/>
                  </a:lnTo>
                  <a:lnTo>
                    <a:pt x="84" y="88"/>
                  </a:lnTo>
                  <a:lnTo>
                    <a:pt x="82" y="90"/>
                  </a:lnTo>
                  <a:lnTo>
                    <a:pt x="82" y="92"/>
                  </a:lnTo>
                  <a:lnTo>
                    <a:pt x="84" y="96"/>
                  </a:lnTo>
                  <a:lnTo>
                    <a:pt x="84" y="98"/>
                  </a:lnTo>
                  <a:lnTo>
                    <a:pt x="84" y="100"/>
                  </a:lnTo>
                  <a:lnTo>
                    <a:pt x="82" y="102"/>
                  </a:lnTo>
                  <a:lnTo>
                    <a:pt x="82" y="104"/>
                  </a:lnTo>
                  <a:lnTo>
                    <a:pt x="82" y="104"/>
                  </a:lnTo>
                  <a:lnTo>
                    <a:pt x="82" y="104"/>
                  </a:lnTo>
                  <a:lnTo>
                    <a:pt x="82" y="106"/>
                  </a:lnTo>
                  <a:lnTo>
                    <a:pt x="80" y="106"/>
                  </a:lnTo>
                  <a:lnTo>
                    <a:pt x="80" y="106"/>
                  </a:lnTo>
                  <a:lnTo>
                    <a:pt x="78" y="106"/>
                  </a:lnTo>
                  <a:lnTo>
                    <a:pt x="76" y="106"/>
                  </a:lnTo>
                  <a:lnTo>
                    <a:pt x="74" y="106"/>
                  </a:lnTo>
                  <a:lnTo>
                    <a:pt x="72" y="106"/>
                  </a:lnTo>
                  <a:lnTo>
                    <a:pt x="72" y="106"/>
                  </a:lnTo>
                  <a:lnTo>
                    <a:pt x="70" y="106"/>
                  </a:lnTo>
                  <a:lnTo>
                    <a:pt x="70" y="106"/>
                  </a:lnTo>
                  <a:lnTo>
                    <a:pt x="70" y="108"/>
                  </a:lnTo>
                  <a:lnTo>
                    <a:pt x="70" y="108"/>
                  </a:lnTo>
                  <a:lnTo>
                    <a:pt x="70" y="110"/>
                  </a:lnTo>
                  <a:lnTo>
                    <a:pt x="70" y="110"/>
                  </a:lnTo>
                  <a:lnTo>
                    <a:pt x="70" y="112"/>
                  </a:lnTo>
                  <a:lnTo>
                    <a:pt x="70" y="114"/>
                  </a:lnTo>
                  <a:lnTo>
                    <a:pt x="70" y="118"/>
                  </a:lnTo>
                  <a:lnTo>
                    <a:pt x="70" y="122"/>
                  </a:lnTo>
                  <a:lnTo>
                    <a:pt x="70" y="124"/>
                  </a:lnTo>
                  <a:lnTo>
                    <a:pt x="70" y="126"/>
                  </a:lnTo>
                  <a:lnTo>
                    <a:pt x="70" y="128"/>
                  </a:lnTo>
                  <a:lnTo>
                    <a:pt x="70" y="128"/>
                  </a:lnTo>
                  <a:lnTo>
                    <a:pt x="70" y="130"/>
                  </a:lnTo>
                  <a:lnTo>
                    <a:pt x="68" y="130"/>
                  </a:lnTo>
                  <a:lnTo>
                    <a:pt x="68" y="130"/>
                  </a:lnTo>
                  <a:lnTo>
                    <a:pt x="66" y="130"/>
                  </a:lnTo>
                  <a:lnTo>
                    <a:pt x="66" y="132"/>
                  </a:lnTo>
                  <a:lnTo>
                    <a:pt x="64" y="132"/>
                  </a:lnTo>
                  <a:lnTo>
                    <a:pt x="62" y="132"/>
                  </a:lnTo>
                  <a:lnTo>
                    <a:pt x="60" y="134"/>
                  </a:lnTo>
                  <a:lnTo>
                    <a:pt x="56" y="134"/>
                  </a:lnTo>
                  <a:lnTo>
                    <a:pt x="54" y="134"/>
                  </a:lnTo>
                  <a:lnTo>
                    <a:pt x="54" y="136"/>
                  </a:lnTo>
                  <a:lnTo>
                    <a:pt x="54" y="136"/>
                  </a:lnTo>
                  <a:lnTo>
                    <a:pt x="54" y="136"/>
                  </a:lnTo>
                  <a:lnTo>
                    <a:pt x="52" y="136"/>
                  </a:lnTo>
                  <a:lnTo>
                    <a:pt x="52" y="138"/>
                  </a:lnTo>
                  <a:lnTo>
                    <a:pt x="52" y="140"/>
                  </a:lnTo>
                  <a:lnTo>
                    <a:pt x="50" y="140"/>
                  </a:lnTo>
                  <a:lnTo>
                    <a:pt x="50" y="140"/>
                  </a:lnTo>
                  <a:lnTo>
                    <a:pt x="50" y="142"/>
                  </a:lnTo>
                  <a:lnTo>
                    <a:pt x="48" y="142"/>
                  </a:lnTo>
                  <a:lnTo>
                    <a:pt x="46" y="142"/>
                  </a:lnTo>
                  <a:lnTo>
                    <a:pt x="44" y="142"/>
                  </a:lnTo>
                  <a:lnTo>
                    <a:pt x="42" y="142"/>
                  </a:lnTo>
                  <a:lnTo>
                    <a:pt x="42" y="142"/>
                  </a:lnTo>
                  <a:lnTo>
                    <a:pt x="38" y="140"/>
                  </a:lnTo>
                  <a:lnTo>
                    <a:pt x="38" y="140"/>
                  </a:lnTo>
                  <a:lnTo>
                    <a:pt x="36" y="140"/>
                  </a:lnTo>
                  <a:lnTo>
                    <a:pt x="36" y="138"/>
                  </a:lnTo>
                  <a:lnTo>
                    <a:pt x="34" y="136"/>
                  </a:lnTo>
                  <a:lnTo>
                    <a:pt x="32" y="136"/>
                  </a:lnTo>
                  <a:lnTo>
                    <a:pt x="32" y="136"/>
                  </a:lnTo>
                  <a:lnTo>
                    <a:pt x="30" y="136"/>
                  </a:lnTo>
                  <a:lnTo>
                    <a:pt x="30" y="136"/>
                  </a:lnTo>
                  <a:lnTo>
                    <a:pt x="28" y="138"/>
                  </a:lnTo>
                  <a:lnTo>
                    <a:pt x="26" y="138"/>
                  </a:lnTo>
                  <a:lnTo>
                    <a:pt x="24" y="140"/>
                  </a:lnTo>
                  <a:lnTo>
                    <a:pt x="22" y="140"/>
                  </a:lnTo>
                  <a:lnTo>
                    <a:pt x="18" y="142"/>
                  </a:lnTo>
                  <a:lnTo>
                    <a:pt x="16" y="144"/>
                  </a:lnTo>
                  <a:lnTo>
                    <a:pt x="14" y="144"/>
                  </a:lnTo>
                  <a:lnTo>
                    <a:pt x="10" y="146"/>
                  </a:lnTo>
                  <a:lnTo>
                    <a:pt x="8" y="146"/>
                  </a:lnTo>
                  <a:lnTo>
                    <a:pt x="8" y="146"/>
                  </a:lnTo>
                  <a:lnTo>
                    <a:pt x="8" y="144"/>
                  </a:lnTo>
                  <a:lnTo>
                    <a:pt x="8" y="142"/>
                  </a:lnTo>
                  <a:lnTo>
                    <a:pt x="8" y="140"/>
                  </a:lnTo>
                  <a:lnTo>
                    <a:pt x="8" y="140"/>
                  </a:lnTo>
                  <a:lnTo>
                    <a:pt x="8" y="138"/>
                  </a:lnTo>
                  <a:lnTo>
                    <a:pt x="8" y="138"/>
                  </a:lnTo>
                  <a:lnTo>
                    <a:pt x="8" y="138"/>
                  </a:lnTo>
                  <a:lnTo>
                    <a:pt x="6" y="138"/>
                  </a:lnTo>
                  <a:lnTo>
                    <a:pt x="4" y="136"/>
                  </a:lnTo>
                  <a:lnTo>
                    <a:pt x="4" y="136"/>
                  </a:lnTo>
                  <a:lnTo>
                    <a:pt x="0" y="136"/>
                  </a:lnTo>
                  <a:lnTo>
                    <a:pt x="0" y="13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8" name="Freeform 395"/>
            <p:cNvSpPr>
              <a:spLocks/>
            </p:cNvSpPr>
            <p:nvPr/>
          </p:nvSpPr>
          <p:spPr bwMode="auto">
            <a:xfrm>
              <a:off x="4556736" y="4538822"/>
              <a:ext cx="180136" cy="252883"/>
            </a:xfrm>
            <a:custGeom>
              <a:avLst/>
              <a:gdLst>
                <a:gd name="T0" fmla="*/ 4 w 104"/>
                <a:gd name="T1" fmla="*/ 128 h 146"/>
                <a:gd name="T2" fmla="*/ 10 w 104"/>
                <a:gd name="T3" fmla="*/ 116 h 146"/>
                <a:gd name="T4" fmla="*/ 8 w 104"/>
                <a:gd name="T5" fmla="*/ 114 h 146"/>
                <a:gd name="T6" fmla="*/ 2 w 104"/>
                <a:gd name="T7" fmla="*/ 110 h 146"/>
                <a:gd name="T8" fmla="*/ 2 w 104"/>
                <a:gd name="T9" fmla="*/ 104 h 146"/>
                <a:gd name="T10" fmla="*/ 4 w 104"/>
                <a:gd name="T11" fmla="*/ 100 h 146"/>
                <a:gd name="T12" fmla="*/ 16 w 104"/>
                <a:gd name="T13" fmla="*/ 96 h 146"/>
                <a:gd name="T14" fmla="*/ 20 w 104"/>
                <a:gd name="T15" fmla="*/ 96 h 146"/>
                <a:gd name="T16" fmla="*/ 24 w 104"/>
                <a:gd name="T17" fmla="*/ 102 h 146"/>
                <a:gd name="T18" fmla="*/ 28 w 104"/>
                <a:gd name="T19" fmla="*/ 106 h 146"/>
                <a:gd name="T20" fmla="*/ 34 w 104"/>
                <a:gd name="T21" fmla="*/ 104 h 146"/>
                <a:gd name="T22" fmla="*/ 42 w 104"/>
                <a:gd name="T23" fmla="*/ 96 h 146"/>
                <a:gd name="T24" fmla="*/ 48 w 104"/>
                <a:gd name="T25" fmla="*/ 88 h 146"/>
                <a:gd name="T26" fmla="*/ 48 w 104"/>
                <a:gd name="T27" fmla="*/ 78 h 146"/>
                <a:gd name="T28" fmla="*/ 44 w 104"/>
                <a:gd name="T29" fmla="*/ 72 h 146"/>
                <a:gd name="T30" fmla="*/ 36 w 104"/>
                <a:gd name="T31" fmla="*/ 64 h 146"/>
                <a:gd name="T32" fmla="*/ 34 w 104"/>
                <a:gd name="T33" fmla="*/ 56 h 146"/>
                <a:gd name="T34" fmla="*/ 36 w 104"/>
                <a:gd name="T35" fmla="*/ 50 h 146"/>
                <a:gd name="T36" fmla="*/ 36 w 104"/>
                <a:gd name="T37" fmla="*/ 44 h 146"/>
                <a:gd name="T38" fmla="*/ 34 w 104"/>
                <a:gd name="T39" fmla="*/ 40 h 146"/>
                <a:gd name="T40" fmla="*/ 28 w 104"/>
                <a:gd name="T41" fmla="*/ 40 h 146"/>
                <a:gd name="T42" fmla="*/ 24 w 104"/>
                <a:gd name="T43" fmla="*/ 38 h 146"/>
                <a:gd name="T44" fmla="*/ 24 w 104"/>
                <a:gd name="T45" fmla="*/ 30 h 146"/>
                <a:gd name="T46" fmla="*/ 74 w 104"/>
                <a:gd name="T47" fmla="*/ 14 h 146"/>
                <a:gd name="T48" fmla="*/ 82 w 104"/>
                <a:gd name="T49" fmla="*/ 4 h 146"/>
                <a:gd name="T50" fmla="*/ 92 w 104"/>
                <a:gd name="T51" fmla="*/ 0 h 146"/>
                <a:gd name="T52" fmla="*/ 100 w 104"/>
                <a:gd name="T53" fmla="*/ 2 h 146"/>
                <a:gd name="T54" fmla="*/ 104 w 104"/>
                <a:gd name="T55" fmla="*/ 6 h 146"/>
                <a:gd name="T56" fmla="*/ 102 w 104"/>
                <a:gd name="T57" fmla="*/ 16 h 146"/>
                <a:gd name="T58" fmla="*/ 98 w 104"/>
                <a:gd name="T59" fmla="*/ 24 h 146"/>
                <a:gd name="T60" fmla="*/ 94 w 104"/>
                <a:gd name="T61" fmla="*/ 28 h 146"/>
                <a:gd name="T62" fmla="*/ 92 w 104"/>
                <a:gd name="T63" fmla="*/ 42 h 146"/>
                <a:gd name="T64" fmla="*/ 94 w 104"/>
                <a:gd name="T65" fmla="*/ 68 h 146"/>
                <a:gd name="T66" fmla="*/ 90 w 104"/>
                <a:gd name="T67" fmla="*/ 78 h 146"/>
                <a:gd name="T68" fmla="*/ 84 w 104"/>
                <a:gd name="T69" fmla="*/ 84 h 146"/>
                <a:gd name="T70" fmla="*/ 82 w 104"/>
                <a:gd name="T71" fmla="*/ 92 h 146"/>
                <a:gd name="T72" fmla="*/ 82 w 104"/>
                <a:gd name="T73" fmla="*/ 104 h 146"/>
                <a:gd name="T74" fmla="*/ 80 w 104"/>
                <a:gd name="T75" fmla="*/ 106 h 146"/>
                <a:gd name="T76" fmla="*/ 72 w 104"/>
                <a:gd name="T77" fmla="*/ 106 h 146"/>
                <a:gd name="T78" fmla="*/ 70 w 104"/>
                <a:gd name="T79" fmla="*/ 110 h 146"/>
                <a:gd name="T80" fmla="*/ 70 w 104"/>
                <a:gd name="T81" fmla="*/ 122 h 146"/>
                <a:gd name="T82" fmla="*/ 70 w 104"/>
                <a:gd name="T83" fmla="*/ 130 h 146"/>
                <a:gd name="T84" fmla="*/ 64 w 104"/>
                <a:gd name="T85" fmla="*/ 132 h 146"/>
                <a:gd name="T86" fmla="*/ 54 w 104"/>
                <a:gd name="T87" fmla="*/ 136 h 146"/>
                <a:gd name="T88" fmla="*/ 52 w 104"/>
                <a:gd name="T89" fmla="*/ 140 h 146"/>
                <a:gd name="T90" fmla="*/ 46 w 104"/>
                <a:gd name="T91" fmla="*/ 142 h 146"/>
                <a:gd name="T92" fmla="*/ 38 w 104"/>
                <a:gd name="T93" fmla="*/ 140 h 146"/>
                <a:gd name="T94" fmla="*/ 32 w 104"/>
                <a:gd name="T95" fmla="*/ 136 h 146"/>
                <a:gd name="T96" fmla="*/ 24 w 104"/>
                <a:gd name="T97" fmla="*/ 140 h 146"/>
                <a:gd name="T98" fmla="*/ 10 w 104"/>
                <a:gd name="T99" fmla="*/ 146 h 146"/>
                <a:gd name="T100" fmla="*/ 8 w 104"/>
                <a:gd name="T101" fmla="*/ 140 h 146"/>
                <a:gd name="T102" fmla="*/ 6 w 104"/>
                <a:gd name="T103"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46">
                  <a:moveTo>
                    <a:pt x="0" y="134"/>
                  </a:moveTo>
                  <a:lnTo>
                    <a:pt x="0" y="134"/>
                  </a:lnTo>
                  <a:lnTo>
                    <a:pt x="2" y="132"/>
                  </a:lnTo>
                  <a:lnTo>
                    <a:pt x="4" y="130"/>
                  </a:lnTo>
                  <a:lnTo>
                    <a:pt x="4" y="128"/>
                  </a:lnTo>
                  <a:lnTo>
                    <a:pt x="6" y="124"/>
                  </a:lnTo>
                  <a:lnTo>
                    <a:pt x="8" y="122"/>
                  </a:lnTo>
                  <a:lnTo>
                    <a:pt x="8" y="120"/>
                  </a:lnTo>
                  <a:lnTo>
                    <a:pt x="10" y="118"/>
                  </a:lnTo>
                  <a:lnTo>
                    <a:pt x="10" y="116"/>
                  </a:lnTo>
                  <a:lnTo>
                    <a:pt x="10" y="116"/>
                  </a:lnTo>
                  <a:lnTo>
                    <a:pt x="10" y="116"/>
                  </a:lnTo>
                  <a:lnTo>
                    <a:pt x="10" y="116"/>
                  </a:lnTo>
                  <a:lnTo>
                    <a:pt x="10" y="114"/>
                  </a:lnTo>
                  <a:lnTo>
                    <a:pt x="8" y="114"/>
                  </a:lnTo>
                  <a:lnTo>
                    <a:pt x="8" y="114"/>
                  </a:lnTo>
                  <a:lnTo>
                    <a:pt x="6" y="112"/>
                  </a:lnTo>
                  <a:lnTo>
                    <a:pt x="4" y="112"/>
                  </a:lnTo>
                  <a:lnTo>
                    <a:pt x="4" y="112"/>
                  </a:lnTo>
                  <a:lnTo>
                    <a:pt x="2" y="110"/>
                  </a:lnTo>
                  <a:lnTo>
                    <a:pt x="2" y="110"/>
                  </a:lnTo>
                  <a:lnTo>
                    <a:pt x="2" y="108"/>
                  </a:lnTo>
                  <a:lnTo>
                    <a:pt x="2" y="106"/>
                  </a:lnTo>
                  <a:lnTo>
                    <a:pt x="2" y="106"/>
                  </a:lnTo>
                  <a:lnTo>
                    <a:pt x="2" y="104"/>
                  </a:lnTo>
                  <a:lnTo>
                    <a:pt x="2" y="104"/>
                  </a:lnTo>
                  <a:lnTo>
                    <a:pt x="2" y="102"/>
                  </a:lnTo>
                  <a:lnTo>
                    <a:pt x="2" y="102"/>
                  </a:lnTo>
                  <a:lnTo>
                    <a:pt x="2" y="102"/>
                  </a:lnTo>
                  <a:lnTo>
                    <a:pt x="4" y="100"/>
                  </a:lnTo>
                  <a:lnTo>
                    <a:pt x="4" y="100"/>
                  </a:lnTo>
                  <a:lnTo>
                    <a:pt x="6" y="100"/>
                  </a:lnTo>
                  <a:lnTo>
                    <a:pt x="8" y="98"/>
                  </a:lnTo>
                  <a:lnTo>
                    <a:pt x="12" y="98"/>
                  </a:lnTo>
                  <a:lnTo>
                    <a:pt x="16" y="96"/>
                  </a:lnTo>
                  <a:lnTo>
                    <a:pt x="16" y="96"/>
                  </a:lnTo>
                  <a:lnTo>
                    <a:pt x="18" y="96"/>
                  </a:lnTo>
                  <a:lnTo>
                    <a:pt x="18" y="96"/>
                  </a:lnTo>
                  <a:lnTo>
                    <a:pt x="20" y="96"/>
                  </a:lnTo>
                  <a:lnTo>
                    <a:pt x="20" y="96"/>
                  </a:lnTo>
                  <a:lnTo>
                    <a:pt x="20" y="96"/>
                  </a:lnTo>
                  <a:lnTo>
                    <a:pt x="20" y="98"/>
                  </a:lnTo>
                  <a:lnTo>
                    <a:pt x="22" y="100"/>
                  </a:lnTo>
                  <a:lnTo>
                    <a:pt x="22" y="102"/>
                  </a:lnTo>
                  <a:lnTo>
                    <a:pt x="24" y="102"/>
                  </a:lnTo>
                  <a:lnTo>
                    <a:pt x="24" y="104"/>
                  </a:lnTo>
                  <a:lnTo>
                    <a:pt x="26" y="106"/>
                  </a:lnTo>
                  <a:lnTo>
                    <a:pt x="26" y="106"/>
                  </a:lnTo>
                  <a:lnTo>
                    <a:pt x="26" y="106"/>
                  </a:lnTo>
                  <a:lnTo>
                    <a:pt x="28" y="106"/>
                  </a:lnTo>
                  <a:lnTo>
                    <a:pt x="28" y="106"/>
                  </a:lnTo>
                  <a:lnTo>
                    <a:pt x="30" y="106"/>
                  </a:lnTo>
                  <a:lnTo>
                    <a:pt x="30" y="106"/>
                  </a:lnTo>
                  <a:lnTo>
                    <a:pt x="32" y="104"/>
                  </a:lnTo>
                  <a:lnTo>
                    <a:pt x="34" y="104"/>
                  </a:lnTo>
                  <a:lnTo>
                    <a:pt x="36" y="102"/>
                  </a:lnTo>
                  <a:lnTo>
                    <a:pt x="38" y="102"/>
                  </a:lnTo>
                  <a:lnTo>
                    <a:pt x="40" y="100"/>
                  </a:lnTo>
                  <a:lnTo>
                    <a:pt x="42" y="98"/>
                  </a:lnTo>
                  <a:lnTo>
                    <a:pt x="42" y="96"/>
                  </a:lnTo>
                  <a:lnTo>
                    <a:pt x="44" y="94"/>
                  </a:lnTo>
                  <a:lnTo>
                    <a:pt x="46" y="92"/>
                  </a:lnTo>
                  <a:lnTo>
                    <a:pt x="46" y="90"/>
                  </a:lnTo>
                  <a:lnTo>
                    <a:pt x="48" y="88"/>
                  </a:lnTo>
                  <a:lnTo>
                    <a:pt x="48" y="88"/>
                  </a:lnTo>
                  <a:lnTo>
                    <a:pt x="48" y="86"/>
                  </a:lnTo>
                  <a:lnTo>
                    <a:pt x="48" y="84"/>
                  </a:lnTo>
                  <a:lnTo>
                    <a:pt x="48" y="82"/>
                  </a:lnTo>
                  <a:lnTo>
                    <a:pt x="48" y="80"/>
                  </a:lnTo>
                  <a:lnTo>
                    <a:pt x="48" y="78"/>
                  </a:lnTo>
                  <a:lnTo>
                    <a:pt x="46" y="76"/>
                  </a:lnTo>
                  <a:lnTo>
                    <a:pt x="46" y="74"/>
                  </a:lnTo>
                  <a:lnTo>
                    <a:pt x="46" y="74"/>
                  </a:lnTo>
                  <a:lnTo>
                    <a:pt x="44" y="72"/>
                  </a:lnTo>
                  <a:lnTo>
                    <a:pt x="44" y="72"/>
                  </a:lnTo>
                  <a:lnTo>
                    <a:pt x="42" y="70"/>
                  </a:lnTo>
                  <a:lnTo>
                    <a:pt x="40" y="68"/>
                  </a:lnTo>
                  <a:lnTo>
                    <a:pt x="38" y="68"/>
                  </a:lnTo>
                  <a:lnTo>
                    <a:pt x="38" y="66"/>
                  </a:lnTo>
                  <a:lnTo>
                    <a:pt x="36" y="64"/>
                  </a:lnTo>
                  <a:lnTo>
                    <a:pt x="36" y="62"/>
                  </a:lnTo>
                  <a:lnTo>
                    <a:pt x="34" y="60"/>
                  </a:lnTo>
                  <a:lnTo>
                    <a:pt x="34" y="58"/>
                  </a:lnTo>
                  <a:lnTo>
                    <a:pt x="34" y="58"/>
                  </a:lnTo>
                  <a:lnTo>
                    <a:pt x="34" y="56"/>
                  </a:lnTo>
                  <a:lnTo>
                    <a:pt x="34" y="56"/>
                  </a:lnTo>
                  <a:lnTo>
                    <a:pt x="34" y="54"/>
                  </a:lnTo>
                  <a:lnTo>
                    <a:pt x="36" y="52"/>
                  </a:lnTo>
                  <a:lnTo>
                    <a:pt x="36" y="50"/>
                  </a:lnTo>
                  <a:lnTo>
                    <a:pt x="36" y="50"/>
                  </a:lnTo>
                  <a:lnTo>
                    <a:pt x="38" y="48"/>
                  </a:lnTo>
                  <a:lnTo>
                    <a:pt x="38" y="48"/>
                  </a:lnTo>
                  <a:lnTo>
                    <a:pt x="36" y="46"/>
                  </a:lnTo>
                  <a:lnTo>
                    <a:pt x="36" y="46"/>
                  </a:lnTo>
                  <a:lnTo>
                    <a:pt x="36" y="44"/>
                  </a:lnTo>
                  <a:lnTo>
                    <a:pt x="36" y="42"/>
                  </a:lnTo>
                  <a:lnTo>
                    <a:pt x="36" y="42"/>
                  </a:lnTo>
                  <a:lnTo>
                    <a:pt x="34" y="40"/>
                  </a:lnTo>
                  <a:lnTo>
                    <a:pt x="34" y="40"/>
                  </a:lnTo>
                  <a:lnTo>
                    <a:pt x="34" y="40"/>
                  </a:lnTo>
                  <a:lnTo>
                    <a:pt x="34" y="38"/>
                  </a:lnTo>
                  <a:lnTo>
                    <a:pt x="32" y="38"/>
                  </a:lnTo>
                  <a:lnTo>
                    <a:pt x="30" y="38"/>
                  </a:lnTo>
                  <a:lnTo>
                    <a:pt x="28" y="40"/>
                  </a:lnTo>
                  <a:lnTo>
                    <a:pt x="28" y="40"/>
                  </a:lnTo>
                  <a:lnTo>
                    <a:pt x="26" y="40"/>
                  </a:lnTo>
                  <a:lnTo>
                    <a:pt x="24" y="40"/>
                  </a:lnTo>
                  <a:lnTo>
                    <a:pt x="24" y="38"/>
                  </a:lnTo>
                  <a:lnTo>
                    <a:pt x="24" y="38"/>
                  </a:lnTo>
                  <a:lnTo>
                    <a:pt x="24" y="38"/>
                  </a:lnTo>
                  <a:lnTo>
                    <a:pt x="24" y="38"/>
                  </a:lnTo>
                  <a:lnTo>
                    <a:pt x="24" y="36"/>
                  </a:lnTo>
                  <a:lnTo>
                    <a:pt x="22" y="36"/>
                  </a:lnTo>
                  <a:lnTo>
                    <a:pt x="22" y="34"/>
                  </a:lnTo>
                  <a:lnTo>
                    <a:pt x="24" y="30"/>
                  </a:lnTo>
                  <a:lnTo>
                    <a:pt x="24" y="28"/>
                  </a:lnTo>
                  <a:lnTo>
                    <a:pt x="24" y="26"/>
                  </a:lnTo>
                  <a:lnTo>
                    <a:pt x="70" y="20"/>
                  </a:lnTo>
                  <a:lnTo>
                    <a:pt x="72" y="16"/>
                  </a:lnTo>
                  <a:lnTo>
                    <a:pt x="74" y="14"/>
                  </a:lnTo>
                  <a:lnTo>
                    <a:pt x="74" y="10"/>
                  </a:lnTo>
                  <a:lnTo>
                    <a:pt x="76" y="8"/>
                  </a:lnTo>
                  <a:lnTo>
                    <a:pt x="78" y="6"/>
                  </a:lnTo>
                  <a:lnTo>
                    <a:pt x="80" y="4"/>
                  </a:lnTo>
                  <a:lnTo>
                    <a:pt x="82" y="4"/>
                  </a:lnTo>
                  <a:lnTo>
                    <a:pt x="82" y="2"/>
                  </a:lnTo>
                  <a:lnTo>
                    <a:pt x="84" y="2"/>
                  </a:lnTo>
                  <a:lnTo>
                    <a:pt x="84" y="2"/>
                  </a:lnTo>
                  <a:lnTo>
                    <a:pt x="88" y="2"/>
                  </a:lnTo>
                  <a:lnTo>
                    <a:pt x="92" y="0"/>
                  </a:lnTo>
                  <a:lnTo>
                    <a:pt x="92" y="0"/>
                  </a:lnTo>
                  <a:lnTo>
                    <a:pt x="94" y="0"/>
                  </a:lnTo>
                  <a:lnTo>
                    <a:pt x="98" y="2"/>
                  </a:lnTo>
                  <a:lnTo>
                    <a:pt x="98" y="2"/>
                  </a:lnTo>
                  <a:lnTo>
                    <a:pt x="100" y="2"/>
                  </a:lnTo>
                  <a:lnTo>
                    <a:pt x="102" y="4"/>
                  </a:lnTo>
                  <a:lnTo>
                    <a:pt x="102" y="4"/>
                  </a:lnTo>
                  <a:lnTo>
                    <a:pt x="102" y="4"/>
                  </a:lnTo>
                  <a:lnTo>
                    <a:pt x="102" y="4"/>
                  </a:lnTo>
                  <a:lnTo>
                    <a:pt x="104" y="6"/>
                  </a:lnTo>
                  <a:lnTo>
                    <a:pt x="104" y="6"/>
                  </a:lnTo>
                  <a:lnTo>
                    <a:pt x="104" y="8"/>
                  </a:lnTo>
                  <a:lnTo>
                    <a:pt x="102" y="10"/>
                  </a:lnTo>
                  <a:lnTo>
                    <a:pt x="102" y="14"/>
                  </a:lnTo>
                  <a:lnTo>
                    <a:pt x="102" y="16"/>
                  </a:lnTo>
                  <a:lnTo>
                    <a:pt x="100" y="18"/>
                  </a:lnTo>
                  <a:lnTo>
                    <a:pt x="100" y="22"/>
                  </a:lnTo>
                  <a:lnTo>
                    <a:pt x="98" y="22"/>
                  </a:lnTo>
                  <a:lnTo>
                    <a:pt x="98" y="24"/>
                  </a:lnTo>
                  <a:lnTo>
                    <a:pt x="98" y="24"/>
                  </a:lnTo>
                  <a:lnTo>
                    <a:pt x="96" y="24"/>
                  </a:lnTo>
                  <a:lnTo>
                    <a:pt x="94" y="26"/>
                  </a:lnTo>
                  <a:lnTo>
                    <a:pt x="94" y="26"/>
                  </a:lnTo>
                  <a:lnTo>
                    <a:pt x="94" y="26"/>
                  </a:lnTo>
                  <a:lnTo>
                    <a:pt x="94" y="28"/>
                  </a:lnTo>
                  <a:lnTo>
                    <a:pt x="92" y="32"/>
                  </a:lnTo>
                  <a:lnTo>
                    <a:pt x="92" y="34"/>
                  </a:lnTo>
                  <a:lnTo>
                    <a:pt x="92" y="36"/>
                  </a:lnTo>
                  <a:lnTo>
                    <a:pt x="92" y="40"/>
                  </a:lnTo>
                  <a:lnTo>
                    <a:pt x="92" y="42"/>
                  </a:lnTo>
                  <a:lnTo>
                    <a:pt x="92" y="50"/>
                  </a:lnTo>
                  <a:lnTo>
                    <a:pt x="94" y="56"/>
                  </a:lnTo>
                  <a:lnTo>
                    <a:pt x="94" y="62"/>
                  </a:lnTo>
                  <a:lnTo>
                    <a:pt x="94" y="66"/>
                  </a:lnTo>
                  <a:lnTo>
                    <a:pt x="94" y="68"/>
                  </a:lnTo>
                  <a:lnTo>
                    <a:pt x="94" y="70"/>
                  </a:lnTo>
                  <a:lnTo>
                    <a:pt x="92" y="72"/>
                  </a:lnTo>
                  <a:lnTo>
                    <a:pt x="92" y="74"/>
                  </a:lnTo>
                  <a:lnTo>
                    <a:pt x="92" y="76"/>
                  </a:lnTo>
                  <a:lnTo>
                    <a:pt x="90" y="78"/>
                  </a:lnTo>
                  <a:lnTo>
                    <a:pt x="90" y="80"/>
                  </a:lnTo>
                  <a:lnTo>
                    <a:pt x="88" y="80"/>
                  </a:lnTo>
                  <a:lnTo>
                    <a:pt x="86" y="82"/>
                  </a:lnTo>
                  <a:lnTo>
                    <a:pt x="84" y="84"/>
                  </a:lnTo>
                  <a:lnTo>
                    <a:pt x="84" y="84"/>
                  </a:lnTo>
                  <a:lnTo>
                    <a:pt x="84" y="86"/>
                  </a:lnTo>
                  <a:lnTo>
                    <a:pt x="84" y="86"/>
                  </a:lnTo>
                  <a:lnTo>
                    <a:pt x="84" y="88"/>
                  </a:lnTo>
                  <a:lnTo>
                    <a:pt x="82" y="90"/>
                  </a:lnTo>
                  <a:lnTo>
                    <a:pt x="82" y="92"/>
                  </a:lnTo>
                  <a:lnTo>
                    <a:pt x="84" y="96"/>
                  </a:lnTo>
                  <a:lnTo>
                    <a:pt x="84" y="98"/>
                  </a:lnTo>
                  <a:lnTo>
                    <a:pt x="84" y="100"/>
                  </a:lnTo>
                  <a:lnTo>
                    <a:pt x="82" y="102"/>
                  </a:lnTo>
                  <a:lnTo>
                    <a:pt x="82" y="104"/>
                  </a:lnTo>
                  <a:lnTo>
                    <a:pt x="82" y="104"/>
                  </a:lnTo>
                  <a:lnTo>
                    <a:pt x="82" y="104"/>
                  </a:lnTo>
                  <a:lnTo>
                    <a:pt x="82" y="106"/>
                  </a:lnTo>
                  <a:lnTo>
                    <a:pt x="80" y="106"/>
                  </a:lnTo>
                  <a:lnTo>
                    <a:pt x="80" y="106"/>
                  </a:lnTo>
                  <a:lnTo>
                    <a:pt x="78" y="106"/>
                  </a:lnTo>
                  <a:lnTo>
                    <a:pt x="76" y="106"/>
                  </a:lnTo>
                  <a:lnTo>
                    <a:pt x="74" y="106"/>
                  </a:lnTo>
                  <a:lnTo>
                    <a:pt x="72" y="106"/>
                  </a:lnTo>
                  <a:lnTo>
                    <a:pt x="72" y="106"/>
                  </a:lnTo>
                  <a:lnTo>
                    <a:pt x="70" y="106"/>
                  </a:lnTo>
                  <a:lnTo>
                    <a:pt x="70" y="106"/>
                  </a:lnTo>
                  <a:lnTo>
                    <a:pt x="70" y="108"/>
                  </a:lnTo>
                  <a:lnTo>
                    <a:pt x="70" y="108"/>
                  </a:lnTo>
                  <a:lnTo>
                    <a:pt x="70" y="110"/>
                  </a:lnTo>
                  <a:lnTo>
                    <a:pt x="70" y="110"/>
                  </a:lnTo>
                  <a:lnTo>
                    <a:pt x="70" y="112"/>
                  </a:lnTo>
                  <a:lnTo>
                    <a:pt x="70" y="114"/>
                  </a:lnTo>
                  <a:lnTo>
                    <a:pt x="70" y="118"/>
                  </a:lnTo>
                  <a:lnTo>
                    <a:pt x="70" y="122"/>
                  </a:lnTo>
                  <a:lnTo>
                    <a:pt x="70" y="124"/>
                  </a:lnTo>
                  <a:lnTo>
                    <a:pt x="70" y="126"/>
                  </a:lnTo>
                  <a:lnTo>
                    <a:pt x="70" y="128"/>
                  </a:lnTo>
                  <a:lnTo>
                    <a:pt x="70" y="128"/>
                  </a:lnTo>
                  <a:lnTo>
                    <a:pt x="70" y="130"/>
                  </a:lnTo>
                  <a:lnTo>
                    <a:pt x="68" y="130"/>
                  </a:lnTo>
                  <a:lnTo>
                    <a:pt x="68" y="130"/>
                  </a:lnTo>
                  <a:lnTo>
                    <a:pt x="66" y="130"/>
                  </a:lnTo>
                  <a:lnTo>
                    <a:pt x="66" y="132"/>
                  </a:lnTo>
                  <a:lnTo>
                    <a:pt x="64" y="132"/>
                  </a:lnTo>
                  <a:lnTo>
                    <a:pt x="62" y="132"/>
                  </a:lnTo>
                  <a:lnTo>
                    <a:pt x="60" y="134"/>
                  </a:lnTo>
                  <a:lnTo>
                    <a:pt x="56" y="134"/>
                  </a:lnTo>
                  <a:lnTo>
                    <a:pt x="54" y="134"/>
                  </a:lnTo>
                  <a:lnTo>
                    <a:pt x="54" y="136"/>
                  </a:lnTo>
                  <a:lnTo>
                    <a:pt x="54" y="136"/>
                  </a:lnTo>
                  <a:lnTo>
                    <a:pt x="54" y="136"/>
                  </a:lnTo>
                  <a:lnTo>
                    <a:pt x="52" y="136"/>
                  </a:lnTo>
                  <a:lnTo>
                    <a:pt x="52" y="138"/>
                  </a:lnTo>
                  <a:lnTo>
                    <a:pt x="52" y="140"/>
                  </a:lnTo>
                  <a:lnTo>
                    <a:pt x="50" y="140"/>
                  </a:lnTo>
                  <a:lnTo>
                    <a:pt x="50" y="140"/>
                  </a:lnTo>
                  <a:lnTo>
                    <a:pt x="50" y="142"/>
                  </a:lnTo>
                  <a:lnTo>
                    <a:pt x="48" y="142"/>
                  </a:lnTo>
                  <a:lnTo>
                    <a:pt x="46" y="142"/>
                  </a:lnTo>
                  <a:lnTo>
                    <a:pt x="44" y="142"/>
                  </a:lnTo>
                  <a:lnTo>
                    <a:pt x="42" y="142"/>
                  </a:lnTo>
                  <a:lnTo>
                    <a:pt x="42" y="142"/>
                  </a:lnTo>
                  <a:lnTo>
                    <a:pt x="38" y="140"/>
                  </a:lnTo>
                  <a:lnTo>
                    <a:pt x="38" y="140"/>
                  </a:lnTo>
                  <a:lnTo>
                    <a:pt x="36" y="140"/>
                  </a:lnTo>
                  <a:lnTo>
                    <a:pt x="36" y="138"/>
                  </a:lnTo>
                  <a:lnTo>
                    <a:pt x="34" y="136"/>
                  </a:lnTo>
                  <a:lnTo>
                    <a:pt x="32" y="136"/>
                  </a:lnTo>
                  <a:lnTo>
                    <a:pt x="32" y="136"/>
                  </a:lnTo>
                  <a:lnTo>
                    <a:pt x="30" y="136"/>
                  </a:lnTo>
                  <a:lnTo>
                    <a:pt x="30" y="136"/>
                  </a:lnTo>
                  <a:lnTo>
                    <a:pt x="28" y="138"/>
                  </a:lnTo>
                  <a:lnTo>
                    <a:pt x="26" y="138"/>
                  </a:lnTo>
                  <a:lnTo>
                    <a:pt x="24" y="140"/>
                  </a:lnTo>
                  <a:lnTo>
                    <a:pt x="22" y="140"/>
                  </a:lnTo>
                  <a:lnTo>
                    <a:pt x="18" y="142"/>
                  </a:lnTo>
                  <a:lnTo>
                    <a:pt x="16" y="144"/>
                  </a:lnTo>
                  <a:lnTo>
                    <a:pt x="14" y="144"/>
                  </a:lnTo>
                  <a:lnTo>
                    <a:pt x="10" y="146"/>
                  </a:lnTo>
                  <a:lnTo>
                    <a:pt x="8" y="146"/>
                  </a:lnTo>
                  <a:lnTo>
                    <a:pt x="8" y="146"/>
                  </a:lnTo>
                  <a:lnTo>
                    <a:pt x="8" y="144"/>
                  </a:lnTo>
                  <a:lnTo>
                    <a:pt x="8" y="142"/>
                  </a:lnTo>
                  <a:lnTo>
                    <a:pt x="8" y="140"/>
                  </a:lnTo>
                  <a:lnTo>
                    <a:pt x="8" y="140"/>
                  </a:lnTo>
                  <a:lnTo>
                    <a:pt x="8" y="138"/>
                  </a:lnTo>
                  <a:lnTo>
                    <a:pt x="8" y="138"/>
                  </a:lnTo>
                  <a:lnTo>
                    <a:pt x="8" y="138"/>
                  </a:lnTo>
                  <a:lnTo>
                    <a:pt x="6" y="138"/>
                  </a:lnTo>
                  <a:lnTo>
                    <a:pt x="4" y="136"/>
                  </a:lnTo>
                  <a:lnTo>
                    <a:pt x="4" y="136"/>
                  </a:lnTo>
                  <a:lnTo>
                    <a:pt x="0" y="136"/>
                  </a:lnTo>
                  <a:lnTo>
                    <a:pt x="0" y="13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19" name="Freeform 396"/>
            <p:cNvSpPr>
              <a:spLocks/>
            </p:cNvSpPr>
            <p:nvPr/>
          </p:nvSpPr>
          <p:spPr bwMode="auto">
            <a:xfrm>
              <a:off x="4570593" y="4504181"/>
              <a:ext cx="488445" cy="543872"/>
            </a:xfrm>
            <a:custGeom>
              <a:avLst/>
              <a:gdLst>
                <a:gd name="T0" fmla="*/ 0 w 282"/>
                <a:gd name="T1" fmla="*/ 176 h 314"/>
                <a:gd name="T2" fmla="*/ 26 w 282"/>
                <a:gd name="T3" fmla="*/ 186 h 314"/>
                <a:gd name="T4" fmla="*/ 56 w 282"/>
                <a:gd name="T5" fmla="*/ 178 h 314"/>
                <a:gd name="T6" fmla="*/ 72 w 282"/>
                <a:gd name="T7" fmla="*/ 188 h 314"/>
                <a:gd name="T8" fmla="*/ 76 w 282"/>
                <a:gd name="T9" fmla="*/ 208 h 314"/>
                <a:gd name="T10" fmla="*/ 82 w 282"/>
                <a:gd name="T11" fmla="*/ 218 h 314"/>
                <a:gd name="T12" fmla="*/ 96 w 282"/>
                <a:gd name="T13" fmla="*/ 222 h 314"/>
                <a:gd name="T14" fmla="*/ 110 w 282"/>
                <a:gd name="T15" fmla="*/ 216 h 314"/>
                <a:gd name="T16" fmla="*/ 112 w 282"/>
                <a:gd name="T17" fmla="*/ 200 h 314"/>
                <a:gd name="T18" fmla="*/ 120 w 282"/>
                <a:gd name="T19" fmla="*/ 200 h 314"/>
                <a:gd name="T20" fmla="*/ 126 w 282"/>
                <a:gd name="T21" fmla="*/ 214 h 314"/>
                <a:gd name="T22" fmla="*/ 140 w 282"/>
                <a:gd name="T23" fmla="*/ 208 h 314"/>
                <a:gd name="T24" fmla="*/ 146 w 282"/>
                <a:gd name="T25" fmla="*/ 232 h 314"/>
                <a:gd name="T26" fmla="*/ 150 w 282"/>
                <a:gd name="T27" fmla="*/ 264 h 314"/>
                <a:gd name="T28" fmla="*/ 170 w 282"/>
                <a:gd name="T29" fmla="*/ 268 h 314"/>
                <a:gd name="T30" fmla="*/ 190 w 282"/>
                <a:gd name="T31" fmla="*/ 272 h 314"/>
                <a:gd name="T32" fmla="*/ 196 w 282"/>
                <a:gd name="T33" fmla="*/ 288 h 314"/>
                <a:gd name="T34" fmla="*/ 204 w 282"/>
                <a:gd name="T35" fmla="*/ 280 h 314"/>
                <a:gd name="T36" fmla="*/ 216 w 282"/>
                <a:gd name="T37" fmla="*/ 276 h 314"/>
                <a:gd name="T38" fmla="*/ 222 w 282"/>
                <a:gd name="T39" fmla="*/ 286 h 314"/>
                <a:gd name="T40" fmla="*/ 230 w 282"/>
                <a:gd name="T41" fmla="*/ 300 h 314"/>
                <a:gd name="T42" fmla="*/ 244 w 282"/>
                <a:gd name="T43" fmla="*/ 314 h 314"/>
                <a:gd name="T44" fmla="*/ 256 w 282"/>
                <a:gd name="T45" fmla="*/ 304 h 314"/>
                <a:gd name="T46" fmla="*/ 254 w 282"/>
                <a:gd name="T47" fmla="*/ 284 h 314"/>
                <a:gd name="T48" fmla="*/ 240 w 282"/>
                <a:gd name="T49" fmla="*/ 280 h 314"/>
                <a:gd name="T50" fmla="*/ 238 w 282"/>
                <a:gd name="T51" fmla="*/ 254 h 314"/>
                <a:gd name="T52" fmla="*/ 250 w 282"/>
                <a:gd name="T53" fmla="*/ 222 h 314"/>
                <a:gd name="T54" fmla="*/ 262 w 282"/>
                <a:gd name="T55" fmla="*/ 208 h 314"/>
                <a:gd name="T56" fmla="*/ 258 w 282"/>
                <a:gd name="T57" fmla="*/ 178 h 314"/>
                <a:gd name="T58" fmla="*/ 256 w 282"/>
                <a:gd name="T59" fmla="*/ 154 h 314"/>
                <a:gd name="T60" fmla="*/ 248 w 282"/>
                <a:gd name="T61" fmla="*/ 136 h 314"/>
                <a:gd name="T62" fmla="*/ 240 w 282"/>
                <a:gd name="T63" fmla="*/ 130 h 314"/>
                <a:gd name="T64" fmla="*/ 246 w 282"/>
                <a:gd name="T65" fmla="*/ 118 h 314"/>
                <a:gd name="T66" fmla="*/ 244 w 282"/>
                <a:gd name="T67" fmla="*/ 108 h 314"/>
                <a:gd name="T68" fmla="*/ 254 w 282"/>
                <a:gd name="T69" fmla="*/ 82 h 314"/>
                <a:gd name="T70" fmla="*/ 262 w 282"/>
                <a:gd name="T71" fmla="*/ 66 h 314"/>
                <a:gd name="T72" fmla="*/ 282 w 282"/>
                <a:gd name="T73" fmla="*/ 56 h 314"/>
                <a:gd name="T74" fmla="*/ 276 w 282"/>
                <a:gd name="T75" fmla="*/ 48 h 314"/>
                <a:gd name="T76" fmla="*/ 272 w 282"/>
                <a:gd name="T77" fmla="*/ 42 h 314"/>
                <a:gd name="T78" fmla="*/ 264 w 282"/>
                <a:gd name="T79" fmla="*/ 20 h 314"/>
                <a:gd name="T80" fmla="*/ 250 w 282"/>
                <a:gd name="T81" fmla="*/ 10 h 314"/>
                <a:gd name="T82" fmla="*/ 222 w 282"/>
                <a:gd name="T83" fmla="*/ 8 h 314"/>
                <a:gd name="T84" fmla="*/ 208 w 282"/>
                <a:gd name="T85" fmla="*/ 0 h 314"/>
                <a:gd name="T86" fmla="*/ 182 w 282"/>
                <a:gd name="T87" fmla="*/ 2 h 314"/>
                <a:gd name="T88" fmla="*/ 176 w 282"/>
                <a:gd name="T89" fmla="*/ 6 h 314"/>
                <a:gd name="T90" fmla="*/ 152 w 282"/>
                <a:gd name="T91" fmla="*/ 8 h 314"/>
                <a:gd name="T92" fmla="*/ 144 w 282"/>
                <a:gd name="T93" fmla="*/ 16 h 314"/>
                <a:gd name="T94" fmla="*/ 122 w 282"/>
                <a:gd name="T95" fmla="*/ 20 h 314"/>
                <a:gd name="T96" fmla="*/ 114 w 282"/>
                <a:gd name="T97" fmla="*/ 8 h 314"/>
                <a:gd name="T98" fmla="*/ 102 w 282"/>
                <a:gd name="T99" fmla="*/ 8 h 314"/>
                <a:gd name="T100" fmla="*/ 86 w 282"/>
                <a:gd name="T101" fmla="*/ 22 h 314"/>
                <a:gd name="T102" fmla="*/ 96 w 282"/>
                <a:gd name="T103" fmla="*/ 32 h 314"/>
                <a:gd name="T104" fmla="*/ 86 w 282"/>
                <a:gd name="T105" fmla="*/ 48 h 314"/>
                <a:gd name="T106" fmla="*/ 86 w 282"/>
                <a:gd name="T107" fmla="*/ 88 h 314"/>
                <a:gd name="T108" fmla="*/ 76 w 282"/>
                <a:gd name="T109" fmla="*/ 106 h 314"/>
                <a:gd name="T110" fmla="*/ 74 w 282"/>
                <a:gd name="T111" fmla="*/ 126 h 314"/>
                <a:gd name="T112" fmla="*/ 62 w 282"/>
                <a:gd name="T113" fmla="*/ 128 h 314"/>
                <a:gd name="T114" fmla="*/ 62 w 282"/>
                <a:gd name="T115" fmla="*/ 148 h 314"/>
                <a:gd name="T116" fmla="*/ 46 w 282"/>
                <a:gd name="T117" fmla="*/ 156 h 314"/>
                <a:gd name="T118" fmla="*/ 38 w 282"/>
                <a:gd name="T119" fmla="*/ 162 h 314"/>
                <a:gd name="T120" fmla="*/ 22 w 282"/>
                <a:gd name="T121" fmla="*/ 158 h 314"/>
                <a:gd name="T122" fmla="*/ 4 w 282"/>
                <a:gd name="T123" fmla="*/ 17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4">
                  <a:moveTo>
                    <a:pt x="6" y="172"/>
                  </a:moveTo>
                  <a:lnTo>
                    <a:pt x="6" y="172"/>
                  </a:lnTo>
                  <a:lnTo>
                    <a:pt x="6" y="172"/>
                  </a:lnTo>
                  <a:lnTo>
                    <a:pt x="6" y="172"/>
                  </a:lnTo>
                  <a:lnTo>
                    <a:pt x="6" y="174"/>
                  </a:lnTo>
                  <a:lnTo>
                    <a:pt x="4" y="174"/>
                  </a:lnTo>
                  <a:lnTo>
                    <a:pt x="4" y="174"/>
                  </a:lnTo>
                  <a:lnTo>
                    <a:pt x="2" y="174"/>
                  </a:lnTo>
                  <a:lnTo>
                    <a:pt x="2" y="176"/>
                  </a:lnTo>
                  <a:lnTo>
                    <a:pt x="0" y="176"/>
                  </a:lnTo>
                  <a:lnTo>
                    <a:pt x="0" y="176"/>
                  </a:lnTo>
                  <a:lnTo>
                    <a:pt x="0" y="178"/>
                  </a:lnTo>
                  <a:lnTo>
                    <a:pt x="0" y="180"/>
                  </a:lnTo>
                  <a:lnTo>
                    <a:pt x="0" y="182"/>
                  </a:lnTo>
                  <a:lnTo>
                    <a:pt x="2" y="182"/>
                  </a:lnTo>
                  <a:lnTo>
                    <a:pt x="4" y="184"/>
                  </a:lnTo>
                  <a:lnTo>
                    <a:pt x="6" y="184"/>
                  </a:lnTo>
                  <a:lnTo>
                    <a:pt x="12" y="184"/>
                  </a:lnTo>
                  <a:lnTo>
                    <a:pt x="16" y="184"/>
                  </a:lnTo>
                  <a:lnTo>
                    <a:pt x="20" y="186"/>
                  </a:lnTo>
                  <a:lnTo>
                    <a:pt x="22" y="186"/>
                  </a:lnTo>
                  <a:lnTo>
                    <a:pt x="26" y="186"/>
                  </a:lnTo>
                  <a:lnTo>
                    <a:pt x="28" y="184"/>
                  </a:lnTo>
                  <a:lnTo>
                    <a:pt x="28" y="184"/>
                  </a:lnTo>
                  <a:lnTo>
                    <a:pt x="30" y="184"/>
                  </a:lnTo>
                  <a:lnTo>
                    <a:pt x="34" y="182"/>
                  </a:lnTo>
                  <a:lnTo>
                    <a:pt x="38" y="180"/>
                  </a:lnTo>
                  <a:lnTo>
                    <a:pt x="40" y="180"/>
                  </a:lnTo>
                  <a:lnTo>
                    <a:pt x="42" y="180"/>
                  </a:lnTo>
                  <a:lnTo>
                    <a:pt x="46" y="180"/>
                  </a:lnTo>
                  <a:lnTo>
                    <a:pt x="48" y="178"/>
                  </a:lnTo>
                  <a:lnTo>
                    <a:pt x="52" y="178"/>
                  </a:lnTo>
                  <a:lnTo>
                    <a:pt x="56" y="178"/>
                  </a:lnTo>
                  <a:lnTo>
                    <a:pt x="60" y="180"/>
                  </a:lnTo>
                  <a:lnTo>
                    <a:pt x="62" y="180"/>
                  </a:lnTo>
                  <a:lnTo>
                    <a:pt x="64" y="180"/>
                  </a:lnTo>
                  <a:lnTo>
                    <a:pt x="66" y="180"/>
                  </a:lnTo>
                  <a:lnTo>
                    <a:pt x="66" y="182"/>
                  </a:lnTo>
                  <a:lnTo>
                    <a:pt x="68" y="182"/>
                  </a:lnTo>
                  <a:lnTo>
                    <a:pt x="70" y="182"/>
                  </a:lnTo>
                  <a:lnTo>
                    <a:pt x="70" y="184"/>
                  </a:lnTo>
                  <a:lnTo>
                    <a:pt x="70" y="184"/>
                  </a:lnTo>
                  <a:lnTo>
                    <a:pt x="72" y="186"/>
                  </a:lnTo>
                  <a:lnTo>
                    <a:pt x="72" y="188"/>
                  </a:lnTo>
                  <a:lnTo>
                    <a:pt x="72" y="190"/>
                  </a:lnTo>
                  <a:lnTo>
                    <a:pt x="72" y="190"/>
                  </a:lnTo>
                  <a:lnTo>
                    <a:pt x="72" y="194"/>
                  </a:lnTo>
                  <a:lnTo>
                    <a:pt x="72" y="198"/>
                  </a:lnTo>
                  <a:lnTo>
                    <a:pt x="72" y="202"/>
                  </a:lnTo>
                  <a:lnTo>
                    <a:pt x="74" y="204"/>
                  </a:lnTo>
                  <a:lnTo>
                    <a:pt x="74" y="204"/>
                  </a:lnTo>
                  <a:lnTo>
                    <a:pt x="74" y="206"/>
                  </a:lnTo>
                  <a:lnTo>
                    <a:pt x="74" y="206"/>
                  </a:lnTo>
                  <a:lnTo>
                    <a:pt x="76" y="208"/>
                  </a:lnTo>
                  <a:lnTo>
                    <a:pt x="76" y="208"/>
                  </a:lnTo>
                  <a:lnTo>
                    <a:pt x="78" y="208"/>
                  </a:lnTo>
                  <a:lnTo>
                    <a:pt x="80" y="208"/>
                  </a:lnTo>
                  <a:lnTo>
                    <a:pt x="80" y="210"/>
                  </a:lnTo>
                  <a:lnTo>
                    <a:pt x="82" y="210"/>
                  </a:lnTo>
                  <a:lnTo>
                    <a:pt x="82" y="210"/>
                  </a:lnTo>
                  <a:lnTo>
                    <a:pt x="82" y="210"/>
                  </a:lnTo>
                  <a:lnTo>
                    <a:pt x="82" y="212"/>
                  </a:lnTo>
                  <a:lnTo>
                    <a:pt x="82" y="212"/>
                  </a:lnTo>
                  <a:lnTo>
                    <a:pt x="82" y="214"/>
                  </a:lnTo>
                  <a:lnTo>
                    <a:pt x="82" y="216"/>
                  </a:lnTo>
                  <a:lnTo>
                    <a:pt x="82" y="218"/>
                  </a:lnTo>
                  <a:lnTo>
                    <a:pt x="82" y="218"/>
                  </a:lnTo>
                  <a:lnTo>
                    <a:pt x="82" y="218"/>
                  </a:lnTo>
                  <a:lnTo>
                    <a:pt x="82" y="218"/>
                  </a:lnTo>
                  <a:lnTo>
                    <a:pt x="84" y="220"/>
                  </a:lnTo>
                  <a:lnTo>
                    <a:pt x="84" y="220"/>
                  </a:lnTo>
                  <a:lnTo>
                    <a:pt x="86" y="220"/>
                  </a:lnTo>
                  <a:lnTo>
                    <a:pt x="88" y="222"/>
                  </a:lnTo>
                  <a:lnTo>
                    <a:pt x="90" y="222"/>
                  </a:lnTo>
                  <a:lnTo>
                    <a:pt x="92" y="222"/>
                  </a:lnTo>
                  <a:lnTo>
                    <a:pt x="94" y="222"/>
                  </a:lnTo>
                  <a:lnTo>
                    <a:pt x="96" y="222"/>
                  </a:lnTo>
                  <a:lnTo>
                    <a:pt x="98" y="222"/>
                  </a:lnTo>
                  <a:lnTo>
                    <a:pt x="100" y="222"/>
                  </a:lnTo>
                  <a:lnTo>
                    <a:pt x="102" y="222"/>
                  </a:lnTo>
                  <a:lnTo>
                    <a:pt x="102" y="220"/>
                  </a:lnTo>
                  <a:lnTo>
                    <a:pt x="104" y="220"/>
                  </a:lnTo>
                  <a:lnTo>
                    <a:pt x="106" y="220"/>
                  </a:lnTo>
                  <a:lnTo>
                    <a:pt x="108" y="220"/>
                  </a:lnTo>
                  <a:lnTo>
                    <a:pt x="108" y="218"/>
                  </a:lnTo>
                  <a:lnTo>
                    <a:pt x="108" y="218"/>
                  </a:lnTo>
                  <a:lnTo>
                    <a:pt x="110" y="218"/>
                  </a:lnTo>
                  <a:lnTo>
                    <a:pt x="110" y="216"/>
                  </a:lnTo>
                  <a:lnTo>
                    <a:pt x="110" y="216"/>
                  </a:lnTo>
                  <a:lnTo>
                    <a:pt x="110" y="212"/>
                  </a:lnTo>
                  <a:lnTo>
                    <a:pt x="110" y="210"/>
                  </a:lnTo>
                  <a:lnTo>
                    <a:pt x="110" y="208"/>
                  </a:lnTo>
                  <a:lnTo>
                    <a:pt x="108" y="206"/>
                  </a:lnTo>
                  <a:lnTo>
                    <a:pt x="110" y="204"/>
                  </a:lnTo>
                  <a:lnTo>
                    <a:pt x="110" y="202"/>
                  </a:lnTo>
                  <a:lnTo>
                    <a:pt x="110" y="202"/>
                  </a:lnTo>
                  <a:lnTo>
                    <a:pt x="110" y="202"/>
                  </a:lnTo>
                  <a:lnTo>
                    <a:pt x="110" y="200"/>
                  </a:lnTo>
                  <a:lnTo>
                    <a:pt x="112" y="200"/>
                  </a:lnTo>
                  <a:lnTo>
                    <a:pt x="112" y="198"/>
                  </a:lnTo>
                  <a:lnTo>
                    <a:pt x="114" y="198"/>
                  </a:lnTo>
                  <a:lnTo>
                    <a:pt x="114" y="196"/>
                  </a:lnTo>
                  <a:lnTo>
                    <a:pt x="116" y="196"/>
                  </a:lnTo>
                  <a:lnTo>
                    <a:pt x="116" y="196"/>
                  </a:lnTo>
                  <a:lnTo>
                    <a:pt x="116" y="196"/>
                  </a:lnTo>
                  <a:lnTo>
                    <a:pt x="118" y="196"/>
                  </a:lnTo>
                  <a:lnTo>
                    <a:pt x="118" y="198"/>
                  </a:lnTo>
                  <a:lnTo>
                    <a:pt x="118" y="198"/>
                  </a:lnTo>
                  <a:lnTo>
                    <a:pt x="118" y="200"/>
                  </a:lnTo>
                  <a:lnTo>
                    <a:pt x="120" y="200"/>
                  </a:lnTo>
                  <a:lnTo>
                    <a:pt x="120" y="202"/>
                  </a:lnTo>
                  <a:lnTo>
                    <a:pt x="120" y="206"/>
                  </a:lnTo>
                  <a:lnTo>
                    <a:pt x="120" y="208"/>
                  </a:lnTo>
                  <a:lnTo>
                    <a:pt x="122" y="210"/>
                  </a:lnTo>
                  <a:lnTo>
                    <a:pt x="122" y="212"/>
                  </a:lnTo>
                  <a:lnTo>
                    <a:pt x="122" y="212"/>
                  </a:lnTo>
                  <a:lnTo>
                    <a:pt x="124" y="214"/>
                  </a:lnTo>
                  <a:lnTo>
                    <a:pt x="124" y="214"/>
                  </a:lnTo>
                  <a:lnTo>
                    <a:pt x="124" y="214"/>
                  </a:lnTo>
                  <a:lnTo>
                    <a:pt x="124" y="214"/>
                  </a:lnTo>
                  <a:lnTo>
                    <a:pt x="126" y="214"/>
                  </a:lnTo>
                  <a:lnTo>
                    <a:pt x="126" y="212"/>
                  </a:lnTo>
                  <a:lnTo>
                    <a:pt x="128" y="212"/>
                  </a:lnTo>
                  <a:lnTo>
                    <a:pt x="128" y="210"/>
                  </a:lnTo>
                  <a:lnTo>
                    <a:pt x="130" y="210"/>
                  </a:lnTo>
                  <a:lnTo>
                    <a:pt x="130" y="210"/>
                  </a:lnTo>
                  <a:lnTo>
                    <a:pt x="132" y="208"/>
                  </a:lnTo>
                  <a:lnTo>
                    <a:pt x="134" y="208"/>
                  </a:lnTo>
                  <a:lnTo>
                    <a:pt x="136" y="208"/>
                  </a:lnTo>
                  <a:lnTo>
                    <a:pt x="138" y="208"/>
                  </a:lnTo>
                  <a:lnTo>
                    <a:pt x="138" y="208"/>
                  </a:lnTo>
                  <a:lnTo>
                    <a:pt x="140" y="208"/>
                  </a:lnTo>
                  <a:lnTo>
                    <a:pt x="140" y="208"/>
                  </a:lnTo>
                  <a:lnTo>
                    <a:pt x="142" y="210"/>
                  </a:lnTo>
                  <a:lnTo>
                    <a:pt x="142" y="210"/>
                  </a:lnTo>
                  <a:lnTo>
                    <a:pt x="144" y="212"/>
                  </a:lnTo>
                  <a:lnTo>
                    <a:pt x="144" y="214"/>
                  </a:lnTo>
                  <a:lnTo>
                    <a:pt x="146" y="216"/>
                  </a:lnTo>
                  <a:lnTo>
                    <a:pt x="146" y="218"/>
                  </a:lnTo>
                  <a:lnTo>
                    <a:pt x="146" y="220"/>
                  </a:lnTo>
                  <a:lnTo>
                    <a:pt x="146" y="224"/>
                  </a:lnTo>
                  <a:lnTo>
                    <a:pt x="146" y="228"/>
                  </a:lnTo>
                  <a:lnTo>
                    <a:pt x="146" y="232"/>
                  </a:lnTo>
                  <a:lnTo>
                    <a:pt x="146" y="242"/>
                  </a:lnTo>
                  <a:lnTo>
                    <a:pt x="146" y="250"/>
                  </a:lnTo>
                  <a:lnTo>
                    <a:pt x="146" y="252"/>
                  </a:lnTo>
                  <a:lnTo>
                    <a:pt x="146" y="256"/>
                  </a:lnTo>
                  <a:lnTo>
                    <a:pt x="146" y="256"/>
                  </a:lnTo>
                  <a:lnTo>
                    <a:pt x="146" y="258"/>
                  </a:lnTo>
                  <a:lnTo>
                    <a:pt x="146" y="260"/>
                  </a:lnTo>
                  <a:lnTo>
                    <a:pt x="146" y="262"/>
                  </a:lnTo>
                  <a:lnTo>
                    <a:pt x="148" y="262"/>
                  </a:lnTo>
                  <a:lnTo>
                    <a:pt x="148" y="264"/>
                  </a:lnTo>
                  <a:lnTo>
                    <a:pt x="150" y="264"/>
                  </a:lnTo>
                  <a:lnTo>
                    <a:pt x="150" y="266"/>
                  </a:lnTo>
                  <a:lnTo>
                    <a:pt x="152" y="266"/>
                  </a:lnTo>
                  <a:lnTo>
                    <a:pt x="152" y="268"/>
                  </a:lnTo>
                  <a:lnTo>
                    <a:pt x="154" y="268"/>
                  </a:lnTo>
                  <a:lnTo>
                    <a:pt x="156" y="268"/>
                  </a:lnTo>
                  <a:lnTo>
                    <a:pt x="156" y="268"/>
                  </a:lnTo>
                  <a:lnTo>
                    <a:pt x="158" y="270"/>
                  </a:lnTo>
                  <a:lnTo>
                    <a:pt x="160" y="270"/>
                  </a:lnTo>
                  <a:lnTo>
                    <a:pt x="162" y="270"/>
                  </a:lnTo>
                  <a:lnTo>
                    <a:pt x="166" y="270"/>
                  </a:lnTo>
                  <a:lnTo>
                    <a:pt x="170" y="268"/>
                  </a:lnTo>
                  <a:lnTo>
                    <a:pt x="172" y="268"/>
                  </a:lnTo>
                  <a:lnTo>
                    <a:pt x="174" y="268"/>
                  </a:lnTo>
                  <a:lnTo>
                    <a:pt x="180" y="268"/>
                  </a:lnTo>
                  <a:lnTo>
                    <a:pt x="182" y="268"/>
                  </a:lnTo>
                  <a:lnTo>
                    <a:pt x="184" y="270"/>
                  </a:lnTo>
                  <a:lnTo>
                    <a:pt x="186" y="270"/>
                  </a:lnTo>
                  <a:lnTo>
                    <a:pt x="188" y="270"/>
                  </a:lnTo>
                  <a:lnTo>
                    <a:pt x="188" y="270"/>
                  </a:lnTo>
                  <a:lnTo>
                    <a:pt x="188" y="272"/>
                  </a:lnTo>
                  <a:lnTo>
                    <a:pt x="188" y="272"/>
                  </a:lnTo>
                  <a:lnTo>
                    <a:pt x="190" y="272"/>
                  </a:lnTo>
                  <a:lnTo>
                    <a:pt x="190" y="274"/>
                  </a:lnTo>
                  <a:lnTo>
                    <a:pt x="190" y="276"/>
                  </a:lnTo>
                  <a:lnTo>
                    <a:pt x="190" y="278"/>
                  </a:lnTo>
                  <a:lnTo>
                    <a:pt x="190" y="280"/>
                  </a:lnTo>
                  <a:lnTo>
                    <a:pt x="192" y="282"/>
                  </a:lnTo>
                  <a:lnTo>
                    <a:pt x="192" y="284"/>
                  </a:lnTo>
                  <a:lnTo>
                    <a:pt x="192" y="286"/>
                  </a:lnTo>
                  <a:lnTo>
                    <a:pt x="192" y="286"/>
                  </a:lnTo>
                  <a:lnTo>
                    <a:pt x="192" y="286"/>
                  </a:lnTo>
                  <a:lnTo>
                    <a:pt x="194" y="286"/>
                  </a:lnTo>
                  <a:lnTo>
                    <a:pt x="196" y="288"/>
                  </a:lnTo>
                  <a:lnTo>
                    <a:pt x="196" y="288"/>
                  </a:lnTo>
                  <a:lnTo>
                    <a:pt x="198" y="288"/>
                  </a:lnTo>
                  <a:lnTo>
                    <a:pt x="198" y="288"/>
                  </a:lnTo>
                  <a:lnTo>
                    <a:pt x="200" y="288"/>
                  </a:lnTo>
                  <a:lnTo>
                    <a:pt x="200" y="288"/>
                  </a:lnTo>
                  <a:lnTo>
                    <a:pt x="200" y="288"/>
                  </a:lnTo>
                  <a:lnTo>
                    <a:pt x="200" y="286"/>
                  </a:lnTo>
                  <a:lnTo>
                    <a:pt x="202" y="286"/>
                  </a:lnTo>
                  <a:lnTo>
                    <a:pt x="202" y="284"/>
                  </a:lnTo>
                  <a:lnTo>
                    <a:pt x="202" y="282"/>
                  </a:lnTo>
                  <a:lnTo>
                    <a:pt x="204" y="280"/>
                  </a:lnTo>
                  <a:lnTo>
                    <a:pt x="204" y="280"/>
                  </a:lnTo>
                  <a:lnTo>
                    <a:pt x="204" y="280"/>
                  </a:lnTo>
                  <a:lnTo>
                    <a:pt x="204" y="278"/>
                  </a:lnTo>
                  <a:lnTo>
                    <a:pt x="206" y="278"/>
                  </a:lnTo>
                  <a:lnTo>
                    <a:pt x="208" y="278"/>
                  </a:lnTo>
                  <a:lnTo>
                    <a:pt x="210" y="276"/>
                  </a:lnTo>
                  <a:lnTo>
                    <a:pt x="212" y="276"/>
                  </a:lnTo>
                  <a:lnTo>
                    <a:pt x="212" y="276"/>
                  </a:lnTo>
                  <a:lnTo>
                    <a:pt x="214" y="276"/>
                  </a:lnTo>
                  <a:lnTo>
                    <a:pt x="214" y="276"/>
                  </a:lnTo>
                  <a:lnTo>
                    <a:pt x="216" y="276"/>
                  </a:lnTo>
                  <a:lnTo>
                    <a:pt x="216" y="278"/>
                  </a:lnTo>
                  <a:lnTo>
                    <a:pt x="216" y="278"/>
                  </a:lnTo>
                  <a:lnTo>
                    <a:pt x="216" y="280"/>
                  </a:lnTo>
                  <a:lnTo>
                    <a:pt x="216" y="282"/>
                  </a:lnTo>
                  <a:lnTo>
                    <a:pt x="216" y="282"/>
                  </a:lnTo>
                  <a:lnTo>
                    <a:pt x="218" y="282"/>
                  </a:lnTo>
                  <a:lnTo>
                    <a:pt x="218" y="284"/>
                  </a:lnTo>
                  <a:lnTo>
                    <a:pt x="218" y="284"/>
                  </a:lnTo>
                  <a:lnTo>
                    <a:pt x="220" y="284"/>
                  </a:lnTo>
                  <a:lnTo>
                    <a:pt x="220" y="284"/>
                  </a:lnTo>
                  <a:lnTo>
                    <a:pt x="222" y="286"/>
                  </a:lnTo>
                  <a:lnTo>
                    <a:pt x="224" y="286"/>
                  </a:lnTo>
                  <a:lnTo>
                    <a:pt x="226" y="288"/>
                  </a:lnTo>
                  <a:lnTo>
                    <a:pt x="228" y="288"/>
                  </a:lnTo>
                  <a:lnTo>
                    <a:pt x="228" y="288"/>
                  </a:lnTo>
                  <a:lnTo>
                    <a:pt x="228" y="288"/>
                  </a:lnTo>
                  <a:lnTo>
                    <a:pt x="228" y="290"/>
                  </a:lnTo>
                  <a:lnTo>
                    <a:pt x="228" y="290"/>
                  </a:lnTo>
                  <a:lnTo>
                    <a:pt x="230" y="292"/>
                  </a:lnTo>
                  <a:lnTo>
                    <a:pt x="230" y="294"/>
                  </a:lnTo>
                  <a:lnTo>
                    <a:pt x="230" y="296"/>
                  </a:lnTo>
                  <a:lnTo>
                    <a:pt x="230" y="300"/>
                  </a:lnTo>
                  <a:lnTo>
                    <a:pt x="230" y="302"/>
                  </a:lnTo>
                  <a:lnTo>
                    <a:pt x="232" y="304"/>
                  </a:lnTo>
                  <a:lnTo>
                    <a:pt x="232" y="306"/>
                  </a:lnTo>
                  <a:lnTo>
                    <a:pt x="234" y="308"/>
                  </a:lnTo>
                  <a:lnTo>
                    <a:pt x="236" y="310"/>
                  </a:lnTo>
                  <a:lnTo>
                    <a:pt x="236" y="310"/>
                  </a:lnTo>
                  <a:lnTo>
                    <a:pt x="236" y="312"/>
                  </a:lnTo>
                  <a:lnTo>
                    <a:pt x="238" y="312"/>
                  </a:lnTo>
                  <a:lnTo>
                    <a:pt x="240" y="312"/>
                  </a:lnTo>
                  <a:lnTo>
                    <a:pt x="242" y="314"/>
                  </a:lnTo>
                  <a:lnTo>
                    <a:pt x="244" y="314"/>
                  </a:lnTo>
                  <a:lnTo>
                    <a:pt x="246" y="314"/>
                  </a:lnTo>
                  <a:lnTo>
                    <a:pt x="248" y="314"/>
                  </a:lnTo>
                  <a:lnTo>
                    <a:pt x="250" y="312"/>
                  </a:lnTo>
                  <a:lnTo>
                    <a:pt x="252" y="312"/>
                  </a:lnTo>
                  <a:lnTo>
                    <a:pt x="252" y="312"/>
                  </a:lnTo>
                  <a:lnTo>
                    <a:pt x="254" y="312"/>
                  </a:lnTo>
                  <a:lnTo>
                    <a:pt x="254" y="310"/>
                  </a:lnTo>
                  <a:lnTo>
                    <a:pt x="254" y="310"/>
                  </a:lnTo>
                  <a:lnTo>
                    <a:pt x="256" y="308"/>
                  </a:lnTo>
                  <a:lnTo>
                    <a:pt x="256" y="308"/>
                  </a:lnTo>
                  <a:lnTo>
                    <a:pt x="256" y="304"/>
                  </a:lnTo>
                  <a:lnTo>
                    <a:pt x="258" y="302"/>
                  </a:lnTo>
                  <a:lnTo>
                    <a:pt x="258" y="300"/>
                  </a:lnTo>
                  <a:lnTo>
                    <a:pt x="258" y="298"/>
                  </a:lnTo>
                  <a:lnTo>
                    <a:pt x="258" y="296"/>
                  </a:lnTo>
                  <a:lnTo>
                    <a:pt x="258" y="292"/>
                  </a:lnTo>
                  <a:lnTo>
                    <a:pt x="258" y="290"/>
                  </a:lnTo>
                  <a:lnTo>
                    <a:pt x="256" y="288"/>
                  </a:lnTo>
                  <a:lnTo>
                    <a:pt x="256" y="286"/>
                  </a:lnTo>
                  <a:lnTo>
                    <a:pt x="256" y="286"/>
                  </a:lnTo>
                  <a:lnTo>
                    <a:pt x="256" y="286"/>
                  </a:lnTo>
                  <a:lnTo>
                    <a:pt x="254" y="284"/>
                  </a:lnTo>
                  <a:lnTo>
                    <a:pt x="254" y="284"/>
                  </a:lnTo>
                  <a:lnTo>
                    <a:pt x="254" y="284"/>
                  </a:lnTo>
                  <a:lnTo>
                    <a:pt x="252" y="284"/>
                  </a:lnTo>
                  <a:lnTo>
                    <a:pt x="252" y="284"/>
                  </a:lnTo>
                  <a:lnTo>
                    <a:pt x="250" y="284"/>
                  </a:lnTo>
                  <a:lnTo>
                    <a:pt x="246" y="284"/>
                  </a:lnTo>
                  <a:lnTo>
                    <a:pt x="246" y="284"/>
                  </a:lnTo>
                  <a:lnTo>
                    <a:pt x="244" y="284"/>
                  </a:lnTo>
                  <a:lnTo>
                    <a:pt x="244" y="282"/>
                  </a:lnTo>
                  <a:lnTo>
                    <a:pt x="242" y="282"/>
                  </a:lnTo>
                  <a:lnTo>
                    <a:pt x="240" y="280"/>
                  </a:lnTo>
                  <a:lnTo>
                    <a:pt x="240" y="278"/>
                  </a:lnTo>
                  <a:lnTo>
                    <a:pt x="238" y="278"/>
                  </a:lnTo>
                  <a:lnTo>
                    <a:pt x="238" y="276"/>
                  </a:lnTo>
                  <a:lnTo>
                    <a:pt x="238" y="274"/>
                  </a:lnTo>
                  <a:lnTo>
                    <a:pt x="238" y="272"/>
                  </a:lnTo>
                  <a:lnTo>
                    <a:pt x="236" y="270"/>
                  </a:lnTo>
                  <a:lnTo>
                    <a:pt x="236" y="268"/>
                  </a:lnTo>
                  <a:lnTo>
                    <a:pt x="236" y="264"/>
                  </a:lnTo>
                  <a:lnTo>
                    <a:pt x="236" y="262"/>
                  </a:lnTo>
                  <a:lnTo>
                    <a:pt x="238" y="258"/>
                  </a:lnTo>
                  <a:lnTo>
                    <a:pt x="238" y="254"/>
                  </a:lnTo>
                  <a:lnTo>
                    <a:pt x="238" y="248"/>
                  </a:lnTo>
                  <a:lnTo>
                    <a:pt x="240" y="242"/>
                  </a:lnTo>
                  <a:lnTo>
                    <a:pt x="240" y="238"/>
                  </a:lnTo>
                  <a:lnTo>
                    <a:pt x="242" y="232"/>
                  </a:lnTo>
                  <a:lnTo>
                    <a:pt x="244" y="230"/>
                  </a:lnTo>
                  <a:lnTo>
                    <a:pt x="244" y="228"/>
                  </a:lnTo>
                  <a:lnTo>
                    <a:pt x="246" y="224"/>
                  </a:lnTo>
                  <a:lnTo>
                    <a:pt x="246" y="224"/>
                  </a:lnTo>
                  <a:lnTo>
                    <a:pt x="248" y="222"/>
                  </a:lnTo>
                  <a:lnTo>
                    <a:pt x="248" y="222"/>
                  </a:lnTo>
                  <a:lnTo>
                    <a:pt x="250" y="222"/>
                  </a:lnTo>
                  <a:lnTo>
                    <a:pt x="254" y="220"/>
                  </a:lnTo>
                  <a:lnTo>
                    <a:pt x="256" y="220"/>
                  </a:lnTo>
                  <a:lnTo>
                    <a:pt x="256" y="220"/>
                  </a:lnTo>
                  <a:lnTo>
                    <a:pt x="258" y="218"/>
                  </a:lnTo>
                  <a:lnTo>
                    <a:pt x="258" y="218"/>
                  </a:lnTo>
                  <a:lnTo>
                    <a:pt x="260" y="218"/>
                  </a:lnTo>
                  <a:lnTo>
                    <a:pt x="260" y="216"/>
                  </a:lnTo>
                  <a:lnTo>
                    <a:pt x="260" y="216"/>
                  </a:lnTo>
                  <a:lnTo>
                    <a:pt x="260" y="212"/>
                  </a:lnTo>
                  <a:lnTo>
                    <a:pt x="262" y="210"/>
                  </a:lnTo>
                  <a:lnTo>
                    <a:pt x="262" y="208"/>
                  </a:lnTo>
                  <a:lnTo>
                    <a:pt x="262" y="206"/>
                  </a:lnTo>
                  <a:lnTo>
                    <a:pt x="262" y="204"/>
                  </a:lnTo>
                  <a:lnTo>
                    <a:pt x="262" y="202"/>
                  </a:lnTo>
                  <a:lnTo>
                    <a:pt x="262" y="200"/>
                  </a:lnTo>
                  <a:lnTo>
                    <a:pt x="262" y="196"/>
                  </a:lnTo>
                  <a:lnTo>
                    <a:pt x="262" y="194"/>
                  </a:lnTo>
                  <a:lnTo>
                    <a:pt x="262" y="192"/>
                  </a:lnTo>
                  <a:lnTo>
                    <a:pt x="260" y="190"/>
                  </a:lnTo>
                  <a:lnTo>
                    <a:pt x="260" y="186"/>
                  </a:lnTo>
                  <a:lnTo>
                    <a:pt x="258" y="182"/>
                  </a:lnTo>
                  <a:lnTo>
                    <a:pt x="258" y="178"/>
                  </a:lnTo>
                  <a:lnTo>
                    <a:pt x="256" y="176"/>
                  </a:lnTo>
                  <a:lnTo>
                    <a:pt x="256" y="174"/>
                  </a:lnTo>
                  <a:lnTo>
                    <a:pt x="256" y="172"/>
                  </a:lnTo>
                  <a:lnTo>
                    <a:pt x="256" y="172"/>
                  </a:lnTo>
                  <a:lnTo>
                    <a:pt x="256" y="168"/>
                  </a:lnTo>
                  <a:lnTo>
                    <a:pt x="258" y="164"/>
                  </a:lnTo>
                  <a:lnTo>
                    <a:pt x="258" y="162"/>
                  </a:lnTo>
                  <a:lnTo>
                    <a:pt x="258" y="160"/>
                  </a:lnTo>
                  <a:lnTo>
                    <a:pt x="256" y="160"/>
                  </a:lnTo>
                  <a:lnTo>
                    <a:pt x="256" y="158"/>
                  </a:lnTo>
                  <a:lnTo>
                    <a:pt x="256" y="154"/>
                  </a:lnTo>
                  <a:lnTo>
                    <a:pt x="254" y="150"/>
                  </a:lnTo>
                  <a:lnTo>
                    <a:pt x="252" y="150"/>
                  </a:lnTo>
                  <a:lnTo>
                    <a:pt x="250" y="148"/>
                  </a:lnTo>
                  <a:lnTo>
                    <a:pt x="248" y="146"/>
                  </a:lnTo>
                  <a:lnTo>
                    <a:pt x="248" y="146"/>
                  </a:lnTo>
                  <a:lnTo>
                    <a:pt x="248" y="146"/>
                  </a:lnTo>
                  <a:lnTo>
                    <a:pt x="248" y="144"/>
                  </a:lnTo>
                  <a:lnTo>
                    <a:pt x="248" y="144"/>
                  </a:lnTo>
                  <a:lnTo>
                    <a:pt x="248" y="142"/>
                  </a:lnTo>
                  <a:lnTo>
                    <a:pt x="248" y="138"/>
                  </a:lnTo>
                  <a:lnTo>
                    <a:pt x="248" y="136"/>
                  </a:lnTo>
                  <a:lnTo>
                    <a:pt x="250" y="132"/>
                  </a:lnTo>
                  <a:lnTo>
                    <a:pt x="250" y="130"/>
                  </a:lnTo>
                  <a:lnTo>
                    <a:pt x="250" y="130"/>
                  </a:lnTo>
                  <a:lnTo>
                    <a:pt x="246" y="130"/>
                  </a:lnTo>
                  <a:lnTo>
                    <a:pt x="244" y="132"/>
                  </a:lnTo>
                  <a:lnTo>
                    <a:pt x="244" y="132"/>
                  </a:lnTo>
                  <a:lnTo>
                    <a:pt x="242" y="132"/>
                  </a:lnTo>
                  <a:lnTo>
                    <a:pt x="242" y="132"/>
                  </a:lnTo>
                  <a:lnTo>
                    <a:pt x="242" y="130"/>
                  </a:lnTo>
                  <a:lnTo>
                    <a:pt x="240" y="130"/>
                  </a:lnTo>
                  <a:lnTo>
                    <a:pt x="240" y="130"/>
                  </a:lnTo>
                  <a:lnTo>
                    <a:pt x="240" y="128"/>
                  </a:lnTo>
                  <a:lnTo>
                    <a:pt x="240" y="126"/>
                  </a:lnTo>
                  <a:lnTo>
                    <a:pt x="240" y="126"/>
                  </a:lnTo>
                  <a:lnTo>
                    <a:pt x="240" y="124"/>
                  </a:lnTo>
                  <a:lnTo>
                    <a:pt x="240" y="124"/>
                  </a:lnTo>
                  <a:lnTo>
                    <a:pt x="240" y="122"/>
                  </a:lnTo>
                  <a:lnTo>
                    <a:pt x="242" y="122"/>
                  </a:lnTo>
                  <a:lnTo>
                    <a:pt x="242" y="120"/>
                  </a:lnTo>
                  <a:lnTo>
                    <a:pt x="244" y="120"/>
                  </a:lnTo>
                  <a:lnTo>
                    <a:pt x="246" y="118"/>
                  </a:lnTo>
                  <a:lnTo>
                    <a:pt x="246" y="118"/>
                  </a:lnTo>
                  <a:lnTo>
                    <a:pt x="246" y="118"/>
                  </a:lnTo>
                  <a:lnTo>
                    <a:pt x="246" y="116"/>
                  </a:lnTo>
                  <a:lnTo>
                    <a:pt x="246" y="116"/>
                  </a:lnTo>
                  <a:lnTo>
                    <a:pt x="246" y="114"/>
                  </a:lnTo>
                  <a:lnTo>
                    <a:pt x="246" y="114"/>
                  </a:lnTo>
                  <a:lnTo>
                    <a:pt x="246" y="112"/>
                  </a:lnTo>
                  <a:lnTo>
                    <a:pt x="244" y="110"/>
                  </a:lnTo>
                  <a:lnTo>
                    <a:pt x="244" y="110"/>
                  </a:lnTo>
                  <a:lnTo>
                    <a:pt x="244" y="108"/>
                  </a:lnTo>
                  <a:lnTo>
                    <a:pt x="244" y="108"/>
                  </a:lnTo>
                  <a:lnTo>
                    <a:pt x="244" y="108"/>
                  </a:lnTo>
                  <a:lnTo>
                    <a:pt x="244" y="108"/>
                  </a:lnTo>
                  <a:lnTo>
                    <a:pt x="246" y="106"/>
                  </a:lnTo>
                  <a:lnTo>
                    <a:pt x="246" y="106"/>
                  </a:lnTo>
                  <a:lnTo>
                    <a:pt x="248" y="106"/>
                  </a:lnTo>
                  <a:lnTo>
                    <a:pt x="250" y="104"/>
                  </a:lnTo>
                  <a:lnTo>
                    <a:pt x="252" y="104"/>
                  </a:lnTo>
                  <a:lnTo>
                    <a:pt x="254" y="104"/>
                  </a:lnTo>
                  <a:lnTo>
                    <a:pt x="254" y="98"/>
                  </a:lnTo>
                  <a:lnTo>
                    <a:pt x="254" y="94"/>
                  </a:lnTo>
                  <a:lnTo>
                    <a:pt x="254" y="88"/>
                  </a:lnTo>
                  <a:lnTo>
                    <a:pt x="254" y="82"/>
                  </a:lnTo>
                  <a:lnTo>
                    <a:pt x="254" y="80"/>
                  </a:lnTo>
                  <a:lnTo>
                    <a:pt x="254" y="76"/>
                  </a:lnTo>
                  <a:lnTo>
                    <a:pt x="254" y="74"/>
                  </a:lnTo>
                  <a:lnTo>
                    <a:pt x="256" y="72"/>
                  </a:lnTo>
                  <a:lnTo>
                    <a:pt x="256" y="70"/>
                  </a:lnTo>
                  <a:lnTo>
                    <a:pt x="256" y="68"/>
                  </a:lnTo>
                  <a:lnTo>
                    <a:pt x="258" y="68"/>
                  </a:lnTo>
                  <a:lnTo>
                    <a:pt x="258" y="68"/>
                  </a:lnTo>
                  <a:lnTo>
                    <a:pt x="258" y="66"/>
                  </a:lnTo>
                  <a:lnTo>
                    <a:pt x="260" y="66"/>
                  </a:lnTo>
                  <a:lnTo>
                    <a:pt x="262" y="66"/>
                  </a:lnTo>
                  <a:lnTo>
                    <a:pt x="264" y="64"/>
                  </a:lnTo>
                  <a:lnTo>
                    <a:pt x="268" y="64"/>
                  </a:lnTo>
                  <a:lnTo>
                    <a:pt x="270" y="62"/>
                  </a:lnTo>
                  <a:lnTo>
                    <a:pt x="272" y="62"/>
                  </a:lnTo>
                  <a:lnTo>
                    <a:pt x="276" y="60"/>
                  </a:lnTo>
                  <a:lnTo>
                    <a:pt x="278" y="60"/>
                  </a:lnTo>
                  <a:lnTo>
                    <a:pt x="280" y="60"/>
                  </a:lnTo>
                  <a:lnTo>
                    <a:pt x="280" y="58"/>
                  </a:lnTo>
                  <a:lnTo>
                    <a:pt x="280" y="58"/>
                  </a:lnTo>
                  <a:lnTo>
                    <a:pt x="282" y="58"/>
                  </a:lnTo>
                  <a:lnTo>
                    <a:pt x="282" y="56"/>
                  </a:lnTo>
                  <a:lnTo>
                    <a:pt x="282" y="54"/>
                  </a:lnTo>
                  <a:lnTo>
                    <a:pt x="282" y="54"/>
                  </a:lnTo>
                  <a:lnTo>
                    <a:pt x="282" y="52"/>
                  </a:lnTo>
                  <a:lnTo>
                    <a:pt x="282" y="50"/>
                  </a:lnTo>
                  <a:lnTo>
                    <a:pt x="282" y="50"/>
                  </a:lnTo>
                  <a:lnTo>
                    <a:pt x="282" y="50"/>
                  </a:lnTo>
                  <a:lnTo>
                    <a:pt x="282" y="48"/>
                  </a:lnTo>
                  <a:lnTo>
                    <a:pt x="280" y="48"/>
                  </a:lnTo>
                  <a:lnTo>
                    <a:pt x="280" y="48"/>
                  </a:lnTo>
                  <a:lnTo>
                    <a:pt x="278" y="48"/>
                  </a:lnTo>
                  <a:lnTo>
                    <a:pt x="276" y="48"/>
                  </a:lnTo>
                  <a:lnTo>
                    <a:pt x="276" y="48"/>
                  </a:lnTo>
                  <a:lnTo>
                    <a:pt x="274" y="48"/>
                  </a:lnTo>
                  <a:lnTo>
                    <a:pt x="274" y="48"/>
                  </a:lnTo>
                  <a:lnTo>
                    <a:pt x="272" y="48"/>
                  </a:lnTo>
                  <a:lnTo>
                    <a:pt x="272" y="48"/>
                  </a:lnTo>
                  <a:lnTo>
                    <a:pt x="272" y="48"/>
                  </a:lnTo>
                  <a:lnTo>
                    <a:pt x="272" y="46"/>
                  </a:lnTo>
                  <a:lnTo>
                    <a:pt x="272" y="46"/>
                  </a:lnTo>
                  <a:lnTo>
                    <a:pt x="272" y="44"/>
                  </a:lnTo>
                  <a:lnTo>
                    <a:pt x="272" y="42"/>
                  </a:lnTo>
                  <a:lnTo>
                    <a:pt x="272" y="42"/>
                  </a:lnTo>
                  <a:lnTo>
                    <a:pt x="272" y="40"/>
                  </a:lnTo>
                  <a:lnTo>
                    <a:pt x="272" y="36"/>
                  </a:lnTo>
                  <a:lnTo>
                    <a:pt x="270" y="30"/>
                  </a:lnTo>
                  <a:lnTo>
                    <a:pt x="270" y="24"/>
                  </a:lnTo>
                  <a:lnTo>
                    <a:pt x="268" y="22"/>
                  </a:lnTo>
                  <a:lnTo>
                    <a:pt x="268" y="22"/>
                  </a:lnTo>
                  <a:lnTo>
                    <a:pt x="268" y="20"/>
                  </a:lnTo>
                  <a:lnTo>
                    <a:pt x="268" y="20"/>
                  </a:lnTo>
                  <a:lnTo>
                    <a:pt x="266" y="20"/>
                  </a:lnTo>
                  <a:lnTo>
                    <a:pt x="266" y="20"/>
                  </a:lnTo>
                  <a:lnTo>
                    <a:pt x="264" y="20"/>
                  </a:lnTo>
                  <a:lnTo>
                    <a:pt x="262" y="20"/>
                  </a:lnTo>
                  <a:lnTo>
                    <a:pt x="260" y="18"/>
                  </a:lnTo>
                  <a:lnTo>
                    <a:pt x="260" y="18"/>
                  </a:lnTo>
                  <a:lnTo>
                    <a:pt x="258" y="18"/>
                  </a:lnTo>
                  <a:lnTo>
                    <a:pt x="258" y="16"/>
                  </a:lnTo>
                  <a:lnTo>
                    <a:pt x="256" y="14"/>
                  </a:lnTo>
                  <a:lnTo>
                    <a:pt x="256" y="12"/>
                  </a:lnTo>
                  <a:lnTo>
                    <a:pt x="254" y="12"/>
                  </a:lnTo>
                  <a:lnTo>
                    <a:pt x="254" y="10"/>
                  </a:lnTo>
                  <a:lnTo>
                    <a:pt x="252" y="10"/>
                  </a:lnTo>
                  <a:lnTo>
                    <a:pt x="250" y="10"/>
                  </a:lnTo>
                  <a:lnTo>
                    <a:pt x="248" y="10"/>
                  </a:lnTo>
                  <a:lnTo>
                    <a:pt x="246" y="10"/>
                  </a:lnTo>
                  <a:lnTo>
                    <a:pt x="244" y="10"/>
                  </a:lnTo>
                  <a:lnTo>
                    <a:pt x="242" y="10"/>
                  </a:lnTo>
                  <a:lnTo>
                    <a:pt x="238" y="10"/>
                  </a:lnTo>
                  <a:lnTo>
                    <a:pt x="232" y="10"/>
                  </a:lnTo>
                  <a:lnTo>
                    <a:pt x="230" y="10"/>
                  </a:lnTo>
                  <a:lnTo>
                    <a:pt x="228" y="10"/>
                  </a:lnTo>
                  <a:lnTo>
                    <a:pt x="226" y="10"/>
                  </a:lnTo>
                  <a:lnTo>
                    <a:pt x="224" y="10"/>
                  </a:lnTo>
                  <a:lnTo>
                    <a:pt x="222" y="8"/>
                  </a:lnTo>
                  <a:lnTo>
                    <a:pt x="220" y="8"/>
                  </a:lnTo>
                  <a:lnTo>
                    <a:pt x="220" y="8"/>
                  </a:lnTo>
                  <a:lnTo>
                    <a:pt x="220" y="6"/>
                  </a:lnTo>
                  <a:lnTo>
                    <a:pt x="218" y="4"/>
                  </a:lnTo>
                  <a:lnTo>
                    <a:pt x="216" y="2"/>
                  </a:lnTo>
                  <a:lnTo>
                    <a:pt x="216" y="0"/>
                  </a:lnTo>
                  <a:lnTo>
                    <a:pt x="216" y="0"/>
                  </a:lnTo>
                  <a:lnTo>
                    <a:pt x="214" y="0"/>
                  </a:lnTo>
                  <a:lnTo>
                    <a:pt x="214" y="0"/>
                  </a:lnTo>
                  <a:lnTo>
                    <a:pt x="212" y="0"/>
                  </a:lnTo>
                  <a:lnTo>
                    <a:pt x="208" y="0"/>
                  </a:lnTo>
                  <a:lnTo>
                    <a:pt x="208" y="0"/>
                  </a:lnTo>
                  <a:lnTo>
                    <a:pt x="206" y="0"/>
                  </a:lnTo>
                  <a:lnTo>
                    <a:pt x="204" y="0"/>
                  </a:lnTo>
                  <a:lnTo>
                    <a:pt x="198" y="2"/>
                  </a:lnTo>
                  <a:lnTo>
                    <a:pt x="194" y="2"/>
                  </a:lnTo>
                  <a:lnTo>
                    <a:pt x="192" y="4"/>
                  </a:lnTo>
                  <a:lnTo>
                    <a:pt x="190" y="4"/>
                  </a:lnTo>
                  <a:lnTo>
                    <a:pt x="188" y="4"/>
                  </a:lnTo>
                  <a:lnTo>
                    <a:pt x="188" y="2"/>
                  </a:lnTo>
                  <a:lnTo>
                    <a:pt x="184" y="2"/>
                  </a:lnTo>
                  <a:lnTo>
                    <a:pt x="182" y="2"/>
                  </a:lnTo>
                  <a:lnTo>
                    <a:pt x="180" y="0"/>
                  </a:lnTo>
                  <a:lnTo>
                    <a:pt x="180" y="0"/>
                  </a:lnTo>
                  <a:lnTo>
                    <a:pt x="178" y="0"/>
                  </a:lnTo>
                  <a:lnTo>
                    <a:pt x="178" y="0"/>
                  </a:lnTo>
                  <a:lnTo>
                    <a:pt x="178" y="2"/>
                  </a:lnTo>
                  <a:lnTo>
                    <a:pt x="178" y="2"/>
                  </a:lnTo>
                  <a:lnTo>
                    <a:pt x="176" y="2"/>
                  </a:lnTo>
                  <a:lnTo>
                    <a:pt x="176" y="4"/>
                  </a:lnTo>
                  <a:lnTo>
                    <a:pt x="176" y="6"/>
                  </a:lnTo>
                  <a:lnTo>
                    <a:pt x="176" y="6"/>
                  </a:lnTo>
                  <a:lnTo>
                    <a:pt x="176" y="6"/>
                  </a:lnTo>
                  <a:lnTo>
                    <a:pt x="176" y="8"/>
                  </a:lnTo>
                  <a:lnTo>
                    <a:pt x="174" y="8"/>
                  </a:lnTo>
                  <a:lnTo>
                    <a:pt x="174" y="8"/>
                  </a:lnTo>
                  <a:lnTo>
                    <a:pt x="172" y="8"/>
                  </a:lnTo>
                  <a:lnTo>
                    <a:pt x="170" y="8"/>
                  </a:lnTo>
                  <a:lnTo>
                    <a:pt x="168" y="10"/>
                  </a:lnTo>
                  <a:lnTo>
                    <a:pt x="166" y="8"/>
                  </a:lnTo>
                  <a:lnTo>
                    <a:pt x="162" y="8"/>
                  </a:lnTo>
                  <a:lnTo>
                    <a:pt x="156" y="8"/>
                  </a:lnTo>
                  <a:lnTo>
                    <a:pt x="154" y="8"/>
                  </a:lnTo>
                  <a:lnTo>
                    <a:pt x="152" y="8"/>
                  </a:lnTo>
                  <a:lnTo>
                    <a:pt x="150" y="8"/>
                  </a:lnTo>
                  <a:lnTo>
                    <a:pt x="148" y="8"/>
                  </a:lnTo>
                  <a:lnTo>
                    <a:pt x="148" y="10"/>
                  </a:lnTo>
                  <a:lnTo>
                    <a:pt x="146" y="10"/>
                  </a:lnTo>
                  <a:lnTo>
                    <a:pt x="146" y="10"/>
                  </a:lnTo>
                  <a:lnTo>
                    <a:pt x="146" y="12"/>
                  </a:lnTo>
                  <a:lnTo>
                    <a:pt x="146" y="14"/>
                  </a:lnTo>
                  <a:lnTo>
                    <a:pt x="144" y="16"/>
                  </a:lnTo>
                  <a:lnTo>
                    <a:pt x="144" y="16"/>
                  </a:lnTo>
                  <a:lnTo>
                    <a:pt x="144" y="16"/>
                  </a:lnTo>
                  <a:lnTo>
                    <a:pt x="144" y="16"/>
                  </a:lnTo>
                  <a:lnTo>
                    <a:pt x="142" y="18"/>
                  </a:lnTo>
                  <a:lnTo>
                    <a:pt x="140" y="18"/>
                  </a:lnTo>
                  <a:lnTo>
                    <a:pt x="138" y="18"/>
                  </a:lnTo>
                  <a:lnTo>
                    <a:pt x="138" y="20"/>
                  </a:lnTo>
                  <a:lnTo>
                    <a:pt x="136" y="20"/>
                  </a:lnTo>
                  <a:lnTo>
                    <a:pt x="132" y="20"/>
                  </a:lnTo>
                  <a:lnTo>
                    <a:pt x="128" y="20"/>
                  </a:lnTo>
                  <a:lnTo>
                    <a:pt x="126" y="20"/>
                  </a:lnTo>
                  <a:lnTo>
                    <a:pt x="124" y="20"/>
                  </a:lnTo>
                  <a:lnTo>
                    <a:pt x="122" y="20"/>
                  </a:lnTo>
                  <a:lnTo>
                    <a:pt x="122" y="20"/>
                  </a:lnTo>
                  <a:lnTo>
                    <a:pt x="120" y="20"/>
                  </a:lnTo>
                  <a:lnTo>
                    <a:pt x="118" y="18"/>
                  </a:lnTo>
                  <a:lnTo>
                    <a:pt x="118" y="18"/>
                  </a:lnTo>
                  <a:lnTo>
                    <a:pt x="118" y="18"/>
                  </a:lnTo>
                  <a:lnTo>
                    <a:pt x="118" y="16"/>
                  </a:lnTo>
                  <a:lnTo>
                    <a:pt x="116" y="16"/>
                  </a:lnTo>
                  <a:lnTo>
                    <a:pt x="116" y="14"/>
                  </a:lnTo>
                  <a:lnTo>
                    <a:pt x="116" y="12"/>
                  </a:lnTo>
                  <a:lnTo>
                    <a:pt x="114" y="10"/>
                  </a:lnTo>
                  <a:lnTo>
                    <a:pt x="114" y="8"/>
                  </a:lnTo>
                  <a:lnTo>
                    <a:pt x="114" y="8"/>
                  </a:lnTo>
                  <a:lnTo>
                    <a:pt x="112" y="8"/>
                  </a:lnTo>
                  <a:lnTo>
                    <a:pt x="110" y="6"/>
                  </a:lnTo>
                  <a:lnTo>
                    <a:pt x="110" y="6"/>
                  </a:lnTo>
                  <a:lnTo>
                    <a:pt x="108" y="6"/>
                  </a:lnTo>
                  <a:lnTo>
                    <a:pt x="106" y="6"/>
                  </a:lnTo>
                  <a:lnTo>
                    <a:pt x="106" y="4"/>
                  </a:lnTo>
                  <a:lnTo>
                    <a:pt x="104" y="6"/>
                  </a:lnTo>
                  <a:lnTo>
                    <a:pt x="104" y="6"/>
                  </a:lnTo>
                  <a:lnTo>
                    <a:pt x="104" y="6"/>
                  </a:lnTo>
                  <a:lnTo>
                    <a:pt x="102" y="6"/>
                  </a:lnTo>
                  <a:lnTo>
                    <a:pt x="102" y="8"/>
                  </a:lnTo>
                  <a:lnTo>
                    <a:pt x="102" y="8"/>
                  </a:lnTo>
                  <a:lnTo>
                    <a:pt x="100" y="12"/>
                  </a:lnTo>
                  <a:lnTo>
                    <a:pt x="100" y="12"/>
                  </a:lnTo>
                  <a:lnTo>
                    <a:pt x="98" y="14"/>
                  </a:lnTo>
                  <a:lnTo>
                    <a:pt x="96" y="14"/>
                  </a:lnTo>
                  <a:lnTo>
                    <a:pt x="94" y="16"/>
                  </a:lnTo>
                  <a:lnTo>
                    <a:pt x="92" y="16"/>
                  </a:lnTo>
                  <a:lnTo>
                    <a:pt x="92" y="16"/>
                  </a:lnTo>
                  <a:lnTo>
                    <a:pt x="88" y="20"/>
                  </a:lnTo>
                  <a:lnTo>
                    <a:pt x="86" y="22"/>
                  </a:lnTo>
                  <a:lnTo>
                    <a:pt x="86" y="22"/>
                  </a:lnTo>
                  <a:lnTo>
                    <a:pt x="90" y="22"/>
                  </a:lnTo>
                  <a:lnTo>
                    <a:pt x="92" y="22"/>
                  </a:lnTo>
                  <a:lnTo>
                    <a:pt x="94" y="24"/>
                  </a:lnTo>
                  <a:lnTo>
                    <a:pt x="94" y="24"/>
                  </a:lnTo>
                  <a:lnTo>
                    <a:pt x="94" y="24"/>
                  </a:lnTo>
                  <a:lnTo>
                    <a:pt x="94" y="24"/>
                  </a:lnTo>
                  <a:lnTo>
                    <a:pt x="96" y="26"/>
                  </a:lnTo>
                  <a:lnTo>
                    <a:pt x="96" y="26"/>
                  </a:lnTo>
                  <a:lnTo>
                    <a:pt x="96" y="28"/>
                  </a:lnTo>
                  <a:lnTo>
                    <a:pt x="96" y="28"/>
                  </a:lnTo>
                  <a:lnTo>
                    <a:pt x="96" y="32"/>
                  </a:lnTo>
                  <a:lnTo>
                    <a:pt x="94" y="34"/>
                  </a:lnTo>
                  <a:lnTo>
                    <a:pt x="94" y="36"/>
                  </a:lnTo>
                  <a:lnTo>
                    <a:pt x="94" y="40"/>
                  </a:lnTo>
                  <a:lnTo>
                    <a:pt x="92" y="42"/>
                  </a:lnTo>
                  <a:lnTo>
                    <a:pt x="92" y="44"/>
                  </a:lnTo>
                  <a:lnTo>
                    <a:pt x="90" y="44"/>
                  </a:lnTo>
                  <a:lnTo>
                    <a:pt x="90" y="44"/>
                  </a:lnTo>
                  <a:lnTo>
                    <a:pt x="90" y="46"/>
                  </a:lnTo>
                  <a:lnTo>
                    <a:pt x="88" y="46"/>
                  </a:lnTo>
                  <a:lnTo>
                    <a:pt x="88" y="46"/>
                  </a:lnTo>
                  <a:lnTo>
                    <a:pt x="86" y="48"/>
                  </a:lnTo>
                  <a:lnTo>
                    <a:pt x="86" y="50"/>
                  </a:lnTo>
                  <a:lnTo>
                    <a:pt x="86" y="52"/>
                  </a:lnTo>
                  <a:lnTo>
                    <a:pt x="86" y="54"/>
                  </a:lnTo>
                  <a:lnTo>
                    <a:pt x="84" y="58"/>
                  </a:lnTo>
                  <a:lnTo>
                    <a:pt x="84" y="60"/>
                  </a:lnTo>
                  <a:lnTo>
                    <a:pt x="86" y="64"/>
                  </a:lnTo>
                  <a:lnTo>
                    <a:pt x="86" y="70"/>
                  </a:lnTo>
                  <a:lnTo>
                    <a:pt x="86" y="76"/>
                  </a:lnTo>
                  <a:lnTo>
                    <a:pt x="86" y="82"/>
                  </a:lnTo>
                  <a:lnTo>
                    <a:pt x="86" y="86"/>
                  </a:lnTo>
                  <a:lnTo>
                    <a:pt x="86" y="88"/>
                  </a:lnTo>
                  <a:lnTo>
                    <a:pt x="86" y="90"/>
                  </a:lnTo>
                  <a:lnTo>
                    <a:pt x="86" y="94"/>
                  </a:lnTo>
                  <a:lnTo>
                    <a:pt x="84" y="94"/>
                  </a:lnTo>
                  <a:lnTo>
                    <a:pt x="84" y="96"/>
                  </a:lnTo>
                  <a:lnTo>
                    <a:pt x="82" y="98"/>
                  </a:lnTo>
                  <a:lnTo>
                    <a:pt x="82" y="100"/>
                  </a:lnTo>
                  <a:lnTo>
                    <a:pt x="82" y="100"/>
                  </a:lnTo>
                  <a:lnTo>
                    <a:pt x="80" y="102"/>
                  </a:lnTo>
                  <a:lnTo>
                    <a:pt x="78" y="104"/>
                  </a:lnTo>
                  <a:lnTo>
                    <a:pt x="76" y="104"/>
                  </a:lnTo>
                  <a:lnTo>
                    <a:pt x="76" y="106"/>
                  </a:lnTo>
                  <a:lnTo>
                    <a:pt x="76" y="106"/>
                  </a:lnTo>
                  <a:lnTo>
                    <a:pt x="76" y="108"/>
                  </a:lnTo>
                  <a:lnTo>
                    <a:pt x="76" y="110"/>
                  </a:lnTo>
                  <a:lnTo>
                    <a:pt x="76" y="114"/>
                  </a:lnTo>
                  <a:lnTo>
                    <a:pt x="76" y="116"/>
                  </a:lnTo>
                  <a:lnTo>
                    <a:pt x="76" y="118"/>
                  </a:lnTo>
                  <a:lnTo>
                    <a:pt x="76" y="122"/>
                  </a:lnTo>
                  <a:lnTo>
                    <a:pt x="76" y="122"/>
                  </a:lnTo>
                  <a:lnTo>
                    <a:pt x="76" y="124"/>
                  </a:lnTo>
                  <a:lnTo>
                    <a:pt x="74" y="124"/>
                  </a:lnTo>
                  <a:lnTo>
                    <a:pt x="74" y="126"/>
                  </a:lnTo>
                  <a:lnTo>
                    <a:pt x="74" y="126"/>
                  </a:lnTo>
                  <a:lnTo>
                    <a:pt x="74" y="126"/>
                  </a:lnTo>
                  <a:lnTo>
                    <a:pt x="72" y="126"/>
                  </a:lnTo>
                  <a:lnTo>
                    <a:pt x="70" y="126"/>
                  </a:lnTo>
                  <a:lnTo>
                    <a:pt x="68" y="126"/>
                  </a:lnTo>
                  <a:lnTo>
                    <a:pt x="66" y="126"/>
                  </a:lnTo>
                  <a:lnTo>
                    <a:pt x="66" y="126"/>
                  </a:lnTo>
                  <a:lnTo>
                    <a:pt x="64" y="126"/>
                  </a:lnTo>
                  <a:lnTo>
                    <a:pt x="64" y="126"/>
                  </a:lnTo>
                  <a:lnTo>
                    <a:pt x="64" y="126"/>
                  </a:lnTo>
                  <a:lnTo>
                    <a:pt x="62" y="128"/>
                  </a:lnTo>
                  <a:lnTo>
                    <a:pt x="62" y="128"/>
                  </a:lnTo>
                  <a:lnTo>
                    <a:pt x="62" y="130"/>
                  </a:lnTo>
                  <a:lnTo>
                    <a:pt x="62" y="132"/>
                  </a:lnTo>
                  <a:lnTo>
                    <a:pt x="62" y="132"/>
                  </a:lnTo>
                  <a:lnTo>
                    <a:pt x="62" y="134"/>
                  </a:lnTo>
                  <a:lnTo>
                    <a:pt x="62" y="138"/>
                  </a:lnTo>
                  <a:lnTo>
                    <a:pt x="62" y="142"/>
                  </a:lnTo>
                  <a:lnTo>
                    <a:pt x="62" y="144"/>
                  </a:lnTo>
                  <a:lnTo>
                    <a:pt x="62" y="146"/>
                  </a:lnTo>
                  <a:lnTo>
                    <a:pt x="62" y="148"/>
                  </a:lnTo>
                  <a:lnTo>
                    <a:pt x="62" y="148"/>
                  </a:lnTo>
                  <a:lnTo>
                    <a:pt x="62" y="150"/>
                  </a:lnTo>
                  <a:lnTo>
                    <a:pt x="62" y="150"/>
                  </a:lnTo>
                  <a:lnTo>
                    <a:pt x="60" y="150"/>
                  </a:lnTo>
                  <a:lnTo>
                    <a:pt x="60" y="152"/>
                  </a:lnTo>
                  <a:lnTo>
                    <a:pt x="58" y="152"/>
                  </a:lnTo>
                  <a:lnTo>
                    <a:pt x="56" y="152"/>
                  </a:lnTo>
                  <a:lnTo>
                    <a:pt x="54" y="154"/>
                  </a:lnTo>
                  <a:lnTo>
                    <a:pt x="52" y="154"/>
                  </a:lnTo>
                  <a:lnTo>
                    <a:pt x="50" y="154"/>
                  </a:lnTo>
                  <a:lnTo>
                    <a:pt x="48" y="156"/>
                  </a:lnTo>
                  <a:lnTo>
                    <a:pt x="46" y="156"/>
                  </a:lnTo>
                  <a:lnTo>
                    <a:pt x="46" y="156"/>
                  </a:lnTo>
                  <a:lnTo>
                    <a:pt x="46" y="156"/>
                  </a:lnTo>
                  <a:lnTo>
                    <a:pt x="46" y="158"/>
                  </a:lnTo>
                  <a:lnTo>
                    <a:pt x="44" y="158"/>
                  </a:lnTo>
                  <a:lnTo>
                    <a:pt x="44" y="160"/>
                  </a:lnTo>
                  <a:lnTo>
                    <a:pt x="44" y="160"/>
                  </a:lnTo>
                  <a:lnTo>
                    <a:pt x="42" y="162"/>
                  </a:lnTo>
                  <a:lnTo>
                    <a:pt x="42" y="162"/>
                  </a:lnTo>
                  <a:lnTo>
                    <a:pt x="40" y="162"/>
                  </a:lnTo>
                  <a:lnTo>
                    <a:pt x="38" y="162"/>
                  </a:lnTo>
                  <a:lnTo>
                    <a:pt x="38" y="162"/>
                  </a:lnTo>
                  <a:lnTo>
                    <a:pt x="36" y="162"/>
                  </a:lnTo>
                  <a:lnTo>
                    <a:pt x="34" y="162"/>
                  </a:lnTo>
                  <a:lnTo>
                    <a:pt x="32" y="162"/>
                  </a:lnTo>
                  <a:lnTo>
                    <a:pt x="30" y="160"/>
                  </a:lnTo>
                  <a:lnTo>
                    <a:pt x="30" y="160"/>
                  </a:lnTo>
                  <a:lnTo>
                    <a:pt x="28" y="158"/>
                  </a:lnTo>
                  <a:lnTo>
                    <a:pt x="26" y="158"/>
                  </a:lnTo>
                  <a:lnTo>
                    <a:pt x="24" y="156"/>
                  </a:lnTo>
                  <a:lnTo>
                    <a:pt x="24" y="156"/>
                  </a:lnTo>
                  <a:lnTo>
                    <a:pt x="22" y="156"/>
                  </a:lnTo>
                  <a:lnTo>
                    <a:pt x="22" y="158"/>
                  </a:lnTo>
                  <a:lnTo>
                    <a:pt x="20" y="158"/>
                  </a:lnTo>
                  <a:lnTo>
                    <a:pt x="20" y="158"/>
                  </a:lnTo>
                  <a:lnTo>
                    <a:pt x="16" y="160"/>
                  </a:lnTo>
                  <a:lnTo>
                    <a:pt x="14" y="162"/>
                  </a:lnTo>
                  <a:lnTo>
                    <a:pt x="10" y="162"/>
                  </a:lnTo>
                  <a:lnTo>
                    <a:pt x="8" y="164"/>
                  </a:lnTo>
                  <a:lnTo>
                    <a:pt x="6" y="164"/>
                  </a:lnTo>
                  <a:lnTo>
                    <a:pt x="4" y="166"/>
                  </a:lnTo>
                  <a:lnTo>
                    <a:pt x="0" y="166"/>
                  </a:lnTo>
                  <a:lnTo>
                    <a:pt x="4" y="172"/>
                  </a:lnTo>
                  <a:lnTo>
                    <a:pt x="4" y="172"/>
                  </a:lnTo>
                  <a:lnTo>
                    <a:pt x="6" y="172"/>
                  </a:lnTo>
                  <a:lnTo>
                    <a:pt x="6" y="172"/>
                  </a:lnTo>
                  <a:lnTo>
                    <a:pt x="6" y="1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0" name="Freeform 397"/>
            <p:cNvSpPr>
              <a:spLocks/>
            </p:cNvSpPr>
            <p:nvPr/>
          </p:nvSpPr>
          <p:spPr bwMode="auto">
            <a:xfrm>
              <a:off x="4570593" y="4504181"/>
              <a:ext cx="488445" cy="543872"/>
            </a:xfrm>
            <a:custGeom>
              <a:avLst/>
              <a:gdLst>
                <a:gd name="T0" fmla="*/ 0 w 282"/>
                <a:gd name="T1" fmla="*/ 176 h 314"/>
                <a:gd name="T2" fmla="*/ 26 w 282"/>
                <a:gd name="T3" fmla="*/ 186 h 314"/>
                <a:gd name="T4" fmla="*/ 56 w 282"/>
                <a:gd name="T5" fmla="*/ 178 h 314"/>
                <a:gd name="T6" fmla="*/ 72 w 282"/>
                <a:gd name="T7" fmla="*/ 188 h 314"/>
                <a:gd name="T8" fmla="*/ 76 w 282"/>
                <a:gd name="T9" fmla="*/ 208 h 314"/>
                <a:gd name="T10" fmla="*/ 82 w 282"/>
                <a:gd name="T11" fmla="*/ 218 h 314"/>
                <a:gd name="T12" fmla="*/ 96 w 282"/>
                <a:gd name="T13" fmla="*/ 222 h 314"/>
                <a:gd name="T14" fmla="*/ 110 w 282"/>
                <a:gd name="T15" fmla="*/ 216 h 314"/>
                <a:gd name="T16" fmla="*/ 112 w 282"/>
                <a:gd name="T17" fmla="*/ 200 h 314"/>
                <a:gd name="T18" fmla="*/ 120 w 282"/>
                <a:gd name="T19" fmla="*/ 200 h 314"/>
                <a:gd name="T20" fmla="*/ 126 w 282"/>
                <a:gd name="T21" fmla="*/ 214 h 314"/>
                <a:gd name="T22" fmla="*/ 140 w 282"/>
                <a:gd name="T23" fmla="*/ 208 h 314"/>
                <a:gd name="T24" fmla="*/ 146 w 282"/>
                <a:gd name="T25" fmla="*/ 232 h 314"/>
                <a:gd name="T26" fmla="*/ 150 w 282"/>
                <a:gd name="T27" fmla="*/ 264 h 314"/>
                <a:gd name="T28" fmla="*/ 170 w 282"/>
                <a:gd name="T29" fmla="*/ 268 h 314"/>
                <a:gd name="T30" fmla="*/ 190 w 282"/>
                <a:gd name="T31" fmla="*/ 272 h 314"/>
                <a:gd name="T32" fmla="*/ 196 w 282"/>
                <a:gd name="T33" fmla="*/ 288 h 314"/>
                <a:gd name="T34" fmla="*/ 204 w 282"/>
                <a:gd name="T35" fmla="*/ 280 h 314"/>
                <a:gd name="T36" fmla="*/ 216 w 282"/>
                <a:gd name="T37" fmla="*/ 276 h 314"/>
                <a:gd name="T38" fmla="*/ 222 w 282"/>
                <a:gd name="T39" fmla="*/ 286 h 314"/>
                <a:gd name="T40" fmla="*/ 230 w 282"/>
                <a:gd name="T41" fmla="*/ 300 h 314"/>
                <a:gd name="T42" fmla="*/ 244 w 282"/>
                <a:gd name="T43" fmla="*/ 314 h 314"/>
                <a:gd name="T44" fmla="*/ 256 w 282"/>
                <a:gd name="T45" fmla="*/ 304 h 314"/>
                <a:gd name="T46" fmla="*/ 254 w 282"/>
                <a:gd name="T47" fmla="*/ 284 h 314"/>
                <a:gd name="T48" fmla="*/ 240 w 282"/>
                <a:gd name="T49" fmla="*/ 280 h 314"/>
                <a:gd name="T50" fmla="*/ 238 w 282"/>
                <a:gd name="T51" fmla="*/ 254 h 314"/>
                <a:gd name="T52" fmla="*/ 250 w 282"/>
                <a:gd name="T53" fmla="*/ 222 h 314"/>
                <a:gd name="T54" fmla="*/ 262 w 282"/>
                <a:gd name="T55" fmla="*/ 208 h 314"/>
                <a:gd name="T56" fmla="*/ 258 w 282"/>
                <a:gd name="T57" fmla="*/ 178 h 314"/>
                <a:gd name="T58" fmla="*/ 256 w 282"/>
                <a:gd name="T59" fmla="*/ 154 h 314"/>
                <a:gd name="T60" fmla="*/ 248 w 282"/>
                <a:gd name="T61" fmla="*/ 136 h 314"/>
                <a:gd name="T62" fmla="*/ 240 w 282"/>
                <a:gd name="T63" fmla="*/ 130 h 314"/>
                <a:gd name="T64" fmla="*/ 246 w 282"/>
                <a:gd name="T65" fmla="*/ 118 h 314"/>
                <a:gd name="T66" fmla="*/ 244 w 282"/>
                <a:gd name="T67" fmla="*/ 108 h 314"/>
                <a:gd name="T68" fmla="*/ 254 w 282"/>
                <a:gd name="T69" fmla="*/ 82 h 314"/>
                <a:gd name="T70" fmla="*/ 262 w 282"/>
                <a:gd name="T71" fmla="*/ 66 h 314"/>
                <a:gd name="T72" fmla="*/ 282 w 282"/>
                <a:gd name="T73" fmla="*/ 56 h 314"/>
                <a:gd name="T74" fmla="*/ 276 w 282"/>
                <a:gd name="T75" fmla="*/ 48 h 314"/>
                <a:gd name="T76" fmla="*/ 272 w 282"/>
                <a:gd name="T77" fmla="*/ 42 h 314"/>
                <a:gd name="T78" fmla="*/ 264 w 282"/>
                <a:gd name="T79" fmla="*/ 20 h 314"/>
                <a:gd name="T80" fmla="*/ 250 w 282"/>
                <a:gd name="T81" fmla="*/ 10 h 314"/>
                <a:gd name="T82" fmla="*/ 222 w 282"/>
                <a:gd name="T83" fmla="*/ 8 h 314"/>
                <a:gd name="T84" fmla="*/ 208 w 282"/>
                <a:gd name="T85" fmla="*/ 0 h 314"/>
                <a:gd name="T86" fmla="*/ 182 w 282"/>
                <a:gd name="T87" fmla="*/ 2 h 314"/>
                <a:gd name="T88" fmla="*/ 176 w 282"/>
                <a:gd name="T89" fmla="*/ 6 h 314"/>
                <a:gd name="T90" fmla="*/ 152 w 282"/>
                <a:gd name="T91" fmla="*/ 8 h 314"/>
                <a:gd name="T92" fmla="*/ 144 w 282"/>
                <a:gd name="T93" fmla="*/ 16 h 314"/>
                <a:gd name="T94" fmla="*/ 122 w 282"/>
                <a:gd name="T95" fmla="*/ 20 h 314"/>
                <a:gd name="T96" fmla="*/ 114 w 282"/>
                <a:gd name="T97" fmla="*/ 8 h 314"/>
                <a:gd name="T98" fmla="*/ 102 w 282"/>
                <a:gd name="T99" fmla="*/ 8 h 314"/>
                <a:gd name="T100" fmla="*/ 86 w 282"/>
                <a:gd name="T101" fmla="*/ 22 h 314"/>
                <a:gd name="T102" fmla="*/ 96 w 282"/>
                <a:gd name="T103" fmla="*/ 32 h 314"/>
                <a:gd name="T104" fmla="*/ 86 w 282"/>
                <a:gd name="T105" fmla="*/ 48 h 314"/>
                <a:gd name="T106" fmla="*/ 86 w 282"/>
                <a:gd name="T107" fmla="*/ 88 h 314"/>
                <a:gd name="T108" fmla="*/ 76 w 282"/>
                <a:gd name="T109" fmla="*/ 106 h 314"/>
                <a:gd name="T110" fmla="*/ 74 w 282"/>
                <a:gd name="T111" fmla="*/ 126 h 314"/>
                <a:gd name="T112" fmla="*/ 62 w 282"/>
                <a:gd name="T113" fmla="*/ 128 h 314"/>
                <a:gd name="T114" fmla="*/ 62 w 282"/>
                <a:gd name="T115" fmla="*/ 148 h 314"/>
                <a:gd name="T116" fmla="*/ 46 w 282"/>
                <a:gd name="T117" fmla="*/ 156 h 314"/>
                <a:gd name="T118" fmla="*/ 38 w 282"/>
                <a:gd name="T119" fmla="*/ 162 h 314"/>
                <a:gd name="T120" fmla="*/ 22 w 282"/>
                <a:gd name="T121" fmla="*/ 158 h 314"/>
                <a:gd name="T122" fmla="*/ 4 w 282"/>
                <a:gd name="T123" fmla="*/ 17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4">
                  <a:moveTo>
                    <a:pt x="6" y="172"/>
                  </a:moveTo>
                  <a:lnTo>
                    <a:pt x="6" y="172"/>
                  </a:lnTo>
                  <a:lnTo>
                    <a:pt x="6" y="172"/>
                  </a:lnTo>
                  <a:lnTo>
                    <a:pt x="6" y="172"/>
                  </a:lnTo>
                  <a:lnTo>
                    <a:pt x="6" y="174"/>
                  </a:lnTo>
                  <a:lnTo>
                    <a:pt x="4" y="174"/>
                  </a:lnTo>
                  <a:lnTo>
                    <a:pt x="4" y="174"/>
                  </a:lnTo>
                  <a:lnTo>
                    <a:pt x="2" y="174"/>
                  </a:lnTo>
                  <a:lnTo>
                    <a:pt x="2" y="176"/>
                  </a:lnTo>
                  <a:lnTo>
                    <a:pt x="0" y="176"/>
                  </a:lnTo>
                  <a:lnTo>
                    <a:pt x="0" y="176"/>
                  </a:lnTo>
                  <a:lnTo>
                    <a:pt x="0" y="178"/>
                  </a:lnTo>
                  <a:lnTo>
                    <a:pt x="0" y="180"/>
                  </a:lnTo>
                  <a:lnTo>
                    <a:pt x="0" y="182"/>
                  </a:lnTo>
                  <a:lnTo>
                    <a:pt x="2" y="182"/>
                  </a:lnTo>
                  <a:lnTo>
                    <a:pt x="4" y="184"/>
                  </a:lnTo>
                  <a:lnTo>
                    <a:pt x="6" y="184"/>
                  </a:lnTo>
                  <a:lnTo>
                    <a:pt x="12" y="184"/>
                  </a:lnTo>
                  <a:lnTo>
                    <a:pt x="16" y="184"/>
                  </a:lnTo>
                  <a:lnTo>
                    <a:pt x="20" y="186"/>
                  </a:lnTo>
                  <a:lnTo>
                    <a:pt x="22" y="186"/>
                  </a:lnTo>
                  <a:lnTo>
                    <a:pt x="26" y="186"/>
                  </a:lnTo>
                  <a:lnTo>
                    <a:pt x="28" y="184"/>
                  </a:lnTo>
                  <a:lnTo>
                    <a:pt x="28" y="184"/>
                  </a:lnTo>
                  <a:lnTo>
                    <a:pt x="30" y="184"/>
                  </a:lnTo>
                  <a:lnTo>
                    <a:pt x="34" y="182"/>
                  </a:lnTo>
                  <a:lnTo>
                    <a:pt x="38" y="180"/>
                  </a:lnTo>
                  <a:lnTo>
                    <a:pt x="40" y="180"/>
                  </a:lnTo>
                  <a:lnTo>
                    <a:pt x="42" y="180"/>
                  </a:lnTo>
                  <a:lnTo>
                    <a:pt x="46" y="180"/>
                  </a:lnTo>
                  <a:lnTo>
                    <a:pt x="48" y="178"/>
                  </a:lnTo>
                  <a:lnTo>
                    <a:pt x="52" y="178"/>
                  </a:lnTo>
                  <a:lnTo>
                    <a:pt x="56" y="178"/>
                  </a:lnTo>
                  <a:lnTo>
                    <a:pt x="60" y="180"/>
                  </a:lnTo>
                  <a:lnTo>
                    <a:pt x="62" y="180"/>
                  </a:lnTo>
                  <a:lnTo>
                    <a:pt x="64" y="180"/>
                  </a:lnTo>
                  <a:lnTo>
                    <a:pt x="66" y="180"/>
                  </a:lnTo>
                  <a:lnTo>
                    <a:pt x="66" y="182"/>
                  </a:lnTo>
                  <a:lnTo>
                    <a:pt x="68" y="182"/>
                  </a:lnTo>
                  <a:lnTo>
                    <a:pt x="70" y="182"/>
                  </a:lnTo>
                  <a:lnTo>
                    <a:pt x="70" y="184"/>
                  </a:lnTo>
                  <a:lnTo>
                    <a:pt x="70" y="184"/>
                  </a:lnTo>
                  <a:lnTo>
                    <a:pt x="72" y="186"/>
                  </a:lnTo>
                  <a:lnTo>
                    <a:pt x="72" y="188"/>
                  </a:lnTo>
                  <a:lnTo>
                    <a:pt x="72" y="190"/>
                  </a:lnTo>
                  <a:lnTo>
                    <a:pt x="72" y="190"/>
                  </a:lnTo>
                  <a:lnTo>
                    <a:pt x="72" y="194"/>
                  </a:lnTo>
                  <a:lnTo>
                    <a:pt x="72" y="198"/>
                  </a:lnTo>
                  <a:lnTo>
                    <a:pt x="72" y="202"/>
                  </a:lnTo>
                  <a:lnTo>
                    <a:pt x="74" y="204"/>
                  </a:lnTo>
                  <a:lnTo>
                    <a:pt x="74" y="204"/>
                  </a:lnTo>
                  <a:lnTo>
                    <a:pt x="74" y="206"/>
                  </a:lnTo>
                  <a:lnTo>
                    <a:pt x="74" y="206"/>
                  </a:lnTo>
                  <a:lnTo>
                    <a:pt x="76" y="208"/>
                  </a:lnTo>
                  <a:lnTo>
                    <a:pt x="76" y="208"/>
                  </a:lnTo>
                  <a:lnTo>
                    <a:pt x="78" y="208"/>
                  </a:lnTo>
                  <a:lnTo>
                    <a:pt x="80" y="208"/>
                  </a:lnTo>
                  <a:lnTo>
                    <a:pt x="80" y="210"/>
                  </a:lnTo>
                  <a:lnTo>
                    <a:pt x="82" y="210"/>
                  </a:lnTo>
                  <a:lnTo>
                    <a:pt x="82" y="210"/>
                  </a:lnTo>
                  <a:lnTo>
                    <a:pt x="82" y="210"/>
                  </a:lnTo>
                  <a:lnTo>
                    <a:pt x="82" y="212"/>
                  </a:lnTo>
                  <a:lnTo>
                    <a:pt x="82" y="212"/>
                  </a:lnTo>
                  <a:lnTo>
                    <a:pt x="82" y="214"/>
                  </a:lnTo>
                  <a:lnTo>
                    <a:pt x="82" y="216"/>
                  </a:lnTo>
                  <a:lnTo>
                    <a:pt x="82" y="218"/>
                  </a:lnTo>
                  <a:lnTo>
                    <a:pt x="82" y="218"/>
                  </a:lnTo>
                  <a:lnTo>
                    <a:pt x="82" y="218"/>
                  </a:lnTo>
                  <a:lnTo>
                    <a:pt x="82" y="218"/>
                  </a:lnTo>
                  <a:lnTo>
                    <a:pt x="84" y="220"/>
                  </a:lnTo>
                  <a:lnTo>
                    <a:pt x="84" y="220"/>
                  </a:lnTo>
                  <a:lnTo>
                    <a:pt x="86" y="220"/>
                  </a:lnTo>
                  <a:lnTo>
                    <a:pt x="88" y="222"/>
                  </a:lnTo>
                  <a:lnTo>
                    <a:pt x="90" y="222"/>
                  </a:lnTo>
                  <a:lnTo>
                    <a:pt x="92" y="222"/>
                  </a:lnTo>
                  <a:lnTo>
                    <a:pt x="94" y="222"/>
                  </a:lnTo>
                  <a:lnTo>
                    <a:pt x="96" y="222"/>
                  </a:lnTo>
                  <a:lnTo>
                    <a:pt x="98" y="222"/>
                  </a:lnTo>
                  <a:lnTo>
                    <a:pt x="100" y="222"/>
                  </a:lnTo>
                  <a:lnTo>
                    <a:pt x="102" y="222"/>
                  </a:lnTo>
                  <a:lnTo>
                    <a:pt x="102" y="220"/>
                  </a:lnTo>
                  <a:lnTo>
                    <a:pt x="104" y="220"/>
                  </a:lnTo>
                  <a:lnTo>
                    <a:pt x="106" y="220"/>
                  </a:lnTo>
                  <a:lnTo>
                    <a:pt x="108" y="220"/>
                  </a:lnTo>
                  <a:lnTo>
                    <a:pt x="108" y="218"/>
                  </a:lnTo>
                  <a:lnTo>
                    <a:pt x="108" y="218"/>
                  </a:lnTo>
                  <a:lnTo>
                    <a:pt x="110" y="218"/>
                  </a:lnTo>
                  <a:lnTo>
                    <a:pt x="110" y="216"/>
                  </a:lnTo>
                  <a:lnTo>
                    <a:pt x="110" y="216"/>
                  </a:lnTo>
                  <a:lnTo>
                    <a:pt x="110" y="212"/>
                  </a:lnTo>
                  <a:lnTo>
                    <a:pt x="110" y="210"/>
                  </a:lnTo>
                  <a:lnTo>
                    <a:pt x="110" y="208"/>
                  </a:lnTo>
                  <a:lnTo>
                    <a:pt x="108" y="206"/>
                  </a:lnTo>
                  <a:lnTo>
                    <a:pt x="110" y="204"/>
                  </a:lnTo>
                  <a:lnTo>
                    <a:pt x="110" y="202"/>
                  </a:lnTo>
                  <a:lnTo>
                    <a:pt x="110" y="202"/>
                  </a:lnTo>
                  <a:lnTo>
                    <a:pt x="110" y="202"/>
                  </a:lnTo>
                  <a:lnTo>
                    <a:pt x="110" y="200"/>
                  </a:lnTo>
                  <a:lnTo>
                    <a:pt x="112" y="200"/>
                  </a:lnTo>
                  <a:lnTo>
                    <a:pt x="112" y="198"/>
                  </a:lnTo>
                  <a:lnTo>
                    <a:pt x="114" y="198"/>
                  </a:lnTo>
                  <a:lnTo>
                    <a:pt x="114" y="196"/>
                  </a:lnTo>
                  <a:lnTo>
                    <a:pt x="116" y="196"/>
                  </a:lnTo>
                  <a:lnTo>
                    <a:pt x="116" y="196"/>
                  </a:lnTo>
                  <a:lnTo>
                    <a:pt x="116" y="196"/>
                  </a:lnTo>
                  <a:lnTo>
                    <a:pt x="118" y="196"/>
                  </a:lnTo>
                  <a:lnTo>
                    <a:pt x="118" y="198"/>
                  </a:lnTo>
                  <a:lnTo>
                    <a:pt x="118" y="198"/>
                  </a:lnTo>
                  <a:lnTo>
                    <a:pt x="118" y="200"/>
                  </a:lnTo>
                  <a:lnTo>
                    <a:pt x="120" y="200"/>
                  </a:lnTo>
                  <a:lnTo>
                    <a:pt x="120" y="202"/>
                  </a:lnTo>
                  <a:lnTo>
                    <a:pt x="120" y="206"/>
                  </a:lnTo>
                  <a:lnTo>
                    <a:pt x="120" y="208"/>
                  </a:lnTo>
                  <a:lnTo>
                    <a:pt x="122" y="210"/>
                  </a:lnTo>
                  <a:lnTo>
                    <a:pt x="122" y="212"/>
                  </a:lnTo>
                  <a:lnTo>
                    <a:pt x="122" y="212"/>
                  </a:lnTo>
                  <a:lnTo>
                    <a:pt x="124" y="214"/>
                  </a:lnTo>
                  <a:lnTo>
                    <a:pt x="124" y="214"/>
                  </a:lnTo>
                  <a:lnTo>
                    <a:pt x="124" y="214"/>
                  </a:lnTo>
                  <a:lnTo>
                    <a:pt x="124" y="214"/>
                  </a:lnTo>
                  <a:lnTo>
                    <a:pt x="126" y="214"/>
                  </a:lnTo>
                  <a:lnTo>
                    <a:pt x="126" y="212"/>
                  </a:lnTo>
                  <a:lnTo>
                    <a:pt x="128" y="212"/>
                  </a:lnTo>
                  <a:lnTo>
                    <a:pt x="128" y="210"/>
                  </a:lnTo>
                  <a:lnTo>
                    <a:pt x="130" y="210"/>
                  </a:lnTo>
                  <a:lnTo>
                    <a:pt x="130" y="210"/>
                  </a:lnTo>
                  <a:lnTo>
                    <a:pt x="132" y="208"/>
                  </a:lnTo>
                  <a:lnTo>
                    <a:pt x="134" y="208"/>
                  </a:lnTo>
                  <a:lnTo>
                    <a:pt x="136" y="208"/>
                  </a:lnTo>
                  <a:lnTo>
                    <a:pt x="138" y="208"/>
                  </a:lnTo>
                  <a:lnTo>
                    <a:pt x="138" y="208"/>
                  </a:lnTo>
                  <a:lnTo>
                    <a:pt x="140" y="208"/>
                  </a:lnTo>
                  <a:lnTo>
                    <a:pt x="140" y="208"/>
                  </a:lnTo>
                  <a:lnTo>
                    <a:pt x="142" y="210"/>
                  </a:lnTo>
                  <a:lnTo>
                    <a:pt x="142" y="210"/>
                  </a:lnTo>
                  <a:lnTo>
                    <a:pt x="144" y="212"/>
                  </a:lnTo>
                  <a:lnTo>
                    <a:pt x="144" y="214"/>
                  </a:lnTo>
                  <a:lnTo>
                    <a:pt x="146" y="216"/>
                  </a:lnTo>
                  <a:lnTo>
                    <a:pt x="146" y="218"/>
                  </a:lnTo>
                  <a:lnTo>
                    <a:pt x="146" y="220"/>
                  </a:lnTo>
                  <a:lnTo>
                    <a:pt x="146" y="224"/>
                  </a:lnTo>
                  <a:lnTo>
                    <a:pt x="146" y="228"/>
                  </a:lnTo>
                  <a:lnTo>
                    <a:pt x="146" y="232"/>
                  </a:lnTo>
                  <a:lnTo>
                    <a:pt x="146" y="242"/>
                  </a:lnTo>
                  <a:lnTo>
                    <a:pt x="146" y="250"/>
                  </a:lnTo>
                  <a:lnTo>
                    <a:pt x="146" y="252"/>
                  </a:lnTo>
                  <a:lnTo>
                    <a:pt x="146" y="256"/>
                  </a:lnTo>
                  <a:lnTo>
                    <a:pt x="146" y="256"/>
                  </a:lnTo>
                  <a:lnTo>
                    <a:pt x="146" y="258"/>
                  </a:lnTo>
                  <a:lnTo>
                    <a:pt x="146" y="260"/>
                  </a:lnTo>
                  <a:lnTo>
                    <a:pt x="146" y="262"/>
                  </a:lnTo>
                  <a:lnTo>
                    <a:pt x="148" y="262"/>
                  </a:lnTo>
                  <a:lnTo>
                    <a:pt x="148" y="264"/>
                  </a:lnTo>
                  <a:lnTo>
                    <a:pt x="150" y="264"/>
                  </a:lnTo>
                  <a:lnTo>
                    <a:pt x="150" y="266"/>
                  </a:lnTo>
                  <a:lnTo>
                    <a:pt x="152" y="266"/>
                  </a:lnTo>
                  <a:lnTo>
                    <a:pt x="152" y="268"/>
                  </a:lnTo>
                  <a:lnTo>
                    <a:pt x="154" y="268"/>
                  </a:lnTo>
                  <a:lnTo>
                    <a:pt x="156" y="268"/>
                  </a:lnTo>
                  <a:lnTo>
                    <a:pt x="156" y="268"/>
                  </a:lnTo>
                  <a:lnTo>
                    <a:pt x="158" y="270"/>
                  </a:lnTo>
                  <a:lnTo>
                    <a:pt x="160" y="270"/>
                  </a:lnTo>
                  <a:lnTo>
                    <a:pt x="162" y="270"/>
                  </a:lnTo>
                  <a:lnTo>
                    <a:pt x="166" y="270"/>
                  </a:lnTo>
                  <a:lnTo>
                    <a:pt x="170" y="268"/>
                  </a:lnTo>
                  <a:lnTo>
                    <a:pt x="172" y="268"/>
                  </a:lnTo>
                  <a:lnTo>
                    <a:pt x="174" y="268"/>
                  </a:lnTo>
                  <a:lnTo>
                    <a:pt x="180" y="268"/>
                  </a:lnTo>
                  <a:lnTo>
                    <a:pt x="182" y="268"/>
                  </a:lnTo>
                  <a:lnTo>
                    <a:pt x="184" y="270"/>
                  </a:lnTo>
                  <a:lnTo>
                    <a:pt x="186" y="270"/>
                  </a:lnTo>
                  <a:lnTo>
                    <a:pt x="188" y="270"/>
                  </a:lnTo>
                  <a:lnTo>
                    <a:pt x="188" y="270"/>
                  </a:lnTo>
                  <a:lnTo>
                    <a:pt x="188" y="272"/>
                  </a:lnTo>
                  <a:lnTo>
                    <a:pt x="188" y="272"/>
                  </a:lnTo>
                  <a:lnTo>
                    <a:pt x="190" y="272"/>
                  </a:lnTo>
                  <a:lnTo>
                    <a:pt x="190" y="274"/>
                  </a:lnTo>
                  <a:lnTo>
                    <a:pt x="190" y="276"/>
                  </a:lnTo>
                  <a:lnTo>
                    <a:pt x="190" y="278"/>
                  </a:lnTo>
                  <a:lnTo>
                    <a:pt x="190" y="280"/>
                  </a:lnTo>
                  <a:lnTo>
                    <a:pt x="192" y="282"/>
                  </a:lnTo>
                  <a:lnTo>
                    <a:pt x="192" y="284"/>
                  </a:lnTo>
                  <a:lnTo>
                    <a:pt x="192" y="286"/>
                  </a:lnTo>
                  <a:lnTo>
                    <a:pt x="192" y="286"/>
                  </a:lnTo>
                  <a:lnTo>
                    <a:pt x="192" y="286"/>
                  </a:lnTo>
                  <a:lnTo>
                    <a:pt x="194" y="286"/>
                  </a:lnTo>
                  <a:lnTo>
                    <a:pt x="196" y="288"/>
                  </a:lnTo>
                  <a:lnTo>
                    <a:pt x="196" y="288"/>
                  </a:lnTo>
                  <a:lnTo>
                    <a:pt x="198" y="288"/>
                  </a:lnTo>
                  <a:lnTo>
                    <a:pt x="198" y="288"/>
                  </a:lnTo>
                  <a:lnTo>
                    <a:pt x="200" y="288"/>
                  </a:lnTo>
                  <a:lnTo>
                    <a:pt x="200" y="288"/>
                  </a:lnTo>
                  <a:lnTo>
                    <a:pt x="200" y="288"/>
                  </a:lnTo>
                  <a:lnTo>
                    <a:pt x="200" y="286"/>
                  </a:lnTo>
                  <a:lnTo>
                    <a:pt x="202" y="286"/>
                  </a:lnTo>
                  <a:lnTo>
                    <a:pt x="202" y="284"/>
                  </a:lnTo>
                  <a:lnTo>
                    <a:pt x="202" y="282"/>
                  </a:lnTo>
                  <a:lnTo>
                    <a:pt x="204" y="280"/>
                  </a:lnTo>
                  <a:lnTo>
                    <a:pt x="204" y="280"/>
                  </a:lnTo>
                  <a:lnTo>
                    <a:pt x="204" y="280"/>
                  </a:lnTo>
                  <a:lnTo>
                    <a:pt x="204" y="278"/>
                  </a:lnTo>
                  <a:lnTo>
                    <a:pt x="206" y="278"/>
                  </a:lnTo>
                  <a:lnTo>
                    <a:pt x="208" y="278"/>
                  </a:lnTo>
                  <a:lnTo>
                    <a:pt x="210" y="276"/>
                  </a:lnTo>
                  <a:lnTo>
                    <a:pt x="212" y="276"/>
                  </a:lnTo>
                  <a:lnTo>
                    <a:pt x="212" y="276"/>
                  </a:lnTo>
                  <a:lnTo>
                    <a:pt x="214" y="276"/>
                  </a:lnTo>
                  <a:lnTo>
                    <a:pt x="214" y="276"/>
                  </a:lnTo>
                  <a:lnTo>
                    <a:pt x="216" y="276"/>
                  </a:lnTo>
                  <a:lnTo>
                    <a:pt x="216" y="278"/>
                  </a:lnTo>
                  <a:lnTo>
                    <a:pt x="216" y="278"/>
                  </a:lnTo>
                  <a:lnTo>
                    <a:pt x="216" y="280"/>
                  </a:lnTo>
                  <a:lnTo>
                    <a:pt x="216" y="282"/>
                  </a:lnTo>
                  <a:lnTo>
                    <a:pt x="216" y="282"/>
                  </a:lnTo>
                  <a:lnTo>
                    <a:pt x="218" y="282"/>
                  </a:lnTo>
                  <a:lnTo>
                    <a:pt x="218" y="284"/>
                  </a:lnTo>
                  <a:lnTo>
                    <a:pt x="218" y="284"/>
                  </a:lnTo>
                  <a:lnTo>
                    <a:pt x="220" y="284"/>
                  </a:lnTo>
                  <a:lnTo>
                    <a:pt x="220" y="284"/>
                  </a:lnTo>
                  <a:lnTo>
                    <a:pt x="222" y="286"/>
                  </a:lnTo>
                  <a:lnTo>
                    <a:pt x="224" y="286"/>
                  </a:lnTo>
                  <a:lnTo>
                    <a:pt x="226" y="288"/>
                  </a:lnTo>
                  <a:lnTo>
                    <a:pt x="228" y="288"/>
                  </a:lnTo>
                  <a:lnTo>
                    <a:pt x="228" y="288"/>
                  </a:lnTo>
                  <a:lnTo>
                    <a:pt x="228" y="288"/>
                  </a:lnTo>
                  <a:lnTo>
                    <a:pt x="228" y="290"/>
                  </a:lnTo>
                  <a:lnTo>
                    <a:pt x="228" y="290"/>
                  </a:lnTo>
                  <a:lnTo>
                    <a:pt x="230" y="292"/>
                  </a:lnTo>
                  <a:lnTo>
                    <a:pt x="230" y="294"/>
                  </a:lnTo>
                  <a:lnTo>
                    <a:pt x="230" y="296"/>
                  </a:lnTo>
                  <a:lnTo>
                    <a:pt x="230" y="300"/>
                  </a:lnTo>
                  <a:lnTo>
                    <a:pt x="230" y="302"/>
                  </a:lnTo>
                  <a:lnTo>
                    <a:pt x="232" y="304"/>
                  </a:lnTo>
                  <a:lnTo>
                    <a:pt x="232" y="306"/>
                  </a:lnTo>
                  <a:lnTo>
                    <a:pt x="234" y="308"/>
                  </a:lnTo>
                  <a:lnTo>
                    <a:pt x="236" y="310"/>
                  </a:lnTo>
                  <a:lnTo>
                    <a:pt x="236" y="310"/>
                  </a:lnTo>
                  <a:lnTo>
                    <a:pt x="236" y="312"/>
                  </a:lnTo>
                  <a:lnTo>
                    <a:pt x="238" y="312"/>
                  </a:lnTo>
                  <a:lnTo>
                    <a:pt x="240" y="312"/>
                  </a:lnTo>
                  <a:lnTo>
                    <a:pt x="242" y="314"/>
                  </a:lnTo>
                  <a:lnTo>
                    <a:pt x="244" y="314"/>
                  </a:lnTo>
                  <a:lnTo>
                    <a:pt x="246" y="314"/>
                  </a:lnTo>
                  <a:lnTo>
                    <a:pt x="248" y="314"/>
                  </a:lnTo>
                  <a:lnTo>
                    <a:pt x="250" y="312"/>
                  </a:lnTo>
                  <a:lnTo>
                    <a:pt x="252" y="312"/>
                  </a:lnTo>
                  <a:lnTo>
                    <a:pt x="252" y="312"/>
                  </a:lnTo>
                  <a:lnTo>
                    <a:pt x="254" y="312"/>
                  </a:lnTo>
                  <a:lnTo>
                    <a:pt x="254" y="310"/>
                  </a:lnTo>
                  <a:lnTo>
                    <a:pt x="254" y="310"/>
                  </a:lnTo>
                  <a:lnTo>
                    <a:pt x="256" y="308"/>
                  </a:lnTo>
                  <a:lnTo>
                    <a:pt x="256" y="308"/>
                  </a:lnTo>
                  <a:lnTo>
                    <a:pt x="256" y="304"/>
                  </a:lnTo>
                  <a:lnTo>
                    <a:pt x="258" y="302"/>
                  </a:lnTo>
                  <a:lnTo>
                    <a:pt x="258" y="300"/>
                  </a:lnTo>
                  <a:lnTo>
                    <a:pt x="258" y="298"/>
                  </a:lnTo>
                  <a:lnTo>
                    <a:pt x="258" y="296"/>
                  </a:lnTo>
                  <a:lnTo>
                    <a:pt x="258" y="292"/>
                  </a:lnTo>
                  <a:lnTo>
                    <a:pt x="258" y="290"/>
                  </a:lnTo>
                  <a:lnTo>
                    <a:pt x="256" y="288"/>
                  </a:lnTo>
                  <a:lnTo>
                    <a:pt x="256" y="286"/>
                  </a:lnTo>
                  <a:lnTo>
                    <a:pt x="256" y="286"/>
                  </a:lnTo>
                  <a:lnTo>
                    <a:pt x="256" y="286"/>
                  </a:lnTo>
                  <a:lnTo>
                    <a:pt x="254" y="284"/>
                  </a:lnTo>
                  <a:lnTo>
                    <a:pt x="254" y="284"/>
                  </a:lnTo>
                  <a:lnTo>
                    <a:pt x="254" y="284"/>
                  </a:lnTo>
                  <a:lnTo>
                    <a:pt x="252" y="284"/>
                  </a:lnTo>
                  <a:lnTo>
                    <a:pt x="252" y="284"/>
                  </a:lnTo>
                  <a:lnTo>
                    <a:pt x="250" y="284"/>
                  </a:lnTo>
                  <a:lnTo>
                    <a:pt x="246" y="284"/>
                  </a:lnTo>
                  <a:lnTo>
                    <a:pt x="246" y="284"/>
                  </a:lnTo>
                  <a:lnTo>
                    <a:pt x="244" y="284"/>
                  </a:lnTo>
                  <a:lnTo>
                    <a:pt x="244" y="282"/>
                  </a:lnTo>
                  <a:lnTo>
                    <a:pt x="242" y="282"/>
                  </a:lnTo>
                  <a:lnTo>
                    <a:pt x="240" y="280"/>
                  </a:lnTo>
                  <a:lnTo>
                    <a:pt x="240" y="278"/>
                  </a:lnTo>
                  <a:lnTo>
                    <a:pt x="238" y="278"/>
                  </a:lnTo>
                  <a:lnTo>
                    <a:pt x="238" y="276"/>
                  </a:lnTo>
                  <a:lnTo>
                    <a:pt x="238" y="274"/>
                  </a:lnTo>
                  <a:lnTo>
                    <a:pt x="238" y="272"/>
                  </a:lnTo>
                  <a:lnTo>
                    <a:pt x="236" y="270"/>
                  </a:lnTo>
                  <a:lnTo>
                    <a:pt x="236" y="268"/>
                  </a:lnTo>
                  <a:lnTo>
                    <a:pt x="236" y="264"/>
                  </a:lnTo>
                  <a:lnTo>
                    <a:pt x="236" y="262"/>
                  </a:lnTo>
                  <a:lnTo>
                    <a:pt x="238" y="258"/>
                  </a:lnTo>
                  <a:lnTo>
                    <a:pt x="238" y="254"/>
                  </a:lnTo>
                  <a:lnTo>
                    <a:pt x="238" y="248"/>
                  </a:lnTo>
                  <a:lnTo>
                    <a:pt x="240" y="242"/>
                  </a:lnTo>
                  <a:lnTo>
                    <a:pt x="240" y="238"/>
                  </a:lnTo>
                  <a:lnTo>
                    <a:pt x="242" y="232"/>
                  </a:lnTo>
                  <a:lnTo>
                    <a:pt x="244" y="230"/>
                  </a:lnTo>
                  <a:lnTo>
                    <a:pt x="244" y="228"/>
                  </a:lnTo>
                  <a:lnTo>
                    <a:pt x="246" y="224"/>
                  </a:lnTo>
                  <a:lnTo>
                    <a:pt x="246" y="224"/>
                  </a:lnTo>
                  <a:lnTo>
                    <a:pt x="248" y="222"/>
                  </a:lnTo>
                  <a:lnTo>
                    <a:pt x="248" y="222"/>
                  </a:lnTo>
                  <a:lnTo>
                    <a:pt x="250" y="222"/>
                  </a:lnTo>
                  <a:lnTo>
                    <a:pt x="254" y="220"/>
                  </a:lnTo>
                  <a:lnTo>
                    <a:pt x="256" y="220"/>
                  </a:lnTo>
                  <a:lnTo>
                    <a:pt x="256" y="220"/>
                  </a:lnTo>
                  <a:lnTo>
                    <a:pt x="258" y="218"/>
                  </a:lnTo>
                  <a:lnTo>
                    <a:pt x="258" y="218"/>
                  </a:lnTo>
                  <a:lnTo>
                    <a:pt x="260" y="218"/>
                  </a:lnTo>
                  <a:lnTo>
                    <a:pt x="260" y="216"/>
                  </a:lnTo>
                  <a:lnTo>
                    <a:pt x="260" y="216"/>
                  </a:lnTo>
                  <a:lnTo>
                    <a:pt x="260" y="212"/>
                  </a:lnTo>
                  <a:lnTo>
                    <a:pt x="262" y="210"/>
                  </a:lnTo>
                  <a:lnTo>
                    <a:pt x="262" y="208"/>
                  </a:lnTo>
                  <a:lnTo>
                    <a:pt x="262" y="206"/>
                  </a:lnTo>
                  <a:lnTo>
                    <a:pt x="262" y="204"/>
                  </a:lnTo>
                  <a:lnTo>
                    <a:pt x="262" y="202"/>
                  </a:lnTo>
                  <a:lnTo>
                    <a:pt x="262" y="200"/>
                  </a:lnTo>
                  <a:lnTo>
                    <a:pt x="262" y="196"/>
                  </a:lnTo>
                  <a:lnTo>
                    <a:pt x="262" y="194"/>
                  </a:lnTo>
                  <a:lnTo>
                    <a:pt x="262" y="192"/>
                  </a:lnTo>
                  <a:lnTo>
                    <a:pt x="260" y="190"/>
                  </a:lnTo>
                  <a:lnTo>
                    <a:pt x="260" y="186"/>
                  </a:lnTo>
                  <a:lnTo>
                    <a:pt x="258" y="182"/>
                  </a:lnTo>
                  <a:lnTo>
                    <a:pt x="258" y="178"/>
                  </a:lnTo>
                  <a:lnTo>
                    <a:pt x="256" y="176"/>
                  </a:lnTo>
                  <a:lnTo>
                    <a:pt x="256" y="174"/>
                  </a:lnTo>
                  <a:lnTo>
                    <a:pt x="256" y="172"/>
                  </a:lnTo>
                  <a:lnTo>
                    <a:pt x="256" y="172"/>
                  </a:lnTo>
                  <a:lnTo>
                    <a:pt x="256" y="168"/>
                  </a:lnTo>
                  <a:lnTo>
                    <a:pt x="258" y="164"/>
                  </a:lnTo>
                  <a:lnTo>
                    <a:pt x="258" y="162"/>
                  </a:lnTo>
                  <a:lnTo>
                    <a:pt x="258" y="160"/>
                  </a:lnTo>
                  <a:lnTo>
                    <a:pt x="256" y="160"/>
                  </a:lnTo>
                  <a:lnTo>
                    <a:pt x="256" y="158"/>
                  </a:lnTo>
                  <a:lnTo>
                    <a:pt x="256" y="154"/>
                  </a:lnTo>
                  <a:lnTo>
                    <a:pt x="254" y="150"/>
                  </a:lnTo>
                  <a:lnTo>
                    <a:pt x="252" y="150"/>
                  </a:lnTo>
                  <a:lnTo>
                    <a:pt x="250" y="148"/>
                  </a:lnTo>
                  <a:lnTo>
                    <a:pt x="248" y="146"/>
                  </a:lnTo>
                  <a:lnTo>
                    <a:pt x="248" y="146"/>
                  </a:lnTo>
                  <a:lnTo>
                    <a:pt x="248" y="146"/>
                  </a:lnTo>
                  <a:lnTo>
                    <a:pt x="248" y="144"/>
                  </a:lnTo>
                  <a:lnTo>
                    <a:pt x="248" y="144"/>
                  </a:lnTo>
                  <a:lnTo>
                    <a:pt x="248" y="142"/>
                  </a:lnTo>
                  <a:lnTo>
                    <a:pt x="248" y="138"/>
                  </a:lnTo>
                  <a:lnTo>
                    <a:pt x="248" y="136"/>
                  </a:lnTo>
                  <a:lnTo>
                    <a:pt x="250" y="132"/>
                  </a:lnTo>
                  <a:lnTo>
                    <a:pt x="250" y="130"/>
                  </a:lnTo>
                  <a:lnTo>
                    <a:pt x="250" y="130"/>
                  </a:lnTo>
                  <a:lnTo>
                    <a:pt x="246" y="130"/>
                  </a:lnTo>
                  <a:lnTo>
                    <a:pt x="244" y="132"/>
                  </a:lnTo>
                  <a:lnTo>
                    <a:pt x="244" y="132"/>
                  </a:lnTo>
                  <a:lnTo>
                    <a:pt x="242" y="132"/>
                  </a:lnTo>
                  <a:lnTo>
                    <a:pt x="242" y="132"/>
                  </a:lnTo>
                  <a:lnTo>
                    <a:pt x="242" y="130"/>
                  </a:lnTo>
                  <a:lnTo>
                    <a:pt x="240" y="130"/>
                  </a:lnTo>
                  <a:lnTo>
                    <a:pt x="240" y="130"/>
                  </a:lnTo>
                  <a:lnTo>
                    <a:pt x="240" y="128"/>
                  </a:lnTo>
                  <a:lnTo>
                    <a:pt x="240" y="126"/>
                  </a:lnTo>
                  <a:lnTo>
                    <a:pt x="240" y="126"/>
                  </a:lnTo>
                  <a:lnTo>
                    <a:pt x="240" y="124"/>
                  </a:lnTo>
                  <a:lnTo>
                    <a:pt x="240" y="124"/>
                  </a:lnTo>
                  <a:lnTo>
                    <a:pt x="240" y="122"/>
                  </a:lnTo>
                  <a:lnTo>
                    <a:pt x="242" y="122"/>
                  </a:lnTo>
                  <a:lnTo>
                    <a:pt x="242" y="120"/>
                  </a:lnTo>
                  <a:lnTo>
                    <a:pt x="244" y="120"/>
                  </a:lnTo>
                  <a:lnTo>
                    <a:pt x="246" y="118"/>
                  </a:lnTo>
                  <a:lnTo>
                    <a:pt x="246" y="118"/>
                  </a:lnTo>
                  <a:lnTo>
                    <a:pt x="246" y="118"/>
                  </a:lnTo>
                  <a:lnTo>
                    <a:pt x="246" y="116"/>
                  </a:lnTo>
                  <a:lnTo>
                    <a:pt x="246" y="116"/>
                  </a:lnTo>
                  <a:lnTo>
                    <a:pt x="246" y="114"/>
                  </a:lnTo>
                  <a:lnTo>
                    <a:pt x="246" y="114"/>
                  </a:lnTo>
                  <a:lnTo>
                    <a:pt x="246" y="112"/>
                  </a:lnTo>
                  <a:lnTo>
                    <a:pt x="244" y="110"/>
                  </a:lnTo>
                  <a:lnTo>
                    <a:pt x="244" y="110"/>
                  </a:lnTo>
                  <a:lnTo>
                    <a:pt x="244" y="108"/>
                  </a:lnTo>
                  <a:lnTo>
                    <a:pt x="244" y="108"/>
                  </a:lnTo>
                  <a:lnTo>
                    <a:pt x="244" y="108"/>
                  </a:lnTo>
                  <a:lnTo>
                    <a:pt x="244" y="108"/>
                  </a:lnTo>
                  <a:lnTo>
                    <a:pt x="246" y="106"/>
                  </a:lnTo>
                  <a:lnTo>
                    <a:pt x="246" y="106"/>
                  </a:lnTo>
                  <a:lnTo>
                    <a:pt x="248" y="106"/>
                  </a:lnTo>
                  <a:lnTo>
                    <a:pt x="250" y="104"/>
                  </a:lnTo>
                  <a:lnTo>
                    <a:pt x="252" y="104"/>
                  </a:lnTo>
                  <a:lnTo>
                    <a:pt x="254" y="104"/>
                  </a:lnTo>
                  <a:lnTo>
                    <a:pt x="254" y="98"/>
                  </a:lnTo>
                  <a:lnTo>
                    <a:pt x="254" y="94"/>
                  </a:lnTo>
                  <a:lnTo>
                    <a:pt x="254" y="88"/>
                  </a:lnTo>
                  <a:lnTo>
                    <a:pt x="254" y="82"/>
                  </a:lnTo>
                  <a:lnTo>
                    <a:pt x="254" y="80"/>
                  </a:lnTo>
                  <a:lnTo>
                    <a:pt x="254" y="76"/>
                  </a:lnTo>
                  <a:lnTo>
                    <a:pt x="254" y="74"/>
                  </a:lnTo>
                  <a:lnTo>
                    <a:pt x="256" y="72"/>
                  </a:lnTo>
                  <a:lnTo>
                    <a:pt x="256" y="70"/>
                  </a:lnTo>
                  <a:lnTo>
                    <a:pt x="256" y="68"/>
                  </a:lnTo>
                  <a:lnTo>
                    <a:pt x="258" y="68"/>
                  </a:lnTo>
                  <a:lnTo>
                    <a:pt x="258" y="68"/>
                  </a:lnTo>
                  <a:lnTo>
                    <a:pt x="258" y="66"/>
                  </a:lnTo>
                  <a:lnTo>
                    <a:pt x="260" y="66"/>
                  </a:lnTo>
                  <a:lnTo>
                    <a:pt x="262" y="66"/>
                  </a:lnTo>
                  <a:lnTo>
                    <a:pt x="264" y="64"/>
                  </a:lnTo>
                  <a:lnTo>
                    <a:pt x="268" y="64"/>
                  </a:lnTo>
                  <a:lnTo>
                    <a:pt x="270" y="62"/>
                  </a:lnTo>
                  <a:lnTo>
                    <a:pt x="272" y="62"/>
                  </a:lnTo>
                  <a:lnTo>
                    <a:pt x="276" y="60"/>
                  </a:lnTo>
                  <a:lnTo>
                    <a:pt x="278" y="60"/>
                  </a:lnTo>
                  <a:lnTo>
                    <a:pt x="280" y="60"/>
                  </a:lnTo>
                  <a:lnTo>
                    <a:pt x="280" y="58"/>
                  </a:lnTo>
                  <a:lnTo>
                    <a:pt x="280" y="58"/>
                  </a:lnTo>
                  <a:lnTo>
                    <a:pt x="282" y="58"/>
                  </a:lnTo>
                  <a:lnTo>
                    <a:pt x="282" y="56"/>
                  </a:lnTo>
                  <a:lnTo>
                    <a:pt x="282" y="54"/>
                  </a:lnTo>
                  <a:lnTo>
                    <a:pt x="282" y="54"/>
                  </a:lnTo>
                  <a:lnTo>
                    <a:pt x="282" y="52"/>
                  </a:lnTo>
                  <a:lnTo>
                    <a:pt x="282" y="50"/>
                  </a:lnTo>
                  <a:lnTo>
                    <a:pt x="282" y="50"/>
                  </a:lnTo>
                  <a:lnTo>
                    <a:pt x="282" y="50"/>
                  </a:lnTo>
                  <a:lnTo>
                    <a:pt x="282" y="48"/>
                  </a:lnTo>
                  <a:lnTo>
                    <a:pt x="280" y="48"/>
                  </a:lnTo>
                  <a:lnTo>
                    <a:pt x="280" y="48"/>
                  </a:lnTo>
                  <a:lnTo>
                    <a:pt x="278" y="48"/>
                  </a:lnTo>
                  <a:lnTo>
                    <a:pt x="276" y="48"/>
                  </a:lnTo>
                  <a:lnTo>
                    <a:pt x="276" y="48"/>
                  </a:lnTo>
                  <a:lnTo>
                    <a:pt x="274" y="48"/>
                  </a:lnTo>
                  <a:lnTo>
                    <a:pt x="274" y="48"/>
                  </a:lnTo>
                  <a:lnTo>
                    <a:pt x="272" y="48"/>
                  </a:lnTo>
                  <a:lnTo>
                    <a:pt x="272" y="48"/>
                  </a:lnTo>
                  <a:lnTo>
                    <a:pt x="272" y="48"/>
                  </a:lnTo>
                  <a:lnTo>
                    <a:pt x="272" y="46"/>
                  </a:lnTo>
                  <a:lnTo>
                    <a:pt x="272" y="46"/>
                  </a:lnTo>
                  <a:lnTo>
                    <a:pt x="272" y="44"/>
                  </a:lnTo>
                  <a:lnTo>
                    <a:pt x="272" y="42"/>
                  </a:lnTo>
                  <a:lnTo>
                    <a:pt x="272" y="42"/>
                  </a:lnTo>
                  <a:lnTo>
                    <a:pt x="272" y="40"/>
                  </a:lnTo>
                  <a:lnTo>
                    <a:pt x="272" y="36"/>
                  </a:lnTo>
                  <a:lnTo>
                    <a:pt x="270" y="30"/>
                  </a:lnTo>
                  <a:lnTo>
                    <a:pt x="270" y="24"/>
                  </a:lnTo>
                  <a:lnTo>
                    <a:pt x="268" y="22"/>
                  </a:lnTo>
                  <a:lnTo>
                    <a:pt x="268" y="22"/>
                  </a:lnTo>
                  <a:lnTo>
                    <a:pt x="268" y="20"/>
                  </a:lnTo>
                  <a:lnTo>
                    <a:pt x="268" y="20"/>
                  </a:lnTo>
                  <a:lnTo>
                    <a:pt x="266" y="20"/>
                  </a:lnTo>
                  <a:lnTo>
                    <a:pt x="266" y="20"/>
                  </a:lnTo>
                  <a:lnTo>
                    <a:pt x="264" y="20"/>
                  </a:lnTo>
                  <a:lnTo>
                    <a:pt x="262" y="20"/>
                  </a:lnTo>
                  <a:lnTo>
                    <a:pt x="260" y="18"/>
                  </a:lnTo>
                  <a:lnTo>
                    <a:pt x="260" y="18"/>
                  </a:lnTo>
                  <a:lnTo>
                    <a:pt x="258" y="18"/>
                  </a:lnTo>
                  <a:lnTo>
                    <a:pt x="258" y="16"/>
                  </a:lnTo>
                  <a:lnTo>
                    <a:pt x="256" y="14"/>
                  </a:lnTo>
                  <a:lnTo>
                    <a:pt x="256" y="12"/>
                  </a:lnTo>
                  <a:lnTo>
                    <a:pt x="254" y="12"/>
                  </a:lnTo>
                  <a:lnTo>
                    <a:pt x="254" y="10"/>
                  </a:lnTo>
                  <a:lnTo>
                    <a:pt x="252" y="10"/>
                  </a:lnTo>
                  <a:lnTo>
                    <a:pt x="250" y="10"/>
                  </a:lnTo>
                  <a:lnTo>
                    <a:pt x="248" y="10"/>
                  </a:lnTo>
                  <a:lnTo>
                    <a:pt x="246" y="10"/>
                  </a:lnTo>
                  <a:lnTo>
                    <a:pt x="244" y="10"/>
                  </a:lnTo>
                  <a:lnTo>
                    <a:pt x="242" y="10"/>
                  </a:lnTo>
                  <a:lnTo>
                    <a:pt x="238" y="10"/>
                  </a:lnTo>
                  <a:lnTo>
                    <a:pt x="232" y="10"/>
                  </a:lnTo>
                  <a:lnTo>
                    <a:pt x="230" y="10"/>
                  </a:lnTo>
                  <a:lnTo>
                    <a:pt x="228" y="10"/>
                  </a:lnTo>
                  <a:lnTo>
                    <a:pt x="226" y="10"/>
                  </a:lnTo>
                  <a:lnTo>
                    <a:pt x="224" y="10"/>
                  </a:lnTo>
                  <a:lnTo>
                    <a:pt x="222" y="8"/>
                  </a:lnTo>
                  <a:lnTo>
                    <a:pt x="220" y="8"/>
                  </a:lnTo>
                  <a:lnTo>
                    <a:pt x="220" y="8"/>
                  </a:lnTo>
                  <a:lnTo>
                    <a:pt x="220" y="6"/>
                  </a:lnTo>
                  <a:lnTo>
                    <a:pt x="218" y="4"/>
                  </a:lnTo>
                  <a:lnTo>
                    <a:pt x="216" y="2"/>
                  </a:lnTo>
                  <a:lnTo>
                    <a:pt x="216" y="0"/>
                  </a:lnTo>
                  <a:lnTo>
                    <a:pt x="216" y="0"/>
                  </a:lnTo>
                  <a:lnTo>
                    <a:pt x="214" y="0"/>
                  </a:lnTo>
                  <a:lnTo>
                    <a:pt x="214" y="0"/>
                  </a:lnTo>
                  <a:lnTo>
                    <a:pt x="212" y="0"/>
                  </a:lnTo>
                  <a:lnTo>
                    <a:pt x="208" y="0"/>
                  </a:lnTo>
                  <a:lnTo>
                    <a:pt x="208" y="0"/>
                  </a:lnTo>
                  <a:lnTo>
                    <a:pt x="206" y="0"/>
                  </a:lnTo>
                  <a:lnTo>
                    <a:pt x="204" y="0"/>
                  </a:lnTo>
                  <a:lnTo>
                    <a:pt x="198" y="2"/>
                  </a:lnTo>
                  <a:lnTo>
                    <a:pt x="194" y="2"/>
                  </a:lnTo>
                  <a:lnTo>
                    <a:pt x="192" y="4"/>
                  </a:lnTo>
                  <a:lnTo>
                    <a:pt x="190" y="4"/>
                  </a:lnTo>
                  <a:lnTo>
                    <a:pt x="188" y="4"/>
                  </a:lnTo>
                  <a:lnTo>
                    <a:pt x="188" y="2"/>
                  </a:lnTo>
                  <a:lnTo>
                    <a:pt x="184" y="2"/>
                  </a:lnTo>
                  <a:lnTo>
                    <a:pt x="182" y="2"/>
                  </a:lnTo>
                  <a:lnTo>
                    <a:pt x="180" y="0"/>
                  </a:lnTo>
                  <a:lnTo>
                    <a:pt x="180" y="0"/>
                  </a:lnTo>
                  <a:lnTo>
                    <a:pt x="178" y="0"/>
                  </a:lnTo>
                  <a:lnTo>
                    <a:pt x="178" y="0"/>
                  </a:lnTo>
                  <a:lnTo>
                    <a:pt x="178" y="2"/>
                  </a:lnTo>
                  <a:lnTo>
                    <a:pt x="178" y="2"/>
                  </a:lnTo>
                  <a:lnTo>
                    <a:pt x="176" y="2"/>
                  </a:lnTo>
                  <a:lnTo>
                    <a:pt x="176" y="4"/>
                  </a:lnTo>
                  <a:lnTo>
                    <a:pt x="176" y="6"/>
                  </a:lnTo>
                  <a:lnTo>
                    <a:pt x="176" y="6"/>
                  </a:lnTo>
                  <a:lnTo>
                    <a:pt x="176" y="6"/>
                  </a:lnTo>
                  <a:lnTo>
                    <a:pt x="176" y="8"/>
                  </a:lnTo>
                  <a:lnTo>
                    <a:pt x="174" y="8"/>
                  </a:lnTo>
                  <a:lnTo>
                    <a:pt x="174" y="8"/>
                  </a:lnTo>
                  <a:lnTo>
                    <a:pt x="172" y="8"/>
                  </a:lnTo>
                  <a:lnTo>
                    <a:pt x="170" y="8"/>
                  </a:lnTo>
                  <a:lnTo>
                    <a:pt x="168" y="10"/>
                  </a:lnTo>
                  <a:lnTo>
                    <a:pt x="166" y="8"/>
                  </a:lnTo>
                  <a:lnTo>
                    <a:pt x="162" y="8"/>
                  </a:lnTo>
                  <a:lnTo>
                    <a:pt x="156" y="8"/>
                  </a:lnTo>
                  <a:lnTo>
                    <a:pt x="154" y="8"/>
                  </a:lnTo>
                  <a:lnTo>
                    <a:pt x="152" y="8"/>
                  </a:lnTo>
                  <a:lnTo>
                    <a:pt x="150" y="8"/>
                  </a:lnTo>
                  <a:lnTo>
                    <a:pt x="148" y="8"/>
                  </a:lnTo>
                  <a:lnTo>
                    <a:pt x="148" y="10"/>
                  </a:lnTo>
                  <a:lnTo>
                    <a:pt x="146" y="10"/>
                  </a:lnTo>
                  <a:lnTo>
                    <a:pt x="146" y="10"/>
                  </a:lnTo>
                  <a:lnTo>
                    <a:pt x="146" y="12"/>
                  </a:lnTo>
                  <a:lnTo>
                    <a:pt x="146" y="14"/>
                  </a:lnTo>
                  <a:lnTo>
                    <a:pt x="144" y="16"/>
                  </a:lnTo>
                  <a:lnTo>
                    <a:pt x="144" y="16"/>
                  </a:lnTo>
                  <a:lnTo>
                    <a:pt x="144" y="16"/>
                  </a:lnTo>
                  <a:lnTo>
                    <a:pt x="144" y="16"/>
                  </a:lnTo>
                  <a:lnTo>
                    <a:pt x="142" y="18"/>
                  </a:lnTo>
                  <a:lnTo>
                    <a:pt x="140" y="18"/>
                  </a:lnTo>
                  <a:lnTo>
                    <a:pt x="138" y="18"/>
                  </a:lnTo>
                  <a:lnTo>
                    <a:pt x="138" y="20"/>
                  </a:lnTo>
                  <a:lnTo>
                    <a:pt x="136" y="20"/>
                  </a:lnTo>
                  <a:lnTo>
                    <a:pt x="132" y="20"/>
                  </a:lnTo>
                  <a:lnTo>
                    <a:pt x="128" y="20"/>
                  </a:lnTo>
                  <a:lnTo>
                    <a:pt x="126" y="20"/>
                  </a:lnTo>
                  <a:lnTo>
                    <a:pt x="124" y="20"/>
                  </a:lnTo>
                  <a:lnTo>
                    <a:pt x="122" y="20"/>
                  </a:lnTo>
                  <a:lnTo>
                    <a:pt x="122" y="20"/>
                  </a:lnTo>
                  <a:lnTo>
                    <a:pt x="120" y="20"/>
                  </a:lnTo>
                  <a:lnTo>
                    <a:pt x="118" y="18"/>
                  </a:lnTo>
                  <a:lnTo>
                    <a:pt x="118" y="18"/>
                  </a:lnTo>
                  <a:lnTo>
                    <a:pt x="118" y="18"/>
                  </a:lnTo>
                  <a:lnTo>
                    <a:pt x="118" y="16"/>
                  </a:lnTo>
                  <a:lnTo>
                    <a:pt x="116" y="16"/>
                  </a:lnTo>
                  <a:lnTo>
                    <a:pt x="116" y="14"/>
                  </a:lnTo>
                  <a:lnTo>
                    <a:pt x="116" y="12"/>
                  </a:lnTo>
                  <a:lnTo>
                    <a:pt x="114" y="10"/>
                  </a:lnTo>
                  <a:lnTo>
                    <a:pt x="114" y="8"/>
                  </a:lnTo>
                  <a:lnTo>
                    <a:pt x="114" y="8"/>
                  </a:lnTo>
                  <a:lnTo>
                    <a:pt x="112" y="8"/>
                  </a:lnTo>
                  <a:lnTo>
                    <a:pt x="110" y="6"/>
                  </a:lnTo>
                  <a:lnTo>
                    <a:pt x="110" y="6"/>
                  </a:lnTo>
                  <a:lnTo>
                    <a:pt x="108" y="6"/>
                  </a:lnTo>
                  <a:lnTo>
                    <a:pt x="106" y="6"/>
                  </a:lnTo>
                  <a:lnTo>
                    <a:pt x="106" y="4"/>
                  </a:lnTo>
                  <a:lnTo>
                    <a:pt x="104" y="6"/>
                  </a:lnTo>
                  <a:lnTo>
                    <a:pt x="104" y="6"/>
                  </a:lnTo>
                  <a:lnTo>
                    <a:pt x="104" y="6"/>
                  </a:lnTo>
                  <a:lnTo>
                    <a:pt x="102" y="6"/>
                  </a:lnTo>
                  <a:lnTo>
                    <a:pt x="102" y="8"/>
                  </a:lnTo>
                  <a:lnTo>
                    <a:pt x="102" y="8"/>
                  </a:lnTo>
                  <a:lnTo>
                    <a:pt x="100" y="12"/>
                  </a:lnTo>
                  <a:lnTo>
                    <a:pt x="100" y="12"/>
                  </a:lnTo>
                  <a:lnTo>
                    <a:pt x="98" y="14"/>
                  </a:lnTo>
                  <a:lnTo>
                    <a:pt x="96" y="14"/>
                  </a:lnTo>
                  <a:lnTo>
                    <a:pt x="94" y="16"/>
                  </a:lnTo>
                  <a:lnTo>
                    <a:pt x="92" y="16"/>
                  </a:lnTo>
                  <a:lnTo>
                    <a:pt x="92" y="16"/>
                  </a:lnTo>
                  <a:lnTo>
                    <a:pt x="88" y="20"/>
                  </a:lnTo>
                  <a:lnTo>
                    <a:pt x="86" y="22"/>
                  </a:lnTo>
                  <a:lnTo>
                    <a:pt x="86" y="22"/>
                  </a:lnTo>
                  <a:lnTo>
                    <a:pt x="90" y="22"/>
                  </a:lnTo>
                  <a:lnTo>
                    <a:pt x="92" y="22"/>
                  </a:lnTo>
                  <a:lnTo>
                    <a:pt x="94" y="24"/>
                  </a:lnTo>
                  <a:lnTo>
                    <a:pt x="94" y="24"/>
                  </a:lnTo>
                  <a:lnTo>
                    <a:pt x="94" y="24"/>
                  </a:lnTo>
                  <a:lnTo>
                    <a:pt x="94" y="24"/>
                  </a:lnTo>
                  <a:lnTo>
                    <a:pt x="96" y="26"/>
                  </a:lnTo>
                  <a:lnTo>
                    <a:pt x="96" y="26"/>
                  </a:lnTo>
                  <a:lnTo>
                    <a:pt x="96" y="28"/>
                  </a:lnTo>
                  <a:lnTo>
                    <a:pt x="96" y="28"/>
                  </a:lnTo>
                  <a:lnTo>
                    <a:pt x="96" y="32"/>
                  </a:lnTo>
                  <a:lnTo>
                    <a:pt x="94" y="34"/>
                  </a:lnTo>
                  <a:lnTo>
                    <a:pt x="94" y="36"/>
                  </a:lnTo>
                  <a:lnTo>
                    <a:pt x="94" y="40"/>
                  </a:lnTo>
                  <a:lnTo>
                    <a:pt x="92" y="42"/>
                  </a:lnTo>
                  <a:lnTo>
                    <a:pt x="92" y="44"/>
                  </a:lnTo>
                  <a:lnTo>
                    <a:pt x="90" y="44"/>
                  </a:lnTo>
                  <a:lnTo>
                    <a:pt x="90" y="44"/>
                  </a:lnTo>
                  <a:lnTo>
                    <a:pt x="90" y="46"/>
                  </a:lnTo>
                  <a:lnTo>
                    <a:pt x="88" y="46"/>
                  </a:lnTo>
                  <a:lnTo>
                    <a:pt x="88" y="46"/>
                  </a:lnTo>
                  <a:lnTo>
                    <a:pt x="86" y="48"/>
                  </a:lnTo>
                  <a:lnTo>
                    <a:pt x="86" y="50"/>
                  </a:lnTo>
                  <a:lnTo>
                    <a:pt x="86" y="52"/>
                  </a:lnTo>
                  <a:lnTo>
                    <a:pt x="86" y="54"/>
                  </a:lnTo>
                  <a:lnTo>
                    <a:pt x="84" y="58"/>
                  </a:lnTo>
                  <a:lnTo>
                    <a:pt x="84" y="60"/>
                  </a:lnTo>
                  <a:lnTo>
                    <a:pt x="86" y="64"/>
                  </a:lnTo>
                  <a:lnTo>
                    <a:pt x="86" y="70"/>
                  </a:lnTo>
                  <a:lnTo>
                    <a:pt x="86" y="76"/>
                  </a:lnTo>
                  <a:lnTo>
                    <a:pt x="86" y="82"/>
                  </a:lnTo>
                  <a:lnTo>
                    <a:pt x="86" y="86"/>
                  </a:lnTo>
                  <a:lnTo>
                    <a:pt x="86" y="88"/>
                  </a:lnTo>
                  <a:lnTo>
                    <a:pt x="86" y="90"/>
                  </a:lnTo>
                  <a:lnTo>
                    <a:pt x="86" y="94"/>
                  </a:lnTo>
                  <a:lnTo>
                    <a:pt x="84" y="94"/>
                  </a:lnTo>
                  <a:lnTo>
                    <a:pt x="84" y="96"/>
                  </a:lnTo>
                  <a:lnTo>
                    <a:pt x="82" y="98"/>
                  </a:lnTo>
                  <a:lnTo>
                    <a:pt x="82" y="100"/>
                  </a:lnTo>
                  <a:lnTo>
                    <a:pt x="82" y="100"/>
                  </a:lnTo>
                  <a:lnTo>
                    <a:pt x="80" y="102"/>
                  </a:lnTo>
                  <a:lnTo>
                    <a:pt x="78" y="104"/>
                  </a:lnTo>
                  <a:lnTo>
                    <a:pt x="76" y="104"/>
                  </a:lnTo>
                  <a:lnTo>
                    <a:pt x="76" y="106"/>
                  </a:lnTo>
                  <a:lnTo>
                    <a:pt x="76" y="106"/>
                  </a:lnTo>
                  <a:lnTo>
                    <a:pt x="76" y="108"/>
                  </a:lnTo>
                  <a:lnTo>
                    <a:pt x="76" y="110"/>
                  </a:lnTo>
                  <a:lnTo>
                    <a:pt x="76" y="114"/>
                  </a:lnTo>
                  <a:lnTo>
                    <a:pt x="76" y="116"/>
                  </a:lnTo>
                  <a:lnTo>
                    <a:pt x="76" y="118"/>
                  </a:lnTo>
                  <a:lnTo>
                    <a:pt x="76" y="122"/>
                  </a:lnTo>
                  <a:lnTo>
                    <a:pt x="76" y="122"/>
                  </a:lnTo>
                  <a:lnTo>
                    <a:pt x="76" y="124"/>
                  </a:lnTo>
                  <a:lnTo>
                    <a:pt x="74" y="124"/>
                  </a:lnTo>
                  <a:lnTo>
                    <a:pt x="74" y="126"/>
                  </a:lnTo>
                  <a:lnTo>
                    <a:pt x="74" y="126"/>
                  </a:lnTo>
                  <a:lnTo>
                    <a:pt x="74" y="126"/>
                  </a:lnTo>
                  <a:lnTo>
                    <a:pt x="72" y="126"/>
                  </a:lnTo>
                  <a:lnTo>
                    <a:pt x="70" y="126"/>
                  </a:lnTo>
                  <a:lnTo>
                    <a:pt x="68" y="126"/>
                  </a:lnTo>
                  <a:lnTo>
                    <a:pt x="66" y="126"/>
                  </a:lnTo>
                  <a:lnTo>
                    <a:pt x="66" y="126"/>
                  </a:lnTo>
                  <a:lnTo>
                    <a:pt x="64" y="126"/>
                  </a:lnTo>
                  <a:lnTo>
                    <a:pt x="64" y="126"/>
                  </a:lnTo>
                  <a:lnTo>
                    <a:pt x="64" y="126"/>
                  </a:lnTo>
                  <a:lnTo>
                    <a:pt x="62" y="128"/>
                  </a:lnTo>
                  <a:lnTo>
                    <a:pt x="62" y="128"/>
                  </a:lnTo>
                  <a:lnTo>
                    <a:pt x="62" y="130"/>
                  </a:lnTo>
                  <a:lnTo>
                    <a:pt x="62" y="132"/>
                  </a:lnTo>
                  <a:lnTo>
                    <a:pt x="62" y="132"/>
                  </a:lnTo>
                  <a:lnTo>
                    <a:pt x="62" y="134"/>
                  </a:lnTo>
                  <a:lnTo>
                    <a:pt x="62" y="138"/>
                  </a:lnTo>
                  <a:lnTo>
                    <a:pt x="62" y="142"/>
                  </a:lnTo>
                  <a:lnTo>
                    <a:pt x="62" y="144"/>
                  </a:lnTo>
                  <a:lnTo>
                    <a:pt x="62" y="146"/>
                  </a:lnTo>
                  <a:lnTo>
                    <a:pt x="62" y="148"/>
                  </a:lnTo>
                  <a:lnTo>
                    <a:pt x="62" y="148"/>
                  </a:lnTo>
                  <a:lnTo>
                    <a:pt x="62" y="150"/>
                  </a:lnTo>
                  <a:lnTo>
                    <a:pt x="62" y="150"/>
                  </a:lnTo>
                  <a:lnTo>
                    <a:pt x="60" y="150"/>
                  </a:lnTo>
                  <a:lnTo>
                    <a:pt x="60" y="152"/>
                  </a:lnTo>
                  <a:lnTo>
                    <a:pt x="58" y="152"/>
                  </a:lnTo>
                  <a:lnTo>
                    <a:pt x="56" y="152"/>
                  </a:lnTo>
                  <a:lnTo>
                    <a:pt x="54" y="154"/>
                  </a:lnTo>
                  <a:lnTo>
                    <a:pt x="52" y="154"/>
                  </a:lnTo>
                  <a:lnTo>
                    <a:pt x="50" y="154"/>
                  </a:lnTo>
                  <a:lnTo>
                    <a:pt x="48" y="156"/>
                  </a:lnTo>
                  <a:lnTo>
                    <a:pt x="46" y="156"/>
                  </a:lnTo>
                  <a:lnTo>
                    <a:pt x="46" y="156"/>
                  </a:lnTo>
                  <a:lnTo>
                    <a:pt x="46" y="156"/>
                  </a:lnTo>
                  <a:lnTo>
                    <a:pt x="46" y="158"/>
                  </a:lnTo>
                  <a:lnTo>
                    <a:pt x="44" y="158"/>
                  </a:lnTo>
                  <a:lnTo>
                    <a:pt x="44" y="160"/>
                  </a:lnTo>
                  <a:lnTo>
                    <a:pt x="44" y="160"/>
                  </a:lnTo>
                  <a:lnTo>
                    <a:pt x="42" y="162"/>
                  </a:lnTo>
                  <a:lnTo>
                    <a:pt x="42" y="162"/>
                  </a:lnTo>
                  <a:lnTo>
                    <a:pt x="40" y="162"/>
                  </a:lnTo>
                  <a:lnTo>
                    <a:pt x="38" y="162"/>
                  </a:lnTo>
                  <a:lnTo>
                    <a:pt x="38" y="162"/>
                  </a:lnTo>
                  <a:lnTo>
                    <a:pt x="36" y="162"/>
                  </a:lnTo>
                  <a:lnTo>
                    <a:pt x="34" y="162"/>
                  </a:lnTo>
                  <a:lnTo>
                    <a:pt x="32" y="162"/>
                  </a:lnTo>
                  <a:lnTo>
                    <a:pt x="30" y="160"/>
                  </a:lnTo>
                  <a:lnTo>
                    <a:pt x="30" y="160"/>
                  </a:lnTo>
                  <a:lnTo>
                    <a:pt x="28" y="158"/>
                  </a:lnTo>
                  <a:lnTo>
                    <a:pt x="26" y="158"/>
                  </a:lnTo>
                  <a:lnTo>
                    <a:pt x="24" y="156"/>
                  </a:lnTo>
                  <a:lnTo>
                    <a:pt x="24" y="156"/>
                  </a:lnTo>
                  <a:lnTo>
                    <a:pt x="22" y="156"/>
                  </a:lnTo>
                  <a:lnTo>
                    <a:pt x="22" y="158"/>
                  </a:lnTo>
                  <a:lnTo>
                    <a:pt x="20" y="158"/>
                  </a:lnTo>
                  <a:lnTo>
                    <a:pt x="20" y="158"/>
                  </a:lnTo>
                  <a:lnTo>
                    <a:pt x="16" y="160"/>
                  </a:lnTo>
                  <a:lnTo>
                    <a:pt x="14" y="162"/>
                  </a:lnTo>
                  <a:lnTo>
                    <a:pt x="10" y="162"/>
                  </a:lnTo>
                  <a:lnTo>
                    <a:pt x="8" y="164"/>
                  </a:lnTo>
                  <a:lnTo>
                    <a:pt x="6" y="164"/>
                  </a:lnTo>
                  <a:lnTo>
                    <a:pt x="4" y="166"/>
                  </a:lnTo>
                  <a:lnTo>
                    <a:pt x="0" y="166"/>
                  </a:lnTo>
                  <a:lnTo>
                    <a:pt x="4" y="172"/>
                  </a:lnTo>
                  <a:lnTo>
                    <a:pt x="4" y="172"/>
                  </a:lnTo>
                  <a:lnTo>
                    <a:pt x="6" y="172"/>
                  </a:lnTo>
                  <a:lnTo>
                    <a:pt x="6" y="172"/>
                  </a:lnTo>
                  <a:lnTo>
                    <a:pt x="6" y="1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1" name="Freeform 398"/>
            <p:cNvSpPr>
              <a:spLocks/>
            </p:cNvSpPr>
            <p:nvPr/>
          </p:nvSpPr>
          <p:spPr bwMode="auto">
            <a:xfrm>
              <a:off x="4556736" y="4812490"/>
              <a:ext cx="315238" cy="356807"/>
            </a:xfrm>
            <a:custGeom>
              <a:avLst/>
              <a:gdLst>
                <a:gd name="T0" fmla="*/ 24 w 182"/>
                <a:gd name="T1" fmla="*/ 6 h 206"/>
                <a:gd name="T2" fmla="*/ 42 w 182"/>
                <a:gd name="T3" fmla="*/ 4 h 206"/>
                <a:gd name="T4" fmla="*/ 64 w 182"/>
                <a:gd name="T5" fmla="*/ 0 h 206"/>
                <a:gd name="T6" fmla="*/ 78 w 182"/>
                <a:gd name="T7" fmla="*/ 4 h 206"/>
                <a:gd name="T8" fmla="*/ 80 w 182"/>
                <a:gd name="T9" fmla="*/ 16 h 206"/>
                <a:gd name="T10" fmla="*/ 84 w 182"/>
                <a:gd name="T11" fmla="*/ 30 h 206"/>
                <a:gd name="T12" fmla="*/ 90 w 182"/>
                <a:gd name="T13" fmla="*/ 32 h 206"/>
                <a:gd name="T14" fmla="*/ 90 w 182"/>
                <a:gd name="T15" fmla="*/ 40 h 206"/>
                <a:gd name="T16" fmla="*/ 100 w 182"/>
                <a:gd name="T17" fmla="*/ 44 h 206"/>
                <a:gd name="T18" fmla="*/ 112 w 182"/>
                <a:gd name="T19" fmla="*/ 42 h 206"/>
                <a:gd name="T20" fmla="*/ 118 w 182"/>
                <a:gd name="T21" fmla="*/ 38 h 206"/>
                <a:gd name="T22" fmla="*/ 118 w 182"/>
                <a:gd name="T23" fmla="*/ 24 h 206"/>
                <a:gd name="T24" fmla="*/ 124 w 182"/>
                <a:gd name="T25" fmla="*/ 18 h 206"/>
                <a:gd name="T26" fmla="*/ 126 w 182"/>
                <a:gd name="T27" fmla="*/ 22 h 206"/>
                <a:gd name="T28" fmla="*/ 130 w 182"/>
                <a:gd name="T29" fmla="*/ 36 h 206"/>
                <a:gd name="T30" fmla="*/ 136 w 182"/>
                <a:gd name="T31" fmla="*/ 32 h 206"/>
                <a:gd name="T32" fmla="*/ 146 w 182"/>
                <a:gd name="T33" fmla="*/ 30 h 206"/>
                <a:gd name="T34" fmla="*/ 152 w 182"/>
                <a:gd name="T35" fmla="*/ 38 h 206"/>
                <a:gd name="T36" fmla="*/ 154 w 182"/>
                <a:gd name="T37" fmla="*/ 72 h 206"/>
                <a:gd name="T38" fmla="*/ 154 w 182"/>
                <a:gd name="T39" fmla="*/ 84 h 206"/>
                <a:gd name="T40" fmla="*/ 162 w 182"/>
                <a:gd name="T41" fmla="*/ 90 h 206"/>
                <a:gd name="T42" fmla="*/ 180 w 182"/>
                <a:gd name="T43" fmla="*/ 90 h 206"/>
                <a:gd name="T44" fmla="*/ 180 w 182"/>
                <a:gd name="T45" fmla="*/ 118 h 206"/>
                <a:gd name="T46" fmla="*/ 176 w 182"/>
                <a:gd name="T47" fmla="*/ 126 h 206"/>
                <a:gd name="T48" fmla="*/ 164 w 182"/>
                <a:gd name="T49" fmla="*/ 124 h 206"/>
                <a:gd name="T50" fmla="*/ 162 w 182"/>
                <a:gd name="T51" fmla="*/ 118 h 206"/>
                <a:gd name="T52" fmla="*/ 156 w 182"/>
                <a:gd name="T53" fmla="*/ 116 h 206"/>
                <a:gd name="T54" fmla="*/ 154 w 182"/>
                <a:gd name="T55" fmla="*/ 120 h 206"/>
                <a:gd name="T56" fmla="*/ 152 w 182"/>
                <a:gd name="T57" fmla="*/ 126 h 206"/>
                <a:gd name="T58" fmla="*/ 144 w 182"/>
                <a:gd name="T59" fmla="*/ 126 h 206"/>
                <a:gd name="T60" fmla="*/ 140 w 182"/>
                <a:gd name="T61" fmla="*/ 136 h 206"/>
                <a:gd name="T62" fmla="*/ 144 w 182"/>
                <a:gd name="T63" fmla="*/ 166 h 206"/>
                <a:gd name="T64" fmla="*/ 146 w 182"/>
                <a:gd name="T65" fmla="*/ 182 h 206"/>
                <a:gd name="T66" fmla="*/ 156 w 182"/>
                <a:gd name="T67" fmla="*/ 192 h 206"/>
                <a:gd name="T68" fmla="*/ 128 w 182"/>
                <a:gd name="T69" fmla="*/ 204 h 206"/>
                <a:gd name="T70" fmla="*/ 100 w 182"/>
                <a:gd name="T71" fmla="*/ 202 h 206"/>
                <a:gd name="T72" fmla="*/ 94 w 182"/>
                <a:gd name="T73" fmla="*/ 194 h 206"/>
                <a:gd name="T74" fmla="*/ 82 w 182"/>
                <a:gd name="T75" fmla="*/ 192 h 206"/>
                <a:gd name="T76" fmla="*/ 50 w 182"/>
                <a:gd name="T77" fmla="*/ 194 h 206"/>
                <a:gd name="T78" fmla="*/ 26 w 182"/>
                <a:gd name="T79" fmla="*/ 190 h 206"/>
                <a:gd name="T80" fmla="*/ 14 w 182"/>
                <a:gd name="T81" fmla="*/ 184 h 206"/>
                <a:gd name="T82" fmla="*/ 0 w 182"/>
                <a:gd name="T83" fmla="*/ 188 h 206"/>
                <a:gd name="T84" fmla="*/ 0 w 182"/>
                <a:gd name="T85" fmla="*/ 164 h 206"/>
                <a:gd name="T86" fmla="*/ 16 w 182"/>
                <a:gd name="T87" fmla="*/ 136 h 206"/>
                <a:gd name="T88" fmla="*/ 26 w 182"/>
                <a:gd name="T89" fmla="*/ 114 h 206"/>
                <a:gd name="T90" fmla="*/ 32 w 182"/>
                <a:gd name="T91" fmla="*/ 112 h 206"/>
                <a:gd name="T92" fmla="*/ 36 w 182"/>
                <a:gd name="T93" fmla="*/ 102 h 206"/>
                <a:gd name="T94" fmla="*/ 32 w 182"/>
                <a:gd name="T95" fmla="*/ 90 h 206"/>
                <a:gd name="T96" fmla="*/ 24 w 182"/>
                <a:gd name="T97" fmla="*/ 70 h 206"/>
                <a:gd name="T98" fmla="*/ 22 w 182"/>
                <a:gd name="T99" fmla="*/ 42 h 206"/>
                <a:gd name="T100" fmla="*/ 14 w 182"/>
                <a:gd name="T101" fmla="*/ 36 h 206"/>
                <a:gd name="T102" fmla="*/ 12 w 182"/>
                <a:gd name="T103" fmla="*/ 26 h 206"/>
                <a:gd name="T104" fmla="*/ 14 w 182"/>
                <a:gd name="T105" fmla="*/ 14 h 206"/>
                <a:gd name="T106" fmla="*/ 8 w 182"/>
                <a:gd name="T107" fmla="*/ 12 h 206"/>
                <a:gd name="T108" fmla="*/ 4 w 182"/>
                <a:gd name="T109" fmla="*/ 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206">
                  <a:moveTo>
                    <a:pt x="8" y="4"/>
                  </a:moveTo>
                  <a:lnTo>
                    <a:pt x="8" y="4"/>
                  </a:lnTo>
                  <a:lnTo>
                    <a:pt x="10" y="4"/>
                  </a:lnTo>
                  <a:lnTo>
                    <a:pt x="12" y="6"/>
                  </a:lnTo>
                  <a:lnTo>
                    <a:pt x="14" y="6"/>
                  </a:lnTo>
                  <a:lnTo>
                    <a:pt x="18" y="6"/>
                  </a:lnTo>
                  <a:lnTo>
                    <a:pt x="24" y="6"/>
                  </a:lnTo>
                  <a:lnTo>
                    <a:pt x="28" y="6"/>
                  </a:lnTo>
                  <a:lnTo>
                    <a:pt x="30" y="8"/>
                  </a:lnTo>
                  <a:lnTo>
                    <a:pt x="32" y="6"/>
                  </a:lnTo>
                  <a:lnTo>
                    <a:pt x="36" y="6"/>
                  </a:lnTo>
                  <a:lnTo>
                    <a:pt x="36" y="6"/>
                  </a:lnTo>
                  <a:lnTo>
                    <a:pt x="38" y="6"/>
                  </a:lnTo>
                  <a:lnTo>
                    <a:pt x="42" y="4"/>
                  </a:lnTo>
                  <a:lnTo>
                    <a:pt x="46" y="2"/>
                  </a:lnTo>
                  <a:lnTo>
                    <a:pt x="48" y="2"/>
                  </a:lnTo>
                  <a:lnTo>
                    <a:pt x="50" y="2"/>
                  </a:lnTo>
                  <a:lnTo>
                    <a:pt x="52" y="0"/>
                  </a:lnTo>
                  <a:lnTo>
                    <a:pt x="56" y="0"/>
                  </a:lnTo>
                  <a:lnTo>
                    <a:pt x="60" y="0"/>
                  </a:lnTo>
                  <a:lnTo>
                    <a:pt x="64" y="0"/>
                  </a:lnTo>
                  <a:lnTo>
                    <a:pt x="68" y="2"/>
                  </a:lnTo>
                  <a:lnTo>
                    <a:pt x="70" y="2"/>
                  </a:lnTo>
                  <a:lnTo>
                    <a:pt x="72" y="2"/>
                  </a:lnTo>
                  <a:lnTo>
                    <a:pt x="74" y="2"/>
                  </a:lnTo>
                  <a:lnTo>
                    <a:pt x="74" y="2"/>
                  </a:lnTo>
                  <a:lnTo>
                    <a:pt x="76" y="4"/>
                  </a:lnTo>
                  <a:lnTo>
                    <a:pt x="78" y="4"/>
                  </a:lnTo>
                  <a:lnTo>
                    <a:pt x="78" y="6"/>
                  </a:lnTo>
                  <a:lnTo>
                    <a:pt x="78" y="6"/>
                  </a:lnTo>
                  <a:lnTo>
                    <a:pt x="78" y="8"/>
                  </a:lnTo>
                  <a:lnTo>
                    <a:pt x="80" y="10"/>
                  </a:lnTo>
                  <a:lnTo>
                    <a:pt x="80" y="10"/>
                  </a:lnTo>
                  <a:lnTo>
                    <a:pt x="80" y="12"/>
                  </a:lnTo>
                  <a:lnTo>
                    <a:pt x="80" y="16"/>
                  </a:lnTo>
                  <a:lnTo>
                    <a:pt x="80" y="20"/>
                  </a:lnTo>
                  <a:lnTo>
                    <a:pt x="80" y="24"/>
                  </a:lnTo>
                  <a:lnTo>
                    <a:pt x="80" y="26"/>
                  </a:lnTo>
                  <a:lnTo>
                    <a:pt x="82" y="26"/>
                  </a:lnTo>
                  <a:lnTo>
                    <a:pt x="82" y="28"/>
                  </a:lnTo>
                  <a:lnTo>
                    <a:pt x="82" y="28"/>
                  </a:lnTo>
                  <a:lnTo>
                    <a:pt x="84" y="30"/>
                  </a:lnTo>
                  <a:lnTo>
                    <a:pt x="84" y="30"/>
                  </a:lnTo>
                  <a:lnTo>
                    <a:pt x="86" y="30"/>
                  </a:lnTo>
                  <a:lnTo>
                    <a:pt x="88" y="30"/>
                  </a:lnTo>
                  <a:lnTo>
                    <a:pt x="88" y="30"/>
                  </a:lnTo>
                  <a:lnTo>
                    <a:pt x="88" y="32"/>
                  </a:lnTo>
                  <a:lnTo>
                    <a:pt x="90" y="32"/>
                  </a:lnTo>
                  <a:lnTo>
                    <a:pt x="90" y="32"/>
                  </a:lnTo>
                  <a:lnTo>
                    <a:pt x="90" y="34"/>
                  </a:lnTo>
                  <a:lnTo>
                    <a:pt x="90" y="34"/>
                  </a:lnTo>
                  <a:lnTo>
                    <a:pt x="90" y="36"/>
                  </a:lnTo>
                  <a:lnTo>
                    <a:pt x="90" y="38"/>
                  </a:lnTo>
                  <a:lnTo>
                    <a:pt x="90" y="38"/>
                  </a:lnTo>
                  <a:lnTo>
                    <a:pt x="90" y="40"/>
                  </a:lnTo>
                  <a:lnTo>
                    <a:pt x="90" y="40"/>
                  </a:lnTo>
                  <a:lnTo>
                    <a:pt x="90" y="40"/>
                  </a:lnTo>
                  <a:lnTo>
                    <a:pt x="92" y="42"/>
                  </a:lnTo>
                  <a:lnTo>
                    <a:pt x="92" y="42"/>
                  </a:lnTo>
                  <a:lnTo>
                    <a:pt x="94" y="42"/>
                  </a:lnTo>
                  <a:lnTo>
                    <a:pt x="96" y="44"/>
                  </a:lnTo>
                  <a:lnTo>
                    <a:pt x="98" y="44"/>
                  </a:lnTo>
                  <a:lnTo>
                    <a:pt x="100" y="44"/>
                  </a:lnTo>
                  <a:lnTo>
                    <a:pt x="102" y="44"/>
                  </a:lnTo>
                  <a:lnTo>
                    <a:pt x="104" y="44"/>
                  </a:lnTo>
                  <a:lnTo>
                    <a:pt x="106" y="44"/>
                  </a:lnTo>
                  <a:lnTo>
                    <a:pt x="106" y="44"/>
                  </a:lnTo>
                  <a:lnTo>
                    <a:pt x="108" y="44"/>
                  </a:lnTo>
                  <a:lnTo>
                    <a:pt x="110" y="42"/>
                  </a:lnTo>
                  <a:lnTo>
                    <a:pt x="112" y="42"/>
                  </a:lnTo>
                  <a:lnTo>
                    <a:pt x="114" y="42"/>
                  </a:lnTo>
                  <a:lnTo>
                    <a:pt x="114" y="42"/>
                  </a:lnTo>
                  <a:lnTo>
                    <a:pt x="116" y="40"/>
                  </a:lnTo>
                  <a:lnTo>
                    <a:pt x="116" y="40"/>
                  </a:lnTo>
                  <a:lnTo>
                    <a:pt x="116" y="38"/>
                  </a:lnTo>
                  <a:lnTo>
                    <a:pt x="116" y="38"/>
                  </a:lnTo>
                  <a:lnTo>
                    <a:pt x="118" y="38"/>
                  </a:lnTo>
                  <a:lnTo>
                    <a:pt x="118" y="34"/>
                  </a:lnTo>
                  <a:lnTo>
                    <a:pt x="116" y="32"/>
                  </a:lnTo>
                  <a:lnTo>
                    <a:pt x="116" y="30"/>
                  </a:lnTo>
                  <a:lnTo>
                    <a:pt x="116" y="28"/>
                  </a:lnTo>
                  <a:lnTo>
                    <a:pt x="116" y="26"/>
                  </a:lnTo>
                  <a:lnTo>
                    <a:pt x="116" y="24"/>
                  </a:lnTo>
                  <a:lnTo>
                    <a:pt x="118" y="24"/>
                  </a:lnTo>
                  <a:lnTo>
                    <a:pt x="118" y="24"/>
                  </a:lnTo>
                  <a:lnTo>
                    <a:pt x="118" y="22"/>
                  </a:lnTo>
                  <a:lnTo>
                    <a:pt x="120" y="20"/>
                  </a:lnTo>
                  <a:lnTo>
                    <a:pt x="120" y="20"/>
                  </a:lnTo>
                  <a:lnTo>
                    <a:pt x="122" y="20"/>
                  </a:lnTo>
                  <a:lnTo>
                    <a:pt x="122" y="18"/>
                  </a:lnTo>
                  <a:lnTo>
                    <a:pt x="124" y="18"/>
                  </a:lnTo>
                  <a:lnTo>
                    <a:pt x="124" y="18"/>
                  </a:lnTo>
                  <a:lnTo>
                    <a:pt x="124" y="18"/>
                  </a:lnTo>
                  <a:lnTo>
                    <a:pt x="124" y="18"/>
                  </a:lnTo>
                  <a:lnTo>
                    <a:pt x="126" y="20"/>
                  </a:lnTo>
                  <a:lnTo>
                    <a:pt x="126" y="20"/>
                  </a:lnTo>
                  <a:lnTo>
                    <a:pt x="126" y="22"/>
                  </a:lnTo>
                  <a:lnTo>
                    <a:pt x="126" y="22"/>
                  </a:lnTo>
                  <a:lnTo>
                    <a:pt x="128" y="24"/>
                  </a:lnTo>
                  <a:lnTo>
                    <a:pt x="128" y="26"/>
                  </a:lnTo>
                  <a:lnTo>
                    <a:pt x="128" y="30"/>
                  </a:lnTo>
                  <a:lnTo>
                    <a:pt x="130" y="32"/>
                  </a:lnTo>
                  <a:lnTo>
                    <a:pt x="130" y="34"/>
                  </a:lnTo>
                  <a:lnTo>
                    <a:pt x="130" y="34"/>
                  </a:lnTo>
                  <a:lnTo>
                    <a:pt x="130" y="36"/>
                  </a:lnTo>
                  <a:lnTo>
                    <a:pt x="132" y="36"/>
                  </a:lnTo>
                  <a:lnTo>
                    <a:pt x="132" y="36"/>
                  </a:lnTo>
                  <a:lnTo>
                    <a:pt x="132" y="36"/>
                  </a:lnTo>
                  <a:lnTo>
                    <a:pt x="134" y="36"/>
                  </a:lnTo>
                  <a:lnTo>
                    <a:pt x="134" y="34"/>
                  </a:lnTo>
                  <a:lnTo>
                    <a:pt x="134" y="34"/>
                  </a:lnTo>
                  <a:lnTo>
                    <a:pt x="136" y="32"/>
                  </a:lnTo>
                  <a:lnTo>
                    <a:pt x="138" y="32"/>
                  </a:lnTo>
                  <a:lnTo>
                    <a:pt x="138" y="32"/>
                  </a:lnTo>
                  <a:lnTo>
                    <a:pt x="140" y="30"/>
                  </a:lnTo>
                  <a:lnTo>
                    <a:pt x="142" y="30"/>
                  </a:lnTo>
                  <a:lnTo>
                    <a:pt x="144" y="30"/>
                  </a:lnTo>
                  <a:lnTo>
                    <a:pt x="146" y="30"/>
                  </a:lnTo>
                  <a:lnTo>
                    <a:pt x="146" y="30"/>
                  </a:lnTo>
                  <a:lnTo>
                    <a:pt x="148" y="30"/>
                  </a:lnTo>
                  <a:lnTo>
                    <a:pt x="148" y="30"/>
                  </a:lnTo>
                  <a:lnTo>
                    <a:pt x="150" y="32"/>
                  </a:lnTo>
                  <a:lnTo>
                    <a:pt x="150" y="32"/>
                  </a:lnTo>
                  <a:lnTo>
                    <a:pt x="150" y="34"/>
                  </a:lnTo>
                  <a:lnTo>
                    <a:pt x="152" y="36"/>
                  </a:lnTo>
                  <a:lnTo>
                    <a:pt x="152" y="38"/>
                  </a:lnTo>
                  <a:lnTo>
                    <a:pt x="154" y="40"/>
                  </a:lnTo>
                  <a:lnTo>
                    <a:pt x="154" y="42"/>
                  </a:lnTo>
                  <a:lnTo>
                    <a:pt x="154" y="46"/>
                  </a:lnTo>
                  <a:lnTo>
                    <a:pt x="154" y="50"/>
                  </a:lnTo>
                  <a:lnTo>
                    <a:pt x="154" y="54"/>
                  </a:lnTo>
                  <a:lnTo>
                    <a:pt x="154" y="64"/>
                  </a:lnTo>
                  <a:lnTo>
                    <a:pt x="154" y="72"/>
                  </a:lnTo>
                  <a:lnTo>
                    <a:pt x="154" y="74"/>
                  </a:lnTo>
                  <a:lnTo>
                    <a:pt x="154" y="78"/>
                  </a:lnTo>
                  <a:lnTo>
                    <a:pt x="154" y="80"/>
                  </a:lnTo>
                  <a:lnTo>
                    <a:pt x="154" y="80"/>
                  </a:lnTo>
                  <a:lnTo>
                    <a:pt x="154" y="82"/>
                  </a:lnTo>
                  <a:lnTo>
                    <a:pt x="154" y="84"/>
                  </a:lnTo>
                  <a:lnTo>
                    <a:pt x="154" y="84"/>
                  </a:lnTo>
                  <a:lnTo>
                    <a:pt x="156" y="86"/>
                  </a:lnTo>
                  <a:lnTo>
                    <a:pt x="156" y="86"/>
                  </a:lnTo>
                  <a:lnTo>
                    <a:pt x="158" y="88"/>
                  </a:lnTo>
                  <a:lnTo>
                    <a:pt x="160" y="88"/>
                  </a:lnTo>
                  <a:lnTo>
                    <a:pt x="160" y="90"/>
                  </a:lnTo>
                  <a:lnTo>
                    <a:pt x="162" y="90"/>
                  </a:lnTo>
                  <a:lnTo>
                    <a:pt x="162" y="90"/>
                  </a:lnTo>
                  <a:lnTo>
                    <a:pt x="164" y="92"/>
                  </a:lnTo>
                  <a:lnTo>
                    <a:pt x="164" y="92"/>
                  </a:lnTo>
                  <a:lnTo>
                    <a:pt x="168" y="92"/>
                  </a:lnTo>
                  <a:lnTo>
                    <a:pt x="170" y="92"/>
                  </a:lnTo>
                  <a:lnTo>
                    <a:pt x="172" y="92"/>
                  </a:lnTo>
                  <a:lnTo>
                    <a:pt x="178" y="92"/>
                  </a:lnTo>
                  <a:lnTo>
                    <a:pt x="180" y="90"/>
                  </a:lnTo>
                  <a:lnTo>
                    <a:pt x="180" y="96"/>
                  </a:lnTo>
                  <a:lnTo>
                    <a:pt x="180" y="100"/>
                  </a:lnTo>
                  <a:lnTo>
                    <a:pt x="182" y="106"/>
                  </a:lnTo>
                  <a:lnTo>
                    <a:pt x="182" y="108"/>
                  </a:lnTo>
                  <a:lnTo>
                    <a:pt x="182" y="112"/>
                  </a:lnTo>
                  <a:lnTo>
                    <a:pt x="182" y="114"/>
                  </a:lnTo>
                  <a:lnTo>
                    <a:pt x="180" y="118"/>
                  </a:lnTo>
                  <a:lnTo>
                    <a:pt x="180" y="120"/>
                  </a:lnTo>
                  <a:lnTo>
                    <a:pt x="180" y="122"/>
                  </a:lnTo>
                  <a:lnTo>
                    <a:pt x="178" y="124"/>
                  </a:lnTo>
                  <a:lnTo>
                    <a:pt x="178" y="124"/>
                  </a:lnTo>
                  <a:lnTo>
                    <a:pt x="178" y="124"/>
                  </a:lnTo>
                  <a:lnTo>
                    <a:pt x="178" y="126"/>
                  </a:lnTo>
                  <a:lnTo>
                    <a:pt x="176" y="126"/>
                  </a:lnTo>
                  <a:lnTo>
                    <a:pt x="176" y="126"/>
                  </a:lnTo>
                  <a:lnTo>
                    <a:pt x="174" y="126"/>
                  </a:lnTo>
                  <a:lnTo>
                    <a:pt x="172" y="126"/>
                  </a:lnTo>
                  <a:lnTo>
                    <a:pt x="170" y="126"/>
                  </a:lnTo>
                  <a:lnTo>
                    <a:pt x="168" y="126"/>
                  </a:lnTo>
                  <a:lnTo>
                    <a:pt x="166" y="126"/>
                  </a:lnTo>
                  <a:lnTo>
                    <a:pt x="164" y="124"/>
                  </a:lnTo>
                  <a:lnTo>
                    <a:pt x="164" y="124"/>
                  </a:lnTo>
                  <a:lnTo>
                    <a:pt x="164" y="124"/>
                  </a:lnTo>
                  <a:lnTo>
                    <a:pt x="164" y="124"/>
                  </a:lnTo>
                  <a:lnTo>
                    <a:pt x="162" y="122"/>
                  </a:lnTo>
                  <a:lnTo>
                    <a:pt x="162" y="120"/>
                  </a:lnTo>
                  <a:lnTo>
                    <a:pt x="162" y="120"/>
                  </a:lnTo>
                  <a:lnTo>
                    <a:pt x="162" y="118"/>
                  </a:lnTo>
                  <a:lnTo>
                    <a:pt x="160" y="116"/>
                  </a:lnTo>
                  <a:lnTo>
                    <a:pt x="160" y="116"/>
                  </a:lnTo>
                  <a:lnTo>
                    <a:pt x="160" y="116"/>
                  </a:lnTo>
                  <a:lnTo>
                    <a:pt x="160" y="116"/>
                  </a:lnTo>
                  <a:lnTo>
                    <a:pt x="158" y="116"/>
                  </a:lnTo>
                  <a:lnTo>
                    <a:pt x="156" y="116"/>
                  </a:lnTo>
                  <a:lnTo>
                    <a:pt x="156" y="116"/>
                  </a:lnTo>
                  <a:lnTo>
                    <a:pt x="154" y="116"/>
                  </a:lnTo>
                  <a:lnTo>
                    <a:pt x="154" y="116"/>
                  </a:lnTo>
                  <a:lnTo>
                    <a:pt x="154" y="118"/>
                  </a:lnTo>
                  <a:lnTo>
                    <a:pt x="154" y="118"/>
                  </a:lnTo>
                  <a:lnTo>
                    <a:pt x="154" y="118"/>
                  </a:lnTo>
                  <a:lnTo>
                    <a:pt x="154" y="120"/>
                  </a:lnTo>
                  <a:lnTo>
                    <a:pt x="154" y="120"/>
                  </a:lnTo>
                  <a:lnTo>
                    <a:pt x="154" y="122"/>
                  </a:lnTo>
                  <a:lnTo>
                    <a:pt x="154" y="124"/>
                  </a:lnTo>
                  <a:lnTo>
                    <a:pt x="154" y="124"/>
                  </a:lnTo>
                  <a:lnTo>
                    <a:pt x="154" y="124"/>
                  </a:lnTo>
                  <a:lnTo>
                    <a:pt x="154" y="124"/>
                  </a:lnTo>
                  <a:lnTo>
                    <a:pt x="154" y="126"/>
                  </a:lnTo>
                  <a:lnTo>
                    <a:pt x="152" y="126"/>
                  </a:lnTo>
                  <a:lnTo>
                    <a:pt x="152" y="126"/>
                  </a:lnTo>
                  <a:lnTo>
                    <a:pt x="150" y="126"/>
                  </a:lnTo>
                  <a:lnTo>
                    <a:pt x="148" y="126"/>
                  </a:lnTo>
                  <a:lnTo>
                    <a:pt x="148" y="126"/>
                  </a:lnTo>
                  <a:lnTo>
                    <a:pt x="146" y="126"/>
                  </a:lnTo>
                  <a:lnTo>
                    <a:pt x="144" y="126"/>
                  </a:lnTo>
                  <a:lnTo>
                    <a:pt x="144" y="126"/>
                  </a:lnTo>
                  <a:lnTo>
                    <a:pt x="144" y="126"/>
                  </a:lnTo>
                  <a:lnTo>
                    <a:pt x="144" y="126"/>
                  </a:lnTo>
                  <a:lnTo>
                    <a:pt x="142" y="128"/>
                  </a:lnTo>
                  <a:lnTo>
                    <a:pt x="142" y="130"/>
                  </a:lnTo>
                  <a:lnTo>
                    <a:pt x="142" y="132"/>
                  </a:lnTo>
                  <a:lnTo>
                    <a:pt x="142" y="134"/>
                  </a:lnTo>
                  <a:lnTo>
                    <a:pt x="140" y="136"/>
                  </a:lnTo>
                  <a:lnTo>
                    <a:pt x="140" y="140"/>
                  </a:lnTo>
                  <a:lnTo>
                    <a:pt x="142" y="142"/>
                  </a:lnTo>
                  <a:lnTo>
                    <a:pt x="142" y="144"/>
                  </a:lnTo>
                  <a:lnTo>
                    <a:pt x="142" y="150"/>
                  </a:lnTo>
                  <a:lnTo>
                    <a:pt x="142" y="156"/>
                  </a:lnTo>
                  <a:lnTo>
                    <a:pt x="144" y="162"/>
                  </a:lnTo>
                  <a:lnTo>
                    <a:pt x="144" y="166"/>
                  </a:lnTo>
                  <a:lnTo>
                    <a:pt x="144" y="172"/>
                  </a:lnTo>
                  <a:lnTo>
                    <a:pt x="144" y="176"/>
                  </a:lnTo>
                  <a:lnTo>
                    <a:pt x="144" y="176"/>
                  </a:lnTo>
                  <a:lnTo>
                    <a:pt x="144" y="178"/>
                  </a:lnTo>
                  <a:lnTo>
                    <a:pt x="146" y="178"/>
                  </a:lnTo>
                  <a:lnTo>
                    <a:pt x="146" y="180"/>
                  </a:lnTo>
                  <a:lnTo>
                    <a:pt x="146" y="182"/>
                  </a:lnTo>
                  <a:lnTo>
                    <a:pt x="148" y="184"/>
                  </a:lnTo>
                  <a:lnTo>
                    <a:pt x="150" y="186"/>
                  </a:lnTo>
                  <a:lnTo>
                    <a:pt x="152" y="186"/>
                  </a:lnTo>
                  <a:lnTo>
                    <a:pt x="154" y="188"/>
                  </a:lnTo>
                  <a:lnTo>
                    <a:pt x="154" y="190"/>
                  </a:lnTo>
                  <a:lnTo>
                    <a:pt x="156" y="192"/>
                  </a:lnTo>
                  <a:lnTo>
                    <a:pt x="156" y="192"/>
                  </a:lnTo>
                  <a:lnTo>
                    <a:pt x="156" y="194"/>
                  </a:lnTo>
                  <a:lnTo>
                    <a:pt x="156" y="194"/>
                  </a:lnTo>
                  <a:lnTo>
                    <a:pt x="156" y="196"/>
                  </a:lnTo>
                  <a:lnTo>
                    <a:pt x="156" y="200"/>
                  </a:lnTo>
                  <a:lnTo>
                    <a:pt x="140" y="206"/>
                  </a:lnTo>
                  <a:lnTo>
                    <a:pt x="136" y="206"/>
                  </a:lnTo>
                  <a:lnTo>
                    <a:pt x="128" y="204"/>
                  </a:lnTo>
                  <a:lnTo>
                    <a:pt x="126" y="204"/>
                  </a:lnTo>
                  <a:lnTo>
                    <a:pt x="120" y="204"/>
                  </a:lnTo>
                  <a:lnTo>
                    <a:pt x="112" y="204"/>
                  </a:lnTo>
                  <a:lnTo>
                    <a:pt x="108" y="204"/>
                  </a:lnTo>
                  <a:lnTo>
                    <a:pt x="104" y="204"/>
                  </a:lnTo>
                  <a:lnTo>
                    <a:pt x="102" y="202"/>
                  </a:lnTo>
                  <a:lnTo>
                    <a:pt x="100" y="202"/>
                  </a:lnTo>
                  <a:lnTo>
                    <a:pt x="98" y="202"/>
                  </a:lnTo>
                  <a:lnTo>
                    <a:pt x="98" y="200"/>
                  </a:lnTo>
                  <a:lnTo>
                    <a:pt x="96" y="200"/>
                  </a:lnTo>
                  <a:lnTo>
                    <a:pt x="96" y="200"/>
                  </a:lnTo>
                  <a:lnTo>
                    <a:pt x="96" y="196"/>
                  </a:lnTo>
                  <a:lnTo>
                    <a:pt x="94" y="196"/>
                  </a:lnTo>
                  <a:lnTo>
                    <a:pt x="94" y="194"/>
                  </a:lnTo>
                  <a:lnTo>
                    <a:pt x="94" y="194"/>
                  </a:lnTo>
                  <a:lnTo>
                    <a:pt x="92" y="192"/>
                  </a:lnTo>
                  <a:lnTo>
                    <a:pt x="90" y="192"/>
                  </a:lnTo>
                  <a:lnTo>
                    <a:pt x="88" y="192"/>
                  </a:lnTo>
                  <a:lnTo>
                    <a:pt x="86" y="192"/>
                  </a:lnTo>
                  <a:lnTo>
                    <a:pt x="84" y="192"/>
                  </a:lnTo>
                  <a:lnTo>
                    <a:pt x="82" y="192"/>
                  </a:lnTo>
                  <a:lnTo>
                    <a:pt x="80" y="192"/>
                  </a:lnTo>
                  <a:lnTo>
                    <a:pt x="74" y="192"/>
                  </a:lnTo>
                  <a:lnTo>
                    <a:pt x="64" y="194"/>
                  </a:lnTo>
                  <a:lnTo>
                    <a:pt x="60" y="194"/>
                  </a:lnTo>
                  <a:lnTo>
                    <a:pt x="58" y="194"/>
                  </a:lnTo>
                  <a:lnTo>
                    <a:pt x="56" y="194"/>
                  </a:lnTo>
                  <a:lnTo>
                    <a:pt x="50" y="194"/>
                  </a:lnTo>
                  <a:lnTo>
                    <a:pt x="42" y="194"/>
                  </a:lnTo>
                  <a:lnTo>
                    <a:pt x="40" y="192"/>
                  </a:lnTo>
                  <a:lnTo>
                    <a:pt x="36" y="192"/>
                  </a:lnTo>
                  <a:lnTo>
                    <a:pt x="32" y="192"/>
                  </a:lnTo>
                  <a:lnTo>
                    <a:pt x="30" y="192"/>
                  </a:lnTo>
                  <a:lnTo>
                    <a:pt x="28" y="190"/>
                  </a:lnTo>
                  <a:lnTo>
                    <a:pt x="26" y="190"/>
                  </a:lnTo>
                  <a:lnTo>
                    <a:pt x="22" y="188"/>
                  </a:lnTo>
                  <a:lnTo>
                    <a:pt x="20" y="186"/>
                  </a:lnTo>
                  <a:lnTo>
                    <a:pt x="18" y="186"/>
                  </a:lnTo>
                  <a:lnTo>
                    <a:pt x="16" y="184"/>
                  </a:lnTo>
                  <a:lnTo>
                    <a:pt x="16" y="184"/>
                  </a:lnTo>
                  <a:lnTo>
                    <a:pt x="14" y="184"/>
                  </a:lnTo>
                  <a:lnTo>
                    <a:pt x="14" y="184"/>
                  </a:lnTo>
                  <a:lnTo>
                    <a:pt x="14" y="184"/>
                  </a:lnTo>
                  <a:lnTo>
                    <a:pt x="10" y="186"/>
                  </a:lnTo>
                  <a:lnTo>
                    <a:pt x="8" y="186"/>
                  </a:lnTo>
                  <a:lnTo>
                    <a:pt x="6" y="188"/>
                  </a:lnTo>
                  <a:lnTo>
                    <a:pt x="2" y="190"/>
                  </a:lnTo>
                  <a:lnTo>
                    <a:pt x="0" y="190"/>
                  </a:lnTo>
                  <a:lnTo>
                    <a:pt x="0" y="188"/>
                  </a:lnTo>
                  <a:lnTo>
                    <a:pt x="0" y="180"/>
                  </a:lnTo>
                  <a:lnTo>
                    <a:pt x="0" y="176"/>
                  </a:lnTo>
                  <a:lnTo>
                    <a:pt x="0" y="172"/>
                  </a:lnTo>
                  <a:lnTo>
                    <a:pt x="0" y="168"/>
                  </a:lnTo>
                  <a:lnTo>
                    <a:pt x="0" y="166"/>
                  </a:lnTo>
                  <a:lnTo>
                    <a:pt x="0" y="166"/>
                  </a:lnTo>
                  <a:lnTo>
                    <a:pt x="0" y="164"/>
                  </a:lnTo>
                  <a:lnTo>
                    <a:pt x="2" y="162"/>
                  </a:lnTo>
                  <a:lnTo>
                    <a:pt x="2" y="158"/>
                  </a:lnTo>
                  <a:lnTo>
                    <a:pt x="6" y="154"/>
                  </a:lnTo>
                  <a:lnTo>
                    <a:pt x="8" y="150"/>
                  </a:lnTo>
                  <a:lnTo>
                    <a:pt x="12" y="144"/>
                  </a:lnTo>
                  <a:lnTo>
                    <a:pt x="14" y="140"/>
                  </a:lnTo>
                  <a:lnTo>
                    <a:pt x="16" y="136"/>
                  </a:lnTo>
                  <a:lnTo>
                    <a:pt x="18" y="132"/>
                  </a:lnTo>
                  <a:lnTo>
                    <a:pt x="20" y="128"/>
                  </a:lnTo>
                  <a:lnTo>
                    <a:pt x="22" y="122"/>
                  </a:lnTo>
                  <a:lnTo>
                    <a:pt x="24" y="118"/>
                  </a:lnTo>
                  <a:lnTo>
                    <a:pt x="24" y="116"/>
                  </a:lnTo>
                  <a:lnTo>
                    <a:pt x="24" y="116"/>
                  </a:lnTo>
                  <a:lnTo>
                    <a:pt x="26" y="114"/>
                  </a:lnTo>
                  <a:lnTo>
                    <a:pt x="26" y="114"/>
                  </a:lnTo>
                  <a:lnTo>
                    <a:pt x="26" y="112"/>
                  </a:lnTo>
                  <a:lnTo>
                    <a:pt x="26" y="112"/>
                  </a:lnTo>
                  <a:lnTo>
                    <a:pt x="28" y="112"/>
                  </a:lnTo>
                  <a:lnTo>
                    <a:pt x="30" y="112"/>
                  </a:lnTo>
                  <a:lnTo>
                    <a:pt x="32" y="112"/>
                  </a:lnTo>
                  <a:lnTo>
                    <a:pt x="32" y="112"/>
                  </a:lnTo>
                  <a:lnTo>
                    <a:pt x="32" y="112"/>
                  </a:lnTo>
                  <a:lnTo>
                    <a:pt x="32" y="110"/>
                  </a:lnTo>
                  <a:lnTo>
                    <a:pt x="34" y="110"/>
                  </a:lnTo>
                  <a:lnTo>
                    <a:pt x="34" y="108"/>
                  </a:lnTo>
                  <a:lnTo>
                    <a:pt x="34" y="106"/>
                  </a:lnTo>
                  <a:lnTo>
                    <a:pt x="36" y="104"/>
                  </a:lnTo>
                  <a:lnTo>
                    <a:pt x="36" y="102"/>
                  </a:lnTo>
                  <a:lnTo>
                    <a:pt x="36" y="100"/>
                  </a:lnTo>
                  <a:lnTo>
                    <a:pt x="36" y="98"/>
                  </a:lnTo>
                  <a:lnTo>
                    <a:pt x="36" y="96"/>
                  </a:lnTo>
                  <a:lnTo>
                    <a:pt x="36" y="96"/>
                  </a:lnTo>
                  <a:lnTo>
                    <a:pt x="36" y="94"/>
                  </a:lnTo>
                  <a:lnTo>
                    <a:pt x="34" y="92"/>
                  </a:lnTo>
                  <a:lnTo>
                    <a:pt x="32" y="90"/>
                  </a:lnTo>
                  <a:lnTo>
                    <a:pt x="32" y="88"/>
                  </a:lnTo>
                  <a:lnTo>
                    <a:pt x="28" y="84"/>
                  </a:lnTo>
                  <a:lnTo>
                    <a:pt x="28" y="82"/>
                  </a:lnTo>
                  <a:lnTo>
                    <a:pt x="26" y="80"/>
                  </a:lnTo>
                  <a:lnTo>
                    <a:pt x="26" y="78"/>
                  </a:lnTo>
                  <a:lnTo>
                    <a:pt x="26" y="76"/>
                  </a:lnTo>
                  <a:lnTo>
                    <a:pt x="24" y="70"/>
                  </a:lnTo>
                  <a:lnTo>
                    <a:pt x="24" y="62"/>
                  </a:lnTo>
                  <a:lnTo>
                    <a:pt x="22" y="58"/>
                  </a:lnTo>
                  <a:lnTo>
                    <a:pt x="22" y="56"/>
                  </a:lnTo>
                  <a:lnTo>
                    <a:pt x="22" y="50"/>
                  </a:lnTo>
                  <a:lnTo>
                    <a:pt x="22" y="48"/>
                  </a:lnTo>
                  <a:lnTo>
                    <a:pt x="22" y="44"/>
                  </a:lnTo>
                  <a:lnTo>
                    <a:pt x="22" y="42"/>
                  </a:lnTo>
                  <a:lnTo>
                    <a:pt x="22" y="42"/>
                  </a:lnTo>
                  <a:lnTo>
                    <a:pt x="22" y="40"/>
                  </a:lnTo>
                  <a:lnTo>
                    <a:pt x="20" y="40"/>
                  </a:lnTo>
                  <a:lnTo>
                    <a:pt x="20" y="38"/>
                  </a:lnTo>
                  <a:lnTo>
                    <a:pt x="20" y="38"/>
                  </a:lnTo>
                  <a:lnTo>
                    <a:pt x="16" y="38"/>
                  </a:lnTo>
                  <a:lnTo>
                    <a:pt x="14" y="36"/>
                  </a:lnTo>
                  <a:lnTo>
                    <a:pt x="14" y="36"/>
                  </a:lnTo>
                  <a:lnTo>
                    <a:pt x="14" y="36"/>
                  </a:lnTo>
                  <a:lnTo>
                    <a:pt x="12" y="34"/>
                  </a:lnTo>
                  <a:lnTo>
                    <a:pt x="12" y="32"/>
                  </a:lnTo>
                  <a:lnTo>
                    <a:pt x="12" y="32"/>
                  </a:lnTo>
                  <a:lnTo>
                    <a:pt x="12" y="30"/>
                  </a:lnTo>
                  <a:lnTo>
                    <a:pt x="12" y="26"/>
                  </a:lnTo>
                  <a:lnTo>
                    <a:pt x="14" y="24"/>
                  </a:lnTo>
                  <a:lnTo>
                    <a:pt x="14" y="20"/>
                  </a:lnTo>
                  <a:lnTo>
                    <a:pt x="14" y="18"/>
                  </a:lnTo>
                  <a:lnTo>
                    <a:pt x="14" y="18"/>
                  </a:lnTo>
                  <a:lnTo>
                    <a:pt x="14" y="16"/>
                  </a:lnTo>
                  <a:lnTo>
                    <a:pt x="14" y="14"/>
                  </a:lnTo>
                  <a:lnTo>
                    <a:pt x="14" y="14"/>
                  </a:lnTo>
                  <a:lnTo>
                    <a:pt x="14" y="12"/>
                  </a:lnTo>
                  <a:lnTo>
                    <a:pt x="12" y="12"/>
                  </a:lnTo>
                  <a:lnTo>
                    <a:pt x="12" y="12"/>
                  </a:lnTo>
                  <a:lnTo>
                    <a:pt x="12" y="12"/>
                  </a:lnTo>
                  <a:lnTo>
                    <a:pt x="10" y="12"/>
                  </a:lnTo>
                  <a:lnTo>
                    <a:pt x="8" y="12"/>
                  </a:lnTo>
                  <a:lnTo>
                    <a:pt x="8" y="12"/>
                  </a:lnTo>
                  <a:lnTo>
                    <a:pt x="6" y="12"/>
                  </a:lnTo>
                  <a:lnTo>
                    <a:pt x="6" y="12"/>
                  </a:lnTo>
                  <a:lnTo>
                    <a:pt x="6" y="12"/>
                  </a:lnTo>
                  <a:lnTo>
                    <a:pt x="4" y="12"/>
                  </a:lnTo>
                  <a:lnTo>
                    <a:pt x="4" y="12"/>
                  </a:lnTo>
                  <a:lnTo>
                    <a:pt x="4" y="12"/>
                  </a:lnTo>
                  <a:lnTo>
                    <a:pt x="4" y="10"/>
                  </a:lnTo>
                  <a:lnTo>
                    <a:pt x="6" y="8"/>
                  </a:lnTo>
                  <a:lnTo>
                    <a:pt x="6" y="8"/>
                  </a:lnTo>
                  <a:lnTo>
                    <a:pt x="8" y="4"/>
                  </a:lnTo>
                  <a:lnTo>
                    <a:pt x="8"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2" name="Freeform 399"/>
            <p:cNvSpPr>
              <a:spLocks/>
            </p:cNvSpPr>
            <p:nvPr/>
          </p:nvSpPr>
          <p:spPr bwMode="auto">
            <a:xfrm>
              <a:off x="4556736" y="4812490"/>
              <a:ext cx="315238" cy="356807"/>
            </a:xfrm>
            <a:custGeom>
              <a:avLst/>
              <a:gdLst>
                <a:gd name="T0" fmla="*/ 24 w 182"/>
                <a:gd name="T1" fmla="*/ 6 h 206"/>
                <a:gd name="T2" fmla="*/ 42 w 182"/>
                <a:gd name="T3" fmla="*/ 4 h 206"/>
                <a:gd name="T4" fmla="*/ 64 w 182"/>
                <a:gd name="T5" fmla="*/ 0 h 206"/>
                <a:gd name="T6" fmla="*/ 78 w 182"/>
                <a:gd name="T7" fmla="*/ 4 h 206"/>
                <a:gd name="T8" fmla="*/ 80 w 182"/>
                <a:gd name="T9" fmla="*/ 16 h 206"/>
                <a:gd name="T10" fmla="*/ 84 w 182"/>
                <a:gd name="T11" fmla="*/ 30 h 206"/>
                <a:gd name="T12" fmla="*/ 90 w 182"/>
                <a:gd name="T13" fmla="*/ 32 h 206"/>
                <a:gd name="T14" fmla="*/ 90 w 182"/>
                <a:gd name="T15" fmla="*/ 40 h 206"/>
                <a:gd name="T16" fmla="*/ 100 w 182"/>
                <a:gd name="T17" fmla="*/ 44 h 206"/>
                <a:gd name="T18" fmla="*/ 112 w 182"/>
                <a:gd name="T19" fmla="*/ 42 h 206"/>
                <a:gd name="T20" fmla="*/ 118 w 182"/>
                <a:gd name="T21" fmla="*/ 38 h 206"/>
                <a:gd name="T22" fmla="*/ 118 w 182"/>
                <a:gd name="T23" fmla="*/ 24 h 206"/>
                <a:gd name="T24" fmla="*/ 124 w 182"/>
                <a:gd name="T25" fmla="*/ 18 h 206"/>
                <a:gd name="T26" fmla="*/ 126 w 182"/>
                <a:gd name="T27" fmla="*/ 22 h 206"/>
                <a:gd name="T28" fmla="*/ 130 w 182"/>
                <a:gd name="T29" fmla="*/ 36 h 206"/>
                <a:gd name="T30" fmla="*/ 136 w 182"/>
                <a:gd name="T31" fmla="*/ 32 h 206"/>
                <a:gd name="T32" fmla="*/ 146 w 182"/>
                <a:gd name="T33" fmla="*/ 30 h 206"/>
                <a:gd name="T34" fmla="*/ 152 w 182"/>
                <a:gd name="T35" fmla="*/ 38 h 206"/>
                <a:gd name="T36" fmla="*/ 154 w 182"/>
                <a:gd name="T37" fmla="*/ 72 h 206"/>
                <a:gd name="T38" fmla="*/ 154 w 182"/>
                <a:gd name="T39" fmla="*/ 84 h 206"/>
                <a:gd name="T40" fmla="*/ 162 w 182"/>
                <a:gd name="T41" fmla="*/ 90 h 206"/>
                <a:gd name="T42" fmla="*/ 180 w 182"/>
                <a:gd name="T43" fmla="*/ 90 h 206"/>
                <a:gd name="T44" fmla="*/ 180 w 182"/>
                <a:gd name="T45" fmla="*/ 118 h 206"/>
                <a:gd name="T46" fmla="*/ 176 w 182"/>
                <a:gd name="T47" fmla="*/ 126 h 206"/>
                <a:gd name="T48" fmla="*/ 164 w 182"/>
                <a:gd name="T49" fmla="*/ 124 h 206"/>
                <a:gd name="T50" fmla="*/ 162 w 182"/>
                <a:gd name="T51" fmla="*/ 118 h 206"/>
                <a:gd name="T52" fmla="*/ 156 w 182"/>
                <a:gd name="T53" fmla="*/ 116 h 206"/>
                <a:gd name="T54" fmla="*/ 154 w 182"/>
                <a:gd name="T55" fmla="*/ 120 h 206"/>
                <a:gd name="T56" fmla="*/ 152 w 182"/>
                <a:gd name="T57" fmla="*/ 126 h 206"/>
                <a:gd name="T58" fmla="*/ 144 w 182"/>
                <a:gd name="T59" fmla="*/ 126 h 206"/>
                <a:gd name="T60" fmla="*/ 140 w 182"/>
                <a:gd name="T61" fmla="*/ 136 h 206"/>
                <a:gd name="T62" fmla="*/ 144 w 182"/>
                <a:gd name="T63" fmla="*/ 166 h 206"/>
                <a:gd name="T64" fmla="*/ 146 w 182"/>
                <a:gd name="T65" fmla="*/ 182 h 206"/>
                <a:gd name="T66" fmla="*/ 156 w 182"/>
                <a:gd name="T67" fmla="*/ 192 h 206"/>
                <a:gd name="T68" fmla="*/ 128 w 182"/>
                <a:gd name="T69" fmla="*/ 204 h 206"/>
                <a:gd name="T70" fmla="*/ 100 w 182"/>
                <a:gd name="T71" fmla="*/ 202 h 206"/>
                <a:gd name="T72" fmla="*/ 94 w 182"/>
                <a:gd name="T73" fmla="*/ 194 h 206"/>
                <a:gd name="T74" fmla="*/ 82 w 182"/>
                <a:gd name="T75" fmla="*/ 192 h 206"/>
                <a:gd name="T76" fmla="*/ 50 w 182"/>
                <a:gd name="T77" fmla="*/ 194 h 206"/>
                <a:gd name="T78" fmla="*/ 26 w 182"/>
                <a:gd name="T79" fmla="*/ 190 h 206"/>
                <a:gd name="T80" fmla="*/ 14 w 182"/>
                <a:gd name="T81" fmla="*/ 184 h 206"/>
                <a:gd name="T82" fmla="*/ 0 w 182"/>
                <a:gd name="T83" fmla="*/ 188 h 206"/>
                <a:gd name="T84" fmla="*/ 0 w 182"/>
                <a:gd name="T85" fmla="*/ 164 h 206"/>
                <a:gd name="T86" fmla="*/ 16 w 182"/>
                <a:gd name="T87" fmla="*/ 136 h 206"/>
                <a:gd name="T88" fmla="*/ 26 w 182"/>
                <a:gd name="T89" fmla="*/ 114 h 206"/>
                <a:gd name="T90" fmla="*/ 32 w 182"/>
                <a:gd name="T91" fmla="*/ 112 h 206"/>
                <a:gd name="T92" fmla="*/ 36 w 182"/>
                <a:gd name="T93" fmla="*/ 102 h 206"/>
                <a:gd name="T94" fmla="*/ 32 w 182"/>
                <a:gd name="T95" fmla="*/ 90 h 206"/>
                <a:gd name="T96" fmla="*/ 24 w 182"/>
                <a:gd name="T97" fmla="*/ 70 h 206"/>
                <a:gd name="T98" fmla="*/ 22 w 182"/>
                <a:gd name="T99" fmla="*/ 42 h 206"/>
                <a:gd name="T100" fmla="*/ 14 w 182"/>
                <a:gd name="T101" fmla="*/ 36 h 206"/>
                <a:gd name="T102" fmla="*/ 12 w 182"/>
                <a:gd name="T103" fmla="*/ 26 h 206"/>
                <a:gd name="T104" fmla="*/ 14 w 182"/>
                <a:gd name="T105" fmla="*/ 14 h 206"/>
                <a:gd name="T106" fmla="*/ 8 w 182"/>
                <a:gd name="T107" fmla="*/ 12 h 206"/>
                <a:gd name="T108" fmla="*/ 4 w 182"/>
                <a:gd name="T109" fmla="*/ 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206">
                  <a:moveTo>
                    <a:pt x="8" y="4"/>
                  </a:moveTo>
                  <a:lnTo>
                    <a:pt x="8" y="4"/>
                  </a:lnTo>
                  <a:lnTo>
                    <a:pt x="10" y="4"/>
                  </a:lnTo>
                  <a:lnTo>
                    <a:pt x="12" y="6"/>
                  </a:lnTo>
                  <a:lnTo>
                    <a:pt x="14" y="6"/>
                  </a:lnTo>
                  <a:lnTo>
                    <a:pt x="18" y="6"/>
                  </a:lnTo>
                  <a:lnTo>
                    <a:pt x="24" y="6"/>
                  </a:lnTo>
                  <a:lnTo>
                    <a:pt x="28" y="6"/>
                  </a:lnTo>
                  <a:lnTo>
                    <a:pt x="30" y="8"/>
                  </a:lnTo>
                  <a:lnTo>
                    <a:pt x="32" y="6"/>
                  </a:lnTo>
                  <a:lnTo>
                    <a:pt x="36" y="6"/>
                  </a:lnTo>
                  <a:lnTo>
                    <a:pt x="36" y="6"/>
                  </a:lnTo>
                  <a:lnTo>
                    <a:pt x="38" y="6"/>
                  </a:lnTo>
                  <a:lnTo>
                    <a:pt x="42" y="4"/>
                  </a:lnTo>
                  <a:lnTo>
                    <a:pt x="46" y="2"/>
                  </a:lnTo>
                  <a:lnTo>
                    <a:pt x="48" y="2"/>
                  </a:lnTo>
                  <a:lnTo>
                    <a:pt x="50" y="2"/>
                  </a:lnTo>
                  <a:lnTo>
                    <a:pt x="52" y="0"/>
                  </a:lnTo>
                  <a:lnTo>
                    <a:pt x="56" y="0"/>
                  </a:lnTo>
                  <a:lnTo>
                    <a:pt x="60" y="0"/>
                  </a:lnTo>
                  <a:lnTo>
                    <a:pt x="64" y="0"/>
                  </a:lnTo>
                  <a:lnTo>
                    <a:pt x="68" y="2"/>
                  </a:lnTo>
                  <a:lnTo>
                    <a:pt x="70" y="2"/>
                  </a:lnTo>
                  <a:lnTo>
                    <a:pt x="72" y="2"/>
                  </a:lnTo>
                  <a:lnTo>
                    <a:pt x="74" y="2"/>
                  </a:lnTo>
                  <a:lnTo>
                    <a:pt x="74" y="2"/>
                  </a:lnTo>
                  <a:lnTo>
                    <a:pt x="76" y="4"/>
                  </a:lnTo>
                  <a:lnTo>
                    <a:pt x="78" y="4"/>
                  </a:lnTo>
                  <a:lnTo>
                    <a:pt x="78" y="6"/>
                  </a:lnTo>
                  <a:lnTo>
                    <a:pt x="78" y="6"/>
                  </a:lnTo>
                  <a:lnTo>
                    <a:pt x="78" y="8"/>
                  </a:lnTo>
                  <a:lnTo>
                    <a:pt x="80" y="10"/>
                  </a:lnTo>
                  <a:lnTo>
                    <a:pt x="80" y="10"/>
                  </a:lnTo>
                  <a:lnTo>
                    <a:pt x="80" y="12"/>
                  </a:lnTo>
                  <a:lnTo>
                    <a:pt x="80" y="16"/>
                  </a:lnTo>
                  <a:lnTo>
                    <a:pt x="80" y="20"/>
                  </a:lnTo>
                  <a:lnTo>
                    <a:pt x="80" y="24"/>
                  </a:lnTo>
                  <a:lnTo>
                    <a:pt x="80" y="26"/>
                  </a:lnTo>
                  <a:lnTo>
                    <a:pt x="82" y="26"/>
                  </a:lnTo>
                  <a:lnTo>
                    <a:pt x="82" y="28"/>
                  </a:lnTo>
                  <a:lnTo>
                    <a:pt x="82" y="28"/>
                  </a:lnTo>
                  <a:lnTo>
                    <a:pt x="84" y="30"/>
                  </a:lnTo>
                  <a:lnTo>
                    <a:pt x="84" y="30"/>
                  </a:lnTo>
                  <a:lnTo>
                    <a:pt x="86" y="30"/>
                  </a:lnTo>
                  <a:lnTo>
                    <a:pt x="88" y="30"/>
                  </a:lnTo>
                  <a:lnTo>
                    <a:pt x="88" y="30"/>
                  </a:lnTo>
                  <a:lnTo>
                    <a:pt x="88" y="32"/>
                  </a:lnTo>
                  <a:lnTo>
                    <a:pt x="90" y="32"/>
                  </a:lnTo>
                  <a:lnTo>
                    <a:pt x="90" y="32"/>
                  </a:lnTo>
                  <a:lnTo>
                    <a:pt x="90" y="34"/>
                  </a:lnTo>
                  <a:lnTo>
                    <a:pt x="90" y="34"/>
                  </a:lnTo>
                  <a:lnTo>
                    <a:pt x="90" y="36"/>
                  </a:lnTo>
                  <a:lnTo>
                    <a:pt x="90" y="38"/>
                  </a:lnTo>
                  <a:lnTo>
                    <a:pt x="90" y="38"/>
                  </a:lnTo>
                  <a:lnTo>
                    <a:pt x="90" y="40"/>
                  </a:lnTo>
                  <a:lnTo>
                    <a:pt x="90" y="40"/>
                  </a:lnTo>
                  <a:lnTo>
                    <a:pt x="90" y="40"/>
                  </a:lnTo>
                  <a:lnTo>
                    <a:pt x="92" y="42"/>
                  </a:lnTo>
                  <a:lnTo>
                    <a:pt x="92" y="42"/>
                  </a:lnTo>
                  <a:lnTo>
                    <a:pt x="94" y="42"/>
                  </a:lnTo>
                  <a:lnTo>
                    <a:pt x="96" y="44"/>
                  </a:lnTo>
                  <a:lnTo>
                    <a:pt x="98" y="44"/>
                  </a:lnTo>
                  <a:lnTo>
                    <a:pt x="100" y="44"/>
                  </a:lnTo>
                  <a:lnTo>
                    <a:pt x="102" y="44"/>
                  </a:lnTo>
                  <a:lnTo>
                    <a:pt x="104" y="44"/>
                  </a:lnTo>
                  <a:lnTo>
                    <a:pt x="106" y="44"/>
                  </a:lnTo>
                  <a:lnTo>
                    <a:pt x="106" y="44"/>
                  </a:lnTo>
                  <a:lnTo>
                    <a:pt x="108" y="44"/>
                  </a:lnTo>
                  <a:lnTo>
                    <a:pt x="110" y="42"/>
                  </a:lnTo>
                  <a:lnTo>
                    <a:pt x="112" y="42"/>
                  </a:lnTo>
                  <a:lnTo>
                    <a:pt x="114" y="42"/>
                  </a:lnTo>
                  <a:lnTo>
                    <a:pt x="114" y="42"/>
                  </a:lnTo>
                  <a:lnTo>
                    <a:pt x="116" y="40"/>
                  </a:lnTo>
                  <a:lnTo>
                    <a:pt x="116" y="40"/>
                  </a:lnTo>
                  <a:lnTo>
                    <a:pt x="116" y="38"/>
                  </a:lnTo>
                  <a:lnTo>
                    <a:pt x="116" y="38"/>
                  </a:lnTo>
                  <a:lnTo>
                    <a:pt x="118" y="38"/>
                  </a:lnTo>
                  <a:lnTo>
                    <a:pt x="118" y="34"/>
                  </a:lnTo>
                  <a:lnTo>
                    <a:pt x="116" y="32"/>
                  </a:lnTo>
                  <a:lnTo>
                    <a:pt x="116" y="30"/>
                  </a:lnTo>
                  <a:lnTo>
                    <a:pt x="116" y="28"/>
                  </a:lnTo>
                  <a:lnTo>
                    <a:pt x="116" y="26"/>
                  </a:lnTo>
                  <a:lnTo>
                    <a:pt x="116" y="24"/>
                  </a:lnTo>
                  <a:lnTo>
                    <a:pt x="118" y="24"/>
                  </a:lnTo>
                  <a:lnTo>
                    <a:pt x="118" y="24"/>
                  </a:lnTo>
                  <a:lnTo>
                    <a:pt x="118" y="22"/>
                  </a:lnTo>
                  <a:lnTo>
                    <a:pt x="120" y="20"/>
                  </a:lnTo>
                  <a:lnTo>
                    <a:pt x="120" y="20"/>
                  </a:lnTo>
                  <a:lnTo>
                    <a:pt x="122" y="20"/>
                  </a:lnTo>
                  <a:lnTo>
                    <a:pt x="122" y="18"/>
                  </a:lnTo>
                  <a:lnTo>
                    <a:pt x="124" y="18"/>
                  </a:lnTo>
                  <a:lnTo>
                    <a:pt x="124" y="18"/>
                  </a:lnTo>
                  <a:lnTo>
                    <a:pt x="124" y="18"/>
                  </a:lnTo>
                  <a:lnTo>
                    <a:pt x="124" y="18"/>
                  </a:lnTo>
                  <a:lnTo>
                    <a:pt x="126" y="20"/>
                  </a:lnTo>
                  <a:lnTo>
                    <a:pt x="126" y="20"/>
                  </a:lnTo>
                  <a:lnTo>
                    <a:pt x="126" y="22"/>
                  </a:lnTo>
                  <a:lnTo>
                    <a:pt x="126" y="22"/>
                  </a:lnTo>
                  <a:lnTo>
                    <a:pt x="128" y="24"/>
                  </a:lnTo>
                  <a:lnTo>
                    <a:pt x="128" y="26"/>
                  </a:lnTo>
                  <a:lnTo>
                    <a:pt x="128" y="30"/>
                  </a:lnTo>
                  <a:lnTo>
                    <a:pt x="130" y="32"/>
                  </a:lnTo>
                  <a:lnTo>
                    <a:pt x="130" y="34"/>
                  </a:lnTo>
                  <a:lnTo>
                    <a:pt x="130" y="34"/>
                  </a:lnTo>
                  <a:lnTo>
                    <a:pt x="130" y="36"/>
                  </a:lnTo>
                  <a:lnTo>
                    <a:pt x="132" y="36"/>
                  </a:lnTo>
                  <a:lnTo>
                    <a:pt x="132" y="36"/>
                  </a:lnTo>
                  <a:lnTo>
                    <a:pt x="132" y="36"/>
                  </a:lnTo>
                  <a:lnTo>
                    <a:pt x="134" y="36"/>
                  </a:lnTo>
                  <a:lnTo>
                    <a:pt x="134" y="34"/>
                  </a:lnTo>
                  <a:lnTo>
                    <a:pt x="134" y="34"/>
                  </a:lnTo>
                  <a:lnTo>
                    <a:pt x="136" y="32"/>
                  </a:lnTo>
                  <a:lnTo>
                    <a:pt x="138" y="32"/>
                  </a:lnTo>
                  <a:lnTo>
                    <a:pt x="138" y="32"/>
                  </a:lnTo>
                  <a:lnTo>
                    <a:pt x="140" y="30"/>
                  </a:lnTo>
                  <a:lnTo>
                    <a:pt x="142" y="30"/>
                  </a:lnTo>
                  <a:lnTo>
                    <a:pt x="144" y="30"/>
                  </a:lnTo>
                  <a:lnTo>
                    <a:pt x="146" y="30"/>
                  </a:lnTo>
                  <a:lnTo>
                    <a:pt x="146" y="30"/>
                  </a:lnTo>
                  <a:lnTo>
                    <a:pt x="148" y="30"/>
                  </a:lnTo>
                  <a:lnTo>
                    <a:pt x="148" y="30"/>
                  </a:lnTo>
                  <a:lnTo>
                    <a:pt x="150" y="32"/>
                  </a:lnTo>
                  <a:lnTo>
                    <a:pt x="150" y="32"/>
                  </a:lnTo>
                  <a:lnTo>
                    <a:pt x="150" y="34"/>
                  </a:lnTo>
                  <a:lnTo>
                    <a:pt x="152" y="36"/>
                  </a:lnTo>
                  <a:lnTo>
                    <a:pt x="152" y="38"/>
                  </a:lnTo>
                  <a:lnTo>
                    <a:pt x="154" y="40"/>
                  </a:lnTo>
                  <a:lnTo>
                    <a:pt x="154" y="42"/>
                  </a:lnTo>
                  <a:lnTo>
                    <a:pt x="154" y="46"/>
                  </a:lnTo>
                  <a:lnTo>
                    <a:pt x="154" y="50"/>
                  </a:lnTo>
                  <a:lnTo>
                    <a:pt x="154" y="54"/>
                  </a:lnTo>
                  <a:lnTo>
                    <a:pt x="154" y="64"/>
                  </a:lnTo>
                  <a:lnTo>
                    <a:pt x="154" y="72"/>
                  </a:lnTo>
                  <a:lnTo>
                    <a:pt x="154" y="74"/>
                  </a:lnTo>
                  <a:lnTo>
                    <a:pt x="154" y="78"/>
                  </a:lnTo>
                  <a:lnTo>
                    <a:pt x="154" y="80"/>
                  </a:lnTo>
                  <a:lnTo>
                    <a:pt x="154" y="80"/>
                  </a:lnTo>
                  <a:lnTo>
                    <a:pt x="154" y="82"/>
                  </a:lnTo>
                  <a:lnTo>
                    <a:pt x="154" y="84"/>
                  </a:lnTo>
                  <a:lnTo>
                    <a:pt x="154" y="84"/>
                  </a:lnTo>
                  <a:lnTo>
                    <a:pt x="156" y="86"/>
                  </a:lnTo>
                  <a:lnTo>
                    <a:pt x="156" y="86"/>
                  </a:lnTo>
                  <a:lnTo>
                    <a:pt x="158" y="88"/>
                  </a:lnTo>
                  <a:lnTo>
                    <a:pt x="160" y="88"/>
                  </a:lnTo>
                  <a:lnTo>
                    <a:pt x="160" y="90"/>
                  </a:lnTo>
                  <a:lnTo>
                    <a:pt x="162" y="90"/>
                  </a:lnTo>
                  <a:lnTo>
                    <a:pt x="162" y="90"/>
                  </a:lnTo>
                  <a:lnTo>
                    <a:pt x="164" y="92"/>
                  </a:lnTo>
                  <a:lnTo>
                    <a:pt x="164" y="92"/>
                  </a:lnTo>
                  <a:lnTo>
                    <a:pt x="168" y="92"/>
                  </a:lnTo>
                  <a:lnTo>
                    <a:pt x="170" y="92"/>
                  </a:lnTo>
                  <a:lnTo>
                    <a:pt x="172" y="92"/>
                  </a:lnTo>
                  <a:lnTo>
                    <a:pt x="178" y="92"/>
                  </a:lnTo>
                  <a:lnTo>
                    <a:pt x="180" y="90"/>
                  </a:lnTo>
                  <a:lnTo>
                    <a:pt x="180" y="96"/>
                  </a:lnTo>
                  <a:lnTo>
                    <a:pt x="180" y="100"/>
                  </a:lnTo>
                  <a:lnTo>
                    <a:pt x="182" y="106"/>
                  </a:lnTo>
                  <a:lnTo>
                    <a:pt x="182" y="108"/>
                  </a:lnTo>
                  <a:lnTo>
                    <a:pt x="182" y="112"/>
                  </a:lnTo>
                  <a:lnTo>
                    <a:pt x="182" y="114"/>
                  </a:lnTo>
                  <a:lnTo>
                    <a:pt x="180" y="118"/>
                  </a:lnTo>
                  <a:lnTo>
                    <a:pt x="180" y="120"/>
                  </a:lnTo>
                  <a:lnTo>
                    <a:pt x="180" y="122"/>
                  </a:lnTo>
                  <a:lnTo>
                    <a:pt x="178" y="124"/>
                  </a:lnTo>
                  <a:lnTo>
                    <a:pt x="178" y="124"/>
                  </a:lnTo>
                  <a:lnTo>
                    <a:pt x="178" y="124"/>
                  </a:lnTo>
                  <a:lnTo>
                    <a:pt x="178" y="126"/>
                  </a:lnTo>
                  <a:lnTo>
                    <a:pt x="176" y="126"/>
                  </a:lnTo>
                  <a:lnTo>
                    <a:pt x="176" y="126"/>
                  </a:lnTo>
                  <a:lnTo>
                    <a:pt x="174" y="126"/>
                  </a:lnTo>
                  <a:lnTo>
                    <a:pt x="172" y="126"/>
                  </a:lnTo>
                  <a:lnTo>
                    <a:pt x="170" y="126"/>
                  </a:lnTo>
                  <a:lnTo>
                    <a:pt x="168" y="126"/>
                  </a:lnTo>
                  <a:lnTo>
                    <a:pt x="166" y="126"/>
                  </a:lnTo>
                  <a:lnTo>
                    <a:pt x="164" y="124"/>
                  </a:lnTo>
                  <a:lnTo>
                    <a:pt x="164" y="124"/>
                  </a:lnTo>
                  <a:lnTo>
                    <a:pt x="164" y="124"/>
                  </a:lnTo>
                  <a:lnTo>
                    <a:pt x="164" y="124"/>
                  </a:lnTo>
                  <a:lnTo>
                    <a:pt x="162" y="122"/>
                  </a:lnTo>
                  <a:lnTo>
                    <a:pt x="162" y="120"/>
                  </a:lnTo>
                  <a:lnTo>
                    <a:pt x="162" y="120"/>
                  </a:lnTo>
                  <a:lnTo>
                    <a:pt x="162" y="118"/>
                  </a:lnTo>
                  <a:lnTo>
                    <a:pt x="160" y="116"/>
                  </a:lnTo>
                  <a:lnTo>
                    <a:pt x="160" y="116"/>
                  </a:lnTo>
                  <a:lnTo>
                    <a:pt x="160" y="116"/>
                  </a:lnTo>
                  <a:lnTo>
                    <a:pt x="160" y="116"/>
                  </a:lnTo>
                  <a:lnTo>
                    <a:pt x="158" y="116"/>
                  </a:lnTo>
                  <a:lnTo>
                    <a:pt x="156" y="116"/>
                  </a:lnTo>
                  <a:lnTo>
                    <a:pt x="156" y="116"/>
                  </a:lnTo>
                  <a:lnTo>
                    <a:pt x="154" y="116"/>
                  </a:lnTo>
                  <a:lnTo>
                    <a:pt x="154" y="116"/>
                  </a:lnTo>
                  <a:lnTo>
                    <a:pt x="154" y="118"/>
                  </a:lnTo>
                  <a:lnTo>
                    <a:pt x="154" y="118"/>
                  </a:lnTo>
                  <a:lnTo>
                    <a:pt x="154" y="118"/>
                  </a:lnTo>
                  <a:lnTo>
                    <a:pt x="154" y="120"/>
                  </a:lnTo>
                  <a:lnTo>
                    <a:pt x="154" y="120"/>
                  </a:lnTo>
                  <a:lnTo>
                    <a:pt x="154" y="122"/>
                  </a:lnTo>
                  <a:lnTo>
                    <a:pt x="154" y="124"/>
                  </a:lnTo>
                  <a:lnTo>
                    <a:pt x="154" y="124"/>
                  </a:lnTo>
                  <a:lnTo>
                    <a:pt x="154" y="124"/>
                  </a:lnTo>
                  <a:lnTo>
                    <a:pt x="154" y="124"/>
                  </a:lnTo>
                  <a:lnTo>
                    <a:pt x="154" y="126"/>
                  </a:lnTo>
                  <a:lnTo>
                    <a:pt x="152" y="126"/>
                  </a:lnTo>
                  <a:lnTo>
                    <a:pt x="152" y="126"/>
                  </a:lnTo>
                  <a:lnTo>
                    <a:pt x="150" y="126"/>
                  </a:lnTo>
                  <a:lnTo>
                    <a:pt x="148" y="126"/>
                  </a:lnTo>
                  <a:lnTo>
                    <a:pt x="148" y="126"/>
                  </a:lnTo>
                  <a:lnTo>
                    <a:pt x="146" y="126"/>
                  </a:lnTo>
                  <a:lnTo>
                    <a:pt x="144" y="126"/>
                  </a:lnTo>
                  <a:lnTo>
                    <a:pt x="144" y="126"/>
                  </a:lnTo>
                  <a:lnTo>
                    <a:pt x="144" y="126"/>
                  </a:lnTo>
                  <a:lnTo>
                    <a:pt x="144" y="126"/>
                  </a:lnTo>
                  <a:lnTo>
                    <a:pt x="142" y="128"/>
                  </a:lnTo>
                  <a:lnTo>
                    <a:pt x="142" y="130"/>
                  </a:lnTo>
                  <a:lnTo>
                    <a:pt x="142" y="132"/>
                  </a:lnTo>
                  <a:lnTo>
                    <a:pt x="142" y="134"/>
                  </a:lnTo>
                  <a:lnTo>
                    <a:pt x="140" y="136"/>
                  </a:lnTo>
                  <a:lnTo>
                    <a:pt x="140" y="140"/>
                  </a:lnTo>
                  <a:lnTo>
                    <a:pt x="142" y="142"/>
                  </a:lnTo>
                  <a:lnTo>
                    <a:pt x="142" y="144"/>
                  </a:lnTo>
                  <a:lnTo>
                    <a:pt x="142" y="150"/>
                  </a:lnTo>
                  <a:lnTo>
                    <a:pt x="142" y="156"/>
                  </a:lnTo>
                  <a:lnTo>
                    <a:pt x="144" y="162"/>
                  </a:lnTo>
                  <a:lnTo>
                    <a:pt x="144" y="166"/>
                  </a:lnTo>
                  <a:lnTo>
                    <a:pt x="144" y="172"/>
                  </a:lnTo>
                  <a:lnTo>
                    <a:pt x="144" y="176"/>
                  </a:lnTo>
                  <a:lnTo>
                    <a:pt x="144" y="176"/>
                  </a:lnTo>
                  <a:lnTo>
                    <a:pt x="144" y="178"/>
                  </a:lnTo>
                  <a:lnTo>
                    <a:pt x="146" y="178"/>
                  </a:lnTo>
                  <a:lnTo>
                    <a:pt x="146" y="180"/>
                  </a:lnTo>
                  <a:lnTo>
                    <a:pt x="146" y="182"/>
                  </a:lnTo>
                  <a:lnTo>
                    <a:pt x="148" y="184"/>
                  </a:lnTo>
                  <a:lnTo>
                    <a:pt x="150" y="186"/>
                  </a:lnTo>
                  <a:lnTo>
                    <a:pt x="152" y="186"/>
                  </a:lnTo>
                  <a:lnTo>
                    <a:pt x="154" y="188"/>
                  </a:lnTo>
                  <a:lnTo>
                    <a:pt x="154" y="190"/>
                  </a:lnTo>
                  <a:lnTo>
                    <a:pt x="156" y="192"/>
                  </a:lnTo>
                  <a:lnTo>
                    <a:pt x="156" y="192"/>
                  </a:lnTo>
                  <a:lnTo>
                    <a:pt x="156" y="194"/>
                  </a:lnTo>
                  <a:lnTo>
                    <a:pt x="156" y="194"/>
                  </a:lnTo>
                  <a:lnTo>
                    <a:pt x="156" y="196"/>
                  </a:lnTo>
                  <a:lnTo>
                    <a:pt x="156" y="200"/>
                  </a:lnTo>
                  <a:lnTo>
                    <a:pt x="140" y="206"/>
                  </a:lnTo>
                  <a:lnTo>
                    <a:pt x="136" y="206"/>
                  </a:lnTo>
                  <a:lnTo>
                    <a:pt x="128" y="204"/>
                  </a:lnTo>
                  <a:lnTo>
                    <a:pt x="126" y="204"/>
                  </a:lnTo>
                  <a:lnTo>
                    <a:pt x="120" y="204"/>
                  </a:lnTo>
                  <a:lnTo>
                    <a:pt x="112" y="204"/>
                  </a:lnTo>
                  <a:lnTo>
                    <a:pt x="108" y="204"/>
                  </a:lnTo>
                  <a:lnTo>
                    <a:pt x="104" y="204"/>
                  </a:lnTo>
                  <a:lnTo>
                    <a:pt x="102" y="202"/>
                  </a:lnTo>
                  <a:lnTo>
                    <a:pt x="100" y="202"/>
                  </a:lnTo>
                  <a:lnTo>
                    <a:pt x="98" y="202"/>
                  </a:lnTo>
                  <a:lnTo>
                    <a:pt x="98" y="200"/>
                  </a:lnTo>
                  <a:lnTo>
                    <a:pt x="96" y="200"/>
                  </a:lnTo>
                  <a:lnTo>
                    <a:pt x="96" y="200"/>
                  </a:lnTo>
                  <a:lnTo>
                    <a:pt x="96" y="196"/>
                  </a:lnTo>
                  <a:lnTo>
                    <a:pt x="94" y="196"/>
                  </a:lnTo>
                  <a:lnTo>
                    <a:pt x="94" y="194"/>
                  </a:lnTo>
                  <a:lnTo>
                    <a:pt x="94" y="194"/>
                  </a:lnTo>
                  <a:lnTo>
                    <a:pt x="92" y="192"/>
                  </a:lnTo>
                  <a:lnTo>
                    <a:pt x="90" y="192"/>
                  </a:lnTo>
                  <a:lnTo>
                    <a:pt x="88" y="192"/>
                  </a:lnTo>
                  <a:lnTo>
                    <a:pt x="86" y="192"/>
                  </a:lnTo>
                  <a:lnTo>
                    <a:pt x="84" y="192"/>
                  </a:lnTo>
                  <a:lnTo>
                    <a:pt x="82" y="192"/>
                  </a:lnTo>
                  <a:lnTo>
                    <a:pt x="80" y="192"/>
                  </a:lnTo>
                  <a:lnTo>
                    <a:pt x="74" y="192"/>
                  </a:lnTo>
                  <a:lnTo>
                    <a:pt x="64" y="194"/>
                  </a:lnTo>
                  <a:lnTo>
                    <a:pt x="60" y="194"/>
                  </a:lnTo>
                  <a:lnTo>
                    <a:pt x="58" y="194"/>
                  </a:lnTo>
                  <a:lnTo>
                    <a:pt x="56" y="194"/>
                  </a:lnTo>
                  <a:lnTo>
                    <a:pt x="50" y="194"/>
                  </a:lnTo>
                  <a:lnTo>
                    <a:pt x="42" y="194"/>
                  </a:lnTo>
                  <a:lnTo>
                    <a:pt x="40" y="192"/>
                  </a:lnTo>
                  <a:lnTo>
                    <a:pt x="36" y="192"/>
                  </a:lnTo>
                  <a:lnTo>
                    <a:pt x="32" y="192"/>
                  </a:lnTo>
                  <a:lnTo>
                    <a:pt x="30" y="192"/>
                  </a:lnTo>
                  <a:lnTo>
                    <a:pt x="28" y="190"/>
                  </a:lnTo>
                  <a:lnTo>
                    <a:pt x="26" y="190"/>
                  </a:lnTo>
                  <a:lnTo>
                    <a:pt x="22" y="188"/>
                  </a:lnTo>
                  <a:lnTo>
                    <a:pt x="20" y="186"/>
                  </a:lnTo>
                  <a:lnTo>
                    <a:pt x="18" y="186"/>
                  </a:lnTo>
                  <a:lnTo>
                    <a:pt x="16" y="184"/>
                  </a:lnTo>
                  <a:lnTo>
                    <a:pt x="16" y="184"/>
                  </a:lnTo>
                  <a:lnTo>
                    <a:pt x="14" y="184"/>
                  </a:lnTo>
                  <a:lnTo>
                    <a:pt x="14" y="184"/>
                  </a:lnTo>
                  <a:lnTo>
                    <a:pt x="14" y="184"/>
                  </a:lnTo>
                  <a:lnTo>
                    <a:pt x="10" y="186"/>
                  </a:lnTo>
                  <a:lnTo>
                    <a:pt x="8" y="186"/>
                  </a:lnTo>
                  <a:lnTo>
                    <a:pt x="6" y="188"/>
                  </a:lnTo>
                  <a:lnTo>
                    <a:pt x="2" y="190"/>
                  </a:lnTo>
                  <a:lnTo>
                    <a:pt x="0" y="190"/>
                  </a:lnTo>
                  <a:lnTo>
                    <a:pt x="0" y="188"/>
                  </a:lnTo>
                  <a:lnTo>
                    <a:pt x="0" y="180"/>
                  </a:lnTo>
                  <a:lnTo>
                    <a:pt x="0" y="176"/>
                  </a:lnTo>
                  <a:lnTo>
                    <a:pt x="0" y="172"/>
                  </a:lnTo>
                  <a:lnTo>
                    <a:pt x="0" y="168"/>
                  </a:lnTo>
                  <a:lnTo>
                    <a:pt x="0" y="166"/>
                  </a:lnTo>
                  <a:lnTo>
                    <a:pt x="0" y="166"/>
                  </a:lnTo>
                  <a:lnTo>
                    <a:pt x="0" y="164"/>
                  </a:lnTo>
                  <a:lnTo>
                    <a:pt x="2" y="162"/>
                  </a:lnTo>
                  <a:lnTo>
                    <a:pt x="2" y="158"/>
                  </a:lnTo>
                  <a:lnTo>
                    <a:pt x="6" y="154"/>
                  </a:lnTo>
                  <a:lnTo>
                    <a:pt x="8" y="150"/>
                  </a:lnTo>
                  <a:lnTo>
                    <a:pt x="12" y="144"/>
                  </a:lnTo>
                  <a:lnTo>
                    <a:pt x="14" y="140"/>
                  </a:lnTo>
                  <a:lnTo>
                    <a:pt x="16" y="136"/>
                  </a:lnTo>
                  <a:lnTo>
                    <a:pt x="18" y="132"/>
                  </a:lnTo>
                  <a:lnTo>
                    <a:pt x="20" y="128"/>
                  </a:lnTo>
                  <a:lnTo>
                    <a:pt x="22" y="122"/>
                  </a:lnTo>
                  <a:lnTo>
                    <a:pt x="24" y="118"/>
                  </a:lnTo>
                  <a:lnTo>
                    <a:pt x="24" y="116"/>
                  </a:lnTo>
                  <a:lnTo>
                    <a:pt x="24" y="116"/>
                  </a:lnTo>
                  <a:lnTo>
                    <a:pt x="26" y="114"/>
                  </a:lnTo>
                  <a:lnTo>
                    <a:pt x="26" y="114"/>
                  </a:lnTo>
                  <a:lnTo>
                    <a:pt x="26" y="112"/>
                  </a:lnTo>
                  <a:lnTo>
                    <a:pt x="26" y="112"/>
                  </a:lnTo>
                  <a:lnTo>
                    <a:pt x="28" y="112"/>
                  </a:lnTo>
                  <a:lnTo>
                    <a:pt x="30" y="112"/>
                  </a:lnTo>
                  <a:lnTo>
                    <a:pt x="32" y="112"/>
                  </a:lnTo>
                  <a:lnTo>
                    <a:pt x="32" y="112"/>
                  </a:lnTo>
                  <a:lnTo>
                    <a:pt x="32" y="112"/>
                  </a:lnTo>
                  <a:lnTo>
                    <a:pt x="32" y="110"/>
                  </a:lnTo>
                  <a:lnTo>
                    <a:pt x="34" y="110"/>
                  </a:lnTo>
                  <a:lnTo>
                    <a:pt x="34" y="108"/>
                  </a:lnTo>
                  <a:lnTo>
                    <a:pt x="34" y="106"/>
                  </a:lnTo>
                  <a:lnTo>
                    <a:pt x="36" y="104"/>
                  </a:lnTo>
                  <a:lnTo>
                    <a:pt x="36" y="102"/>
                  </a:lnTo>
                  <a:lnTo>
                    <a:pt x="36" y="100"/>
                  </a:lnTo>
                  <a:lnTo>
                    <a:pt x="36" y="98"/>
                  </a:lnTo>
                  <a:lnTo>
                    <a:pt x="36" y="96"/>
                  </a:lnTo>
                  <a:lnTo>
                    <a:pt x="36" y="96"/>
                  </a:lnTo>
                  <a:lnTo>
                    <a:pt x="36" y="94"/>
                  </a:lnTo>
                  <a:lnTo>
                    <a:pt x="34" y="92"/>
                  </a:lnTo>
                  <a:lnTo>
                    <a:pt x="32" y="90"/>
                  </a:lnTo>
                  <a:lnTo>
                    <a:pt x="32" y="88"/>
                  </a:lnTo>
                  <a:lnTo>
                    <a:pt x="28" y="84"/>
                  </a:lnTo>
                  <a:lnTo>
                    <a:pt x="28" y="82"/>
                  </a:lnTo>
                  <a:lnTo>
                    <a:pt x="26" y="80"/>
                  </a:lnTo>
                  <a:lnTo>
                    <a:pt x="26" y="78"/>
                  </a:lnTo>
                  <a:lnTo>
                    <a:pt x="26" y="76"/>
                  </a:lnTo>
                  <a:lnTo>
                    <a:pt x="24" y="70"/>
                  </a:lnTo>
                  <a:lnTo>
                    <a:pt x="24" y="62"/>
                  </a:lnTo>
                  <a:lnTo>
                    <a:pt x="22" y="58"/>
                  </a:lnTo>
                  <a:lnTo>
                    <a:pt x="22" y="56"/>
                  </a:lnTo>
                  <a:lnTo>
                    <a:pt x="22" y="50"/>
                  </a:lnTo>
                  <a:lnTo>
                    <a:pt x="22" y="48"/>
                  </a:lnTo>
                  <a:lnTo>
                    <a:pt x="22" y="44"/>
                  </a:lnTo>
                  <a:lnTo>
                    <a:pt x="22" y="42"/>
                  </a:lnTo>
                  <a:lnTo>
                    <a:pt x="22" y="42"/>
                  </a:lnTo>
                  <a:lnTo>
                    <a:pt x="22" y="40"/>
                  </a:lnTo>
                  <a:lnTo>
                    <a:pt x="20" y="40"/>
                  </a:lnTo>
                  <a:lnTo>
                    <a:pt x="20" y="38"/>
                  </a:lnTo>
                  <a:lnTo>
                    <a:pt x="20" y="38"/>
                  </a:lnTo>
                  <a:lnTo>
                    <a:pt x="16" y="38"/>
                  </a:lnTo>
                  <a:lnTo>
                    <a:pt x="14" y="36"/>
                  </a:lnTo>
                  <a:lnTo>
                    <a:pt x="14" y="36"/>
                  </a:lnTo>
                  <a:lnTo>
                    <a:pt x="14" y="36"/>
                  </a:lnTo>
                  <a:lnTo>
                    <a:pt x="12" y="34"/>
                  </a:lnTo>
                  <a:lnTo>
                    <a:pt x="12" y="32"/>
                  </a:lnTo>
                  <a:lnTo>
                    <a:pt x="12" y="32"/>
                  </a:lnTo>
                  <a:lnTo>
                    <a:pt x="12" y="30"/>
                  </a:lnTo>
                  <a:lnTo>
                    <a:pt x="12" y="26"/>
                  </a:lnTo>
                  <a:lnTo>
                    <a:pt x="14" y="24"/>
                  </a:lnTo>
                  <a:lnTo>
                    <a:pt x="14" y="20"/>
                  </a:lnTo>
                  <a:lnTo>
                    <a:pt x="14" y="18"/>
                  </a:lnTo>
                  <a:lnTo>
                    <a:pt x="14" y="18"/>
                  </a:lnTo>
                  <a:lnTo>
                    <a:pt x="14" y="16"/>
                  </a:lnTo>
                  <a:lnTo>
                    <a:pt x="14" y="14"/>
                  </a:lnTo>
                  <a:lnTo>
                    <a:pt x="14" y="14"/>
                  </a:lnTo>
                  <a:lnTo>
                    <a:pt x="14" y="12"/>
                  </a:lnTo>
                  <a:lnTo>
                    <a:pt x="12" y="12"/>
                  </a:lnTo>
                  <a:lnTo>
                    <a:pt x="12" y="12"/>
                  </a:lnTo>
                  <a:lnTo>
                    <a:pt x="12" y="12"/>
                  </a:lnTo>
                  <a:lnTo>
                    <a:pt x="10" y="12"/>
                  </a:lnTo>
                  <a:lnTo>
                    <a:pt x="8" y="12"/>
                  </a:lnTo>
                  <a:lnTo>
                    <a:pt x="8" y="12"/>
                  </a:lnTo>
                  <a:lnTo>
                    <a:pt x="6" y="12"/>
                  </a:lnTo>
                  <a:lnTo>
                    <a:pt x="6" y="12"/>
                  </a:lnTo>
                  <a:lnTo>
                    <a:pt x="6" y="12"/>
                  </a:lnTo>
                  <a:lnTo>
                    <a:pt x="4" y="12"/>
                  </a:lnTo>
                  <a:lnTo>
                    <a:pt x="4" y="12"/>
                  </a:lnTo>
                  <a:lnTo>
                    <a:pt x="4" y="12"/>
                  </a:lnTo>
                  <a:lnTo>
                    <a:pt x="4" y="10"/>
                  </a:lnTo>
                  <a:lnTo>
                    <a:pt x="6" y="8"/>
                  </a:lnTo>
                  <a:lnTo>
                    <a:pt x="6" y="8"/>
                  </a:lnTo>
                  <a:lnTo>
                    <a:pt x="8" y="4"/>
                  </a:lnTo>
                  <a:lnTo>
                    <a:pt x="8"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3" name="Freeform 400"/>
            <p:cNvSpPr>
              <a:spLocks/>
            </p:cNvSpPr>
            <p:nvPr/>
          </p:nvSpPr>
          <p:spPr bwMode="auto">
            <a:xfrm>
              <a:off x="5111000" y="4511109"/>
              <a:ext cx="200921" cy="263275"/>
            </a:xfrm>
            <a:custGeom>
              <a:avLst/>
              <a:gdLst>
                <a:gd name="T0" fmla="*/ 78 w 116"/>
                <a:gd name="T1" fmla="*/ 148 h 152"/>
                <a:gd name="T2" fmla="*/ 64 w 116"/>
                <a:gd name="T3" fmla="*/ 142 h 152"/>
                <a:gd name="T4" fmla="*/ 62 w 116"/>
                <a:gd name="T5" fmla="*/ 138 h 152"/>
                <a:gd name="T6" fmla="*/ 60 w 116"/>
                <a:gd name="T7" fmla="*/ 132 h 152"/>
                <a:gd name="T8" fmla="*/ 60 w 116"/>
                <a:gd name="T9" fmla="*/ 128 h 152"/>
                <a:gd name="T10" fmla="*/ 56 w 116"/>
                <a:gd name="T11" fmla="*/ 126 h 152"/>
                <a:gd name="T12" fmla="*/ 46 w 116"/>
                <a:gd name="T13" fmla="*/ 124 h 152"/>
                <a:gd name="T14" fmla="*/ 40 w 116"/>
                <a:gd name="T15" fmla="*/ 118 h 152"/>
                <a:gd name="T16" fmla="*/ 26 w 116"/>
                <a:gd name="T17" fmla="*/ 106 h 152"/>
                <a:gd name="T18" fmla="*/ 18 w 116"/>
                <a:gd name="T19" fmla="*/ 98 h 152"/>
                <a:gd name="T20" fmla="*/ 10 w 116"/>
                <a:gd name="T21" fmla="*/ 98 h 152"/>
                <a:gd name="T22" fmla="*/ 4 w 116"/>
                <a:gd name="T23" fmla="*/ 98 h 152"/>
                <a:gd name="T24" fmla="*/ 2 w 116"/>
                <a:gd name="T25" fmla="*/ 96 h 152"/>
                <a:gd name="T26" fmla="*/ 0 w 116"/>
                <a:gd name="T27" fmla="*/ 88 h 152"/>
                <a:gd name="T28" fmla="*/ 2 w 116"/>
                <a:gd name="T29" fmla="*/ 76 h 152"/>
                <a:gd name="T30" fmla="*/ 8 w 116"/>
                <a:gd name="T31" fmla="*/ 64 h 152"/>
                <a:gd name="T32" fmla="*/ 12 w 116"/>
                <a:gd name="T33" fmla="*/ 54 h 152"/>
                <a:gd name="T34" fmla="*/ 12 w 116"/>
                <a:gd name="T35" fmla="*/ 38 h 152"/>
                <a:gd name="T36" fmla="*/ 10 w 116"/>
                <a:gd name="T37" fmla="*/ 28 h 152"/>
                <a:gd name="T38" fmla="*/ 4 w 116"/>
                <a:gd name="T39" fmla="*/ 16 h 152"/>
                <a:gd name="T40" fmla="*/ 30 w 116"/>
                <a:gd name="T41" fmla="*/ 0 h 152"/>
                <a:gd name="T42" fmla="*/ 40 w 116"/>
                <a:gd name="T43" fmla="*/ 4 h 152"/>
                <a:gd name="T44" fmla="*/ 48 w 116"/>
                <a:gd name="T45" fmla="*/ 8 h 152"/>
                <a:gd name="T46" fmla="*/ 52 w 116"/>
                <a:gd name="T47" fmla="*/ 14 h 152"/>
                <a:gd name="T48" fmla="*/ 52 w 116"/>
                <a:gd name="T49" fmla="*/ 20 h 152"/>
                <a:gd name="T50" fmla="*/ 54 w 116"/>
                <a:gd name="T51" fmla="*/ 24 h 152"/>
                <a:gd name="T52" fmla="*/ 62 w 116"/>
                <a:gd name="T53" fmla="*/ 26 h 152"/>
                <a:gd name="T54" fmla="*/ 72 w 116"/>
                <a:gd name="T55" fmla="*/ 26 h 152"/>
                <a:gd name="T56" fmla="*/ 80 w 116"/>
                <a:gd name="T57" fmla="*/ 24 h 152"/>
                <a:gd name="T58" fmla="*/ 86 w 116"/>
                <a:gd name="T59" fmla="*/ 20 h 152"/>
                <a:gd name="T60" fmla="*/ 84 w 116"/>
                <a:gd name="T61" fmla="*/ 14 h 152"/>
                <a:gd name="T62" fmla="*/ 88 w 116"/>
                <a:gd name="T63" fmla="*/ 12 h 152"/>
                <a:gd name="T64" fmla="*/ 98 w 116"/>
                <a:gd name="T65" fmla="*/ 12 h 152"/>
                <a:gd name="T66" fmla="*/ 106 w 116"/>
                <a:gd name="T67" fmla="*/ 14 h 152"/>
                <a:gd name="T68" fmla="*/ 110 w 116"/>
                <a:gd name="T69" fmla="*/ 18 h 152"/>
                <a:gd name="T70" fmla="*/ 112 w 116"/>
                <a:gd name="T71" fmla="*/ 26 h 152"/>
                <a:gd name="T72" fmla="*/ 108 w 116"/>
                <a:gd name="T73" fmla="*/ 32 h 152"/>
                <a:gd name="T74" fmla="*/ 104 w 116"/>
                <a:gd name="T75" fmla="*/ 40 h 152"/>
                <a:gd name="T76" fmla="*/ 102 w 116"/>
                <a:gd name="T77" fmla="*/ 54 h 152"/>
                <a:gd name="T78" fmla="*/ 102 w 116"/>
                <a:gd name="T79" fmla="*/ 72 h 152"/>
                <a:gd name="T80" fmla="*/ 102 w 116"/>
                <a:gd name="T81" fmla="*/ 90 h 152"/>
                <a:gd name="T82" fmla="*/ 106 w 116"/>
                <a:gd name="T83" fmla="*/ 102 h 152"/>
                <a:gd name="T84" fmla="*/ 110 w 116"/>
                <a:gd name="T85" fmla="*/ 106 h 152"/>
                <a:gd name="T86" fmla="*/ 108 w 116"/>
                <a:gd name="T87" fmla="*/ 112 h 152"/>
                <a:gd name="T88" fmla="*/ 104 w 116"/>
                <a:gd name="T89" fmla="*/ 118 h 152"/>
                <a:gd name="T90" fmla="*/ 102 w 116"/>
                <a:gd name="T91" fmla="*/ 124 h 152"/>
                <a:gd name="T92" fmla="*/ 94 w 116"/>
                <a:gd name="T93" fmla="*/ 130 h 152"/>
                <a:gd name="T94" fmla="*/ 90 w 116"/>
                <a:gd name="T95" fmla="*/ 134 h 152"/>
                <a:gd name="T96" fmla="*/ 88 w 116"/>
                <a:gd name="T97"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52">
                  <a:moveTo>
                    <a:pt x="84" y="152"/>
                  </a:moveTo>
                  <a:lnTo>
                    <a:pt x="84" y="152"/>
                  </a:lnTo>
                  <a:lnTo>
                    <a:pt x="80" y="150"/>
                  </a:lnTo>
                  <a:lnTo>
                    <a:pt x="78" y="148"/>
                  </a:lnTo>
                  <a:lnTo>
                    <a:pt x="74" y="148"/>
                  </a:lnTo>
                  <a:lnTo>
                    <a:pt x="70" y="146"/>
                  </a:lnTo>
                  <a:lnTo>
                    <a:pt x="66" y="144"/>
                  </a:lnTo>
                  <a:lnTo>
                    <a:pt x="64" y="142"/>
                  </a:lnTo>
                  <a:lnTo>
                    <a:pt x="64" y="140"/>
                  </a:lnTo>
                  <a:lnTo>
                    <a:pt x="62" y="140"/>
                  </a:lnTo>
                  <a:lnTo>
                    <a:pt x="62" y="140"/>
                  </a:lnTo>
                  <a:lnTo>
                    <a:pt x="62" y="138"/>
                  </a:lnTo>
                  <a:lnTo>
                    <a:pt x="62" y="138"/>
                  </a:lnTo>
                  <a:lnTo>
                    <a:pt x="60" y="136"/>
                  </a:lnTo>
                  <a:lnTo>
                    <a:pt x="60" y="134"/>
                  </a:lnTo>
                  <a:lnTo>
                    <a:pt x="60" y="132"/>
                  </a:lnTo>
                  <a:lnTo>
                    <a:pt x="60" y="132"/>
                  </a:lnTo>
                  <a:lnTo>
                    <a:pt x="60" y="130"/>
                  </a:lnTo>
                  <a:lnTo>
                    <a:pt x="60" y="128"/>
                  </a:lnTo>
                  <a:lnTo>
                    <a:pt x="60" y="128"/>
                  </a:lnTo>
                  <a:lnTo>
                    <a:pt x="60" y="128"/>
                  </a:lnTo>
                  <a:lnTo>
                    <a:pt x="60" y="126"/>
                  </a:lnTo>
                  <a:lnTo>
                    <a:pt x="58" y="126"/>
                  </a:lnTo>
                  <a:lnTo>
                    <a:pt x="56" y="126"/>
                  </a:lnTo>
                  <a:lnTo>
                    <a:pt x="54" y="124"/>
                  </a:lnTo>
                  <a:lnTo>
                    <a:pt x="52" y="124"/>
                  </a:lnTo>
                  <a:lnTo>
                    <a:pt x="48" y="124"/>
                  </a:lnTo>
                  <a:lnTo>
                    <a:pt x="46" y="124"/>
                  </a:lnTo>
                  <a:lnTo>
                    <a:pt x="44" y="122"/>
                  </a:lnTo>
                  <a:lnTo>
                    <a:pt x="42" y="122"/>
                  </a:lnTo>
                  <a:lnTo>
                    <a:pt x="42" y="120"/>
                  </a:lnTo>
                  <a:lnTo>
                    <a:pt x="40" y="118"/>
                  </a:lnTo>
                  <a:lnTo>
                    <a:pt x="38" y="118"/>
                  </a:lnTo>
                  <a:lnTo>
                    <a:pt x="34" y="114"/>
                  </a:lnTo>
                  <a:lnTo>
                    <a:pt x="30" y="110"/>
                  </a:lnTo>
                  <a:lnTo>
                    <a:pt x="26" y="106"/>
                  </a:lnTo>
                  <a:lnTo>
                    <a:pt x="22" y="102"/>
                  </a:lnTo>
                  <a:lnTo>
                    <a:pt x="20" y="102"/>
                  </a:lnTo>
                  <a:lnTo>
                    <a:pt x="18" y="100"/>
                  </a:lnTo>
                  <a:lnTo>
                    <a:pt x="18" y="98"/>
                  </a:lnTo>
                  <a:lnTo>
                    <a:pt x="16" y="98"/>
                  </a:lnTo>
                  <a:lnTo>
                    <a:pt x="14" y="98"/>
                  </a:lnTo>
                  <a:lnTo>
                    <a:pt x="12" y="98"/>
                  </a:lnTo>
                  <a:lnTo>
                    <a:pt x="10" y="98"/>
                  </a:lnTo>
                  <a:lnTo>
                    <a:pt x="8" y="98"/>
                  </a:lnTo>
                  <a:lnTo>
                    <a:pt x="6" y="98"/>
                  </a:lnTo>
                  <a:lnTo>
                    <a:pt x="6" y="98"/>
                  </a:lnTo>
                  <a:lnTo>
                    <a:pt x="4" y="98"/>
                  </a:lnTo>
                  <a:lnTo>
                    <a:pt x="4" y="98"/>
                  </a:lnTo>
                  <a:lnTo>
                    <a:pt x="4" y="98"/>
                  </a:lnTo>
                  <a:lnTo>
                    <a:pt x="2" y="96"/>
                  </a:lnTo>
                  <a:lnTo>
                    <a:pt x="2" y="96"/>
                  </a:lnTo>
                  <a:lnTo>
                    <a:pt x="2" y="94"/>
                  </a:lnTo>
                  <a:lnTo>
                    <a:pt x="0" y="92"/>
                  </a:lnTo>
                  <a:lnTo>
                    <a:pt x="0" y="90"/>
                  </a:lnTo>
                  <a:lnTo>
                    <a:pt x="0" y="88"/>
                  </a:lnTo>
                  <a:lnTo>
                    <a:pt x="0" y="86"/>
                  </a:lnTo>
                  <a:lnTo>
                    <a:pt x="0" y="84"/>
                  </a:lnTo>
                  <a:lnTo>
                    <a:pt x="2" y="80"/>
                  </a:lnTo>
                  <a:lnTo>
                    <a:pt x="2" y="76"/>
                  </a:lnTo>
                  <a:lnTo>
                    <a:pt x="2" y="74"/>
                  </a:lnTo>
                  <a:lnTo>
                    <a:pt x="4" y="72"/>
                  </a:lnTo>
                  <a:lnTo>
                    <a:pt x="4" y="70"/>
                  </a:lnTo>
                  <a:lnTo>
                    <a:pt x="8" y="64"/>
                  </a:lnTo>
                  <a:lnTo>
                    <a:pt x="10" y="60"/>
                  </a:lnTo>
                  <a:lnTo>
                    <a:pt x="10" y="58"/>
                  </a:lnTo>
                  <a:lnTo>
                    <a:pt x="12" y="56"/>
                  </a:lnTo>
                  <a:lnTo>
                    <a:pt x="12" y="54"/>
                  </a:lnTo>
                  <a:lnTo>
                    <a:pt x="12" y="50"/>
                  </a:lnTo>
                  <a:lnTo>
                    <a:pt x="12" y="46"/>
                  </a:lnTo>
                  <a:lnTo>
                    <a:pt x="12" y="42"/>
                  </a:lnTo>
                  <a:lnTo>
                    <a:pt x="12" y="38"/>
                  </a:lnTo>
                  <a:lnTo>
                    <a:pt x="12" y="34"/>
                  </a:lnTo>
                  <a:lnTo>
                    <a:pt x="12" y="32"/>
                  </a:lnTo>
                  <a:lnTo>
                    <a:pt x="12" y="28"/>
                  </a:lnTo>
                  <a:lnTo>
                    <a:pt x="10" y="28"/>
                  </a:lnTo>
                  <a:lnTo>
                    <a:pt x="10" y="24"/>
                  </a:lnTo>
                  <a:lnTo>
                    <a:pt x="8" y="22"/>
                  </a:lnTo>
                  <a:lnTo>
                    <a:pt x="6" y="20"/>
                  </a:lnTo>
                  <a:lnTo>
                    <a:pt x="4" y="16"/>
                  </a:lnTo>
                  <a:lnTo>
                    <a:pt x="2" y="14"/>
                  </a:lnTo>
                  <a:lnTo>
                    <a:pt x="22" y="0"/>
                  </a:lnTo>
                  <a:lnTo>
                    <a:pt x="24" y="0"/>
                  </a:lnTo>
                  <a:lnTo>
                    <a:pt x="30" y="0"/>
                  </a:lnTo>
                  <a:lnTo>
                    <a:pt x="34" y="2"/>
                  </a:lnTo>
                  <a:lnTo>
                    <a:pt x="36" y="2"/>
                  </a:lnTo>
                  <a:lnTo>
                    <a:pt x="38" y="2"/>
                  </a:lnTo>
                  <a:lnTo>
                    <a:pt x="40" y="4"/>
                  </a:lnTo>
                  <a:lnTo>
                    <a:pt x="42" y="4"/>
                  </a:lnTo>
                  <a:lnTo>
                    <a:pt x="44" y="6"/>
                  </a:lnTo>
                  <a:lnTo>
                    <a:pt x="46" y="8"/>
                  </a:lnTo>
                  <a:lnTo>
                    <a:pt x="48" y="8"/>
                  </a:lnTo>
                  <a:lnTo>
                    <a:pt x="50" y="10"/>
                  </a:lnTo>
                  <a:lnTo>
                    <a:pt x="50" y="12"/>
                  </a:lnTo>
                  <a:lnTo>
                    <a:pt x="52" y="12"/>
                  </a:lnTo>
                  <a:lnTo>
                    <a:pt x="52" y="14"/>
                  </a:lnTo>
                  <a:lnTo>
                    <a:pt x="52" y="16"/>
                  </a:lnTo>
                  <a:lnTo>
                    <a:pt x="52" y="18"/>
                  </a:lnTo>
                  <a:lnTo>
                    <a:pt x="52" y="20"/>
                  </a:lnTo>
                  <a:lnTo>
                    <a:pt x="52" y="20"/>
                  </a:lnTo>
                  <a:lnTo>
                    <a:pt x="52" y="22"/>
                  </a:lnTo>
                  <a:lnTo>
                    <a:pt x="52" y="22"/>
                  </a:lnTo>
                  <a:lnTo>
                    <a:pt x="54" y="22"/>
                  </a:lnTo>
                  <a:lnTo>
                    <a:pt x="54" y="24"/>
                  </a:lnTo>
                  <a:lnTo>
                    <a:pt x="56" y="24"/>
                  </a:lnTo>
                  <a:lnTo>
                    <a:pt x="58" y="24"/>
                  </a:lnTo>
                  <a:lnTo>
                    <a:pt x="60" y="26"/>
                  </a:lnTo>
                  <a:lnTo>
                    <a:pt x="62" y="26"/>
                  </a:lnTo>
                  <a:lnTo>
                    <a:pt x="64" y="26"/>
                  </a:lnTo>
                  <a:lnTo>
                    <a:pt x="68" y="26"/>
                  </a:lnTo>
                  <a:lnTo>
                    <a:pt x="70" y="26"/>
                  </a:lnTo>
                  <a:lnTo>
                    <a:pt x="72" y="26"/>
                  </a:lnTo>
                  <a:lnTo>
                    <a:pt x="74" y="24"/>
                  </a:lnTo>
                  <a:lnTo>
                    <a:pt x="76" y="24"/>
                  </a:lnTo>
                  <a:lnTo>
                    <a:pt x="78" y="24"/>
                  </a:lnTo>
                  <a:lnTo>
                    <a:pt x="80" y="24"/>
                  </a:lnTo>
                  <a:lnTo>
                    <a:pt x="82" y="22"/>
                  </a:lnTo>
                  <a:lnTo>
                    <a:pt x="84" y="22"/>
                  </a:lnTo>
                  <a:lnTo>
                    <a:pt x="86" y="20"/>
                  </a:lnTo>
                  <a:lnTo>
                    <a:pt x="86" y="20"/>
                  </a:lnTo>
                  <a:lnTo>
                    <a:pt x="86" y="20"/>
                  </a:lnTo>
                  <a:lnTo>
                    <a:pt x="86" y="18"/>
                  </a:lnTo>
                  <a:lnTo>
                    <a:pt x="84" y="16"/>
                  </a:lnTo>
                  <a:lnTo>
                    <a:pt x="84" y="14"/>
                  </a:lnTo>
                  <a:lnTo>
                    <a:pt x="86" y="14"/>
                  </a:lnTo>
                  <a:lnTo>
                    <a:pt x="86" y="14"/>
                  </a:lnTo>
                  <a:lnTo>
                    <a:pt x="86" y="12"/>
                  </a:lnTo>
                  <a:lnTo>
                    <a:pt x="88" y="12"/>
                  </a:lnTo>
                  <a:lnTo>
                    <a:pt x="88" y="12"/>
                  </a:lnTo>
                  <a:lnTo>
                    <a:pt x="92" y="12"/>
                  </a:lnTo>
                  <a:lnTo>
                    <a:pt x="94" y="12"/>
                  </a:lnTo>
                  <a:lnTo>
                    <a:pt x="98" y="12"/>
                  </a:lnTo>
                  <a:lnTo>
                    <a:pt x="100" y="12"/>
                  </a:lnTo>
                  <a:lnTo>
                    <a:pt x="102" y="12"/>
                  </a:lnTo>
                  <a:lnTo>
                    <a:pt x="104" y="12"/>
                  </a:lnTo>
                  <a:lnTo>
                    <a:pt x="106" y="14"/>
                  </a:lnTo>
                  <a:lnTo>
                    <a:pt x="106" y="14"/>
                  </a:lnTo>
                  <a:lnTo>
                    <a:pt x="108" y="16"/>
                  </a:lnTo>
                  <a:lnTo>
                    <a:pt x="108" y="18"/>
                  </a:lnTo>
                  <a:lnTo>
                    <a:pt x="110" y="18"/>
                  </a:lnTo>
                  <a:lnTo>
                    <a:pt x="112" y="20"/>
                  </a:lnTo>
                  <a:lnTo>
                    <a:pt x="114" y="22"/>
                  </a:lnTo>
                  <a:lnTo>
                    <a:pt x="116" y="22"/>
                  </a:lnTo>
                  <a:lnTo>
                    <a:pt x="112" y="26"/>
                  </a:lnTo>
                  <a:lnTo>
                    <a:pt x="110" y="28"/>
                  </a:lnTo>
                  <a:lnTo>
                    <a:pt x="110" y="28"/>
                  </a:lnTo>
                  <a:lnTo>
                    <a:pt x="108" y="30"/>
                  </a:lnTo>
                  <a:lnTo>
                    <a:pt x="108" y="32"/>
                  </a:lnTo>
                  <a:lnTo>
                    <a:pt x="106" y="34"/>
                  </a:lnTo>
                  <a:lnTo>
                    <a:pt x="104" y="36"/>
                  </a:lnTo>
                  <a:lnTo>
                    <a:pt x="104" y="38"/>
                  </a:lnTo>
                  <a:lnTo>
                    <a:pt x="104" y="40"/>
                  </a:lnTo>
                  <a:lnTo>
                    <a:pt x="104" y="42"/>
                  </a:lnTo>
                  <a:lnTo>
                    <a:pt x="102" y="46"/>
                  </a:lnTo>
                  <a:lnTo>
                    <a:pt x="102" y="50"/>
                  </a:lnTo>
                  <a:lnTo>
                    <a:pt x="102" y="54"/>
                  </a:lnTo>
                  <a:lnTo>
                    <a:pt x="102" y="58"/>
                  </a:lnTo>
                  <a:lnTo>
                    <a:pt x="102" y="62"/>
                  </a:lnTo>
                  <a:lnTo>
                    <a:pt x="102" y="66"/>
                  </a:lnTo>
                  <a:lnTo>
                    <a:pt x="102" y="72"/>
                  </a:lnTo>
                  <a:lnTo>
                    <a:pt x="102" y="76"/>
                  </a:lnTo>
                  <a:lnTo>
                    <a:pt x="102" y="80"/>
                  </a:lnTo>
                  <a:lnTo>
                    <a:pt x="102" y="84"/>
                  </a:lnTo>
                  <a:lnTo>
                    <a:pt x="102" y="90"/>
                  </a:lnTo>
                  <a:lnTo>
                    <a:pt x="104" y="92"/>
                  </a:lnTo>
                  <a:lnTo>
                    <a:pt x="104" y="96"/>
                  </a:lnTo>
                  <a:lnTo>
                    <a:pt x="106" y="100"/>
                  </a:lnTo>
                  <a:lnTo>
                    <a:pt x="106" y="102"/>
                  </a:lnTo>
                  <a:lnTo>
                    <a:pt x="108" y="102"/>
                  </a:lnTo>
                  <a:lnTo>
                    <a:pt x="108" y="104"/>
                  </a:lnTo>
                  <a:lnTo>
                    <a:pt x="108" y="104"/>
                  </a:lnTo>
                  <a:lnTo>
                    <a:pt x="110" y="106"/>
                  </a:lnTo>
                  <a:lnTo>
                    <a:pt x="112" y="106"/>
                  </a:lnTo>
                  <a:lnTo>
                    <a:pt x="110" y="108"/>
                  </a:lnTo>
                  <a:lnTo>
                    <a:pt x="108" y="110"/>
                  </a:lnTo>
                  <a:lnTo>
                    <a:pt x="108" y="112"/>
                  </a:lnTo>
                  <a:lnTo>
                    <a:pt x="106" y="112"/>
                  </a:lnTo>
                  <a:lnTo>
                    <a:pt x="106" y="114"/>
                  </a:lnTo>
                  <a:lnTo>
                    <a:pt x="106" y="114"/>
                  </a:lnTo>
                  <a:lnTo>
                    <a:pt x="104" y="118"/>
                  </a:lnTo>
                  <a:lnTo>
                    <a:pt x="104" y="120"/>
                  </a:lnTo>
                  <a:lnTo>
                    <a:pt x="102" y="122"/>
                  </a:lnTo>
                  <a:lnTo>
                    <a:pt x="102" y="122"/>
                  </a:lnTo>
                  <a:lnTo>
                    <a:pt x="102" y="124"/>
                  </a:lnTo>
                  <a:lnTo>
                    <a:pt x="100" y="124"/>
                  </a:lnTo>
                  <a:lnTo>
                    <a:pt x="96" y="126"/>
                  </a:lnTo>
                  <a:lnTo>
                    <a:pt x="96" y="128"/>
                  </a:lnTo>
                  <a:lnTo>
                    <a:pt x="94" y="130"/>
                  </a:lnTo>
                  <a:lnTo>
                    <a:pt x="92" y="130"/>
                  </a:lnTo>
                  <a:lnTo>
                    <a:pt x="92" y="132"/>
                  </a:lnTo>
                  <a:lnTo>
                    <a:pt x="90" y="132"/>
                  </a:lnTo>
                  <a:lnTo>
                    <a:pt x="90" y="134"/>
                  </a:lnTo>
                  <a:lnTo>
                    <a:pt x="90" y="136"/>
                  </a:lnTo>
                  <a:lnTo>
                    <a:pt x="90" y="140"/>
                  </a:lnTo>
                  <a:lnTo>
                    <a:pt x="90" y="140"/>
                  </a:lnTo>
                  <a:lnTo>
                    <a:pt x="88" y="142"/>
                  </a:lnTo>
                  <a:lnTo>
                    <a:pt x="88" y="144"/>
                  </a:lnTo>
                  <a:lnTo>
                    <a:pt x="86" y="148"/>
                  </a:lnTo>
                  <a:lnTo>
                    <a:pt x="84" y="15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4" name="Freeform 401"/>
            <p:cNvSpPr>
              <a:spLocks/>
            </p:cNvSpPr>
            <p:nvPr/>
          </p:nvSpPr>
          <p:spPr bwMode="auto">
            <a:xfrm>
              <a:off x="5111000" y="4511109"/>
              <a:ext cx="200921" cy="263275"/>
            </a:xfrm>
            <a:custGeom>
              <a:avLst/>
              <a:gdLst>
                <a:gd name="T0" fmla="*/ 78 w 116"/>
                <a:gd name="T1" fmla="*/ 148 h 152"/>
                <a:gd name="T2" fmla="*/ 64 w 116"/>
                <a:gd name="T3" fmla="*/ 142 h 152"/>
                <a:gd name="T4" fmla="*/ 62 w 116"/>
                <a:gd name="T5" fmla="*/ 138 h 152"/>
                <a:gd name="T6" fmla="*/ 60 w 116"/>
                <a:gd name="T7" fmla="*/ 132 h 152"/>
                <a:gd name="T8" fmla="*/ 60 w 116"/>
                <a:gd name="T9" fmla="*/ 128 h 152"/>
                <a:gd name="T10" fmla="*/ 56 w 116"/>
                <a:gd name="T11" fmla="*/ 126 h 152"/>
                <a:gd name="T12" fmla="*/ 46 w 116"/>
                <a:gd name="T13" fmla="*/ 124 h 152"/>
                <a:gd name="T14" fmla="*/ 40 w 116"/>
                <a:gd name="T15" fmla="*/ 118 h 152"/>
                <a:gd name="T16" fmla="*/ 26 w 116"/>
                <a:gd name="T17" fmla="*/ 106 h 152"/>
                <a:gd name="T18" fmla="*/ 18 w 116"/>
                <a:gd name="T19" fmla="*/ 98 h 152"/>
                <a:gd name="T20" fmla="*/ 10 w 116"/>
                <a:gd name="T21" fmla="*/ 98 h 152"/>
                <a:gd name="T22" fmla="*/ 4 w 116"/>
                <a:gd name="T23" fmla="*/ 98 h 152"/>
                <a:gd name="T24" fmla="*/ 2 w 116"/>
                <a:gd name="T25" fmla="*/ 96 h 152"/>
                <a:gd name="T26" fmla="*/ 0 w 116"/>
                <a:gd name="T27" fmla="*/ 88 h 152"/>
                <a:gd name="T28" fmla="*/ 2 w 116"/>
                <a:gd name="T29" fmla="*/ 76 h 152"/>
                <a:gd name="T30" fmla="*/ 8 w 116"/>
                <a:gd name="T31" fmla="*/ 64 h 152"/>
                <a:gd name="T32" fmla="*/ 12 w 116"/>
                <a:gd name="T33" fmla="*/ 54 h 152"/>
                <a:gd name="T34" fmla="*/ 12 w 116"/>
                <a:gd name="T35" fmla="*/ 38 h 152"/>
                <a:gd name="T36" fmla="*/ 10 w 116"/>
                <a:gd name="T37" fmla="*/ 28 h 152"/>
                <a:gd name="T38" fmla="*/ 4 w 116"/>
                <a:gd name="T39" fmla="*/ 16 h 152"/>
                <a:gd name="T40" fmla="*/ 30 w 116"/>
                <a:gd name="T41" fmla="*/ 0 h 152"/>
                <a:gd name="T42" fmla="*/ 40 w 116"/>
                <a:gd name="T43" fmla="*/ 4 h 152"/>
                <a:gd name="T44" fmla="*/ 48 w 116"/>
                <a:gd name="T45" fmla="*/ 8 h 152"/>
                <a:gd name="T46" fmla="*/ 52 w 116"/>
                <a:gd name="T47" fmla="*/ 14 h 152"/>
                <a:gd name="T48" fmla="*/ 52 w 116"/>
                <a:gd name="T49" fmla="*/ 20 h 152"/>
                <a:gd name="T50" fmla="*/ 54 w 116"/>
                <a:gd name="T51" fmla="*/ 24 h 152"/>
                <a:gd name="T52" fmla="*/ 62 w 116"/>
                <a:gd name="T53" fmla="*/ 26 h 152"/>
                <a:gd name="T54" fmla="*/ 72 w 116"/>
                <a:gd name="T55" fmla="*/ 26 h 152"/>
                <a:gd name="T56" fmla="*/ 80 w 116"/>
                <a:gd name="T57" fmla="*/ 24 h 152"/>
                <a:gd name="T58" fmla="*/ 86 w 116"/>
                <a:gd name="T59" fmla="*/ 20 h 152"/>
                <a:gd name="T60" fmla="*/ 84 w 116"/>
                <a:gd name="T61" fmla="*/ 14 h 152"/>
                <a:gd name="T62" fmla="*/ 88 w 116"/>
                <a:gd name="T63" fmla="*/ 12 h 152"/>
                <a:gd name="T64" fmla="*/ 98 w 116"/>
                <a:gd name="T65" fmla="*/ 12 h 152"/>
                <a:gd name="T66" fmla="*/ 106 w 116"/>
                <a:gd name="T67" fmla="*/ 14 h 152"/>
                <a:gd name="T68" fmla="*/ 110 w 116"/>
                <a:gd name="T69" fmla="*/ 18 h 152"/>
                <a:gd name="T70" fmla="*/ 112 w 116"/>
                <a:gd name="T71" fmla="*/ 26 h 152"/>
                <a:gd name="T72" fmla="*/ 108 w 116"/>
                <a:gd name="T73" fmla="*/ 32 h 152"/>
                <a:gd name="T74" fmla="*/ 104 w 116"/>
                <a:gd name="T75" fmla="*/ 40 h 152"/>
                <a:gd name="T76" fmla="*/ 102 w 116"/>
                <a:gd name="T77" fmla="*/ 54 h 152"/>
                <a:gd name="T78" fmla="*/ 102 w 116"/>
                <a:gd name="T79" fmla="*/ 72 h 152"/>
                <a:gd name="T80" fmla="*/ 102 w 116"/>
                <a:gd name="T81" fmla="*/ 90 h 152"/>
                <a:gd name="T82" fmla="*/ 106 w 116"/>
                <a:gd name="T83" fmla="*/ 102 h 152"/>
                <a:gd name="T84" fmla="*/ 110 w 116"/>
                <a:gd name="T85" fmla="*/ 106 h 152"/>
                <a:gd name="T86" fmla="*/ 108 w 116"/>
                <a:gd name="T87" fmla="*/ 112 h 152"/>
                <a:gd name="T88" fmla="*/ 104 w 116"/>
                <a:gd name="T89" fmla="*/ 118 h 152"/>
                <a:gd name="T90" fmla="*/ 102 w 116"/>
                <a:gd name="T91" fmla="*/ 124 h 152"/>
                <a:gd name="T92" fmla="*/ 94 w 116"/>
                <a:gd name="T93" fmla="*/ 130 h 152"/>
                <a:gd name="T94" fmla="*/ 90 w 116"/>
                <a:gd name="T95" fmla="*/ 134 h 152"/>
                <a:gd name="T96" fmla="*/ 88 w 116"/>
                <a:gd name="T97"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52">
                  <a:moveTo>
                    <a:pt x="84" y="152"/>
                  </a:moveTo>
                  <a:lnTo>
                    <a:pt x="84" y="152"/>
                  </a:lnTo>
                  <a:lnTo>
                    <a:pt x="80" y="150"/>
                  </a:lnTo>
                  <a:lnTo>
                    <a:pt x="78" y="148"/>
                  </a:lnTo>
                  <a:lnTo>
                    <a:pt x="74" y="148"/>
                  </a:lnTo>
                  <a:lnTo>
                    <a:pt x="70" y="146"/>
                  </a:lnTo>
                  <a:lnTo>
                    <a:pt x="66" y="144"/>
                  </a:lnTo>
                  <a:lnTo>
                    <a:pt x="64" y="142"/>
                  </a:lnTo>
                  <a:lnTo>
                    <a:pt x="64" y="140"/>
                  </a:lnTo>
                  <a:lnTo>
                    <a:pt x="62" y="140"/>
                  </a:lnTo>
                  <a:lnTo>
                    <a:pt x="62" y="140"/>
                  </a:lnTo>
                  <a:lnTo>
                    <a:pt x="62" y="138"/>
                  </a:lnTo>
                  <a:lnTo>
                    <a:pt x="62" y="138"/>
                  </a:lnTo>
                  <a:lnTo>
                    <a:pt x="60" y="136"/>
                  </a:lnTo>
                  <a:lnTo>
                    <a:pt x="60" y="134"/>
                  </a:lnTo>
                  <a:lnTo>
                    <a:pt x="60" y="132"/>
                  </a:lnTo>
                  <a:lnTo>
                    <a:pt x="60" y="132"/>
                  </a:lnTo>
                  <a:lnTo>
                    <a:pt x="60" y="130"/>
                  </a:lnTo>
                  <a:lnTo>
                    <a:pt x="60" y="128"/>
                  </a:lnTo>
                  <a:lnTo>
                    <a:pt x="60" y="128"/>
                  </a:lnTo>
                  <a:lnTo>
                    <a:pt x="60" y="128"/>
                  </a:lnTo>
                  <a:lnTo>
                    <a:pt x="60" y="126"/>
                  </a:lnTo>
                  <a:lnTo>
                    <a:pt x="58" y="126"/>
                  </a:lnTo>
                  <a:lnTo>
                    <a:pt x="56" y="126"/>
                  </a:lnTo>
                  <a:lnTo>
                    <a:pt x="54" y="124"/>
                  </a:lnTo>
                  <a:lnTo>
                    <a:pt x="52" y="124"/>
                  </a:lnTo>
                  <a:lnTo>
                    <a:pt x="48" y="124"/>
                  </a:lnTo>
                  <a:lnTo>
                    <a:pt x="46" y="124"/>
                  </a:lnTo>
                  <a:lnTo>
                    <a:pt x="44" y="122"/>
                  </a:lnTo>
                  <a:lnTo>
                    <a:pt x="42" y="122"/>
                  </a:lnTo>
                  <a:lnTo>
                    <a:pt x="42" y="120"/>
                  </a:lnTo>
                  <a:lnTo>
                    <a:pt x="40" y="118"/>
                  </a:lnTo>
                  <a:lnTo>
                    <a:pt x="38" y="118"/>
                  </a:lnTo>
                  <a:lnTo>
                    <a:pt x="34" y="114"/>
                  </a:lnTo>
                  <a:lnTo>
                    <a:pt x="30" y="110"/>
                  </a:lnTo>
                  <a:lnTo>
                    <a:pt x="26" y="106"/>
                  </a:lnTo>
                  <a:lnTo>
                    <a:pt x="22" y="102"/>
                  </a:lnTo>
                  <a:lnTo>
                    <a:pt x="20" y="102"/>
                  </a:lnTo>
                  <a:lnTo>
                    <a:pt x="18" y="100"/>
                  </a:lnTo>
                  <a:lnTo>
                    <a:pt x="18" y="98"/>
                  </a:lnTo>
                  <a:lnTo>
                    <a:pt x="16" y="98"/>
                  </a:lnTo>
                  <a:lnTo>
                    <a:pt x="14" y="98"/>
                  </a:lnTo>
                  <a:lnTo>
                    <a:pt x="12" y="98"/>
                  </a:lnTo>
                  <a:lnTo>
                    <a:pt x="10" y="98"/>
                  </a:lnTo>
                  <a:lnTo>
                    <a:pt x="8" y="98"/>
                  </a:lnTo>
                  <a:lnTo>
                    <a:pt x="6" y="98"/>
                  </a:lnTo>
                  <a:lnTo>
                    <a:pt x="6" y="98"/>
                  </a:lnTo>
                  <a:lnTo>
                    <a:pt x="4" y="98"/>
                  </a:lnTo>
                  <a:lnTo>
                    <a:pt x="4" y="98"/>
                  </a:lnTo>
                  <a:lnTo>
                    <a:pt x="4" y="98"/>
                  </a:lnTo>
                  <a:lnTo>
                    <a:pt x="2" y="96"/>
                  </a:lnTo>
                  <a:lnTo>
                    <a:pt x="2" y="96"/>
                  </a:lnTo>
                  <a:lnTo>
                    <a:pt x="2" y="94"/>
                  </a:lnTo>
                  <a:lnTo>
                    <a:pt x="0" y="92"/>
                  </a:lnTo>
                  <a:lnTo>
                    <a:pt x="0" y="90"/>
                  </a:lnTo>
                  <a:lnTo>
                    <a:pt x="0" y="88"/>
                  </a:lnTo>
                  <a:lnTo>
                    <a:pt x="0" y="86"/>
                  </a:lnTo>
                  <a:lnTo>
                    <a:pt x="0" y="84"/>
                  </a:lnTo>
                  <a:lnTo>
                    <a:pt x="2" y="80"/>
                  </a:lnTo>
                  <a:lnTo>
                    <a:pt x="2" y="76"/>
                  </a:lnTo>
                  <a:lnTo>
                    <a:pt x="2" y="74"/>
                  </a:lnTo>
                  <a:lnTo>
                    <a:pt x="4" y="72"/>
                  </a:lnTo>
                  <a:lnTo>
                    <a:pt x="4" y="70"/>
                  </a:lnTo>
                  <a:lnTo>
                    <a:pt x="8" y="64"/>
                  </a:lnTo>
                  <a:lnTo>
                    <a:pt x="10" y="60"/>
                  </a:lnTo>
                  <a:lnTo>
                    <a:pt x="10" y="58"/>
                  </a:lnTo>
                  <a:lnTo>
                    <a:pt x="12" y="56"/>
                  </a:lnTo>
                  <a:lnTo>
                    <a:pt x="12" y="54"/>
                  </a:lnTo>
                  <a:lnTo>
                    <a:pt x="12" y="50"/>
                  </a:lnTo>
                  <a:lnTo>
                    <a:pt x="12" y="46"/>
                  </a:lnTo>
                  <a:lnTo>
                    <a:pt x="12" y="42"/>
                  </a:lnTo>
                  <a:lnTo>
                    <a:pt x="12" y="38"/>
                  </a:lnTo>
                  <a:lnTo>
                    <a:pt x="12" y="34"/>
                  </a:lnTo>
                  <a:lnTo>
                    <a:pt x="12" y="32"/>
                  </a:lnTo>
                  <a:lnTo>
                    <a:pt x="12" y="28"/>
                  </a:lnTo>
                  <a:lnTo>
                    <a:pt x="10" y="28"/>
                  </a:lnTo>
                  <a:lnTo>
                    <a:pt x="10" y="24"/>
                  </a:lnTo>
                  <a:lnTo>
                    <a:pt x="8" y="22"/>
                  </a:lnTo>
                  <a:lnTo>
                    <a:pt x="6" y="20"/>
                  </a:lnTo>
                  <a:lnTo>
                    <a:pt x="4" y="16"/>
                  </a:lnTo>
                  <a:lnTo>
                    <a:pt x="2" y="14"/>
                  </a:lnTo>
                  <a:lnTo>
                    <a:pt x="22" y="0"/>
                  </a:lnTo>
                  <a:lnTo>
                    <a:pt x="24" y="0"/>
                  </a:lnTo>
                  <a:lnTo>
                    <a:pt x="30" y="0"/>
                  </a:lnTo>
                  <a:lnTo>
                    <a:pt x="34" y="2"/>
                  </a:lnTo>
                  <a:lnTo>
                    <a:pt x="36" y="2"/>
                  </a:lnTo>
                  <a:lnTo>
                    <a:pt x="38" y="2"/>
                  </a:lnTo>
                  <a:lnTo>
                    <a:pt x="40" y="4"/>
                  </a:lnTo>
                  <a:lnTo>
                    <a:pt x="42" y="4"/>
                  </a:lnTo>
                  <a:lnTo>
                    <a:pt x="44" y="6"/>
                  </a:lnTo>
                  <a:lnTo>
                    <a:pt x="46" y="8"/>
                  </a:lnTo>
                  <a:lnTo>
                    <a:pt x="48" y="8"/>
                  </a:lnTo>
                  <a:lnTo>
                    <a:pt x="50" y="10"/>
                  </a:lnTo>
                  <a:lnTo>
                    <a:pt x="50" y="12"/>
                  </a:lnTo>
                  <a:lnTo>
                    <a:pt x="52" y="12"/>
                  </a:lnTo>
                  <a:lnTo>
                    <a:pt x="52" y="14"/>
                  </a:lnTo>
                  <a:lnTo>
                    <a:pt x="52" y="16"/>
                  </a:lnTo>
                  <a:lnTo>
                    <a:pt x="52" y="18"/>
                  </a:lnTo>
                  <a:lnTo>
                    <a:pt x="52" y="20"/>
                  </a:lnTo>
                  <a:lnTo>
                    <a:pt x="52" y="20"/>
                  </a:lnTo>
                  <a:lnTo>
                    <a:pt x="52" y="22"/>
                  </a:lnTo>
                  <a:lnTo>
                    <a:pt x="52" y="22"/>
                  </a:lnTo>
                  <a:lnTo>
                    <a:pt x="54" y="22"/>
                  </a:lnTo>
                  <a:lnTo>
                    <a:pt x="54" y="24"/>
                  </a:lnTo>
                  <a:lnTo>
                    <a:pt x="56" y="24"/>
                  </a:lnTo>
                  <a:lnTo>
                    <a:pt x="58" y="24"/>
                  </a:lnTo>
                  <a:lnTo>
                    <a:pt x="60" y="26"/>
                  </a:lnTo>
                  <a:lnTo>
                    <a:pt x="62" y="26"/>
                  </a:lnTo>
                  <a:lnTo>
                    <a:pt x="64" y="26"/>
                  </a:lnTo>
                  <a:lnTo>
                    <a:pt x="68" y="26"/>
                  </a:lnTo>
                  <a:lnTo>
                    <a:pt x="70" y="26"/>
                  </a:lnTo>
                  <a:lnTo>
                    <a:pt x="72" y="26"/>
                  </a:lnTo>
                  <a:lnTo>
                    <a:pt x="74" y="24"/>
                  </a:lnTo>
                  <a:lnTo>
                    <a:pt x="76" y="24"/>
                  </a:lnTo>
                  <a:lnTo>
                    <a:pt x="78" y="24"/>
                  </a:lnTo>
                  <a:lnTo>
                    <a:pt x="80" y="24"/>
                  </a:lnTo>
                  <a:lnTo>
                    <a:pt x="82" y="22"/>
                  </a:lnTo>
                  <a:lnTo>
                    <a:pt x="84" y="22"/>
                  </a:lnTo>
                  <a:lnTo>
                    <a:pt x="86" y="20"/>
                  </a:lnTo>
                  <a:lnTo>
                    <a:pt x="86" y="20"/>
                  </a:lnTo>
                  <a:lnTo>
                    <a:pt x="86" y="20"/>
                  </a:lnTo>
                  <a:lnTo>
                    <a:pt x="86" y="18"/>
                  </a:lnTo>
                  <a:lnTo>
                    <a:pt x="84" y="16"/>
                  </a:lnTo>
                  <a:lnTo>
                    <a:pt x="84" y="14"/>
                  </a:lnTo>
                  <a:lnTo>
                    <a:pt x="86" y="14"/>
                  </a:lnTo>
                  <a:lnTo>
                    <a:pt x="86" y="14"/>
                  </a:lnTo>
                  <a:lnTo>
                    <a:pt x="86" y="12"/>
                  </a:lnTo>
                  <a:lnTo>
                    <a:pt x="88" y="12"/>
                  </a:lnTo>
                  <a:lnTo>
                    <a:pt x="88" y="12"/>
                  </a:lnTo>
                  <a:lnTo>
                    <a:pt x="92" y="12"/>
                  </a:lnTo>
                  <a:lnTo>
                    <a:pt x="94" y="12"/>
                  </a:lnTo>
                  <a:lnTo>
                    <a:pt x="98" y="12"/>
                  </a:lnTo>
                  <a:lnTo>
                    <a:pt x="100" y="12"/>
                  </a:lnTo>
                  <a:lnTo>
                    <a:pt x="102" y="12"/>
                  </a:lnTo>
                  <a:lnTo>
                    <a:pt x="104" y="12"/>
                  </a:lnTo>
                  <a:lnTo>
                    <a:pt x="106" y="14"/>
                  </a:lnTo>
                  <a:lnTo>
                    <a:pt x="106" y="14"/>
                  </a:lnTo>
                  <a:lnTo>
                    <a:pt x="108" y="16"/>
                  </a:lnTo>
                  <a:lnTo>
                    <a:pt x="108" y="18"/>
                  </a:lnTo>
                  <a:lnTo>
                    <a:pt x="110" y="18"/>
                  </a:lnTo>
                  <a:lnTo>
                    <a:pt x="112" y="20"/>
                  </a:lnTo>
                  <a:lnTo>
                    <a:pt x="114" y="22"/>
                  </a:lnTo>
                  <a:lnTo>
                    <a:pt x="116" y="22"/>
                  </a:lnTo>
                  <a:lnTo>
                    <a:pt x="112" y="26"/>
                  </a:lnTo>
                  <a:lnTo>
                    <a:pt x="110" y="28"/>
                  </a:lnTo>
                  <a:lnTo>
                    <a:pt x="110" y="28"/>
                  </a:lnTo>
                  <a:lnTo>
                    <a:pt x="108" y="30"/>
                  </a:lnTo>
                  <a:lnTo>
                    <a:pt x="108" y="32"/>
                  </a:lnTo>
                  <a:lnTo>
                    <a:pt x="106" y="34"/>
                  </a:lnTo>
                  <a:lnTo>
                    <a:pt x="104" y="36"/>
                  </a:lnTo>
                  <a:lnTo>
                    <a:pt x="104" y="38"/>
                  </a:lnTo>
                  <a:lnTo>
                    <a:pt x="104" y="40"/>
                  </a:lnTo>
                  <a:lnTo>
                    <a:pt x="104" y="42"/>
                  </a:lnTo>
                  <a:lnTo>
                    <a:pt x="102" y="46"/>
                  </a:lnTo>
                  <a:lnTo>
                    <a:pt x="102" y="50"/>
                  </a:lnTo>
                  <a:lnTo>
                    <a:pt x="102" y="54"/>
                  </a:lnTo>
                  <a:lnTo>
                    <a:pt x="102" y="58"/>
                  </a:lnTo>
                  <a:lnTo>
                    <a:pt x="102" y="62"/>
                  </a:lnTo>
                  <a:lnTo>
                    <a:pt x="102" y="66"/>
                  </a:lnTo>
                  <a:lnTo>
                    <a:pt x="102" y="72"/>
                  </a:lnTo>
                  <a:lnTo>
                    <a:pt x="102" y="76"/>
                  </a:lnTo>
                  <a:lnTo>
                    <a:pt x="102" y="80"/>
                  </a:lnTo>
                  <a:lnTo>
                    <a:pt x="102" y="84"/>
                  </a:lnTo>
                  <a:lnTo>
                    <a:pt x="102" y="90"/>
                  </a:lnTo>
                  <a:lnTo>
                    <a:pt x="104" y="92"/>
                  </a:lnTo>
                  <a:lnTo>
                    <a:pt x="104" y="96"/>
                  </a:lnTo>
                  <a:lnTo>
                    <a:pt x="106" y="100"/>
                  </a:lnTo>
                  <a:lnTo>
                    <a:pt x="106" y="102"/>
                  </a:lnTo>
                  <a:lnTo>
                    <a:pt x="108" y="102"/>
                  </a:lnTo>
                  <a:lnTo>
                    <a:pt x="108" y="104"/>
                  </a:lnTo>
                  <a:lnTo>
                    <a:pt x="108" y="104"/>
                  </a:lnTo>
                  <a:lnTo>
                    <a:pt x="110" y="106"/>
                  </a:lnTo>
                  <a:lnTo>
                    <a:pt x="112" y="106"/>
                  </a:lnTo>
                  <a:lnTo>
                    <a:pt x="110" y="108"/>
                  </a:lnTo>
                  <a:lnTo>
                    <a:pt x="108" y="110"/>
                  </a:lnTo>
                  <a:lnTo>
                    <a:pt x="108" y="112"/>
                  </a:lnTo>
                  <a:lnTo>
                    <a:pt x="106" y="112"/>
                  </a:lnTo>
                  <a:lnTo>
                    <a:pt x="106" y="114"/>
                  </a:lnTo>
                  <a:lnTo>
                    <a:pt x="106" y="114"/>
                  </a:lnTo>
                  <a:lnTo>
                    <a:pt x="104" y="118"/>
                  </a:lnTo>
                  <a:lnTo>
                    <a:pt x="104" y="120"/>
                  </a:lnTo>
                  <a:lnTo>
                    <a:pt x="102" y="122"/>
                  </a:lnTo>
                  <a:lnTo>
                    <a:pt x="102" y="122"/>
                  </a:lnTo>
                  <a:lnTo>
                    <a:pt x="102" y="124"/>
                  </a:lnTo>
                  <a:lnTo>
                    <a:pt x="100" y="124"/>
                  </a:lnTo>
                  <a:lnTo>
                    <a:pt x="96" y="126"/>
                  </a:lnTo>
                  <a:lnTo>
                    <a:pt x="96" y="128"/>
                  </a:lnTo>
                  <a:lnTo>
                    <a:pt x="94" y="130"/>
                  </a:lnTo>
                  <a:lnTo>
                    <a:pt x="92" y="130"/>
                  </a:lnTo>
                  <a:lnTo>
                    <a:pt x="92" y="132"/>
                  </a:lnTo>
                  <a:lnTo>
                    <a:pt x="90" y="132"/>
                  </a:lnTo>
                  <a:lnTo>
                    <a:pt x="90" y="134"/>
                  </a:lnTo>
                  <a:lnTo>
                    <a:pt x="90" y="136"/>
                  </a:lnTo>
                  <a:lnTo>
                    <a:pt x="90" y="140"/>
                  </a:lnTo>
                  <a:lnTo>
                    <a:pt x="90" y="140"/>
                  </a:lnTo>
                  <a:lnTo>
                    <a:pt x="88" y="142"/>
                  </a:lnTo>
                  <a:lnTo>
                    <a:pt x="88" y="144"/>
                  </a:lnTo>
                  <a:lnTo>
                    <a:pt x="86" y="148"/>
                  </a:lnTo>
                  <a:lnTo>
                    <a:pt x="84" y="15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5" name="Freeform 402"/>
            <p:cNvSpPr>
              <a:spLocks/>
            </p:cNvSpPr>
            <p:nvPr/>
          </p:nvSpPr>
          <p:spPr bwMode="auto">
            <a:xfrm>
              <a:off x="5287672" y="4296332"/>
              <a:ext cx="270204" cy="401841"/>
            </a:xfrm>
            <a:custGeom>
              <a:avLst/>
              <a:gdLst>
                <a:gd name="T0" fmla="*/ 36 w 156"/>
                <a:gd name="T1" fmla="*/ 42 h 232"/>
                <a:gd name="T2" fmla="*/ 50 w 156"/>
                <a:gd name="T3" fmla="*/ 58 h 232"/>
                <a:gd name="T4" fmla="*/ 58 w 156"/>
                <a:gd name="T5" fmla="*/ 66 h 232"/>
                <a:gd name="T6" fmla="*/ 64 w 156"/>
                <a:gd name="T7" fmla="*/ 66 h 232"/>
                <a:gd name="T8" fmla="*/ 74 w 156"/>
                <a:gd name="T9" fmla="*/ 64 h 232"/>
                <a:gd name="T10" fmla="*/ 80 w 156"/>
                <a:gd name="T11" fmla="*/ 66 h 232"/>
                <a:gd name="T12" fmla="*/ 88 w 156"/>
                <a:gd name="T13" fmla="*/ 72 h 232"/>
                <a:gd name="T14" fmla="*/ 92 w 156"/>
                <a:gd name="T15" fmla="*/ 76 h 232"/>
                <a:gd name="T16" fmla="*/ 90 w 156"/>
                <a:gd name="T17" fmla="*/ 80 h 232"/>
                <a:gd name="T18" fmla="*/ 88 w 156"/>
                <a:gd name="T19" fmla="*/ 84 h 232"/>
                <a:gd name="T20" fmla="*/ 78 w 156"/>
                <a:gd name="T21" fmla="*/ 90 h 232"/>
                <a:gd name="T22" fmla="*/ 76 w 156"/>
                <a:gd name="T23" fmla="*/ 92 h 232"/>
                <a:gd name="T24" fmla="*/ 76 w 156"/>
                <a:gd name="T25" fmla="*/ 102 h 232"/>
                <a:gd name="T26" fmla="*/ 74 w 156"/>
                <a:gd name="T27" fmla="*/ 110 h 232"/>
                <a:gd name="T28" fmla="*/ 70 w 156"/>
                <a:gd name="T29" fmla="*/ 118 h 232"/>
                <a:gd name="T30" fmla="*/ 60 w 156"/>
                <a:gd name="T31" fmla="*/ 126 h 232"/>
                <a:gd name="T32" fmla="*/ 52 w 156"/>
                <a:gd name="T33" fmla="*/ 130 h 232"/>
                <a:gd name="T34" fmla="*/ 38 w 156"/>
                <a:gd name="T35" fmla="*/ 132 h 232"/>
                <a:gd name="T36" fmla="*/ 28 w 156"/>
                <a:gd name="T37" fmla="*/ 132 h 232"/>
                <a:gd name="T38" fmla="*/ 24 w 156"/>
                <a:gd name="T39" fmla="*/ 132 h 232"/>
                <a:gd name="T40" fmla="*/ 18 w 156"/>
                <a:gd name="T41" fmla="*/ 140 h 232"/>
                <a:gd name="T42" fmla="*/ 8 w 156"/>
                <a:gd name="T43" fmla="*/ 152 h 232"/>
                <a:gd name="T44" fmla="*/ 4 w 156"/>
                <a:gd name="T45" fmla="*/ 158 h 232"/>
                <a:gd name="T46" fmla="*/ 0 w 156"/>
                <a:gd name="T47" fmla="*/ 166 h 232"/>
                <a:gd name="T48" fmla="*/ 0 w 156"/>
                <a:gd name="T49" fmla="*/ 182 h 232"/>
                <a:gd name="T50" fmla="*/ 0 w 156"/>
                <a:gd name="T51" fmla="*/ 200 h 232"/>
                <a:gd name="T52" fmla="*/ 2 w 156"/>
                <a:gd name="T53" fmla="*/ 218 h 232"/>
                <a:gd name="T54" fmla="*/ 4 w 156"/>
                <a:gd name="T55" fmla="*/ 228 h 232"/>
                <a:gd name="T56" fmla="*/ 10 w 156"/>
                <a:gd name="T57" fmla="*/ 232 h 232"/>
                <a:gd name="T58" fmla="*/ 22 w 156"/>
                <a:gd name="T59" fmla="*/ 216 h 232"/>
                <a:gd name="T60" fmla="*/ 28 w 156"/>
                <a:gd name="T61" fmla="*/ 202 h 232"/>
                <a:gd name="T62" fmla="*/ 36 w 156"/>
                <a:gd name="T63" fmla="*/ 196 h 232"/>
                <a:gd name="T64" fmla="*/ 46 w 156"/>
                <a:gd name="T65" fmla="*/ 190 h 232"/>
                <a:gd name="T66" fmla="*/ 68 w 156"/>
                <a:gd name="T67" fmla="*/ 170 h 232"/>
                <a:gd name="T68" fmla="*/ 94 w 156"/>
                <a:gd name="T69" fmla="*/ 144 h 232"/>
                <a:gd name="T70" fmla="*/ 110 w 156"/>
                <a:gd name="T71" fmla="*/ 128 h 232"/>
                <a:gd name="T72" fmla="*/ 116 w 156"/>
                <a:gd name="T73" fmla="*/ 116 h 232"/>
                <a:gd name="T74" fmla="*/ 120 w 156"/>
                <a:gd name="T75" fmla="*/ 106 h 232"/>
                <a:gd name="T76" fmla="*/ 124 w 156"/>
                <a:gd name="T77" fmla="*/ 88 h 232"/>
                <a:gd name="T78" fmla="*/ 130 w 156"/>
                <a:gd name="T79" fmla="*/ 68 h 232"/>
                <a:gd name="T80" fmla="*/ 138 w 156"/>
                <a:gd name="T81" fmla="*/ 58 h 232"/>
                <a:gd name="T82" fmla="*/ 146 w 156"/>
                <a:gd name="T83" fmla="*/ 48 h 232"/>
                <a:gd name="T84" fmla="*/ 148 w 156"/>
                <a:gd name="T85" fmla="*/ 34 h 232"/>
                <a:gd name="T86" fmla="*/ 154 w 156"/>
                <a:gd name="T87" fmla="*/ 28 h 232"/>
                <a:gd name="T88" fmla="*/ 156 w 156"/>
                <a:gd name="T89" fmla="*/ 24 h 232"/>
                <a:gd name="T90" fmla="*/ 156 w 156"/>
                <a:gd name="T91" fmla="*/ 20 h 232"/>
                <a:gd name="T92" fmla="*/ 150 w 156"/>
                <a:gd name="T93" fmla="*/ 16 h 232"/>
                <a:gd name="T94" fmla="*/ 144 w 156"/>
                <a:gd name="T95" fmla="*/ 6 h 232"/>
                <a:gd name="T96" fmla="*/ 138 w 156"/>
                <a:gd name="T97" fmla="*/ 0 h 232"/>
                <a:gd name="T98" fmla="*/ 134 w 156"/>
                <a:gd name="T99" fmla="*/ 0 h 232"/>
                <a:gd name="T100" fmla="*/ 130 w 156"/>
                <a:gd name="T101" fmla="*/ 2 h 232"/>
                <a:gd name="T102" fmla="*/ 124 w 156"/>
                <a:gd name="T103" fmla="*/ 12 h 232"/>
                <a:gd name="T104" fmla="*/ 118 w 156"/>
                <a:gd name="T105" fmla="*/ 14 h 232"/>
                <a:gd name="T106" fmla="*/ 108 w 156"/>
                <a:gd name="T107" fmla="*/ 16 h 232"/>
                <a:gd name="T108" fmla="*/ 100 w 156"/>
                <a:gd name="T109" fmla="*/ 18 h 232"/>
                <a:gd name="T110" fmla="*/ 88 w 156"/>
                <a:gd name="T111" fmla="*/ 26 h 232"/>
                <a:gd name="T112" fmla="*/ 82 w 156"/>
                <a:gd name="T113" fmla="*/ 28 h 232"/>
                <a:gd name="T114" fmla="*/ 68 w 156"/>
                <a:gd name="T115" fmla="*/ 28 h 232"/>
                <a:gd name="T116" fmla="*/ 54 w 156"/>
                <a:gd name="T117" fmla="*/ 26 h 232"/>
                <a:gd name="T118" fmla="*/ 24 w 156"/>
                <a:gd name="T119" fmla="*/ 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32">
                  <a:moveTo>
                    <a:pt x="24" y="32"/>
                  </a:moveTo>
                  <a:lnTo>
                    <a:pt x="24" y="32"/>
                  </a:lnTo>
                  <a:lnTo>
                    <a:pt x="30" y="36"/>
                  </a:lnTo>
                  <a:lnTo>
                    <a:pt x="36" y="42"/>
                  </a:lnTo>
                  <a:lnTo>
                    <a:pt x="38" y="44"/>
                  </a:lnTo>
                  <a:lnTo>
                    <a:pt x="42" y="48"/>
                  </a:lnTo>
                  <a:lnTo>
                    <a:pt x="48" y="56"/>
                  </a:lnTo>
                  <a:lnTo>
                    <a:pt x="50" y="58"/>
                  </a:lnTo>
                  <a:lnTo>
                    <a:pt x="54" y="62"/>
                  </a:lnTo>
                  <a:lnTo>
                    <a:pt x="56" y="64"/>
                  </a:lnTo>
                  <a:lnTo>
                    <a:pt x="58" y="64"/>
                  </a:lnTo>
                  <a:lnTo>
                    <a:pt x="58" y="66"/>
                  </a:lnTo>
                  <a:lnTo>
                    <a:pt x="60" y="66"/>
                  </a:lnTo>
                  <a:lnTo>
                    <a:pt x="60" y="66"/>
                  </a:lnTo>
                  <a:lnTo>
                    <a:pt x="62" y="66"/>
                  </a:lnTo>
                  <a:lnTo>
                    <a:pt x="64" y="66"/>
                  </a:lnTo>
                  <a:lnTo>
                    <a:pt x="66" y="66"/>
                  </a:lnTo>
                  <a:lnTo>
                    <a:pt x="68" y="66"/>
                  </a:lnTo>
                  <a:lnTo>
                    <a:pt x="72" y="66"/>
                  </a:lnTo>
                  <a:lnTo>
                    <a:pt x="74" y="64"/>
                  </a:lnTo>
                  <a:lnTo>
                    <a:pt x="76" y="64"/>
                  </a:lnTo>
                  <a:lnTo>
                    <a:pt x="76" y="64"/>
                  </a:lnTo>
                  <a:lnTo>
                    <a:pt x="78" y="64"/>
                  </a:lnTo>
                  <a:lnTo>
                    <a:pt x="80" y="66"/>
                  </a:lnTo>
                  <a:lnTo>
                    <a:pt x="82" y="68"/>
                  </a:lnTo>
                  <a:lnTo>
                    <a:pt x="84" y="68"/>
                  </a:lnTo>
                  <a:lnTo>
                    <a:pt x="86" y="70"/>
                  </a:lnTo>
                  <a:lnTo>
                    <a:pt x="88" y="72"/>
                  </a:lnTo>
                  <a:lnTo>
                    <a:pt x="90" y="74"/>
                  </a:lnTo>
                  <a:lnTo>
                    <a:pt x="90" y="74"/>
                  </a:lnTo>
                  <a:lnTo>
                    <a:pt x="90" y="76"/>
                  </a:lnTo>
                  <a:lnTo>
                    <a:pt x="92" y="76"/>
                  </a:lnTo>
                  <a:lnTo>
                    <a:pt x="92" y="78"/>
                  </a:lnTo>
                  <a:lnTo>
                    <a:pt x="92" y="78"/>
                  </a:lnTo>
                  <a:lnTo>
                    <a:pt x="92" y="80"/>
                  </a:lnTo>
                  <a:lnTo>
                    <a:pt x="90" y="80"/>
                  </a:lnTo>
                  <a:lnTo>
                    <a:pt x="90" y="82"/>
                  </a:lnTo>
                  <a:lnTo>
                    <a:pt x="90" y="82"/>
                  </a:lnTo>
                  <a:lnTo>
                    <a:pt x="88" y="84"/>
                  </a:lnTo>
                  <a:lnTo>
                    <a:pt x="88" y="84"/>
                  </a:lnTo>
                  <a:lnTo>
                    <a:pt x="84" y="86"/>
                  </a:lnTo>
                  <a:lnTo>
                    <a:pt x="82" y="88"/>
                  </a:lnTo>
                  <a:lnTo>
                    <a:pt x="80" y="88"/>
                  </a:lnTo>
                  <a:lnTo>
                    <a:pt x="78" y="90"/>
                  </a:lnTo>
                  <a:lnTo>
                    <a:pt x="78" y="90"/>
                  </a:lnTo>
                  <a:lnTo>
                    <a:pt x="78" y="90"/>
                  </a:lnTo>
                  <a:lnTo>
                    <a:pt x="76" y="92"/>
                  </a:lnTo>
                  <a:lnTo>
                    <a:pt x="76" y="92"/>
                  </a:lnTo>
                  <a:lnTo>
                    <a:pt x="76" y="94"/>
                  </a:lnTo>
                  <a:lnTo>
                    <a:pt x="76" y="96"/>
                  </a:lnTo>
                  <a:lnTo>
                    <a:pt x="76" y="98"/>
                  </a:lnTo>
                  <a:lnTo>
                    <a:pt x="76" y="102"/>
                  </a:lnTo>
                  <a:lnTo>
                    <a:pt x="76" y="104"/>
                  </a:lnTo>
                  <a:lnTo>
                    <a:pt x="74" y="108"/>
                  </a:lnTo>
                  <a:lnTo>
                    <a:pt x="74" y="110"/>
                  </a:lnTo>
                  <a:lnTo>
                    <a:pt x="74" y="110"/>
                  </a:lnTo>
                  <a:lnTo>
                    <a:pt x="74" y="112"/>
                  </a:lnTo>
                  <a:lnTo>
                    <a:pt x="72" y="114"/>
                  </a:lnTo>
                  <a:lnTo>
                    <a:pt x="72" y="116"/>
                  </a:lnTo>
                  <a:lnTo>
                    <a:pt x="70" y="118"/>
                  </a:lnTo>
                  <a:lnTo>
                    <a:pt x="68" y="120"/>
                  </a:lnTo>
                  <a:lnTo>
                    <a:pt x="66" y="122"/>
                  </a:lnTo>
                  <a:lnTo>
                    <a:pt x="62" y="124"/>
                  </a:lnTo>
                  <a:lnTo>
                    <a:pt x="60" y="126"/>
                  </a:lnTo>
                  <a:lnTo>
                    <a:pt x="58" y="126"/>
                  </a:lnTo>
                  <a:lnTo>
                    <a:pt x="56" y="128"/>
                  </a:lnTo>
                  <a:lnTo>
                    <a:pt x="54" y="128"/>
                  </a:lnTo>
                  <a:lnTo>
                    <a:pt x="52" y="130"/>
                  </a:lnTo>
                  <a:lnTo>
                    <a:pt x="50" y="130"/>
                  </a:lnTo>
                  <a:lnTo>
                    <a:pt x="44" y="132"/>
                  </a:lnTo>
                  <a:lnTo>
                    <a:pt x="40" y="132"/>
                  </a:lnTo>
                  <a:lnTo>
                    <a:pt x="38" y="132"/>
                  </a:lnTo>
                  <a:lnTo>
                    <a:pt x="36" y="132"/>
                  </a:lnTo>
                  <a:lnTo>
                    <a:pt x="32" y="132"/>
                  </a:lnTo>
                  <a:lnTo>
                    <a:pt x="30" y="132"/>
                  </a:lnTo>
                  <a:lnTo>
                    <a:pt x="28" y="132"/>
                  </a:lnTo>
                  <a:lnTo>
                    <a:pt x="26" y="132"/>
                  </a:lnTo>
                  <a:lnTo>
                    <a:pt x="26" y="132"/>
                  </a:lnTo>
                  <a:lnTo>
                    <a:pt x="24" y="132"/>
                  </a:lnTo>
                  <a:lnTo>
                    <a:pt x="24" y="132"/>
                  </a:lnTo>
                  <a:lnTo>
                    <a:pt x="24" y="134"/>
                  </a:lnTo>
                  <a:lnTo>
                    <a:pt x="22" y="136"/>
                  </a:lnTo>
                  <a:lnTo>
                    <a:pt x="20" y="138"/>
                  </a:lnTo>
                  <a:lnTo>
                    <a:pt x="18" y="140"/>
                  </a:lnTo>
                  <a:lnTo>
                    <a:pt x="14" y="146"/>
                  </a:lnTo>
                  <a:lnTo>
                    <a:pt x="14" y="148"/>
                  </a:lnTo>
                  <a:lnTo>
                    <a:pt x="10" y="150"/>
                  </a:lnTo>
                  <a:lnTo>
                    <a:pt x="8" y="152"/>
                  </a:lnTo>
                  <a:lnTo>
                    <a:pt x="6" y="154"/>
                  </a:lnTo>
                  <a:lnTo>
                    <a:pt x="6" y="154"/>
                  </a:lnTo>
                  <a:lnTo>
                    <a:pt x="4" y="156"/>
                  </a:lnTo>
                  <a:lnTo>
                    <a:pt x="4" y="158"/>
                  </a:lnTo>
                  <a:lnTo>
                    <a:pt x="2" y="162"/>
                  </a:lnTo>
                  <a:lnTo>
                    <a:pt x="2" y="162"/>
                  </a:lnTo>
                  <a:lnTo>
                    <a:pt x="2" y="164"/>
                  </a:lnTo>
                  <a:lnTo>
                    <a:pt x="0" y="166"/>
                  </a:lnTo>
                  <a:lnTo>
                    <a:pt x="0" y="170"/>
                  </a:lnTo>
                  <a:lnTo>
                    <a:pt x="0" y="174"/>
                  </a:lnTo>
                  <a:lnTo>
                    <a:pt x="0" y="178"/>
                  </a:lnTo>
                  <a:lnTo>
                    <a:pt x="0" y="182"/>
                  </a:lnTo>
                  <a:lnTo>
                    <a:pt x="0" y="186"/>
                  </a:lnTo>
                  <a:lnTo>
                    <a:pt x="0" y="192"/>
                  </a:lnTo>
                  <a:lnTo>
                    <a:pt x="0" y="196"/>
                  </a:lnTo>
                  <a:lnTo>
                    <a:pt x="0" y="200"/>
                  </a:lnTo>
                  <a:lnTo>
                    <a:pt x="0" y="206"/>
                  </a:lnTo>
                  <a:lnTo>
                    <a:pt x="0" y="210"/>
                  </a:lnTo>
                  <a:lnTo>
                    <a:pt x="0" y="214"/>
                  </a:lnTo>
                  <a:lnTo>
                    <a:pt x="2" y="218"/>
                  </a:lnTo>
                  <a:lnTo>
                    <a:pt x="2" y="222"/>
                  </a:lnTo>
                  <a:lnTo>
                    <a:pt x="4" y="224"/>
                  </a:lnTo>
                  <a:lnTo>
                    <a:pt x="4" y="226"/>
                  </a:lnTo>
                  <a:lnTo>
                    <a:pt x="4" y="228"/>
                  </a:lnTo>
                  <a:lnTo>
                    <a:pt x="6" y="228"/>
                  </a:lnTo>
                  <a:lnTo>
                    <a:pt x="6" y="228"/>
                  </a:lnTo>
                  <a:lnTo>
                    <a:pt x="8" y="230"/>
                  </a:lnTo>
                  <a:lnTo>
                    <a:pt x="10" y="232"/>
                  </a:lnTo>
                  <a:lnTo>
                    <a:pt x="14" y="226"/>
                  </a:lnTo>
                  <a:lnTo>
                    <a:pt x="18" y="220"/>
                  </a:lnTo>
                  <a:lnTo>
                    <a:pt x="22" y="216"/>
                  </a:lnTo>
                  <a:lnTo>
                    <a:pt x="22" y="216"/>
                  </a:lnTo>
                  <a:lnTo>
                    <a:pt x="22" y="214"/>
                  </a:lnTo>
                  <a:lnTo>
                    <a:pt x="26" y="208"/>
                  </a:lnTo>
                  <a:lnTo>
                    <a:pt x="28" y="204"/>
                  </a:lnTo>
                  <a:lnTo>
                    <a:pt x="28" y="202"/>
                  </a:lnTo>
                  <a:lnTo>
                    <a:pt x="30" y="202"/>
                  </a:lnTo>
                  <a:lnTo>
                    <a:pt x="32" y="200"/>
                  </a:lnTo>
                  <a:lnTo>
                    <a:pt x="34" y="198"/>
                  </a:lnTo>
                  <a:lnTo>
                    <a:pt x="36" y="196"/>
                  </a:lnTo>
                  <a:lnTo>
                    <a:pt x="38" y="196"/>
                  </a:lnTo>
                  <a:lnTo>
                    <a:pt x="42" y="192"/>
                  </a:lnTo>
                  <a:lnTo>
                    <a:pt x="44" y="192"/>
                  </a:lnTo>
                  <a:lnTo>
                    <a:pt x="46" y="190"/>
                  </a:lnTo>
                  <a:lnTo>
                    <a:pt x="50" y="188"/>
                  </a:lnTo>
                  <a:lnTo>
                    <a:pt x="52" y="184"/>
                  </a:lnTo>
                  <a:lnTo>
                    <a:pt x="60" y="178"/>
                  </a:lnTo>
                  <a:lnTo>
                    <a:pt x="68" y="170"/>
                  </a:lnTo>
                  <a:lnTo>
                    <a:pt x="74" y="164"/>
                  </a:lnTo>
                  <a:lnTo>
                    <a:pt x="80" y="158"/>
                  </a:lnTo>
                  <a:lnTo>
                    <a:pt x="88" y="152"/>
                  </a:lnTo>
                  <a:lnTo>
                    <a:pt x="94" y="144"/>
                  </a:lnTo>
                  <a:lnTo>
                    <a:pt x="98" y="142"/>
                  </a:lnTo>
                  <a:lnTo>
                    <a:pt x="100" y="138"/>
                  </a:lnTo>
                  <a:lnTo>
                    <a:pt x="104" y="134"/>
                  </a:lnTo>
                  <a:lnTo>
                    <a:pt x="110" y="128"/>
                  </a:lnTo>
                  <a:lnTo>
                    <a:pt x="112" y="124"/>
                  </a:lnTo>
                  <a:lnTo>
                    <a:pt x="114" y="122"/>
                  </a:lnTo>
                  <a:lnTo>
                    <a:pt x="116" y="118"/>
                  </a:lnTo>
                  <a:lnTo>
                    <a:pt x="116" y="116"/>
                  </a:lnTo>
                  <a:lnTo>
                    <a:pt x="118" y="114"/>
                  </a:lnTo>
                  <a:lnTo>
                    <a:pt x="118" y="112"/>
                  </a:lnTo>
                  <a:lnTo>
                    <a:pt x="118" y="110"/>
                  </a:lnTo>
                  <a:lnTo>
                    <a:pt x="120" y="106"/>
                  </a:lnTo>
                  <a:lnTo>
                    <a:pt x="120" y="102"/>
                  </a:lnTo>
                  <a:lnTo>
                    <a:pt x="122" y="94"/>
                  </a:lnTo>
                  <a:lnTo>
                    <a:pt x="122" y="90"/>
                  </a:lnTo>
                  <a:lnTo>
                    <a:pt x="124" y="88"/>
                  </a:lnTo>
                  <a:lnTo>
                    <a:pt x="124" y="82"/>
                  </a:lnTo>
                  <a:lnTo>
                    <a:pt x="128" y="76"/>
                  </a:lnTo>
                  <a:lnTo>
                    <a:pt x="130" y="70"/>
                  </a:lnTo>
                  <a:lnTo>
                    <a:pt x="130" y="68"/>
                  </a:lnTo>
                  <a:lnTo>
                    <a:pt x="132" y="66"/>
                  </a:lnTo>
                  <a:lnTo>
                    <a:pt x="134" y="64"/>
                  </a:lnTo>
                  <a:lnTo>
                    <a:pt x="134" y="62"/>
                  </a:lnTo>
                  <a:lnTo>
                    <a:pt x="138" y="58"/>
                  </a:lnTo>
                  <a:lnTo>
                    <a:pt x="142" y="54"/>
                  </a:lnTo>
                  <a:lnTo>
                    <a:pt x="144" y="52"/>
                  </a:lnTo>
                  <a:lnTo>
                    <a:pt x="144" y="50"/>
                  </a:lnTo>
                  <a:lnTo>
                    <a:pt x="146" y="48"/>
                  </a:lnTo>
                  <a:lnTo>
                    <a:pt x="146" y="46"/>
                  </a:lnTo>
                  <a:lnTo>
                    <a:pt x="146" y="40"/>
                  </a:lnTo>
                  <a:lnTo>
                    <a:pt x="148" y="36"/>
                  </a:lnTo>
                  <a:lnTo>
                    <a:pt x="148" y="34"/>
                  </a:lnTo>
                  <a:lnTo>
                    <a:pt x="150" y="32"/>
                  </a:lnTo>
                  <a:lnTo>
                    <a:pt x="150" y="32"/>
                  </a:lnTo>
                  <a:lnTo>
                    <a:pt x="152" y="30"/>
                  </a:lnTo>
                  <a:lnTo>
                    <a:pt x="154" y="28"/>
                  </a:lnTo>
                  <a:lnTo>
                    <a:pt x="156" y="26"/>
                  </a:lnTo>
                  <a:lnTo>
                    <a:pt x="156" y="26"/>
                  </a:lnTo>
                  <a:lnTo>
                    <a:pt x="156" y="24"/>
                  </a:lnTo>
                  <a:lnTo>
                    <a:pt x="156" y="24"/>
                  </a:lnTo>
                  <a:lnTo>
                    <a:pt x="156" y="24"/>
                  </a:lnTo>
                  <a:lnTo>
                    <a:pt x="156" y="22"/>
                  </a:lnTo>
                  <a:lnTo>
                    <a:pt x="156" y="22"/>
                  </a:lnTo>
                  <a:lnTo>
                    <a:pt x="156" y="20"/>
                  </a:lnTo>
                  <a:lnTo>
                    <a:pt x="154" y="20"/>
                  </a:lnTo>
                  <a:lnTo>
                    <a:pt x="154" y="18"/>
                  </a:lnTo>
                  <a:lnTo>
                    <a:pt x="150" y="16"/>
                  </a:lnTo>
                  <a:lnTo>
                    <a:pt x="150" y="16"/>
                  </a:lnTo>
                  <a:lnTo>
                    <a:pt x="148" y="14"/>
                  </a:lnTo>
                  <a:lnTo>
                    <a:pt x="146" y="12"/>
                  </a:lnTo>
                  <a:lnTo>
                    <a:pt x="146" y="10"/>
                  </a:lnTo>
                  <a:lnTo>
                    <a:pt x="144" y="6"/>
                  </a:lnTo>
                  <a:lnTo>
                    <a:pt x="142" y="4"/>
                  </a:lnTo>
                  <a:lnTo>
                    <a:pt x="140" y="2"/>
                  </a:lnTo>
                  <a:lnTo>
                    <a:pt x="140" y="0"/>
                  </a:lnTo>
                  <a:lnTo>
                    <a:pt x="138" y="0"/>
                  </a:lnTo>
                  <a:lnTo>
                    <a:pt x="138" y="0"/>
                  </a:lnTo>
                  <a:lnTo>
                    <a:pt x="136" y="0"/>
                  </a:lnTo>
                  <a:lnTo>
                    <a:pt x="136" y="0"/>
                  </a:lnTo>
                  <a:lnTo>
                    <a:pt x="134" y="0"/>
                  </a:lnTo>
                  <a:lnTo>
                    <a:pt x="134" y="0"/>
                  </a:lnTo>
                  <a:lnTo>
                    <a:pt x="134" y="2"/>
                  </a:lnTo>
                  <a:lnTo>
                    <a:pt x="132" y="2"/>
                  </a:lnTo>
                  <a:lnTo>
                    <a:pt x="130" y="2"/>
                  </a:lnTo>
                  <a:lnTo>
                    <a:pt x="130" y="6"/>
                  </a:lnTo>
                  <a:lnTo>
                    <a:pt x="128" y="8"/>
                  </a:lnTo>
                  <a:lnTo>
                    <a:pt x="126" y="10"/>
                  </a:lnTo>
                  <a:lnTo>
                    <a:pt x="124" y="12"/>
                  </a:lnTo>
                  <a:lnTo>
                    <a:pt x="122" y="12"/>
                  </a:lnTo>
                  <a:lnTo>
                    <a:pt x="122" y="14"/>
                  </a:lnTo>
                  <a:lnTo>
                    <a:pt x="120" y="14"/>
                  </a:lnTo>
                  <a:lnTo>
                    <a:pt x="118" y="14"/>
                  </a:lnTo>
                  <a:lnTo>
                    <a:pt x="116" y="14"/>
                  </a:lnTo>
                  <a:lnTo>
                    <a:pt x="114" y="14"/>
                  </a:lnTo>
                  <a:lnTo>
                    <a:pt x="110" y="16"/>
                  </a:lnTo>
                  <a:lnTo>
                    <a:pt x="108" y="16"/>
                  </a:lnTo>
                  <a:lnTo>
                    <a:pt x="106" y="16"/>
                  </a:lnTo>
                  <a:lnTo>
                    <a:pt x="104" y="16"/>
                  </a:lnTo>
                  <a:lnTo>
                    <a:pt x="104" y="16"/>
                  </a:lnTo>
                  <a:lnTo>
                    <a:pt x="100" y="18"/>
                  </a:lnTo>
                  <a:lnTo>
                    <a:pt x="96" y="22"/>
                  </a:lnTo>
                  <a:lnTo>
                    <a:pt x="94" y="22"/>
                  </a:lnTo>
                  <a:lnTo>
                    <a:pt x="92" y="24"/>
                  </a:lnTo>
                  <a:lnTo>
                    <a:pt x="88" y="26"/>
                  </a:lnTo>
                  <a:lnTo>
                    <a:pt x="86" y="28"/>
                  </a:lnTo>
                  <a:lnTo>
                    <a:pt x="86" y="28"/>
                  </a:lnTo>
                  <a:lnTo>
                    <a:pt x="84" y="28"/>
                  </a:lnTo>
                  <a:lnTo>
                    <a:pt x="82" y="28"/>
                  </a:lnTo>
                  <a:lnTo>
                    <a:pt x="80" y="28"/>
                  </a:lnTo>
                  <a:lnTo>
                    <a:pt x="76" y="28"/>
                  </a:lnTo>
                  <a:lnTo>
                    <a:pt x="72" y="28"/>
                  </a:lnTo>
                  <a:lnTo>
                    <a:pt x="68" y="28"/>
                  </a:lnTo>
                  <a:lnTo>
                    <a:pt x="62" y="28"/>
                  </a:lnTo>
                  <a:lnTo>
                    <a:pt x="60" y="26"/>
                  </a:lnTo>
                  <a:lnTo>
                    <a:pt x="56" y="26"/>
                  </a:lnTo>
                  <a:lnTo>
                    <a:pt x="54" y="26"/>
                  </a:lnTo>
                  <a:lnTo>
                    <a:pt x="52" y="24"/>
                  </a:lnTo>
                  <a:lnTo>
                    <a:pt x="46" y="22"/>
                  </a:lnTo>
                  <a:lnTo>
                    <a:pt x="40" y="20"/>
                  </a:lnTo>
                  <a:lnTo>
                    <a:pt x="24" y="3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6" name="Freeform 403"/>
            <p:cNvSpPr>
              <a:spLocks/>
            </p:cNvSpPr>
            <p:nvPr/>
          </p:nvSpPr>
          <p:spPr bwMode="auto">
            <a:xfrm>
              <a:off x="5287672" y="4296332"/>
              <a:ext cx="270204" cy="401841"/>
            </a:xfrm>
            <a:custGeom>
              <a:avLst/>
              <a:gdLst>
                <a:gd name="T0" fmla="*/ 36 w 156"/>
                <a:gd name="T1" fmla="*/ 42 h 232"/>
                <a:gd name="T2" fmla="*/ 50 w 156"/>
                <a:gd name="T3" fmla="*/ 58 h 232"/>
                <a:gd name="T4" fmla="*/ 58 w 156"/>
                <a:gd name="T5" fmla="*/ 66 h 232"/>
                <a:gd name="T6" fmla="*/ 64 w 156"/>
                <a:gd name="T7" fmla="*/ 66 h 232"/>
                <a:gd name="T8" fmla="*/ 74 w 156"/>
                <a:gd name="T9" fmla="*/ 64 h 232"/>
                <a:gd name="T10" fmla="*/ 80 w 156"/>
                <a:gd name="T11" fmla="*/ 66 h 232"/>
                <a:gd name="T12" fmla="*/ 88 w 156"/>
                <a:gd name="T13" fmla="*/ 72 h 232"/>
                <a:gd name="T14" fmla="*/ 92 w 156"/>
                <a:gd name="T15" fmla="*/ 76 h 232"/>
                <a:gd name="T16" fmla="*/ 90 w 156"/>
                <a:gd name="T17" fmla="*/ 80 h 232"/>
                <a:gd name="T18" fmla="*/ 88 w 156"/>
                <a:gd name="T19" fmla="*/ 84 h 232"/>
                <a:gd name="T20" fmla="*/ 78 w 156"/>
                <a:gd name="T21" fmla="*/ 90 h 232"/>
                <a:gd name="T22" fmla="*/ 76 w 156"/>
                <a:gd name="T23" fmla="*/ 92 h 232"/>
                <a:gd name="T24" fmla="*/ 76 w 156"/>
                <a:gd name="T25" fmla="*/ 102 h 232"/>
                <a:gd name="T26" fmla="*/ 74 w 156"/>
                <a:gd name="T27" fmla="*/ 110 h 232"/>
                <a:gd name="T28" fmla="*/ 70 w 156"/>
                <a:gd name="T29" fmla="*/ 118 h 232"/>
                <a:gd name="T30" fmla="*/ 60 w 156"/>
                <a:gd name="T31" fmla="*/ 126 h 232"/>
                <a:gd name="T32" fmla="*/ 52 w 156"/>
                <a:gd name="T33" fmla="*/ 130 h 232"/>
                <a:gd name="T34" fmla="*/ 38 w 156"/>
                <a:gd name="T35" fmla="*/ 132 h 232"/>
                <a:gd name="T36" fmla="*/ 28 w 156"/>
                <a:gd name="T37" fmla="*/ 132 h 232"/>
                <a:gd name="T38" fmla="*/ 24 w 156"/>
                <a:gd name="T39" fmla="*/ 132 h 232"/>
                <a:gd name="T40" fmla="*/ 18 w 156"/>
                <a:gd name="T41" fmla="*/ 140 h 232"/>
                <a:gd name="T42" fmla="*/ 8 w 156"/>
                <a:gd name="T43" fmla="*/ 152 h 232"/>
                <a:gd name="T44" fmla="*/ 4 w 156"/>
                <a:gd name="T45" fmla="*/ 158 h 232"/>
                <a:gd name="T46" fmla="*/ 0 w 156"/>
                <a:gd name="T47" fmla="*/ 166 h 232"/>
                <a:gd name="T48" fmla="*/ 0 w 156"/>
                <a:gd name="T49" fmla="*/ 182 h 232"/>
                <a:gd name="T50" fmla="*/ 0 w 156"/>
                <a:gd name="T51" fmla="*/ 200 h 232"/>
                <a:gd name="T52" fmla="*/ 2 w 156"/>
                <a:gd name="T53" fmla="*/ 218 h 232"/>
                <a:gd name="T54" fmla="*/ 4 w 156"/>
                <a:gd name="T55" fmla="*/ 228 h 232"/>
                <a:gd name="T56" fmla="*/ 10 w 156"/>
                <a:gd name="T57" fmla="*/ 232 h 232"/>
                <a:gd name="T58" fmla="*/ 22 w 156"/>
                <a:gd name="T59" fmla="*/ 216 h 232"/>
                <a:gd name="T60" fmla="*/ 28 w 156"/>
                <a:gd name="T61" fmla="*/ 202 h 232"/>
                <a:gd name="T62" fmla="*/ 36 w 156"/>
                <a:gd name="T63" fmla="*/ 196 h 232"/>
                <a:gd name="T64" fmla="*/ 46 w 156"/>
                <a:gd name="T65" fmla="*/ 190 h 232"/>
                <a:gd name="T66" fmla="*/ 68 w 156"/>
                <a:gd name="T67" fmla="*/ 170 h 232"/>
                <a:gd name="T68" fmla="*/ 94 w 156"/>
                <a:gd name="T69" fmla="*/ 144 h 232"/>
                <a:gd name="T70" fmla="*/ 110 w 156"/>
                <a:gd name="T71" fmla="*/ 128 h 232"/>
                <a:gd name="T72" fmla="*/ 116 w 156"/>
                <a:gd name="T73" fmla="*/ 116 h 232"/>
                <a:gd name="T74" fmla="*/ 120 w 156"/>
                <a:gd name="T75" fmla="*/ 106 h 232"/>
                <a:gd name="T76" fmla="*/ 124 w 156"/>
                <a:gd name="T77" fmla="*/ 88 h 232"/>
                <a:gd name="T78" fmla="*/ 130 w 156"/>
                <a:gd name="T79" fmla="*/ 68 h 232"/>
                <a:gd name="T80" fmla="*/ 138 w 156"/>
                <a:gd name="T81" fmla="*/ 58 h 232"/>
                <a:gd name="T82" fmla="*/ 146 w 156"/>
                <a:gd name="T83" fmla="*/ 48 h 232"/>
                <a:gd name="T84" fmla="*/ 148 w 156"/>
                <a:gd name="T85" fmla="*/ 34 h 232"/>
                <a:gd name="T86" fmla="*/ 154 w 156"/>
                <a:gd name="T87" fmla="*/ 28 h 232"/>
                <a:gd name="T88" fmla="*/ 156 w 156"/>
                <a:gd name="T89" fmla="*/ 24 h 232"/>
                <a:gd name="T90" fmla="*/ 156 w 156"/>
                <a:gd name="T91" fmla="*/ 20 h 232"/>
                <a:gd name="T92" fmla="*/ 150 w 156"/>
                <a:gd name="T93" fmla="*/ 16 h 232"/>
                <a:gd name="T94" fmla="*/ 144 w 156"/>
                <a:gd name="T95" fmla="*/ 6 h 232"/>
                <a:gd name="T96" fmla="*/ 138 w 156"/>
                <a:gd name="T97" fmla="*/ 0 h 232"/>
                <a:gd name="T98" fmla="*/ 134 w 156"/>
                <a:gd name="T99" fmla="*/ 0 h 232"/>
                <a:gd name="T100" fmla="*/ 130 w 156"/>
                <a:gd name="T101" fmla="*/ 2 h 232"/>
                <a:gd name="T102" fmla="*/ 124 w 156"/>
                <a:gd name="T103" fmla="*/ 12 h 232"/>
                <a:gd name="T104" fmla="*/ 118 w 156"/>
                <a:gd name="T105" fmla="*/ 14 h 232"/>
                <a:gd name="T106" fmla="*/ 108 w 156"/>
                <a:gd name="T107" fmla="*/ 16 h 232"/>
                <a:gd name="T108" fmla="*/ 100 w 156"/>
                <a:gd name="T109" fmla="*/ 18 h 232"/>
                <a:gd name="T110" fmla="*/ 88 w 156"/>
                <a:gd name="T111" fmla="*/ 26 h 232"/>
                <a:gd name="T112" fmla="*/ 82 w 156"/>
                <a:gd name="T113" fmla="*/ 28 h 232"/>
                <a:gd name="T114" fmla="*/ 68 w 156"/>
                <a:gd name="T115" fmla="*/ 28 h 232"/>
                <a:gd name="T116" fmla="*/ 54 w 156"/>
                <a:gd name="T117" fmla="*/ 26 h 232"/>
                <a:gd name="T118" fmla="*/ 24 w 156"/>
                <a:gd name="T119" fmla="*/ 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32">
                  <a:moveTo>
                    <a:pt x="24" y="32"/>
                  </a:moveTo>
                  <a:lnTo>
                    <a:pt x="24" y="32"/>
                  </a:lnTo>
                  <a:lnTo>
                    <a:pt x="30" y="36"/>
                  </a:lnTo>
                  <a:lnTo>
                    <a:pt x="36" y="42"/>
                  </a:lnTo>
                  <a:lnTo>
                    <a:pt x="38" y="44"/>
                  </a:lnTo>
                  <a:lnTo>
                    <a:pt x="42" y="48"/>
                  </a:lnTo>
                  <a:lnTo>
                    <a:pt x="48" y="56"/>
                  </a:lnTo>
                  <a:lnTo>
                    <a:pt x="50" y="58"/>
                  </a:lnTo>
                  <a:lnTo>
                    <a:pt x="54" y="62"/>
                  </a:lnTo>
                  <a:lnTo>
                    <a:pt x="56" y="64"/>
                  </a:lnTo>
                  <a:lnTo>
                    <a:pt x="58" y="64"/>
                  </a:lnTo>
                  <a:lnTo>
                    <a:pt x="58" y="66"/>
                  </a:lnTo>
                  <a:lnTo>
                    <a:pt x="60" y="66"/>
                  </a:lnTo>
                  <a:lnTo>
                    <a:pt x="60" y="66"/>
                  </a:lnTo>
                  <a:lnTo>
                    <a:pt x="62" y="66"/>
                  </a:lnTo>
                  <a:lnTo>
                    <a:pt x="64" y="66"/>
                  </a:lnTo>
                  <a:lnTo>
                    <a:pt x="66" y="66"/>
                  </a:lnTo>
                  <a:lnTo>
                    <a:pt x="68" y="66"/>
                  </a:lnTo>
                  <a:lnTo>
                    <a:pt x="72" y="66"/>
                  </a:lnTo>
                  <a:lnTo>
                    <a:pt x="74" y="64"/>
                  </a:lnTo>
                  <a:lnTo>
                    <a:pt x="76" y="64"/>
                  </a:lnTo>
                  <a:lnTo>
                    <a:pt x="76" y="64"/>
                  </a:lnTo>
                  <a:lnTo>
                    <a:pt x="78" y="64"/>
                  </a:lnTo>
                  <a:lnTo>
                    <a:pt x="80" y="66"/>
                  </a:lnTo>
                  <a:lnTo>
                    <a:pt x="82" y="68"/>
                  </a:lnTo>
                  <a:lnTo>
                    <a:pt x="84" y="68"/>
                  </a:lnTo>
                  <a:lnTo>
                    <a:pt x="86" y="70"/>
                  </a:lnTo>
                  <a:lnTo>
                    <a:pt x="88" y="72"/>
                  </a:lnTo>
                  <a:lnTo>
                    <a:pt x="90" y="74"/>
                  </a:lnTo>
                  <a:lnTo>
                    <a:pt x="90" y="74"/>
                  </a:lnTo>
                  <a:lnTo>
                    <a:pt x="90" y="76"/>
                  </a:lnTo>
                  <a:lnTo>
                    <a:pt x="92" y="76"/>
                  </a:lnTo>
                  <a:lnTo>
                    <a:pt x="92" y="78"/>
                  </a:lnTo>
                  <a:lnTo>
                    <a:pt x="92" y="78"/>
                  </a:lnTo>
                  <a:lnTo>
                    <a:pt x="92" y="80"/>
                  </a:lnTo>
                  <a:lnTo>
                    <a:pt x="90" y="80"/>
                  </a:lnTo>
                  <a:lnTo>
                    <a:pt x="90" y="82"/>
                  </a:lnTo>
                  <a:lnTo>
                    <a:pt x="90" y="82"/>
                  </a:lnTo>
                  <a:lnTo>
                    <a:pt x="88" y="84"/>
                  </a:lnTo>
                  <a:lnTo>
                    <a:pt x="88" y="84"/>
                  </a:lnTo>
                  <a:lnTo>
                    <a:pt x="84" y="86"/>
                  </a:lnTo>
                  <a:lnTo>
                    <a:pt x="82" y="88"/>
                  </a:lnTo>
                  <a:lnTo>
                    <a:pt x="80" y="88"/>
                  </a:lnTo>
                  <a:lnTo>
                    <a:pt x="78" y="90"/>
                  </a:lnTo>
                  <a:lnTo>
                    <a:pt x="78" y="90"/>
                  </a:lnTo>
                  <a:lnTo>
                    <a:pt x="78" y="90"/>
                  </a:lnTo>
                  <a:lnTo>
                    <a:pt x="76" y="92"/>
                  </a:lnTo>
                  <a:lnTo>
                    <a:pt x="76" y="92"/>
                  </a:lnTo>
                  <a:lnTo>
                    <a:pt x="76" y="94"/>
                  </a:lnTo>
                  <a:lnTo>
                    <a:pt x="76" y="96"/>
                  </a:lnTo>
                  <a:lnTo>
                    <a:pt x="76" y="98"/>
                  </a:lnTo>
                  <a:lnTo>
                    <a:pt x="76" y="102"/>
                  </a:lnTo>
                  <a:lnTo>
                    <a:pt x="76" y="104"/>
                  </a:lnTo>
                  <a:lnTo>
                    <a:pt x="74" y="108"/>
                  </a:lnTo>
                  <a:lnTo>
                    <a:pt x="74" y="110"/>
                  </a:lnTo>
                  <a:lnTo>
                    <a:pt x="74" y="110"/>
                  </a:lnTo>
                  <a:lnTo>
                    <a:pt x="74" y="112"/>
                  </a:lnTo>
                  <a:lnTo>
                    <a:pt x="72" y="114"/>
                  </a:lnTo>
                  <a:lnTo>
                    <a:pt x="72" y="116"/>
                  </a:lnTo>
                  <a:lnTo>
                    <a:pt x="70" y="118"/>
                  </a:lnTo>
                  <a:lnTo>
                    <a:pt x="68" y="120"/>
                  </a:lnTo>
                  <a:lnTo>
                    <a:pt x="66" y="122"/>
                  </a:lnTo>
                  <a:lnTo>
                    <a:pt x="62" y="124"/>
                  </a:lnTo>
                  <a:lnTo>
                    <a:pt x="60" y="126"/>
                  </a:lnTo>
                  <a:lnTo>
                    <a:pt x="58" y="126"/>
                  </a:lnTo>
                  <a:lnTo>
                    <a:pt x="56" y="128"/>
                  </a:lnTo>
                  <a:lnTo>
                    <a:pt x="54" y="128"/>
                  </a:lnTo>
                  <a:lnTo>
                    <a:pt x="52" y="130"/>
                  </a:lnTo>
                  <a:lnTo>
                    <a:pt x="50" y="130"/>
                  </a:lnTo>
                  <a:lnTo>
                    <a:pt x="44" y="132"/>
                  </a:lnTo>
                  <a:lnTo>
                    <a:pt x="40" y="132"/>
                  </a:lnTo>
                  <a:lnTo>
                    <a:pt x="38" y="132"/>
                  </a:lnTo>
                  <a:lnTo>
                    <a:pt x="36" y="132"/>
                  </a:lnTo>
                  <a:lnTo>
                    <a:pt x="32" y="132"/>
                  </a:lnTo>
                  <a:lnTo>
                    <a:pt x="30" y="132"/>
                  </a:lnTo>
                  <a:lnTo>
                    <a:pt x="28" y="132"/>
                  </a:lnTo>
                  <a:lnTo>
                    <a:pt x="26" y="132"/>
                  </a:lnTo>
                  <a:lnTo>
                    <a:pt x="26" y="132"/>
                  </a:lnTo>
                  <a:lnTo>
                    <a:pt x="24" y="132"/>
                  </a:lnTo>
                  <a:lnTo>
                    <a:pt x="24" y="132"/>
                  </a:lnTo>
                  <a:lnTo>
                    <a:pt x="24" y="134"/>
                  </a:lnTo>
                  <a:lnTo>
                    <a:pt x="22" y="136"/>
                  </a:lnTo>
                  <a:lnTo>
                    <a:pt x="20" y="138"/>
                  </a:lnTo>
                  <a:lnTo>
                    <a:pt x="18" y="140"/>
                  </a:lnTo>
                  <a:lnTo>
                    <a:pt x="14" y="146"/>
                  </a:lnTo>
                  <a:lnTo>
                    <a:pt x="14" y="148"/>
                  </a:lnTo>
                  <a:lnTo>
                    <a:pt x="10" y="150"/>
                  </a:lnTo>
                  <a:lnTo>
                    <a:pt x="8" y="152"/>
                  </a:lnTo>
                  <a:lnTo>
                    <a:pt x="6" y="154"/>
                  </a:lnTo>
                  <a:lnTo>
                    <a:pt x="6" y="154"/>
                  </a:lnTo>
                  <a:lnTo>
                    <a:pt x="4" y="156"/>
                  </a:lnTo>
                  <a:lnTo>
                    <a:pt x="4" y="158"/>
                  </a:lnTo>
                  <a:lnTo>
                    <a:pt x="2" y="162"/>
                  </a:lnTo>
                  <a:lnTo>
                    <a:pt x="2" y="162"/>
                  </a:lnTo>
                  <a:lnTo>
                    <a:pt x="2" y="164"/>
                  </a:lnTo>
                  <a:lnTo>
                    <a:pt x="0" y="166"/>
                  </a:lnTo>
                  <a:lnTo>
                    <a:pt x="0" y="170"/>
                  </a:lnTo>
                  <a:lnTo>
                    <a:pt x="0" y="174"/>
                  </a:lnTo>
                  <a:lnTo>
                    <a:pt x="0" y="178"/>
                  </a:lnTo>
                  <a:lnTo>
                    <a:pt x="0" y="182"/>
                  </a:lnTo>
                  <a:lnTo>
                    <a:pt x="0" y="186"/>
                  </a:lnTo>
                  <a:lnTo>
                    <a:pt x="0" y="192"/>
                  </a:lnTo>
                  <a:lnTo>
                    <a:pt x="0" y="196"/>
                  </a:lnTo>
                  <a:lnTo>
                    <a:pt x="0" y="200"/>
                  </a:lnTo>
                  <a:lnTo>
                    <a:pt x="0" y="206"/>
                  </a:lnTo>
                  <a:lnTo>
                    <a:pt x="0" y="210"/>
                  </a:lnTo>
                  <a:lnTo>
                    <a:pt x="0" y="214"/>
                  </a:lnTo>
                  <a:lnTo>
                    <a:pt x="2" y="218"/>
                  </a:lnTo>
                  <a:lnTo>
                    <a:pt x="2" y="222"/>
                  </a:lnTo>
                  <a:lnTo>
                    <a:pt x="4" y="224"/>
                  </a:lnTo>
                  <a:lnTo>
                    <a:pt x="4" y="226"/>
                  </a:lnTo>
                  <a:lnTo>
                    <a:pt x="4" y="228"/>
                  </a:lnTo>
                  <a:lnTo>
                    <a:pt x="6" y="228"/>
                  </a:lnTo>
                  <a:lnTo>
                    <a:pt x="6" y="228"/>
                  </a:lnTo>
                  <a:lnTo>
                    <a:pt x="8" y="230"/>
                  </a:lnTo>
                  <a:lnTo>
                    <a:pt x="10" y="232"/>
                  </a:lnTo>
                  <a:lnTo>
                    <a:pt x="14" y="226"/>
                  </a:lnTo>
                  <a:lnTo>
                    <a:pt x="18" y="220"/>
                  </a:lnTo>
                  <a:lnTo>
                    <a:pt x="22" y="216"/>
                  </a:lnTo>
                  <a:lnTo>
                    <a:pt x="22" y="216"/>
                  </a:lnTo>
                  <a:lnTo>
                    <a:pt x="22" y="214"/>
                  </a:lnTo>
                  <a:lnTo>
                    <a:pt x="26" y="208"/>
                  </a:lnTo>
                  <a:lnTo>
                    <a:pt x="28" y="204"/>
                  </a:lnTo>
                  <a:lnTo>
                    <a:pt x="28" y="202"/>
                  </a:lnTo>
                  <a:lnTo>
                    <a:pt x="30" y="202"/>
                  </a:lnTo>
                  <a:lnTo>
                    <a:pt x="32" y="200"/>
                  </a:lnTo>
                  <a:lnTo>
                    <a:pt x="34" y="198"/>
                  </a:lnTo>
                  <a:lnTo>
                    <a:pt x="36" y="196"/>
                  </a:lnTo>
                  <a:lnTo>
                    <a:pt x="38" y="196"/>
                  </a:lnTo>
                  <a:lnTo>
                    <a:pt x="42" y="192"/>
                  </a:lnTo>
                  <a:lnTo>
                    <a:pt x="44" y="192"/>
                  </a:lnTo>
                  <a:lnTo>
                    <a:pt x="46" y="190"/>
                  </a:lnTo>
                  <a:lnTo>
                    <a:pt x="50" y="188"/>
                  </a:lnTo>
                  <a:lnTo>
                    <a:pt x="52" y="184"/>
                  </a:lnTo>
                  <a:lnTo>
                    <a:pt x="60" y="178"/>
                  </a:lnTo>
                  <a:lnTo>
                    <a:pt x="68" y="170"/>
                  </a:lnTo>
                  <a:lnTo>
                    <a:pt x="74" y="164"/>
                  </a:lnTo>
                  <a:lnTo>
                    <a:pt x="80" y="158"/>
                  </a:lnTo>
                  <a:lnTo>
                    <a:pt x="88" y="152"/>
                  </a:lnTo>
                  <a:lnTo>
                    <a:pt x="94" y="144"/>
                  </a:lnTo>
                  <a:lnTo>
                    <a:pt x="98" y="142"/>
                  </a:lnTo>
                  <a:lnTo>
                    <a:pt x="100" y="138"/>
                  </a:lnTo>
                  <a:lnTo>
                    <a:pt x="104" y="134"/>
                  </a:lnTo>
                  <a:lnTo>
                    <a:pt x="110" y="128"/>
                  </a:lnTo>
                  <a:lnTo>
                    <a:pt x="112" y="124"/>
                  </a:lnTo>
                  <a:lnTo>
                    <a:pt x="114" y="122"/>
                  </a:lnTo>
                  <a:lnTo>
                    <a:pt x="116" y="118"/>
                  </a:lnTo>
                  <a:lnTo>
                    <a:pt x="116" y="116"/>
                  </a:lnTo>
                  <a:lnTo>
                    <a:pt x="118" y="114"/>
                  </a:lnTo>
                  <a:lnTo>
                    <a:pt x="118" y="112"/>
                  </a:lnTo>
                  <a:lnTo>
                    <a:pt x="118" y="110"/>
                  </a:lnTo>
                  <a:lnTo>
                    <a:pt x="120" y="106"/>
                  </a:lnTo>
                  <a:lnTo>
                    <a:pt x="120" y="102"/>
                  </a:lnTo>
                  <a:lnTo>
                    <a:pt x="122" y="94"/>
                  </a:lnTo>
                  <a:lnTo>
                    <a:pt x="122" y="90"/>
                  </a:lnTo>
                  <a:lnTo>
                    <a:pt x="124" y="88"/>
                  </a:lnTo>
                  <a:lnTo>
                    <a:pt x="124" y="82"/>
                  </a:lnTo>
                  <a:lnTo>
                    <a:pt x="128" y="76"/>
                  </a:lnTo>
                  <a:lnTo>
                    <a:pt x="130" y="70"/>
                  </a:lnTo>
                  <a:lnTo>
                    <a:pt x="130" y="68"/>
                  </a:lnTo>
                  <a:lnTo>
                    <a:pt x="132" y="66"/>
                  </a:lnTo>
                  <a:lnTo>
                    <a:pt x="134" y="64"/>
                  </a:lnTo>
                  <a:lnTo>
                    <a:pt x="134" y="62"/>
                  </a:lnTo>
                  <a:lnTo>
                    <a:pt x="138" y="58"/>
                  </a:lnTo>
                  <a:lnTo>
                    <a:pt x="142" y="54"/>
                  </a:lnTo>
                  <a:lnTo>
                    <a:pt x="144" y="52"/>
                  </a:lnTo>
                  <a:lnTo>
                    <a:pt x="144" y="50"/>
                  </a:lnTo>
                  <a:lnTo>
                    <a:pt x="146" y="48"/>
                  </a:lnTo>
                  <a:lnTo>
                    <a:pt x="146" y="46"/>
                  </a:lnTo>
                  <a:lnTo>
                    <a:pt x="146" y="40"/>
                  </a:lnTo>
                  <a:lnTo>
                    <a:pt x="148" y="36"/>
                  </a:lnTo>
                  <a:lnTo>
                    <a:pt x="148" y="34"/>
                  </a:lnTo>
                  <a:lnTo>
                    <a:pt x="150" y="32"/>
                  </a:lnTo>
                  <a:lnTo>
                    <a:pt x="150" y="32"/>
                  </a:lnTo>
                  <a:lnTo>
                    <a:pt x="152" y="30"/>
                  </a:lnTo>
                  <a:lnTo>
                    <a:pt x="154" y="28"/>
                  </a:lnTo>
                  <a:lnTo>
                    <a:pt x="156" y="26"/>
                  </a:lnTo>
                  <a:lnTo>
                    <a:pt x="156" y="26"/>
                  </a:lnTo>
                  <a:lnTo>
                    <a:pt x="156" y="24"/>
                  </a:lnTo>
                  <a:lnTo>
                    <a:pt x="156" y="24"/>
                  </a:lnTo>
                  <a:lnTo>
                    <a:pt x="156" y="24"/>
                  </a:lnTo>
                  <a:lnTo>
                    <a:pt x="156" y="22"/>
                  </a:lnTo>
                  <a:lnTo>
                    <a:pt x="156" y="22"/>
                  </a:lnTo>
                  <a:lnTo>
                    <a:pt x="156" y="20"/>
                  </a:lnTo>
                  <a:lnTo>
                    <a:pt x="154" y="20"/>
                  </a:lnTo>
                  <a:lnTo>
                    <a:pt x="154" y="18"/>
                  </a:lnTo>
                  <a:lnTo>
                    <a:pt x="150" y="16"/>
                  </a:lnTo>
                  <a:lnTo>
                    <a:pt x="150" y="16"/>
                  </a:lnTo>
                  <a:lnTo>
                    <a:pt x="148" y="14"/>
                  </a:lnTo>
                  <a:lnTo>
                    <a:pt x="146" y="12"/>
                  </a:lnTo>
                  <a:lnTo>
                    <a:pt x="146" y="10"/>
                  </a:lnTo>
                  <a:lnTo>
                    <a:pt x="144" y="6"/>
                  </a:lnTo>
                  <a:lnTo>
                    <a:pt x="142" y="4"/>
                  </a:lnTo>
                  <a:lnTo>
                    <a:pt x="140" y="2"/>
                  </a:lnTo>
                  <a:lnTo>
                    <a:pt x="140" y="0"/>
                  </a:lnTo>
                  <a:lnTo>
                    <a:pt x="138" y="0"/>
                  </a:lnTo>
                  <a:lnTo>
                    <a:pt x="138" y="0"/>
                  </a:lnTo>
                  <a:lnTo>
                    <a:pt x="136" y="0"/>
                  </a:lnTo>
                  <a:lnTo>
                    <a:pt x="136" y="0"/>
                  </a:lnTo>
                  <a:lnTo>
                    <a:pt x="134" y="0"/>
                  </a:lnTo>
                  <a:lnTo>
                    <a:pt x="134" y="0"/>
                  </a:lnTo>
                  <a:lnTo>
                    <a:pt x="134" y="2"/>
                  </a:lnTo>
                  <a:lnTo>
                    <a:pt x="132" y="2"/>
                  </a:lnTo>
                  <a:lnTo>
                    <a:pt x="130" y="2"/>
                  </a:lnTo>
                  <a:lnTo>
                    <a:pt x="130" y="6"/>
                  </a:lnTo>
                  <a:lnTo>
                    <a:pt x="128" y="8"/>
                  </a:lnTo>
                  <a:lnTo>
                    <a:pt x="126" y="10"/>
                  </a:lnTo>
                  <a:lnTo>
                    <a:pt x="124" y="12"/>
                  </a:lnTo>
                  <a:lnTo>
                    <a:pt x="122" y="12"/>
                  </a:lnTo>
                  <a:lnTo>
                    <a:pt x="122" y="14"/>
                  </a:lnTo>
                  <a:lnTo>
                    <a:pt x="120" y="14"/>
                  </a:lnTo>
                  <a:lnTo>
                    <a:pt x="118" y="14"/>
                  </a:lnTo>
                  <a:lnTo>
                    <a:pt x="116" y="14"/>
                  </a:lnTo>
                  <a:lnTo>
                    <a:pt x="114" y="14"/>
                  </a:lnTo>
                  <a:lnTo>
                    <a:pt x="110" y="16"/>
                  </a:lnTo>
                  <a:lnTo>
                    <a:pt x="108" y="16"/>
                  </a:lnTo>
                  <a:lnTo>
                    <a:pt x="106" y="16"/>
                  </a:lnTo>
                  <a:lnTo>
                    <a:pt x="104" y="16"/>
                  </a:lnTo>
                  <a:lnTo>
                    <a:pt x="104" y="16"/>
                  </a:lnTo>
                  <a:lnTo>
                    <a:pt x="100" y="18"/>
                  </a:lnTo>
                  <a:lnTo>
                    <a:pt x="96" y="22"/>
                  </a:lnTo>
                  <a:lnTo>
                    <a:pt x="94" y="22"/>
                  </a:lnTo>
                  <a:lnTo>
                    <a:pt x="92" y="24"/>
                  </a:lnTo>
                  <a:lnTo>
                    <a:pt x="88" y="26"/>
                  </a:lnTo>
                  <a:lnTo>
                    <a:pt x="86" y="28"/>
                  </a:lnTo>
                  <a:lnTo>
                    <a:pt x="86" y="28"/>
                  </a:lnTo>
                  <a:lnTo>
                    <a:pt x="84" y="28"/>
                  </a:lnTo>
                  <a:lnTo>
                    <a:pt x="82" y="28"/>
                  </a:lnTo>
                  <a:lnTo>
                    <a:pt x="80" y="28"/>
                  </a:lnTo>
                  <a:lnTo>
                    <a:pt x="76" y="28"/>
                  </a:lnTo>
                  <a:lnTo>
                    <a:pt x="72" y="28"/>
                  </a:lnTo>
                  <a:lnTo>
                    <a:pt x="68" y="28"/>
                  </a:lnTo>
                  <a:lnTo>
                    <a:pt x="62" y="28"/>
                  </a:lnTo>
                  <a:lnTo>
                    <a:pt x="60" y="26"/>
                  </a:lnTo>
                  <a:lnTo>
                    <a:pt x="56" y="26"/>
                  </a:lnTo>
                  <a:lnTo>
                    <a:pt x="54" y="26"/>
                  </a:lnTo>
                  <a:lnTo>
                    <a:pt x="52" y="24"/>
                  </a:lnTo>
                  <a:lnTo>
                    <a:pt x="46" y="22"/>
                  </a:lnTo>
                  <a:lnTo>
                    <a:pt x="40" y="20"/>
                  </a:lnTo>
                  <a:lnTo>
                    <a:pt x="24" y="3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7" name="Freeform 404"/>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8" name="Freeform 405"/>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29" name="Freeform 406"/>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0" name="Freeform 408"/>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1" name="Freeform 409"/>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2" name="Freeform 410"/>
            <p:cNvSpPr>
              <a:spLocks/>
            </p:cNvSpPr>
            <p:nvPr/>
          </p:nvSpPr>
          <p:spPr bwMode="auto">
            <a:xfrm>
              <a:off x="4806155" y="3988022"/>
              <a:ext cx="381057" cy="557728"/>
            </a:xfrm>
            <a:custGeom>
              <a:avLst/>
              <a:gdLst>
                <a:gd name="T0" fmla="*/ 38 w 220"/>
                <a:gd name="T1" fmla="*/ 112 h 322"/>
                <a:gd name="T2" fmla="*/ 32 w 220"/>
                <a:gd name="T3" fmla="*/ 122 h 322"/>
                <a:gd name="T4" fmla="*/ 20 w 220"/>
                <a:gd name="T5" fmla="*/ 132 h 322"/>
                <a:gd name="T6" fmla="*/ 14 w 220"/>
                <a:gd name="T7" fmla="*/ 156 h 322"/>
                <a:gd name="T8" fmla="*/ 4 w 220"/>
                <a:gd name="T9" fmla="*/ 156 h 322"/>
                <a:gd name="T10" fmla="*/ 0 w 220"/>
                <a:gd name="T11" fmla="*/ 164 h 322"/>
                <a:gd name="T12" fmla="*/ 8 w 220"/>
                <a:gd name="T13" fmla="*/ 170 h 322"/>
                <a:gd name="T14" fmla="*/ 12 w 220"/>
                <a:gd name="T15" fmla="*/ 178 h 322"/>
                <a:gd name="T16" fmla="*/ 20 w 220"/>
                <a:gd name="T17" fmla="*/ 184 h 322"/>
                <a:gd name="T18" fmla="*/ 18 w 220"/>
                <a:gd name="T19" fmla="*/ 194 h 322"/>
                <a:gd name="T20" fmla="*/ 22 w 220"/>
                <a:gd name="T21" fmla="*/ 206 h 322"/>
                <a:gd name="T22" fmla="*/ 32 w 220"/>
                <a:gd name="T23" fmla="*/ 224 h 322"/>
                <a:gd name="T24" fmla="*/ 32 w 220"/>
                <a:gd name="T25" fmla="*/ 236 h 322"/>
                <a:gd name="T26" fmla="*/ 36 w 220"/>
                <a:gd name="T27" fmla="*/ 244 h 322"/>
                <a:gd name="T28" fmla="*/ 44 w 220"/>
                <a:gd name="T29" fmla="*/ 244 h 322"/>
                <a:gd name="T30" fmla="*/ 50 w 220"/>
                <a:gd name="T31" fmla="*/ 250 h 322"/>
                <a:gd name="T32" fmla="*/ 52 w 220"/>
                <a:gd name="T33" fmla="*/ 260 h 322"/>
                <a:gd name="T34" fmla="*/ 64 w 220"/>
                <a:gd name="T35" fmla="*/ 262 h 322"/>
                <a:gd name="T36" fmla="*/ 66 w 220"/>
                <a:gd name="T37" fmla="*/ 276 h 322"/>
                <a:gd name="T38" fmla="*/ 76 w 220"/>
                <a:gd name="T39" fmla="*/ 280 h 322"/>
                <a:gd name="T40" fmla="*/ 82 w 220"/>
                <a:gd name="T41" fmla="*/ 292 h 322"/>
                <a:gd name="T42" fmla="*/ 82 w 220"/>
                <a:gd name="T43" fmla="*/ 302 h 322"/>
                <a:gd name="T44" fmla="*/ 94 w 220"/>
                <a:gd name="T45" fmla="*/ 308 h 322"/>
                <a:gd name="T46" fmla="*/ 118 w 220"/>
                <a:gd name="T47" fmla="*/ 308 h 322"/>
                <a:gd name="T48" fmla="*/ 128 w 220"/>
                <a:gd name="T49" fmla="*/ 316 h 322"/>
                <a:gd name="T50" fmla="*/ 148 w 220"/>
                <a:gd name="T51" fmla="*/ 320 h 322"/>
                <a:gd name="T52" fmla="*/ 180 w 220"/>
                <a:gd name="T53" fmla="*/ 316 h 322"/>
                <a:gd name="T54" fmla="*/ 198 w 220"/>
                <a:gd name="T55" fmla="*/ 286 h 322"/>
                <a:gd name="T56" fmla="*/ 182 w 220"/>
                <a:gd name="T57" fmla="*/ 272 h 322"/>
                <a:gd name="T58" fmla="*/ 182 w 220"/>
                <a:gd name="T59" fmla="*/ 260 h 322"/>
                <a:gd name="T60" fmla="*/ 172 w 220"/>
                <a:gd name="T61" fmla="*/ 256 h 322"/>
                <a:gd name="T62" fmla="*/ 164 w 220"/>
                <a:gd name="T63" fmla="*/ 244 h 322"/>
                <a:gd name="T64" fmla="*/ 176 w 220"/>
                <a:gd name="T65" fmla="*/ 242 h 322"/>
                <a:gd name="T66" fmla="*/ 182 w 220"/>
                <a:gd name="T67" fmla="*/ 236 h 322"/>
                <a:gd name="T68" fmla="*/ 184 w 220"/>
                <a:gd name="T69" fmla="*/ 210 h 322"/>
                <a:gd name="T70" fmla="*/ 192 w 220"/>
                <a:gd name="T71" fmla="*/ 210 h 322"/>
                <a:gd name="T72" fmla="*/ 198 w 220"/>
                <a:gd name="T73" fmla="*/ 206 h 322"/>
                <a:gd name="T74" fmla="*/ 196 w 220"/>
                <a:gd name="T75" fmla="*/ 180 h 322"/>
                <a:gd name="T76" fmla="*/ 204 w 220"/>
                <a:gd name="T77" fmla="*/ 174 h 322"/>
                <a:gd name="T78" fmla="*/ 218 w 220"/>
                <a:gd name="T79" fmla="*/ 168 h 322"/>
                <a:gd name="T80" fmla="*/ 220 w 220"/>
                <a:gd name="T81" fmla="*/ 144 h 322"/>
                <a:gd name="T82" fmla="*/ 212 w 220"/>
                <a:gd name="T83" fmla="*/ 132 h 322"/>
                <a:gd name="T84" fmla="*/ 204 w 220"/>
                <a:gd name="T85" fmla="*/ 126 h 322"/>
                <a:gd name="T86" fmla="*/ 208 w 220"/>
                <a:gd name="T87" fmla="*/ 118 h 322"/>
                <a:gd name="T88" fmla="*/ 218 w 220"/>
                <a:gd name="T89" fmla="*/ 120 h 322"/>
                <a:gd name="T90" fmla="*/ 216 w 220"/>
                <a:gd name="T91" fmla="*/ 106 h 322"/>
                <a:gd name="T92" fmla="*/ 210 w 220"/>
                <a:gd name="T93" fmla="*/ 78 h 322"/>
                <a:gd name="T94" fmla="*/ 220 w 220"/>
                <a:gd name="T95" fmla="*/ 46 h 322"/>
                <a:gd name="T96" fmla="*/ 212 w 220"/>
                <a:gd name="T97" fmla="*/ 16 h 322"/>
                <a:gd name="T98" fmla="*/ 190 w 220"/>
                <a:gd name="T99" fmla="*/ 2 h 322"/>
                <a:gd name="T100" fmla="*/ 168 w 220"/>
                <a:gd name="T101" fmla="*/ 20 h 322"/>
                <a:gd name="T102" fmla="*/ 160 w 220"/>
                <a:gd name="T103" fmla="*/ 12 h 322"/>
                <a:gd name="T104" fmla="*/ 118 w 220"/>
                <a:gd name="T105" fmla="*/ 6 h 322"/>
                <a:gd name="T106" fmla="*/ 64 w 220"/>
                <a:gd name="T107" fmla="*/ 12 h 322"/>
                <a:gd name="T108" fmla="*/ 46 w 220"/>
                <a:gd name="T109" fmla="*/ 32 h 322"/>
                <a:gd name="T110" fmla="*/ 42 w 220"/>
                <a:gd name="T111" fmla="*/ 50 h 322"/>
                <a:gd name="T112" fmla="*/ 32 w 220"/>
                <a:gd name="T113" fmla="*/ 52 h 322"/>
                <a:gd name="T114" fmla="*/ 34 w 220"/>
                <a:gd name="T115" fmla="*/ 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22">
                  <a:moveTo>
                    <a:pt x="36" y="78"/>
                  </a:moveTo>
                  <a:lnTo>
                    <a:pt x="36" y="78"/>
                  </a:lnTo>
                  <a:lnTo>
                    <a:pt x="36" y="84"/>
                  </a:lnTo>
                  <a:lnTo>
                    <a:pt x="36" y="90"/>
                  </a:lnTo>
                  <a:lnTo>
                    <a:pt x="38" y="98"/>
                  </a:lnTo>
                  <a:lnTo>
                    <a:pt x="38" y="100"/>
                  </a:lnTo>
                  <a:lnTo>
                    <a:pt x="38" y="104"/>
                  </a:lnTo>
                  <a:lnTo>
                    <a:pt x="38" y="108"/>
                  </a:lnTo>
                  <a:lnTo>
                    <a:pt x="38" y="112"/>
                  </a:lnTo>
                  <a:lnTo>
                    <a:pt x="36" y="114"/>
                  </a:lnTo>
                  <a:lnTo>
                    <a:pt x="36" y="118"/>
                  </a:lnTo>
                  <a:lnTo>
                    <a:pt x="36" y="118"/>
                  </a:lnTo>
                  <a:lnTo>
                    <a:pt x="36" y="120"/>
                  </a:lnTo>
                  <a:lnTo>
                    <a:pt x="34" y="120"/>
                  </a:lnTo>
                  <a:lnTo>
                    <a:pt x="34" y="122"/>
                  </a:lnTo>
                  <a:lnTo>
                    <a:pt x="34" y="122"/>
                  </a:lnTo>
                  <a:lnTo>
                    <a:pt x="34" y="122"/>
                  </a:lnTo>
                  <a:lnTo>
                    <a:pt x="32" y="122"/>
                  </a:lnTo>
                  <a:lnTo>
                    <a:pt x="32" y="124"/>
                  </a:lnTo>
                  <a:lnTo>
                    <a:pt x="30" y="124"/>
                  </a:lnTo>
                  <a:lnTo>
                    <a:pt x="26" y="124"/>
                  </a:lnTo>
                  <a:lnTo>
                    <a:pt x="26" y="124"/>
                  </a:lnTo>
                  <a:lnTo>
                    <a:pt x="24" y="124"/>
                  </a:lnTo>
                  <a:lnTo>
                    <a:pt x="24" y="126"/>
                  </a:lnTo>
                  <a:lnTo>
                    <a:pt x="22" y="128"/>
                  </a:lnTo>
                  <a:lnTo>
                    <a:pt x="20" y="130"/>
                  </a:lnTo>
                  <a:lnTo>
                    <a:pt x="20" y="132"/>
                  </a:lnTo>
                  <a:lnTo>
                    <a:pt x="18" y="138"/>
                  </a:lnTo>
                  <a:lnTo>
                    <a:pt x="16" y="142"/>
                  </a:lnTo>
                  <a:lnTo>
                    <a:pt x="16" y="142"/>
                  </a:lnTo>
                  <a:lnTo>
                    <a:pt x="16" y="144"/>
                  </a:lnTo>
                  <a:lnTo>
                    <a:pt x="14" y="150"/>
                  </a:lnTo>
                  <a:lnTo>
                    <a:pt x="14" y="152"/>
                  </a:lnTo>
                  <a:lnTo>
                    <a:pt x="14" y="154"/>
                  </a:lnTo>
                  <a:lnTo>
                    <a:pt x="14" y="154"/>
                  </a:lnTo>
                  <a:lnTo>
                    <a:pt x="14" y="156"/>
                  </a:lnTo>
                  <a:lnTo>
                    <a:pt x="12" y="156"/>
                  </a:lnTo>
                  <a:lnTo>
                    <a:pt x="12" y="156"/>
                  </a:lnTo>
                  <a:lnTo>
                    <a:pt x="12" y="156"/>
                  </a:lnTo>
                  <a:lnTo>
                    <a:pt x="12" y="156"/>
                  </a:lnTo>
                  <a:lnTo>
                    <a:pt x="10" y="156"/>
                  </a:lnTo>
                  <a:lnTo>
                    <a:pt x="8" y="156"/>
                  </a:lnTo>
                  <a:lnTo>
                    <a:pt x="6" y="156"/>
                  </a:lnTo>
                  <a:lnTo>
                    <a:pt x="6" y="156"/>
                  </a:lnTo>
                  <a:lnTo>
                    <a:pt x="4" y="156"/>
                  </a:lnTo>
                  <a:lnTo>
                    <a:pt x="2" y="156"/>
                  </a:lnTo>
                  <a:lnTo>
                    <a:pt x="2" y="156"/>
                  </a:lnTo>
                  <a:lnTo>
                    <a:pt x="2" y="156"/>
                  </a:lnTo>
                  <a:lnTo>
                    <a:pt x="0" y="158"/>
                  </a:lnTo>
                  <a:lnTo>
                    <a:pt x="0" y="158"/>
                  </a:lnTo>
                  <a:lnTo>
                    <a:pt x="0" y="160"/>
                  </a:lnTo>
                  <a:lnTo>
                    <a:pt x="0" y="162"/>
                  </a:lnTo>
                  <a:lnTo>
                    <a:pt x="0" y="162"/>
                  </a:lnTo>
                  <a:lnTo>
                    <a:pt x="0" y="164"/>
                  </a:lnTo>
                  <a:lnTo>
                    <a:pt x="0" y="166"/>
                  </a:lnTo>
                  <a:lnTo>
                    <a:pt x="0" y="166"/>
                  </a:lnTo>
                  <a:lnTo>
                    <a:pt x="0" y="166"/>
                  </a:lnTo>
                  <a:lnTo>
                    <a:pt x="2" y="168"/>
                  </a:lnTo>
                  <a:lnTo>
                    <a:pt x="2" y="168"/>
                  </a:lnTo>
                  <a:lnTo>
                    <a:pt x="4" y="168"/>
                  </a:lnTo>
                  <a:lnTo>
                    <a:pt x="6" y="168"/>
                  </a:lnTo>
                  <a:lnTo>
                    <a:pt x="8" y="170"/>
                  </a:lnTo>
                  <a:lnTo>
                    <a:pt x="8" y="170"/>
                  </a:lnTo>
                  <a:lnTo>
                    <a:pt x="10" y="170"/>
                  </a:lnTo>
                  <a:lnTo>
                    <a:pt x="10" y="170"/>
                  </a:lnTo>
                  <a:lnTo>
                    <a:pt x="10" y="170"/>
                  </a:lnTo>
                  <a:lnTo>
                    <a:pt x="12" y="172"/>
                  </a:lnTo>
                  <a:lnTo>
                    <a:pt x="12" y="172"/>
                  </a:lnTo>
                  <a:lnTo>
                    <a:pt x="12" y="174"/>
                  </a:lnTo>
                  <a:lnTo>
                    <a:pt x="12" y="174"/>
                  </a:lnTo>
                  <a:lnTo>
                    <a:pt x="12" y="176"/>
                  </a:lnTo>
                  <a:lnTo>
                    <a:pt x="12" y="178"/>
                  </a:lnTo>
                  <a:lnTo>
                    <a:pt x="12" y="180"/>
                  </a:lnTo>
                  <a:lnTo>
                    <a:pt x="14" y="182"/>
                  </a:lnTo>
                  <a:lnTo>
                    <a:pt x="14" y="182"/>
                  </a:lnTo>
                  <a:lnTo>
                    <a:pt x="14" y="182"/>
                  </a:lnTo>
                  <a:lnTo>
                    <a:pt x="14" y="182"/>
                  </a:lnTo>
                  <a:lnTo>
                    <a:pt x="14" y="184"/>
                  </a:lnTo>
                  <a:lnTo>
                    <a:pt x="16" y="184"/>
                  </a:lnTo>
                  <a:lnTo>
                    <a:pt x="18" y="184"/>
                  </a:lnTo>
                  <a:lnTo>
                    <a:pt x="20" y="184"/>
                  </a:lnTo>
                  <a:lnTo>
                    <a:pt x="20" y="186"/>
                  </a:lnTo>
                  <a:lnTo>
                    <a:pt x="20" y="186"/>
                  </a:lnTo>
                  <a:lnTo>
                    <a:pt x="20" y="186"/>
                  </a:lnTo>
                  <a:lnTo>
                    <a:pt x="20" y="188"/>
                  </a:lnTo>
                  <a:lnTo>
                    <a:pt x="20" y="190"/>
                  </a:lnTo>
                  <a:lnTo>
                    <a:pt x="20" y="192"/>
                  </a:lnTo>
                  <a:lnTo>
                    <a:pt x="20" y="192"/>
                  </a:lnTo>
                  <a:lnTo>
                    <a:pt x="20" y="194"/>
                  </a:lnTo>
                  <a:lnTo>
                    <a:pt x="18" y="194"/>
                  </a:lnTo>
                  <a:lnTo>
                    <a:pt x="18" y="196"/>
                  </a:lnTo>
                  <a:lnTo>
                    <a:pt x="18" y="196"/>
                  </a:lnTo>
                  <a:lnTo>
                    <a:pt x="18" y="198"/>
                  </a:lnTo>
                  <a:lnTo>
                    <a:pt x="18" y="198"/>
                  </a:lnTo>
                  <a:lnTo>
                    <a:pt x="18" y="198"/>
                  </a:lnTo>
                  <a:lnTo>
                    <a:pt x="18" y="200"/>
                  </a:lnTo>
                  <a:lnTo>
                    <a:pt x="20" y="202"/>
                  </a:lnTo>
                  <a:lnTo>
                    <a:pt x="20" y="202"/>
                  </a:lnTo>
                  <a:lnTo>
                    <a:pt x="22" y="206"/>
                  </a:lnTo>
                  <a:lnTo>
                    <a:pt x="24" y="206"/>
                  </a:lnTo>
                  <a:lnTo>
                    <a:pt x="24" y="208"/>
                  </a:lnTo>
                  <a:lnTo>
                    <a:pt x="26" y="212"/>
                  </a:lnTo>
                  <a:lnTo>
                    <a:pt x="28" y="216"/>
                  </a:lnTo>
                  <a:lnTo>
                    <a:pt x="30" y="216"/>
                  </a:lnTo>
                  <a:lnTo>
                    <a:pt x="30" y="218"/>
                  </a:lnTo>
                  <a:lnTo>
                    <a:pt x="30" y="220"/>
                  </a:lnTo>
                  <a:lnTo>
                    <a:pt x="32" y="222"/>
                  </a:lnTo>
                  <a:lnTo>
                    <a:pt x="32" y="224"/>
                  </a:lnTo>
                  <a:lnTo>
                    <a:pt x="30" y="226"/>
                  </a:lnTo>
                  <a:lnTo>
                    <a:pt x="30" y="228"/>
                  </a:lnTo>
                  <a:lnTo>
                    <a:pt x="30" y="230"/>
                  </a:lnTo>
                  <a:lnTo>
                    <a:pt x="30" y="232"/>
                  </a:lnTo>
                  <a:lnTo>
                    <a:pt x="30" y="234"/>
                  </a:lnTo>
                  <a:lnTo>
                    <a:pt x="30" y="234"/>
                  </a:lnTo>
                  <a:lnTo>
                    <a:pt x="30" y="234"/>
                  </a:lnTo>
                  <a:lnTo>
                    <a:pt x="30" y="236"/>
                  </a:lnTo>
                  <a:lnTo>
                    <a:pt x="32" y="236"/>
                  </a:lnTo>
                  <a:lnTo>
                    <a:pt x="32" y="236"/>
                  </a:lnTo>
                  <a:lnTo>
                    <a:pt x="34" y="238"/>
                  </a:lnTo>
                  <a:lnTo>
                    <a:pt x="36" y="238"/>
                  </a:lnTo>
                  <a:lnTo>
                    <a:pt x="36" y="238"/>
                  </a:lnTo>
                  <a:lnTo>
                    <a:pt x="36" y="238"/>
                  </a:lnTo>
                  <a:lnTo>
                    <a:pt x="36" y="240"/>
                  </a:lnTo>
                  <a:lnTo>
                    <a:pt x="36" y="242"/>
                  </a:lnTo>
                  <a:lnTo>
                    <a:pt x="36" y="244"/>
                  </a:lnTo>
                  <a:lnTo>
                    <a:pt x="36" y="244"/>
                  </a:lnTo>
                  <a:lnTo>
                    <a:pt x="36" y="246"/>
                  </a:lnTo>
                  <a:lnTo>
                    <a:pt x="38" y="246"/>
                  </a:lnTo>
                  <a:lnTo>
                    <a:pt x="38" y="246"/>
                  </a:lnTo>
                  <a:lnTo>
                    <a:pt x="38" y="246"/>
                  </a:lnTo>
                  <a:lnTo>
                    <a:pt x="38" y="246"/>
                  </a:lnTo>
                  <a:lnTo>
                    <a:pt x="40" y="246"/>
                  </a:lnTo>
                  <a:lnTo>
                    <a:pt x="42" y="246"/>
                  </a:lnTo>
                  <a:lnTo>
                    <a:pt x="42" y="246"/>
                  </a:lnTo>
                  <a:lnTo>
                    <a:pt x="44" y="244"/>
                  </a:lnTo>
                  <a:lnTo>
                    <a:pt x="46" y="244"/>
                  </a:lnTo>
                  <a:lnTo>
                    <a:pt x="46" y="244"/>
                  </a:lnTo>
                  <a:lnTo>
                    <a:pt x="48" y="244"/>
                  </a:lnTo>
                  <a:lnTo>
                    <a:pt x="48" y="244"/>
                  </a:lnTo>
                  <a:lnTo>
                    <a:pt x="48" y="244"/>
                  </a:lnTo>
                  <a:lnTo>
                    <a:pt x="48" y="246"/>
                  </a:lnTo>
                  <a:lnTo>
                    <a:pt x="48" y="246"/>
                  </a:lnTo>
                  <a:lnTo>
                    <a:pt x="48" y="248"/>
                  </a:lnTo>
                  <a:lnTo>
                    <a:pt x="50" y="250"/>
                  </a:lnTo>
                  <a:lnTo>
                    <a:pt x="50" y="252"/>
                  </a:lnTo>
                  <a:lnTo>
                    <a:pt x="50" y="254"/>
                  </a:lnTo>
                  <a:lnTo>
                    <a:pt x="50" y="256"/>
                  </a:lnTo>
                  <a:lnTo>
                    <a:pt x="50" y="256"/>
                  </a:lnTo>
                  <a:lnTo>
                    <a:pt x="50" y="258"/>
                  </a:lnTo>
                  <a:lnTo>
                    <a:pt x="50" y="258"/>
                  </a:lnTo>
                  <a:lnTo>
                    <a:pt x="52" y="258"/>
                  </a:lnTo>
                  <a:lnTo>
                    <a:pt x="52" y="258"/>
                  </a:lnTo>
                  <a:lnTo>
                    <a:pt x="52" y="260"/>
                  </a:lnTo>
                  <a:lnTo>
                    <a:pt x="54" y="260"/>
                  </a:lnTo>
                  <a:lnTo>
                    <a:pt x="56" y="260"/>
                  </a:lnTo>
                  <a:lnTo>
                    <a:pt x="58" y="260"/>
                  </a:lnTo>
                  <a:lnTo>
                    <a:pt x="60" y="260"/>
                  </a:lnTo>
                  <a:lnTo>
                    <a:pt x="62" y="260"/>
                  </a:lnTo>
                  <a:lnTo>
                    <a:pt x="64" y="260"/>
                  </a:lnTo>
                  <a:lnTo>
                    <a:pt x="64" y="260"/>
                  </a:lnTo>
                  <a:lnTo>
                    <a:pt x="64" y="260"/>
                  </a:lnTo>
                  <a:lnTo>
                    <a:pt x="64" y="262"/>
                  </a:lnTo>
                  <a:lnTo>
                    <a:pt x="66" y="262"/>
                  </a:lnTo>
                  <a:lnTo>
                    <a:pt x="66" y="264"/>
                  </a:lnTo>
                  <a:lnTo>
                    <a:pt x="66" y="264"/>
                  </a:lnTo>
                  <a:lnTo>
                    <a:pt x="66" y="266"/>
                  </a:lnTo>
                  <a:lnTo>
                    <a:pt x="66" y="268"/>
                  </a:lnTo>
                  <a:lnTo>
                    <a:pt x="66" y="272"/>
                  </a:lnTo>
                  <a:lnTo>
                    <a:pt x="66" y="274"/>
                  </a:lnTo>
                  <a:lnTo>
                    <a:pt x="66" y="274"/>
                  </a:lnTo>
                  <a:lnTo>
                    <a:pt x="66" y="276"/>
                  </a:lnTo>
                  <a:lnTo>
                    <a:pt x="66" y="276"/>
                  </a:lnTo>
                  <a:lnTo>
                    <a:pt x="68" y="278"/>
                  </a:lnTo>
                  <a:lnTo>
                    <a:pt x="68" y="278"/>
                  </a:lnTo>
                  <a:lnTo>
                    <a:pt x="68" y="278"/>
                  </a:lnTo>
                  <a:lnTo>
                    <a:pt x="70" y="278"/>
                  </a:lnTo>
                  <a:lnTo>
                    <a:pt x="70" y="278"/>
                  </a:lnTo>
                  <a:lnTo>
                    <a:pt x="74" y="280"/>
                  </a:lnTo>
                  <a:lnTo>
                    <a:pt x="74" y="280"/>
                  </a:lnTo>
                  <a:lnTo>
                    <a:pt x="76" y="280"/>
                  </a:lnTo>
                  <a:lnTo>
                    <a:pt x="76" y="280"/>
                  </a:lnTo>
                  <a:lnTo>
                    <a:pt x="76" y="282"/>
                  </a:lnTo>
                  <a:lnTo>
                    <a:pt x="78" y="284"/>
                  </a:lnTo>
                  <a:lnTo>
                    <a:pt x="80" y="286"/>
                  </a:lnTo>
                  <a:lnTo>
                    <a:pt x="80" y="288"/>
                  </a:lnTo>
                  <a:lnTo>
                    <a:pt x="82" y="290"/>
                  </a:lnTo>
                  <a:lnTo>
                    <a:pt x="82" y="290"/>
                  </a:lnTo>
                  <a:lnTo>
                    <a:pt x="82" y="290"/>
                  </a:lnTo>
                  <a:lnTo>
                    <a:pt x="82" y="292"/>
                  </a:lnTo>
                  <a:lnTo>
                    <a:pt x="82" y="292"/>
                  </a:lnTo>
                  <a:lnTo>
                    <a:pt x="80" y="294"/>
                  </a:lnTo>
                  <a:lnTo>
                    <a:pt x="80" y="296"/>
                  </a:lnTo>
                  <a:lnTo>
                    <a:pt x="80" y="296"/>
                  </a:lnTo>
                  <a:lnTo>
                    <a:pt x="80" y="298"/>
                  </a:lnTo>
                  <a:lnTo>
                    <a:pt x="80" y="298"/>
                  </a:lnTo>
                  <a:lnTo>
                    <a:pt x="80" y="300"/>
                  </a:lnTo>
                  <a:lnTo>
                    <a:pt x="82" y="300"/>
                  </a:lnTo>
                  <a:lnTo>
                    <a:pt x="82" y="302"/>
                  </a:lnTo>
                  <a:lnTo>
                    <a:pt x="82" y="304"/>
                  </a:lnTo>
                  <a:lnTo>
                    <a:pt x="84" y="304"/>
                  </a:lnTo>
                  <a:lnTo>
                    <a:pt x="84" y="304"/>
                  </a:lnTo>
                  <a:lnTo>
                    <a:pt x="86" y="306"/>
                  </a:lnTo>
                  <a:lnTo>
                    <a:pt x="86" y="306"/>
                  </a:lnTo>
                  <a:lnTo>
                    <a:pt x="88" y="306"/>
                  </a:lnTo>
                  <a:lnTo>
                    <a:pt x="90" y="308"/>
                  </a:lnTo>
                  <a:lnTo>
                    <a:pt x="92" y="308"/>
                  </a:lnTo>
                  <a:lnTo>
                    <a:pt x="94" y="308"/>
                  </a:lnTo>
                  <a:lnTo>
                    <a:pt x="98" y="308"/>
                  </a:lnTo>
                  <a:lnTo>
                    <a:pt x="102" y="306"/>
                  </a:lnTo>
                  <a:lnTo>
                    <a:pt x="106" y="306"/>
                  </a:lnTo>
                  <a:lnTo>
                    <a:pt x="110" y="306"/>
                  </a:lnTo>
                  <a:lnTo>
                    <a:pt x="112" y="306"/>
                  </a:lnTo>
                  <a:lnTo>
                    <a:pt x="114" y="306"/>
                  </a:lnTo>
                  <a:lnTo>
                    <a:pt x="116" y="308"/>
                  </a:lnTo>
                  <a:lnTo>
                    <a:pt x="118" y="308"/>
                  </a:lnTo>
                  <a:lnTo>
                    <a:pt x="118" y="308"/>
                  </a:lnTo>
                  <a:lnTo>
                    <a:pt x="120" y="308"/>
                  </a:lnTo>
                  <a:lnTo>
                    <a:pt x="120" y="310"/>
                  </a:lnTo>
                  <a:lnTo>
                    <a:pt x="122" y="312"/>
                  </a:lnTo>
                  <a:lnTo>
                    <a:pt x="122" y="314"/>
                  </a:lnTo>
                  <a:lnTo>
                    <a:pt x="124" y="316"/>
                  </a:lnTo>
                  <a:lnTo>
                    <a:pt x="124" y="316"/>
                  </a:lnTo>
                  <a:lnTo>
                    <a:pt x="124" y="316"/>
                  </a:lnTo>
                  <a:lnTo>
                    <a:pt x="126" y="316"/>
                  </a:lnTo>
                  <a:lnTo>
                    <a:pt x="128" y="316"/>
                  </a:lnTo>
                  <a:lnTo>
                    <a:pt x="130" y="316"/>
                  </a:lnTo>
                  <a:lnTo>
                    <a:pt x="132" y="318"/>
                  </a:lnTo>
                  <a:lnTo>
                    <a:pt x="132" y="318"/>
                  </a:lnTo>
                  <a:lnTo>
                    <a:pt x="134" y="318"/>
                  </a:lnTo>
                  <a:lnTo>
                    <a:pt x="134" y="318"/>
                  </a:lnTo>
                  <a:lnTo>
                    <a:pt x="134" y="320"/>
                  </a:lnTo>
                  <a:lnTo>
                    <a:pt x="134" y="320"/>
                  </a:lnTo>
                  <a:lnTo>
                    <a:pt x="140" y="320"/>
                  </a:lnTo>
                  <a:lnTo>
                    <a:pt x="148" y="320"/>
                  </a:lnTo>
                  <a:lnTo>
                    <a:pt x="152" y="320"/>
                  </a:lnTo>
                  <a:lnTo>
                    <a:pt x="156" y="322"/>
                  </a:lnTo>
                  <a:lnTo>
                    <a:pt x="160" y="322"/>
                  </a:lnTo>
                  <a:lnTo>
                    <a:pt x="162" y="322"/>
                  </a:lnTo>
                  <a:lnTo>
                    <a:pt x="164" y="322"/>
                  </a:lnTo>
                  <a:lnTo>
                    <a:pt x="166" y="322"/>
                  </a:lnTo>
                  <a:lnTo>
                    <a:pt x="168" y="320"/>
                  </a:lnTo>
                  <a:lnTo>
                    <a:pt x="174" y="318"/>
                  </a:lnTo>
                  <a:lnTo>
                    <a:pt x="180" y="316"/>
                  </a:lnTo>
                  <a:lnTo>
                    <a:pt x="200" y="300"/>
                  </a:lnTo>
                  <a:lnTo>
                    <a:pt x="200" y="298"/>
                  </a:lnTo>
                  <a:lnTo>
                    <a:pt x="200" y="294"/>
                  </a:lnTo>
                  <a:lnTo>
                    <a:pt x="200" y="292"/>
                  </a:lnTo>
                  <a:lnTo>
                    <a:pt x="200" y="292"/>
                  </a:lnTo>
                  <a:lnTo>
                    <a:pt x="200" y="290"/>
                  </a:lnTo>
                  <a:lnTo>
                    <a:pt x="200" y="288"/>
                  </a:lnTo>
                  <a:lnTo>
                    <a:pt x="198" y="288"/>
                  </a:lnTo>
                  <a:lnTo>
                    <a:pt x="198" y="286"/>
                  </a:lnTo>
                  <a:lnTo>
                    <a:pt x="196" y="282"/>
                  </a:lnTo>
                  <a:lnTo>
                    <a:pt x="194" y="280"/>
                  </a:lnTo>
                  <a:lnTo>
                    <a:pt x="192" y="280"/>
                  </a:lnTo>
                  <a:lnTo>
                    <a:pt x="192" y="278"/>
                  </a:lnTo>
                  <a:lnTo>
                    <a:pt x="188" y="276"/>
                  </a:lnTo>
                  <a:lnTo>
                    <a:pt x="186" y="276"/>
                  </a:lnTo>
                  <a:lnTo>
                    <a:pt x="184" y="274"/>
                  </a:lnTo>
                  <a:lnTo>
                    <a:pt x="182" y="272"/>
                  </a:lnTo>
                  <a:lnTo>
                    <a:pt x="182" y="272"/>
                  </a:lnTo>
                  <a:lnTo>
                    <a:pt x="182" y="272"/>
                  </a:lnTo>
                  <a:lnTo>
                    <a:pt x="182" y="270"/>
                  </a:lnTo>
                  <a:lnTo>
                    <a:pt x="182" y="270"/>
                  </a:lnTo>
                  <a:lnTo>
                    <a:pt x="182" y="268"/>
                  </a:lnTo>
                  <a:lnTo>
                    <a:pt x="182" y="266"/>
                  </a:lnTo>
                  <a:lnTo>
                    <a:pt x="182" y="264"/>
                  </a:lnTo>
                  <a:lnTo>
                    <a:pt x="182" y="262"/>
                  </a:lnTo>
                  <a:lnTo>
                    <a:pt x="182" y="260"/>
                  </a:lnTo>
                  <a:lnTo>
                    <a:pt x="182" y="260"/>
                  </a:lnTo>
                  <a:lnTo>
                    <a:pt x="180" y="260"/>
                  </a:lnTo>
                  <a:lnTo>
                    <a:pt x="180" y="260"/>
                  </a:lnTo>
                  <a:lnTo>
                    <a:pt x="180" y="258"/>
                  </a:lnTo>
                  <a:lnTo>
                    <a:pt x="178" y="258"/>
                  </a:lnTo>
                  <a:lnTo>
                    <a:pt x="178" y="258"/>
                  </a:lnTo>
                  <a:lnTo>
                    <a:pt x="176" y="258"/>
                  </a:lnTo>
                  <a:lnTo>
                    <a:pt x="174" y="258"/>
                  </a:lnTo>
                  <a:lnTo>
                    <a:pt x="174" y="258"/>
                  </a:lnTo>
                  <a:lnTo>
                    <a:pt x="172" y="256"/>
                  </a:lnTo>
                  <a:lnTo>
                    <a:pt x="170" y="256"/>
                  </a:lnTo>
                  <a:lnTo>
                    <a:pt x="168" y="254"/>
                  </a:lnTo>
                  <a:lnTo>
                    <a:pt x="168" y="250"/>
                  </a:lnTo>
                  <a:lnTo>
                    <a:pt x="166" y="248"/>
                  </a:lnTo>
                  <a:lnTo>
                    <a:pt x="166" y="248"/>
                  </a:lnTo>
                  <a:lnTo>
                    <a:pt x="166" y="246"/>
                  </a:lnTo>
                  <a:lnTo>
                    <a:pt x="164" y="246"/>
                  </a:lnTo>
                  <a:lnTo>
                    <a:pt x="164" y="244"/>
                  </a:lnTo>
                  <a:lnTo>
                    <a:pt x="164" y="244"/>
                  </a:lnTo>
                  <a:lnTo>
                    <a:pt x="166" y="244"/>
                  </a:lnTo>
                  <a:lnTo>
                    <a:pt x="166" y="242"/>
                  </a:lnTo>
                  <a:lnTo>
                    <a:pt x="166" y="242"/>
                  </a:lnTo>
                  <a:lnTo>
                    <a:pt x="168" y="242"/>
                  </a:lnTo>
                  <a:lnTo>
                    <a:pt x="168" y="242"/>
                  </a:lnTo>
                  <a:lnTo>
                    <a:pt x="170" y="242"/>
                  </a:lnTo>
                  <a:lnTo>
                    <a:pt x="172" y="242"/>
                  </a:lnTo>
                  <a:lnTo>
                    <a:pt x="174" y="242"/>
                  </a:lnTo>
                  <a:lnTo>
                    <a:pt x="176" y="242"/>
                  </a:lnTo>
                  <a:lnTo>
                    <a:pt x="178" y="242"/>
                  </a:lnTo>
                  <a:lnTo>
                    <a:pt x="178" y="242"/>
                  </a:lnTo>
                  <a:lnTo>
                    <a:pt x="180" y="242"/>
                  </a:lnTo>
                  <a:lnTo>
                    <a:pt x="180" y="242"/>
                  </a:lnTo>
                  <a:lnTo>
                    <a:pt x="180" y="242"/>
                  </a:lnTo>
                  <a:lnTo>
                    <a:pt x="182" y="240"/>
                  </a:lnTo>
                  <a:lnTo>
                    <a:pt x="182" y="240"/>
                  </a:lnTo>
                  <a:lnTo>
                    <a:pt x="182" y="238"/>
                  </a:lnTo>
                  <a:lnTo>
                    <a:pt x="182" y="236"/>
                  </a:lnTo>
                  <a:lnTo>
                    <a:pt x="182" y="234"/>
                  </a:lnTo>
                  <a:lnTo>
                    <a:pt x="182" y="230"/>
                  </a:lnTo>
                  <a:lnTo>
                    <a:pt x="182" y="226"/>
                  </a:lnTo>
                  <a:lnTo>
                    <a:pt x="182" y="220"/>
                  </a:lnTo>
                  <a:lnTo>
                    <a:pt x="182" y="218"/>
                  </a:lnTo>
                  <a:lnTo>
                    <a:pt x="182" y="216"/>
                  </a:lnTo>
                  <a:lnTo>
                    <a:pt x="182" y="214"/>
                  </a:lnTo>
                  <a:lnTo>
                    <a:pt x="182" y="212"/>
                  </a:lnTo>
                  <a:lnTo>
                    <a:pt x="184" y="210"/>
                  </a:lnTo>
                  <a:lnTo>
                    <a:pt x="184" y="210"/>
                  </a:lnTo>
                  <a:lnTo>
                    <a:pt x="184" y="210"/>
                  </a:lnTo>
                  <a:lnTo>
                    <a:pt x="184" y="208"/>
                  </a:lnTo>
                  <a:lnTo>
                    <a:pt x="186" y="208"/>
                  </a:lnTo>
                  <a:lnTo>
                    <a:pt x="186" y="208"/>
                  </a:lnTo>
                  <a:lnTo>
                    <a:pt x="186" y="208"/>
                  </a:lnTo>
                  <a:lnTo>
                    <a:pt x="188" y="208"/>
                  </a:lnTo>
                  <a:lnTo>
                    <a:pt x="190" y="208"/>
                  </a:lnTo>
                  <a:lnTo>
                    <a:pt x="192" y="210"/>
                  </a:lnTo>
                  <a:lnTo>
                    <a:pt x="194" y="210"/>
                  </a:lnTo>
                  <a:lnTo>
                    <a:pt x="194" y="210"/>
                  </a:lnTo>
                  <a:lnTo>
                    <a:pt x="196" y="210"/>
                  </a:lnTo>
                  <a:lnTo>
                    <a:pt x="196" y="208"/>
                  </a:lnTo>
                  <a:lnTo>
                    <a:pt x="196" y="208"/>
                  </a:lnTo>
                  <a:lnTo>
                    <a:pt x="196" y="208"/>
                  </a:lnTo>
                  <a:lnTo>
                    <a:pt x="196" y="208"/>
                  </a:lnTo>
                  <a:lnTo>
                    <a:pt x="198" y="206"/>
                  </a:lnTo>
                  <a:lnTo>
                    <a:pt x="198" y="206"/>
                  </a:lnTo>
                  <a:lnTo>
                    <a:pt x="198" y="204"/>
                  </a:lnTo>
                  <a:lnTo>
                    <a:pt x="198" y="202"/>
                  </a:lnTo>
                  <a:lnTo>
                    <a:pt x="198" y="200"/>
                  </a:lnTo>
                  <a:lnTo>
                    <a:pt x="198" y="198"/>
                  </a:lnTo>
                  <a:lnTo>
                    <a:pt x="198" y="192"/>
                  </a:lnTo>
                  <a:lnTo>
                    <a:pt x="196" y="188"/>
                  </a:lnTo>
                  <a:lnTo>
                    <a:pt x="196" y="184"/>
                  </a:lnTo>
                  <a:lnTo>
                    <a:pt x="196" y="182"/>
                  </a:lnTo>
                  <a:lnTo>
                    <a:pt x="196" y="180"/>
                  </a:lnTo>
                  <a:lnTo>
                    <a:pt x="198" y="178"/>
                  </a:lnTo>
                  <a:lnTo>
                    <a:pt x="198" y="176"/>
                  </a:lnTo>
                  <a:lnTo>
                    <a:pt x="198" y="176"/>
                  </a:lnTo>
                  <a:lnTo>
                    <a:pt x="198" y="176"/>
                  </a:lnTo>
                  <a:lnTo>
                    <a:pt x="200" y="174"/>
                  </a:lnTo>
                  <a:lnTo>
                    <a:pt x="200" y="174"/>
                  </a:lnTo>
                  <a:lnTo>
                    <a:pt x="202" y="174"/>
                  </a:lnTo>
                  <a:lnTo>
                    <a:pt x="202" y="174"/>
                  </a:lnTo>
                  <a:lnTo>
                    <a:pt x="204" y="174"/>
                  </a:lnTo>
                  <a:lnTo>
                    <a:pt x="208" y="174"/>
                  </a:lnTo>
                  <a:lnTo>
                    <a:pt x="210" y="174"/>
                  </a:lnTo>
                  <a:lnTo>
                    <a:pt x="214" y="174"/>
                  </a:lnTo>
                  <a:lnTo>
                    <a:pt x="214" y="174"/>
                  </a:lnTo>
                  <a:lnTo>
                    <a:pt x="216" y="174"/>
                  </a:lnTo>
                  <a:lnTo>
                    <a:pt x="216" y="172"/>
                  </a:lnTo>
                  <a:lnTo>
                    <a:pt x="216" y="172"/>
                  </a:lnTo>
                  <a:lnTo>
                    <a:pt x="218" y="170"/>
                  </a:lnTo>
                  <a:lnTo>
                    <a:pt x="218" y="168"/>
                  </a:lnTo>
                  <a:lnTo>
                    <a:pt x="220" y="166"/>
                  </a:lnTo>
                  <a:lnTo>
                    <a:pt x="220" y="164"/>
                  </a:lnTo>
                  <a:lnTo>
                    <a:pt x="220" y="162"/>
                  </a:lnTo>
                  <a:lnTo>
                    <a:pt x="220" y="158"/>
                  </a:lnTo>
                  <a:lnTo>
                    <a:pt x="220" y="156"/>
                  </a:lnTo>
                  <a:lnTo>
                    <a:pt x="220" y="152"/>
                  </a:lnTo>
                  <a:lnTo>
                    <a:pt x="220" y="150"/>
                  </a:lnTo>
                  <a:lnTo>
                    <a:pt x="220" y="146"/>
                  </a:lnTo>
                  <a:lnTo>
                    <a:pt x="220" y="144"/>
                  </a:lnTo>
                  <a:lnTo>
                    <a:pt x="218" y="140"/>
                  </a:lnTo>
                  <a:lnTo>
                    <a:pt x="218" y="138"/>
                  </a:lnTo>
                  <a:lnTo>
                    <a:pt x="218" y="136"/>
                  </a:lnTo>
                  <a:lnTo>
                    <a:pt x="216" y="134"/>
                  </a:lnTo>
                  <a:lnTo>
                    <a:pt x="214" y="132"/>
                  </a:lnTo>
                  <a:lnTo>
                    <a:pt x="214" y="132"/>
                  </a:lnTo>
                  <a:lnTo>
                    <a:pt x="214" y="132"/>
                  </a:lnTo>
                  <a:lnTo>
                    <a:pt x="212" y="132"/>
                  </a:lnTo>
                  <a:lnTo>
                    <a:pt x="212" y="132"/>
                  </a:lnTo>
                  <a:lnTo>
                    <a:pt x="210" y="132"/>
                  </a:lnTo>
                  <a:lnTo>
                    <a:pt x="208" y="132"/>
                  </a:lnTo>
                  <a:lnTo>
                    <a:pt x="206" y="130"/>
                  </a:lnTo>
                  <a:lnTo>
                    <a:pt x="206" y="130"/>
                  </a:lnTo>
                  <a:lnTo>
                    <a:pt x="206" y="130"/>
                  </a:lnTo>
                  <a:lnTo>
                    <a:pt x="204" y="130"/>
                  </a:lnTo>
                  <a:lnTo>
                    <a:pt x="204" y="128"/>
                  </a:lnTo>
                  <a:lnTo>
                    <a:pt x="204" y="128"/>
                  </a:lnTo>
                  <a:lnTo>
                    <a:pt x="204" y="126"/>
                  </a:lnTo>
                  <a:lnTo>
                    <a:pt x="204" y="124"/>
                  </a:lnTo>
                  <a:lnTo>
                    <a:pt x="204" y="122"/>
                  </a:lnTo>
                  <a:lnTo>
                    <a:pt x="204" y="120"/>
                  </a:lnTo>
                  <a:lnTo>
                    <a:pt x="204" y="120"/>
                  </a:lnTo>
                  <a:lnTo>
                    <a:pt x="206" y="118"/>
                  </a:lnTo>
                  <a:lnTo>
                    <a:pt x="206" y="118"/>
                  </a:lnTo>
                  <a:lnTo>
                    <a:pt x="206" y="118"/>
                  </a:lnTo>
                  <a:lnTo>
                    <a:pt x="206" y="118"/>
                  </a:lnTo>
                  <a:lnTo>
                    <a:pt x="208" y="118"/>
                  </a:lnTo>
                  <a:lnTo>
                    <a:pt x="208" y="118"/>
                  </a:lnTo>
                  <a:lnTo>
                    <a:pt x="210" y="118"/>
                  </a:lnTo>
                  <a:lnTo>
                    <a:pt x="212" y="118"/>
                  </a:lnTo>
                  <a:lnTo>
                    <a:pt x="214" y="120"/>
                  </a:lnTo>
                  <a:lnTo>
                    <a:pt x="216" y="120"/>
                  </a:lnTo>
                  <a:lnTo>
                    <a:pt x="216" y="120"/>
                  </a:lnTo>
                  <a:lnTo>
                    <a:pt x="218" y="120"/>
                  </a:lnTo>
                  <a:lnTo>
                    <a:pt x="218" y="120"/>
                  </a:lnTo>
                  <a:lnTo>
                    <a:pt x="218" y="120"/>
                  </a:lnTo>
                  <a:lnTo>
                    <a:pt x="218" y="118"/>
                  </a:lnTo>
                  <a:lnTo>
                    <a:pt x="220" y="118"/>
                  </a:lnTo>
                  <a:lnTo>
                    <a:pt x="220" y="118"/>
                  </a:lnTo>
                  <a:lnTo>
                    <a:pt x="220" y="116"/>
                  </a:lnTo>
                  <a:lnTo>
                    <a:pt x="220" y="116"/>
                  </a:lnTo>
                  <a:lnTo>
                    <a:pt x="220" y="114"/>
                  </a:lnTo>
                  <a:lnTo>
                    <a:pt x="218" y="110"/>
                  </a:lnTo>
                  <a:lnTo>
                    <a:pt x="218" y="108"/>
                  </a:lnTo>
                  <a:lnTo>
                    <a:pt x="216" y="106"/>
                  </a:lnTo>
                  <a:lnTo>
                    <a:pt x="216" y="104"/>
                  </a:lnTo>
                  <a:lnTo>
                    <a:pt x="214" y="100"/>
                  </a:lnTo>
                  <a:lnTo>
                    <a:pt x="212" y="96"/>
                  </a:lnTo>
                  <a:lnTo>
                    <a:pt x="212" y="94"/>
                  </a:lnTo>
                  <a:lnTo>
                    <a:pt x="212" y="92"/>
                  </a:lnTo>
                  <a:lnTo>
                    <a:pt x="212" y="88"/>
                  </a:lnTo>
                  <a:lnTo>
                    <a:pt x="210" y="84"/>
                  </a:lnTo>
                  <a:lnTo>
                    <a:pt x="210" y="80"/>
                  </a:lnTo>
                  <a:lnTo>
                    <a:pt x="210" y="78"/>
                  </a:lnTo>
                  <a:lnTo>
                    <a:pt x="210" y="76"/>
                  </a:lnTo>
                  <a:lnTo>
                    <a:pt x="210" y="74"/>
                  </a:lnTo>
                  <a:lnTo>
                    <a:pt x="210" y="72"/>
                  </a:lnTo>
                  <a:lnTo>
                    <a:pt x="212" y="70"/>
                  </a:lnTo>
                  <a:lnTo>
                    <a:pt x="212" y="66"/>
                  </a:lnTo>
                  <a:lnTo>
                    <a:pt x="214" y="62"/>
                  </a:lnTo>
                  <a:lnTo>
                    <a:pt x="216" y="58"/>
                  </a:lnTo>
                  <a:lnTo>
                    <a:pt x="220" y="50"/>
                  </a:lnTo>
                  <a:lnTo>
                    <a:pt x="220" y="46"/>
                  </a:lnTo>
                  <a:lnTo>
                    <a:pt x="220" y="40"/>
                  </a:lnTo>
                  <a:lnTo>
                    <a:pt x="220" y="36"/>
                  </a:lnTo>
                  <a:lnTo>
                    <a:pt x="220" y="34"/>
                  </a:lnTo>
                  <a:lnTo>
                    <a:pt x="220" y="32"/>
                  </a:lnTo>
                  <a:lnTo>
                    <a:pt x="218" y="28"/>
                  </a:lnTo>
                  <a:lnTo>
                    <a:pt x="216" y="24"/>
                  </a:lnTo>
                  <a:lnTo>
                    <a:pt x="216" y="20"/>
                  </a:lnTo>
                  <a:lnTo>
                    <a:pt x="214" y="18"/>
                  </a:lnTo>
                  <a:lnTo>
                    <a:pt x="212" y="16"/>
                  </a:lnTo>
                  <a:lnTo>
                    <a:pt x="212" y="14"/>
                  </a:lnTo>
                  <a:lnTo>
                    <a:pt x="212" y="14"/>
                  </a:lnTo>
                  <a:lnTo>
                    <a:pt x="210" y="12"/>
                  </a:lnTo>
                  <a:lnTo>
                    <a:pt x="208" y="10"/>
                  </a:lnTo>
                  <a:lnTo>
                    <a:pt x="204" y="8"/>
                  </a:lnTo>
                  <a:lnTo>
                    <a:pt x="200" y="6"/>
                  </a:lnTo>
                  <a:lnTo>
                    <a:pt x="196" y="2"/>
                  </a:lnTo>
                  <a:lnTo>
                    <a:pt x="192" y="0"/>
                  </a:lnTo>
                  <a:lnTo>
                    <a:pt x="190" y="2"/>
                  </a:lnTo>
                  <a:lnTo>
                    <a:pt x="188" y="6"/>
                  </a:lnTo>
                  <a:lnTo>
                    <a:pt x="184" y="10"/>
                  </a:lnTo>
                  <a:lnTo>
                    <a:pt x="180" y="14"/>
                  </a:lnTo>
                  <a:lnTo>
                    <a:pt x="178" y="16"/>
                  </a:lnTo>
                  <a:lnTo>
                    <a:pt x="176" y="16"/>
                  </a:lnTo>
                  <a:lnTo>
                    <a:pt x="174" y="18"/>
                  </a:lnTo>
                  <a:lnTo>
                    <a:pt x="172" y="18"/>
                  </a:lnTo>
                  <a:lnTo>
                    <a:pt x="170" y="20"/>
                  </a:lnTo>
                  <a:lnTo>
                    <a:pt x="168" y="20"/>
                  </a:lnTo>
                  <a:lnTo>
                    <a:pt x="168" y="20"/>
                  </a:lnTo>
                  <a:lnTo>
                    <a:pt x="168" y="20"/>
                  </a:lnTo>
                  <a:lnTo>
                    <a:pt x="166" y="20"/>
                  </a:lnTo>
                  <a:lnTo>
                    <a:pt x="166" y="18"/>
                  </a:lnTo>
                  <a:lnTo>
                    <a:pt x="164" y="18"/>
                  </a:lnTo>
                  <a:lnTo>
                    <a:pt x="164" y="16"/>
                  </a:lnTo>
                  <a:lnTo>
                    <a:pt x="162" y="14"/>
                  </a:lnTo>
                  <a:lnTo>
                    <a:pt x="160" y="12"/>
                  </a:lnTo>
                  <a:lnTo>
                    <a:pt x="160" y="12"/>
                  </a:lnTo>
                  <a:lnTo>
                    <a:pt x="158" y="12"/>
                  </a:lnTo>
                  <a:lnTo>
                    <a:pt x="156" y="12"/>
                  </a:lnTo>
                  <a:lnTo>
                    <a:pt x="154" y="10"/>
                  </a:lnTo>
                  <a:lnTo>
                    <a:pt x="150" y="10"/>
                  </a:lnTo>
                  <a:lnTo>
                    <a:pt x="144" y="8"/>
                  </a:lnTo>
                  <a:lnTo>
                    <a:pt x="138" y="8"/>
                  </a:lnTo>
                  <a:lnTo>
                    <a:pt x="132" y="8"/>
                  </a:lnTo>
                  <a:lnTo>
                    <a:pt x="126" y="6"/>
                  </a:lnTo>
                  <a:lnTo>
                    <a:pt x="118" y="6"/>
                  </a:lnTo>
                  <a:lnTo>
                    <a:pt x="112" y="6"/>
                  </a:lnTo>
                  <a:lnTo>
                    <a:pt x="106" y="6"/>
                  </a:lnTo>
                  <a:lnTo>
                    <a:pt x="98" y="6"/>
                  </a:lnTo>
                  <a:lnTo>
                    <a:pt x="92" y="8"/>
                  </a:lnTo>
                  <a:lnTo>
                    <a:pt x="86" y="8"/>
                  </a:lnTo>
                  <a:lnTo>
                    <a:pt x="80" y="8"/>
                  </a:lnTo>
                  <a:lnTo>
                    <a:pt x="74" y="10"/>
                  </a:lnTo>
                  <a:lnTo>
                    <a:pt x="70" y="10"/>
                  </a:lnTo>
                  <a:lnTo>
                    <a:pt x="64" y="12"/>
                  </a:lnTo>
                  <a:lnTo>
                    <a:pt x="64" y="12"/>
                  </a:lnTo>
                  <a:lnTo>
                    <a:pt x="62" y="14"/>
                  </a:lnTo>
                  <a:lnTo>
                    <a:pt x="58" y="16"/>
                  </a:lnTo>
                  <a:lnTo>
                    <a:pt x="56" y="18"/>
                  </a:lnTo>
                  <a:lnTo>
                    <a:pt x="54" y="20"/>
                  </a:lnTo>
                  <a:lnTo>
                    <a:pt x="48" y="22"/>
                  </a:lnTo>
                  <a:lnTo>
                    <a:pt x="44" y="24"/>
                  </a:lnTo>
                  <a:lnTo>
                    <a:pt x="44" y="28"/>
                  </a:lnTo>
                  <a:lnTo>
                    <a:pt x="46" y="32"/>
                  </a:lnTo>
                  <a:lnTo>
                    <a:pt x="46" y="36"/>
                  </a:lnTo>
                  <a:lnTo>
                    <a:pt x="46" y="40"/>
                  </a:lnTo>
                  <a:lnTo>
                    <a:pt x="46" y="42"/>
                  </a:lnTo>
                  <a:lnTo>
                    <a:pt x="44" y="44"/>
                  </a:lnTo>
                  <a:lnTo>
                    <a:pt x="44" y="46"/>
                  </a:lnTo>
                  <a:lnTo>
                    <a:pt x="44" y="48"/>
                  </a:lnTo>
                  <a:lnTo>
                    <a:pt x="44" y="48"/>
                  </a:lnTo>
                  <a:lnTo>
                    <a:pt x="42" y="50"/>
                  </a:lnTo>
                  <a:lnTo>
                    <a:pt x="42" y="50"/>
                  </a:lnTo>
                  <a:lnTo>
                    <a:pt x="42" y="50"/>
                  </a:lnTo>
                  <a:lnTo>
                    <a:pt x="42" y="50"/>
                  </a:lnTo>
                  <a:lnTo>
                    <a:pt x="40" y="52"/>
                  </a:lnTo>
                  <a:lnTo>
                    <a:pt x="38" y="52"/>
                  </a:lnTo>
                  <a:lnTo>
                    <a:pt x="36" y="52"/>
                  </a:lnTo>
                  <a:lnTo>
                    <a:pt x="36" y="52"/>
                  </a:lnTo>
                  <a:lnTo>
                    <a:pt x="34" y="52"/>
                  </a:lnTo>
                  <a:lnTo>
                    <a:pt x="34" y="52"/>
                  </a:lnTo>
                  <a:lnTo>
                    <a:pt x="32" y="52"/>
                  </a:lnTo>
                  <a:lnTo>
                    <a:pt x="32" y="54"/>
                  </a:lnTo>
                  <a:lnTo>
                    <a:pt x="32" y="56"/>
                  </a:lnTo>
                  <a:lnTo>
                    <a:pt x="32" y="58"/>
                  </a:lnTo>
                  <a:lnTo>
                    <a:pt x="32" y="58"/>
                  </a:lnTo>
                  <a:lnTo>
                    <a:pt x="32" y="62"/>
                  </a:lnTo>
                  <a:lnTo>
                    <a:pt x="32" y="64"/>
                  </a:lnTo>
                  <a:lnTo>
                    <a:pt x="32" y="68"/>
                  </a:lnTo>
                  <a:lnTo>
                    <a:pt x="34" y="72"/>
                  </a:lnTo>
                  <a:lnTo>
                    <a:pt x="34" y="76"/>
                  </a:lnTo>
                  <a:lnTo>
                    <a:pt x="36" y="7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3" name="Freeform 411"/>
            <p:cNvSpPr>
              <a:spLocks/>
            </p:cNvSpPr>
            <p:nvPr/>
          </p:nvSpPr>
          <p:spPr bwMode="auto">
            <a:xfrm>
              <a:off x="4806155" y="3988022"/>
              <a:ext cx="381057" cy="557728"/>
            </a:xfrm>
            <a:custGeom>
              <a:avLst/>
              <a:gdLst>
                <a:gd name="T0" fmla="*/ 38 w 220"/>
                <a:gd name="T1" fmla="*/ 112 h 322"/>
                <a:gd name="T2" fmla="*/ 32 w 220"/>
                <a:gd name="T3" fmla="*/ 122 h 322"/>
                <a:gd name="T4" fmla="*/ 20 w 220"/>
                <a:gd name="T5" fmla="*/ 132 h 322"/>
                <a:gd name="T6" fmla="*/ 14 w 220"/>
                <a:gd name="T7" fmla="*/ 156 h 322"/>
                <a:gd name="T8" fmla="*/ 4 w 220"/>
                <a:gd name="T9" fmla="*/ 156 h 322"/>
                <a:gd name="T10" fmla="*/ 0 w 220"/>
                <a:gd name="T11" fmla="*/ 164 h 322"/>
                <a:gd name="T12" fmla="*/ 8 w 220"/>
                <a:gd name="T13" fmla="*/ 170 h 322"/>
                <a:gd name="T14" fmla="*/ 12 w 220"/>
                <a:gd name="T15" fmla="*/ 178 h 322"/>
                <a:gd name="T16" fmla="*/ 20 w 220"/>
                <a:gd name="T17" fmla="*/ 184 h 322"/>
                <a:gd name="T18" fmla="*/ 18 w 220"/>
                <a:gd name="T19" fmla="*/ 194 h 322"/>
                <a:gd name="T20" fmla="*/ 22 w 220"/>
                <a:gd name="T21" fmla="*/ 206 h 322"/>
                <a:gd name="T22" fmla="*/ 32 w 220"/>
                <a:gd name="T23" fmla="*/ 224 h 322"/>
                <a:gd name="T24" fmla="*/ 32 w 220"/>
                <a:gd name="T25" fmla="*/ 236 h 322"/>
                <a:gd name="T26" fmla="*/ 36 w 220"/>
                <a:gd name="T27" fmla="*/ 244 h 322"/>
                <a:gd name="T28" fmla="*/ 44 w 220"/>
                <a:gd name="T29" fmla="*/ 244 h 322"/>
                <a:gd name="T30" fmla="*/ 50 w 220"/>
                <a:gd name="T31" fmla="*/ 250 h 322"/>
                <a:gd name="T32" fmla="*/ 52 w 220"/>
                <a:gd name="T33" fmla="*/ 260 h 322"/>
                <a:gd name="T34" fmla="*/ 64 w 220"/>
                <a:gd name="T35" fmla="*/ 262 h 322"/>
                <a:gd name="T36" fmla="*/ 66 w 220"/>
                <a:gd name="T37" fmla="*/ 276 h 322"/>
                <a:gd name="T38" fmla="*/ 76 w 220"/>
                <a:gd name="T39" fmla="*/ 280 h 322"/>
                <a:gd name="T40" fmla="*/ 82 w 220"/>
                <a:gd name="T41" fmla="*/ 292 h 322"/>
                <a:gd name="T42" fmla="*/ 82 w 220"/>
                <a:gd name="T43" fmla="*/ 302 h 322"/>
                <a:gd name="T44" fmla="*/ 94 w 220"/>
                <a:gd name="T45" fmla="*/ 308 h 322"/>
                <a:gd name="T46" fmla="*/ 118 w 220"/>
                <a:gd name="T47" fmla="*/ 308 h 322"/>
                <a:gd name="T48" fmla="*/ 128 w 220"/>
                <a:gd name="T49" fmla="*/ 316 h 322"/>
                <a:gd name="T50" fmla="*/ 148 w 220"/>
                <a:gd name="T51" fmla="*/ 320 h 322"/>
                <a:gd name="T52" fmla="*/ 180 w 220"/>
                <a:gd name="T53" fmla="*/ 316 h 322"/>
                <a:gd name="T54" fmla="*/ 198 w 220"/>
                <a:gd name="T55" fmla="*/ 286 h 322"/>
                <a:gd name="T56" fmla="*/ 182 w 220"/>
                <a:gd name="T57" fmla="*/ 272 h 322"/>
                <a:gd name="T58" fmla="*/ 182 w 220"/>
                <a:gd name="T59" fmla="*/ 260 h 322"/>
                <a:gd name="T60" fmla="*/ 172 w 220"/>
                <a:gd name="T61" fmla="*/ 256 h 322"/>
                <a:gd name="T62" fmla="*/ 164 w 220"/>
                <a:gd name="T63" fmla="*/ 244 h 322"/>
                <a:gd name="T64" fmla="*/ 176 w 220"/>
                <a:gd name="T65" fmla="*/ 242 h 322"/>
                <a:gd name="T66" fmla="*/ 182 w 220"/>
                <a:gd name="T67" fmla="*/ 236 h 322"/>
                <a:gd name="T68" fmla="*/ 184 w 220"/>
                <a:gd name="T69" fmla="*/ 210 h 322"/>
                <a:gd name="T70" fmla="*/ 192 w 220"/>
                <a:gd name="T71" fmla="*/ 210 h 322"/>
                <a:gd name="T72" fmla="*/ 198 w 220"/>
                <a:gd name="T73" fmla="*/ 206 h 322"/>
                <a:gd name="T74" fmla="*/ 196 w 220"/>
                <a:gd name="T75" fmla="*/ 180 h 322"/>
                <a:gd name="T76" fmla="*/ 204 w 220"/>
                <a:gd name="T77" fmla="*/ 174 h 322"/>
                <a:gd name="T78" fmla="*/ 218 w 220"/>
                <a:gd name="T79" fmla="*/ 168 h 322"/>
                <a:gd name="T80" fmla="*/ 220 w 220"/>
                <a:gd name="T81" fmla="*/ 144 h 322"/>
                <a:gd name="T82" fmla="*/ 212 w 220"/>
                <a:gd name="T83" fmla="*/ 132 h 322"/>
                <a:gd name="T84" fmla="*/ 204 w 220"/>
                <a:gd name="T85" fmla="*/ 126 h 322"/>
                <a:gd name="T86" fmla="*/ 208 w 220"/>
                <a:gd name="T87" fmla="*/ 118 h 322"/>
                <a:gd name="T88" fmla="*/ 218 w 220"/>
                <a:gd name="T89" fmla="*/ 120 h 322"/>
                <a:gd name="T90" fmla="*/ 216 w 220"/>
                <a:gd name="T91" fmla="*/ 106 h 322"/>
                <a:gd name="T92" fmla="*/ 210 w 220"/>
                <a:gd name="T93" fmla="*/ 78 h 322"/>
                <a:gd name="T94" fmla="*/ 220 w 220"/>
                <a:gd name="T95" fmla="*/ 46 h 322"/>
                <a:gd name="T96" fmla="*/ 212 w 220"/>
                <a:gd name="T97" fmla="*/ 16 h 322"/>
                <a:gd name="T98" fmla="*/ 190 w 220"/>
                <a:gd name="T99" fmla="*/ 2 h 322"/>
                <a:gd name="T100" fmla="*/ 168 w 220"/>
                <a:gd name="T101" fmla="*/ 20 h 322"/>
                <a:gd name="T102" fmla="*/ 160 w 220"/>
                <a:gd name="T103" fmla="*/ 12 h 322"/>
                <a:gd name="T104" fmla="*/ 118 w 220"/>
                <a:gd name="T105" fmla="*/ 6 h 322"/>
                <a:gd name="T106" fmla="*/ 64 w 220"/>
                <a:gd name="T107" fmla="*/ 12 h 322"/>
                <a:gd name="T108" fmla="*/ 46 w 220"/>
                <a:gd name="T109" fmla="*/ 32 h 322"/>
                <a:gd name="T110" fmla="*/ 42 w 220"/>
                <a:gd name="T111" fmla="*/ 50 h 322"/>
                <a:gd name="T112" fmla="*/ 32 w 220"/>
                <a:gd name="T113" fmla="*/ 52 h 322"/>
                <a:gd name="T114" fmla="*/ 34 w 220"/>
                <a:gd name="T115" fmla="*/ 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22">
                  <a:moveTo>
                    <a:pt x="36" y="78"/>
                  </a:moveTo>
                  <a:lnTo>
                    <a:pt x="36" y="78"/>
                  </a:lnTo>
                  <a:lnTo>
                    <a:pt x="36" y="84"/>
                  </a:lnTo>
                  <a:lnTo>
                    <a:pt x="36" y="90"/>
                  </a:lnTo>
                  <a:lnTo>
                    <a:pt x="38" y="98"/>
                  </a:lnTo>
                  <a:lnTo>
                    <a:pt x="38" y="100"/>
                  </a:lnTo>
                  <a:lnTo>
                    <a:pt x="38" y="104"/>
                  </a:lnTo>
                  <a:lnTo>
                    <a:pt x="38" y="108"/>
                  </a:lnTo>
                  <a:lnTo>
                    <a:pt x="38" y="112"/>
                  </a:lnTo>
                  <a:lnTo>
                    <a:pt x="36" y="114"/>
                  </a:lnTo>
                  <a:lnTo>
                    <a:pt x="36" y="118"/>
                  </a:lnTo>
                  <a:lnTo>
                    <a:pt x="36" y="118"/>
                  </a:lnTo>
                  <a:lnTo>
                    <a:pt x="36" y="120"/>
                  </a:lnTo>
                  <a:lnTo>
                    <a:pt x="34" y="120"/>
                  </a:lnTo>
                  <a:lnTo>
                    <a:pt x="34" y="122"/>
                  </a:lnTo>
                  <a:lnTo>
                    <a:pt x="34" y="122"/>
                  </a:lnTo>
                  <a:lnTo>
                    <a:pt x="34" y="122"/>
                  </a:lnTo>
                  <a:lnTo>
                    <a:pt x="32" y="122"/>
                  </a:lnTo>
                  <a:lnTo>
                    <a:pt x="32" y="124"/>
                  </a:lnTo>
                  <a:lnTo>
                    <a:pt x="30" y="124"/>
                  </a:lnTo>
                  <a:lnTo>
                    <a:pt x="26" y="124"/>
                  </a:lnTo>
                  <a:lnTo>
                    <a:pt x="26" y="124"/>
                  </a:lnTo>
                  <a:lnTo>
                    <a:pt x="24" y="124"/>
                  </a:lnTo>
                  <a:lnTo>
                    <a:pt x="24" y="126"/>
                  </a:lnTo>
                  <a:lnTo>
                    <a:pt x="22" y="128"/>
                  </a:lnTo>
                  <a:lnTo>
                    <a:pt x="20" y="130"/>
                  </a:lnTo>
                  <a:lnTo>
                    <a:pt x="20" y="132"/>
                  </a:lnTo>
                  <a:lnTo>
                    <a:pt x="18" y="138"/>
                  </a:lnTo>
                  <a:lnTo>
                    <a:pt x="16" y="142"/>
                  </a:lnTo>
                  <a:lnTo>
                    <a:pt x="16" y="142"/>
                  </a:lnTo>
                  <a:lnTo>
                    <a:pt x="16" y="144"/>
                  </a:lnTo>
                  <a:lnTo>
                    <a:pt x="14" y="150"/>
                  </a:lnTo>
                  <a:lnTo>
                    <a:pt x="14" y="152"/>
                  </a:lnTo>
                  <a:lnTo>
                    <a:pt x="14" y="154"/>
                  </a:lnTo>
                  <a:lnTo>
                    <a:pt x="14" y="154"/>
                  </a:lnTo>
                  <a:lnTo>
                    <a:pt x="14" y="156"/>
                  </a:lnTo>
                  <a:lnTo>
                    <a:pt x="12" y="156"/>
                  </a:lnTo>
                  <a:lnTo>
                    <a:pt x="12" y="156"/>
                  </a:lnTo>
                  <a:lnTo>
                    <a:pt x="12" y="156"/>
                  </a:lnTo>
                  <a:lnTo>
                    <a:pt x="12" y="156"/>
                  </a:lnTo>
                  <a:lnTo>
                    <a:pt x="10" y="156"/>
                  </a:lnTo>
                  <a:lnTo>
                    <a:pt x="8" y="156"/>
                  </a:lnTo>
                  <a:lnTo>
                    <a:pt x="6" y="156"/>
                  </a:lnTo>
                  <a:lnTo>
                    <a:pt x="6" y="156"/>
                  </a:lnTo>
                  <a:lnTo>
                    <a:pt x="4" y="156"/>
                  </a:lnTo>
                  <a:lnTo>
                    <a:pt x="2" y="156"/>
                  </a:lnTo>
                  <a:lnTo>
                    <a:pt x="2" y="156"/>
                  </a:lnTo>
                  <a:lnTo>
                    <a:pt x="2" y="156"/>
                  </a:lnTo>
                  <a:lnTo>
                    <a:pt x="0" y="158"/>
                  </a:lnTo>
                  <a:lnTo>
                    <a:pt x="0" y="158"/>
                  </a:lnTo>
                  <a:lnTo>
                    <a:pt x="0" y="160"/>
                  </a:lnTo>
                  <a:lnTo>
                    <a:pt x="0" y="162"/>
                  </a:lnTo>
                  <a:lnTo>
                    <a:pt x="0" y="162"/>
                  </a:lnTo>
                  <a:lnTo>
                    <a:pt x="0" y="164"/>
                  </a:lnTo>
                  <a:lnTo>
                    <a:pt x="0" y="166"/>
                  </a:lnTo>
                  <a:lnTo>
                    <a:pt x="0" y="166"/>
                  </a:lnTo>
                  <a:lnTo>
                    <a:pt x="0" y="166"/>
                  </a:lnTo>
                  <a:lnTo>
                    <a:pt x="2" y="168"/>
                  </a:lnTo>
                  <a:lnTo>
                    <a:pt x="2" y="168"/>
                  </a:lnTo>
                  <a:lnTo>
                    <a:pt x="4" y="168"/>
                  </a:lnTo>
                  <a:lnTo>
                    <a:pt x="6" y="168"/>
                  </a:lnTo>
                  <a:lnTo>
                    <a:pt x="8" y="170"/>
                  </a:lnTo>
                  <a:lnTo>
                    <a:pt x="8" y="170"/>
                  </a:lnTo>
                  <a:lnTo>
                    <a:pt x="10" y="170"/>
                  </a:lnTo>
                  <a:lnTo>
                    <a:pt x="10" y="170"/>
                  </a:lnTo>
                  <a:lnTo>
                    <a:pt x="10" y="170"/>
                  </a:lnTo>
                  <a:lnTo>
                    <a:pt x="12" y="172"/>
                  </a:lnTo>
                  <a:lnTo>
                    <a:pt x="12" y="172"/>
                  </a:lnTo>
                  <a:lnTo>
                    <a:pt x="12" y="174"/>
                  </a:lnTo>
                  <a:lnTo>
                    <a:pt x="12" y="174"/>
                  </a:lnTo>
                  <a:lnTo>
                    <a:pt x="12" y="176"/>
                  </a:lnTo>
                  <a:lnTo>
                    <a:pt x="12" y="178"/>
                  </a:lnTo>
                  <a:lnTo>
                    <a:pt x="12" y="180"/>
                  </a:lnTo>
                  <a:lnTo>
                    <a:pt x="14" y="182"/>
                  </a:lnTo>
                  <a:lnTo>
                    <a:pt x="14" y="182"/>
                  </a:lnTo>
                  <a:lnTo>
                    <a:pt x="14" y="182"/>
                  </a:lnTo>
                  <a:lnTo>
                    <a:pt x="14" y="182"/>
                  </a:lnTo>
                  <a:lnTo>
                    <a:pt x="14" y="184"/>
                  </a:lnTo>
                  <a:lnTo>
                    <a:pt x="16" y="184"/>
                  </a:lnTo>
                  <a:lnTo>
                    <a:pt x="18" y="184"/>
                  </a:lnTo>
                  <a:lnTo>
                    <a:pt x="20" y="184"/>
                  </a:lnTo>
                  <a:lnTo>
                    <a:pt x="20" y="186"/>
                  </a:lnTo>
                  <a:lnTo>
                    <a:pt x="20" y="186"/>
                  </a:lnTo>
                  <a:lnTo>
                    <a:pt x="20" y="186"/>
                  </a:lnTo>
                  <a:lnTo>
                    <a:pt x="20" y="188"/>
                  </a:lnTo>
                  <a:lnTo>
                    <a:pt x="20" y="190"/>
                  </a:lnTo>
                  <a:lnTo>
                    <a:pt x="20" y="192"/>
                  </a:lnTo>
                  <a:lnTo>
                    <a:pt x="20" y="192"/>
                  </a:lnTo>
                  <a:lnTo>
                    <a:pt x="20" y="194"/>
                  </a:lnTo>
                  <a:lnTo>
                    <a:pt x="18" y="194"/>
                  </a:lnTo>
                  <a:lnTo>
                    <a:pt x="18" y="196"/>
                  </a:lnTo>
                  <a:lnTo>
                    <a:pt x="18" y="196"/>
                  </a:lnTo>
                  <a:lnTo>
                    <a:pt x="18" y="198"/>
                  </a:lnTo>
                  <a:lnTo>
                    <a:pt x="18" y="198"/>
                  </a:lnTo>
                  <a:lnTo>
                    <a:pt x="18" y="198"/>
                  </a:lnTo>
                  <a:lnTo>
                    <a:pt x="18" y="200"/>
                  </a:lnTo>
                  <a:lnTo>
                    <a:pt x="20" y="202"/>
                  </a:lnTo>
                  <a:lnTo>
                    <a:pt x="20" y="202"/>
                  </a:lnTo>
                  <a:lnTo>
                    <a:pt x="22" y="206"/>
                  </a:lnTo>
                  <a:lnTo>
                    <a:pt x="24" y="206"/>
                  </a:lnTo>
                  <a:lnTo>
                    <a:pt x="24" y="208"/>
                  </a:lnTo>
                  <a:lnTo>
                    <a:pt x="26" y="212"/>
                  </a:lnTo>
                  <a:lnTo>
                    <a:pt x="28" y="216"/>
                  </a:lnTo>
                  <a:lnTo>
                    <a:pt x="30" y="216"/>
                  </a:lnTo>
                  <a:lnTo>
                    <a:pt x="30" y="218"/>
                  </a:lnTo>
                  <a:lnTo>
                    <a:pt x="30" y="220"/>
                  </a:lnTo>
                  <a:lnTo>
                    <a:pt x="32" y="222"/>
                  </a:lnTo>
                  <a:lnTo>
                    <a:pt x="32" y="224"/>
                  </a:lnTo>
                  <a:lnTo>
                    <a:pt x="30" y="226"/>
                  </a:lnTo>
                  <a:lnTo>
                    <a:pt x="30" y="228"/>
                  </a:lnTo>
                  <a:lnTo>
                    <a:pt x="30" y="230"/>
                  </a:lnTo>
                  <a:lnTo>
                    <a:pt x="30" y="232"/>
                  </a:lnTo>
                  <a:lnTo>
                    <a:pt x="30" y="234"/>
                  </a:lnTo>
                  <a:lnTo>
                    <a:pt x="30" y="234"/>
                  </a:lnTo>
                  <a:lnTo>
                    <a:pt x="30" y="234"/>
                  </a:lnTo>
                  <a:lnTo>
                    <a:pt x="30" y="236"/>
                  </a:lnTo>
                  <a:lnTo>
                    <a:pt x="32" y="236"/>
                  </a:lnTo>
                  <a:lnTo>
                    <a:pt x="32" y="236"/>
                  </a:lnTo>
                  <a:lnTo>
                    <a:pt x="34" y="238"/>
                  </a:lnTo>
                  <a:lnTo>
                    <a:pt x="36" y="238"/>
                  </a:lnTo>
                  <a:lnTo>
                    <a:pt x="36" y="238"/>
                  </a:lnTo>
                  <a:lnTo>
                    <a:pt x="36" y="238"/>
                  </a:lnTo>
                  <a:lnTo>
                    <a:pt x="36" y="240"/>
                  </a:lnTo>
                  <a:lnTo>
                    <a:pt x="36" y="242"/>
                  </a:lnTo>
                  <a:lnTo>
                    <a:pt x="36" y="244"/>
                  </a:lnTo>
                  <a:lnTo>
                    <a:pt x="36" y="244"/>
                  </a:lnTo>
                  <a:lnTo>
                    <a:pt x="36" y="246"/>
                  </a:lnTo>
                  <a:lnTo>
                    <a:pt x="38" y="246"/>
                  </a:lnTo>
                  <a:lnTo>
                    <a:pt x="38" y="246"/>
                  </a:lnTo>
                  <a:lnTo>
                    <a:pt x="38" y="246"/>
                  </a:lnTo>
                  <a:lnTo>
                    <a:pt x="38" y="246"/>
                  </a:lnTo>
                  <a:lnTo>
                    <a:pt x="40" y="246"/>
                  </a:lnTo>
                  <a:lnTo>
                    <a:pt x="42" y="246"/>
                  </a:lnTo>
                  <a:lnTo>
                    <a:pt x="42" y="246"/>
                  </a:lnTo>
                  <a:lnTo>
                    <a:pt x="44" y="244"/>
                  </a:lnTo>
                  <a:lnTo>
                    <a:pt x="46" y="244"/>
                  </a:lnTo>
                  <a:lnTo>
                    <a:pt x="46" y="244"/>
                  </a:lnTo>
                  <a:lnTo>
                    <a:pt x="48" y="244"/>
                  </a:lnTo>
                  <a:lnTo>
                    <a:pt x="48" y="244"/>
                  </a:lnTo>
                  <a:lnTo>
                    <a:pt x="48" y="244"/>
                  </a:lnTo>
                  <a:lnTo>
                    <a:pt x="48" y="246"/>
                  </a:lnTo>
                  <a:lnTo>
                    <a:pt x="48" y="246"/>
                  </a:lnTo>
                  <a:lnTo>
                    <a:pt x="48" y="248"/>
                  </a:lnTo>
                  <a:lnTo>
                    <a:pt x="50" y="250"/>
                  </a:lnTo>
                  <a:lnTo>
                    <a:pt x="50" y="252"/>
                  </a:lnTo>
                  <a:lnTo>
                    <a:pt x="50" y="254"/>
                  </a:lnTo>
                  <a:lnTo>
                    <a:pt x="50" y="256"/>
                  </a:lnTo>
                  <a:lnTo>
                    <a:pt x="50" y="256"/>
                  </a:lnTo>
                  <a:lnTo>
                    <a:pt x="50" y="258"/>
                  </a:lnTo>
                  <a:lnTo>
                    <a:pt x="50" y="258"/>
                  </a:lnTo>
                  <a:lnTo>
                    <a:pt x="52" y="258"/>
                  </a:lnTo>
                  <a:lnTo>
                    <a:pt x="52" y="258"/>
                  </a:lnTo>
                  <a:lnTo>
                    <a:pt x="52" y="260"/>
                  </a:lnTo>
                  <a:lnTo>
                    <a:pt x="54" y="260"/>
                  </a:lnTo>
                  <a:lnTo>
                    <a:pt x="56" y="260"/>
                  </a:lnTo>
                  <a:lnTo>
                    <a:pt x="58" y="260"/>
                  </a:lnTo>
                  <a:lnTo>
                    <a:pt x="60" y="260"/>
                  </a:lnTo>
                  <a:lnTo>
                    <a:pt x="62" y="260"/>
                  </a:lnTo>
                  <a:lnTo>
                    <a:pt x="64" y="260"/>
                  </a:lnTo>
                  <a:lnTo>
                    <a:pt x="64" y="260"/>
                  </a:lnTo>
                  <a:lnTo>
                    <a:pt x="64" y="260"/>
                  </a:lnTo>
                  <a:lnTo>
                    <a:pt x="64" y="262"/>
                  </a:lnTo>
                  <a:lnTo>
                    <a:pt x="66" y="262"/>
                  </a:lnTo>
                  <a:lnTo>
                    <a:pt x="66" y="264"/>
                  </a:lnTo>
                  <a:lnTo>
                    <a:pt x="66" y="264"/>
                  </a:lnTo>
                  <a:lnTo>
                    <a:pt x="66" y="266"/>
                  </a:lnTo>
                  <a:lnTo>
                    <a:pt x="66" y="268"/>
                  </a:lnTo>
                  <a:lnTo>
                    <a:pt x="66" y="272"/>
                  </a:lnTo>
                  <a:lnTo>
                    <a:pt x="66" y="274"/>
                  </a:lnTo>
                  <a:lnTo>
                    <a:pt x="66" y="274"/>
                  </a:lnTo>
                  <a:lnTo>
                    <a:pt x="66" y="276"/>
                  </a:lnTo>
                  <a:lnTo>
                    <a:pt x="66" y="276"/>
                  </a:lnTo>
                  <a:lnTo>
                    <a:pt x="68" y="278"/>
                  </a:lnTo>
                  <a:lnTo>
                    <a:pt x="68" y="278"/>
                  </a:lnTo>
                  <a:lnTo>
                    <a:pt x="68" y="278"/>
                  </a:lnTo>
                  <a:lnTo>
                    <a:pt x="70" y="278"/>
                  </a:lnTo>
                  <a:lnTo>
                    <a:pt x="70" y="278"/>
                  </a:lnTo>
                  <a:lnTo>
                    <a:pt x="74" y="280"/>
                  </a:lnTo>
                  <a:lnTo>
                    <a:pt x="74" y="280"/>
                  </a:lnTo>
                  <a:lnTo>
                    <a:pt x="76" y="280"/>
                  </a:lnTo>
                  <a:lnTo>
                    <a:pt x="76" y="280"/>
                  </a:lnTo>
                  <a:lnTo>
                    <a:pt x="76" y="282"/>
                  </a:lnTo>
                  <a:lnTo>
                    <a:pt x="78" y="284"/>
                  </a:lnTo>
                  <a:lnTo>
                    <a:pt x="80" y="286"/>
                  </a:lnTo>
                  <a:lnTo>
                    <a:pt x="80" y="288"/>
                  </a:lnTo>
                  <a:lnTo>
                    <a:pt x="82" y="290"/>
                  </a:lnTo>
                  <a:lnTo>
                    <a:pt x="82" y="290"/>
                  </a:lnTo>
                  <a:lnTo>
                    <a:pt x="82" y="290"/>
                  </a:lnTo>
                  <a:lnTo>
                    <a:pt x="82" y="292"/>
                  </a:lnTo>
                  <a:lnTo>
                    <a:pt x="82" y="292"/>
                  </a:lnTo>
                  <a:lnTo>
                    <a:pt x="80" y="294"/>
                  </a:lnTo>
                  <a:lnTo>
                    <a:pt x="80" y="296"/>
                  </a:lnTo>
                  <a:lnTo>
                    <a:pt x="80" y="296"/>
                  </a:lnTo>
                  <a:lnTo>
                    <a:pt x="80" y="298"/>
                  </a:lnTo>
                  <a:lnTo>
                    <a:pt x="80" y="298"/>
                  </a:lnTo>
                  <a:lnTo>
                    <a:pt x="80" y="300"/>
                  </a:lnTo>
                  <a:lnTo>
                    <a:pt x="82" y="300"/>
                  </a:lnTo>
                  <a:lnTo>
                    <a:pt x="82" y="302"/>
                  </a:lnTo>
                  <a:lnTo>
                    <a:pt x="82" y="304"/>
                  </a:lnTo>
                  <a:lnTo>
                    <a:pt x="84" y="304"/>
                  </a:lnTo>
                  <a:lnTo>
                    <a:pt x="84" y="304"/>
                  </a:lnTo>
                  <a:lnTo>
                    <a:pt x="86" y="306"/>
                  </a:lnTo>
                  <a:lnTo>
                    <a:pt x="86" y="306"/>
                  </a:lnTo>
                  <a:lnTo>
                    <a:pt x="88" y="306"/>
                  </a:lnTo>
                  <a:lnTo>
                    <a:pt x="90" y="308"/>
                  </a:lnTo>
                  <a:lnTo>
                    <a:pt x="92" y="308"/>
                  </a:lnTo>
                  <a:lnTo>
                    <a:pt x="94" y="308"/>
                  </a:lnTo>
                  <a:lnTo>
                    <a:pt x="98" y="308"/>
                  </a:lnTo>
                  <a:lnTo>
                    <a:pt x="102" y="306"/>
                  </a:lnTo>
                  <a:lnTo>
                    <a:pt x="106" y="306"/>
                  </a:lnTo>
                  <a:lnTo>
                    <a:pt x="110" y="306"/>
                  </a:lnTo>
                  <a:lnTo>
                    <a:pt x="112" y="306"/>
                  </a:lnTo>
                  <a:lnTo>
                    <a:pt x="114" y="306"/>
                  </a:lnTo>
                  <a:lnTo>
                    <a:pt x="116" y="308"/>
                  </a:lnTo>
                  <a:lnTo>
                    <a:pt x="118" y="308"/>
                  </a:lnTo>
                  <a:lnTo>
                    <a:pt x="118" y="308"/>
                  </a:lnTo>
                  <a:lnTo>
                    <a:pt x="120" y="308"/>
                  </a:lnTo>
                  <a:lnTo>
                    <a:pt x="120" y="310"/>
                  </a:lnTo>
                  <a:lnTo>
                    <a:pt x="122" y="312"/>
                  </a:lnTo>
                  <a:lnTo>
                    <a:pt x="122" y="314"/>
                  </a:lnTo>
                  <a:lnTo>
                    <a:pt x="124" y="316"/>
                  </a:lnTo>
                  <a:lnTo>
                    <a:pt x="124" y="316"/>
                  </a:lnTo>
                  <a:lnTo>
                    <a:pt x="124" y="316"/>
                  </a:lnTo>
                  <a:lnTo>
                    <a:pt x="126" y="316"/>
                  </a:lnTo>
                  <a:lnTo>
                    <a:pt x="128" y="316"/>
                  </a:lnTo>
                  <a:lnTo>
                    <a:pt x="130" y="316"/>
                  </a:lnTo>
                  <a:lnTo>
                    <a:pt x="132" y="318"/>
                  </a:lnTo>
                  <a:lnTo>
                    <a:pt x="132" y="318"/>
                  </a:lnTo>
                  <a:lnTo>
                    <a:pt x="134" y="318"/>
                  </a:lnTo>
                  <a:lnTo>
                    <a:pt x="134" y="318"/>
                  </a:lnTo>
                  <a:lnTo>
                    <a:pt x="134" y="320"/>
                  </a:lnTo>
                  <a:lnTo>
                    <a:pt x="134" y="320"/>
                  </a:lnTo>
                  <a:lnTo>
                    <a:pt x="140" y="320"/>
                  </a:lnTo>
                  <a:lnTo>
                    <a:pt x="148" y="320"/>
                  </a:lnTo>
                  <a:lnTo>
                    <a:pt x="152" y="320"/>
                  </a:lnTo>
                  <a:lnTo>
                    <a:pt x="156" y="322"/>
                  </a:lnTo>
                  <a:lnTo>
                    <a:pt x="160" y="322"/>
                  </a:lnTo>
                  <a:lnTo>
                    <a:pt x="162" y="322"/>
                  </a:lnTo>
                  <a:lnTo>
                    <a:pt x="164" y="322"/>
                  </a:lnTo>
                  <a:lnTo>
                    <a:pt x="166" y="322"/>
                  </a:lnTo>
                  <a:lnTo>
                    <a:pt x="168" y="320"/>
                  </a:lnTo>
                  <a:lnTo>
                    <a:pt x="174" y="318"/>
                  </a:lnTo>
                  <a:lnTo>
                    <a:pt x="180" y="316"/>
                  </a:lnTo>
                  <a:lnTo>
                    <a:pt x="200" y="300"/>
                  </a:lnTo>
                  <a:lnTo>
                    <a:pt x="200" y="298"/>
                  </a:lnTo>
                  <a:lnTo>
                    <a:pt x="200" y="294"/>
                  </a:lnTo>
                  <a:lnTo>
                    <a:pt x="200" y="292"/>
                  </a:lnTo>
                  <a:lnTo>
                    <a:pt x="200" y="292"/>
                  </a:lnTo>
                  <a:lnTo>
                    <a:pt x="200" y="290"/>
                  </a:lnTo>
                  <a:lnTo>
                    <a:pt x="200" y="288"/>
                  </a:lnTo>
                  <a:lnTo>
                    <a:pt x="198" y="288"/>
                  </a:lnTo>
                  <a:lnTo>
                    <a:pt x="198" y="286"/>
                  </a:lnTo>
                  <a:lnTo>
                    <a:pt x="196" y="282"/>
                  </a:lnTo>
                  <a:lnTo>
                    <a:pt x="194" y="280"/>
                  </a:lnTo>
                  <a:lnTo>
                    <a:pt x="192" y="280"/>
                  </a:lnTo>
                  <a:lnTo>
                    <a:pt x="192" y="278"/>
                  </a:lnTo>
                  <a:lnTo>
                    <a:pt x="188" y="276"/>
                  </a:lnTo>
                  <a:lnTo>
                    <a:pt x="186" y="276"/>
                  </a:lnTo>
                  <a:lnTo>
                    <a:pt x="184" y="274"/>
                  </a:lnTo>
                  <a:lnTo>
                    <a:pt x="182" y="272"/>
                  </a:lnTo>
                  <a:lnTo>
                    <a:pt x="182" y="272"/>
                  </a:lnTo>
                  <a:lnTo>
                    <a:pt x="182" y="272"/>
                  </a:lnTo>
                  <a:lnTo>
                    <a:pt x="182" y="270"/>
                  </a:lnTo>
                  <a:lnTo>
                    <a:pt x="182" y="270"/>
                  </a:lnTo>
                  <a:lnTo>
                    <a:pt x="182" y="268"/>
                  </a:lnTo>
                  <a:lnTo>
                    <a:pt x="182" y="266"/>
                  </a:lnTo>
                  <a:lnTo>
                    <a:pt x="182" y="264"/>
                  </a:lnTo>
                  <a:lnTo>
                    <a:pt x="182" y="262"/>
                  </a:lnTo>
                  <a:lnTo>
                    <a:pt x="182" y="260"/>
                  </a:lnTo>
                  <a:lnTo>
                    <a:pt x="182" y="260"/>
                  </a:lnTo>
                  <a:lnTo>
                    <a:pt x="180" y="260"/>
                  </a:lnTo>
                  <a:lnTo>
                    <a:pt x="180" y="260"/>
                  </a:lnTo>
                  <a:lnTo>
                    <a:pt x="180" y="258"/>
                  </a:lnTo>
                  <a:lnTo>
                    <a:pt x="178" y="258"/>
                  </a:lnTo>
                  <a:lnTo>
                    <a:pt x="178" y="258"/>
                  </a:lnTo>
                  <a:lnTo>
                    <a:pt x="176" y="258"/>
                  </a:lnTo>
                  <a:lnTo>
                    <a:pt x="174" y="258"/>
                  </a:lnTo>
                  <a:lnTo>
                    <a:pt x="174" y="258"/>
                  </a:lnTo>
                  <a:lnTo>
                    <a:pt x="172" y="256"/>
                  </a:lnTo>
                  <a:lnTo>
                    <a:pt x="170" y="256"/>
                  </a:lnTo>
                  <a:lnTo>
                    <a:pt x="168" y="254"/>
                  </a:lnTo>
                  <a:lnTo>
                    <a:pt x="168" y="250"/>
                  </a:lnTo>
                  <a:lnTo>
                    <a:pt x="166" y="248"/>
                  </a:lnTo>
                  <a:lnTo>
                    <a:pt x="166" y="248"/>
                  </a:lnTo>
                  <a:lnTo>
                    <a:pt x="166" y="246"/>
                  </a:lnTo>
                  <a:lnTo>
                    <a:pt x="164" y="246"/>
                  </a:lnTo>
                  <a:lnTo>
                    <a:pt x="164" y="244"/>
                  </a:lnTo>
                  <a:lnTo>
                    <a:pt x="164" y="244"/>
                  </a:lnTo>
                  <a:lnTo>
                    <a:pt x="166" y="244"/>
                  </a:lnTo>
                  <a:lnTo>
                    <a:pt x="166" y="242"/>
                  </a:lnTo>
                  <a:lnTo>
                    <a:pt x="166" y="242"/>
                  </a:lnTo>
                  <a:lnTo>
                    <a:pt x="168" y="242"/>
                  </a:lnTo>
                  <a:lnTo>
                    <a:pt x="168" y="242"/>
                  </a:lnTo>
                  <a:lnTo>
                    <a:pt x="170" y="242"/>
                  </a:lnTo>
                  <a:lnTo>
                    <a:pt x="172" y="242"/>
                  </a:lnTo>
                  <a:lnTo>
                    <a:pt x="174" y="242"/>
                  </a:lnTo>
                  <a:lnTo>
                    <a:pt x="176" y="242"/>
                  </a:lnTo>
                  <a:lnTo>
                    <a:pt x="178" y="242"/>
                  </a:lnTo>
                  <a:lnTo>
                    <a:pt x="178" y="242"/>
                  </a:lnTo>
                  <a:lnTo>
                    <a:pt x="180" y="242"/>
                  </a:lnTo>
                  <a:lnTo>
                    <a:pt x="180" y="242"/>
                  </a:lnTo>
                  <a:lnTo>
                    <a:pt x="180" y="242"/>
                  </a:lnTo>
                  <a:lnTo>
                    <a:pt x="182" y="240"/>
                  </a:lnTo>
                  <a:lnTo>
                    <a:pt x="182" y="240"/>
                  </a:lnTo>
                  <a:lnTo>
                    <a:pt x="182" y="238"/>
                  </a:lnTo>
                  <a:lnTo>
                    <a:pt x="182" y="236"/>
                  </a:lnTo>
                  <a:lnTo>
                    <a:pt x="182" y="234"/>
                  </a:lnTo>
                  <a:lnTo>
                    <a:pt x="182" y="230"/>
                  </a:lnTo>
                  <a:lnTo>
                    <a:pt x="182" y="226"/>
                  </a:lnTo>
                  <a:lnTo>
                    <a:pt x="182" y="220"/>
                  </a:lnTo>
                  <a:lnTo>
                    <a:pt x="182" y="218"/>
                  </a:lnTo>
                  <a:lnTo>
                    <a:pt x="182" y="216"/>
                  </a:lnTo>
                  <a:lnTo>
                    <a:pt x="182" y="214"/>
                  </a:lnTo>
                  <a:lnTo>
                    <a:pt x="182" y="212"/>
                  </a:lnTo>
                  <a:lnTo>
                    <a:pt x="184" y="210"/>
                  </a:lnTo>
                  <a:lnTo>
                    <a:pt x="184" y="210"/>
                  </a:lnTo>
                  <a:lnTo>
                    <a:pt x="184" y="210"/>
                  </a:lnTo>
                  <a:lnTo>
                    <a:pt x="184" y="208"/>
                  </a:lnTo>
                  <a:lnTo>
                    <a:pt x="186" y="208"/>
                  </a:lnTo>
                  <a:lnTo>
                    <a:pt x="186" y="208"/>
                  </a:lnTo>
                  <a:lnTo>
                    <a:pt x="186" y="208"/>
                  </a:lnTo>
                  <a:lnTo>
                    <a:pt x="188" y="208"/>
                  </a:lnTo>
                  <a:lnTo>
                    <a:pt x="190" y="208"/>
                  </a:lnTo>
                  <a:lnTo>
                    <a:pt x="192" y="210"/>
                  </a:lnTo>
                  <a:lnTo>
                    <a:pt x="194" y="210"/>
                  </a:lnTo>
                  <a:lnTo>
                    <a:pt x="194" y="210"/>
                  </a:lnTo>
                  <a:lnTo>
                    <a:pt x="196" y="210"/>
                  </a:lnTo>
                  <a:lnTo>
                    <a:pt x="196" y="208"/>
                  </a:lnTo>
                  <a:lnTo>
                    <a:pt x="196" y="208"/>
                  </a:lnTo>
                  <a:lnTo>
                    <a:pt x="196" y="208"/>
                  </a:lnTo>
                  <a:lnTo>
                    <a:pt x="196" y="208"/>
                  </a:lnTo>
                  <a:lnTo>
                    <a:pt x="198" y="206"/>
                  </a:lnTo>
                  <a:lnTo>
                    <a:pt x="198" y="206"/>
                  </a:lnTo>
                  <a:lnTo>
                    <a:pt x="198" y="204"/>
                  </a:lnTo>
                  <a:lnTo>
                    <a:pt x="198" y="202"/>
                  </a:lnTo>
                  <a:lnTo>
                    <a:pt x="198" y="200"/>
                  </a:lnTo>
                  <a:lnTo>
                    <a:pt x="198" y="198"/>
                  </a:lnTo>
                  <a:lnTo>
                    <a:pt x="198" y="192"/>
                  </a:lnTo>
                  <a:lnTo>
                    <a:pt x="196" y="188"/>
                  </a:lnTo>
                  <a:lnTo>
                    <a:pt x="196" y="184"/>
                  </a:lnTo>
                  <a:lnTo>
                    <a:pt x="196" y="182"/>
                  </a:lnTo>
                  <a:lnTo>
                    <a:pt x="196" y="180"/>
                  </a:lnTo>
                  <a:lnTo>
                    <a:pt x="198" y="178"/>
                  </a:lnTo>
                  <a:lnTo>
                    <a:pt x="198" y="176"/>
                  </a:lnTo>
                  <a:lnTo>
                    <a:pt x="198" y="176"/>
                  </a:lnTo>
                  <a:lnTo>
                    <a:pt x="198" y="176"/>
                  </a:lnTo>
                  <a:lnTo>
                    <a:pt x="200" y="174"/>
                  </a:lnTo>
                  <a:lnTo>
                    <a:pt x="200" y="174"/>
                  </a:lnTo>
                  <a:lnTo>
                    <a:pt x="202" y="174"/>
                  </a:lnTo>
                  <a:lnTo>
                    <a:pt x="202" y="174"/>
                  </a:lnTo>
                  <a:lnTo>
                    <a:pt x="204" y="174"/>
                  </a:lnTo>
                  <a:lnTo>
                    <a:pt x="208" y="174"/>
                  </a:lnTo>
                  <a:lnTo>
                    <a:pt x="210" y="174"/>
                  </a:lnTo>
                  <a:lnTo>
                    <a:pt x="214" y="174"/>
                  </a:lnTo>
                  <a:lnTo>
                    <a:pt x="214" y="174"/>
                  </a:lnTo>
                  <a:lnTo>
                    <a:pt x="216" y="174"/>
                  </a:lnTo>
                  <a:lnTo>
                    <a:pt x="216" y="172"/>
                  </a:lnTo>
                  <a:lnTo>
                    <a:pt x="216" y="172"/>
                  </a:lnTo>
                  <a:lnTo>
                    <a:pt x="218" y="170"/>
                  </a:lnTo>
                  <a:lnTo>
                    <a:pt x="218" y="168"/>
                  </a:lnTo>
                  <a:lnTo>
                    <a:pt x="220" y="166"/>
                  </a:lnTo>
                  <a:lnTo>
                    <a:pt x="220" y="164"/>
                  </a:lnTo>
                  <a:lnTo>
                    <a:pt x="220" y="162"/>
                  </a:lnTo>
                  <a:lnTo>
                    <a:pt x="220" y="158"/>
                  </a:lnTo>
                  <a:lnTo>
                    <a:pt x="220" y="156"/>
                  </a:lnTo>
                  <a:lnTo>
                    <a:pt x="220" y="152"/>
                  </a:lnTo>
                  <a:lnTo>
                    <a:pt x="220" y="150"/>
                  </a:lnTo>
                  <a:lnTo>
                    <a:pt x="220" y="146"/>
                  </a:lnTo>
                  <a:lnTo>
                    <a:pt x="220" y="144"/>
                  </a:lnTo>
                  <a:lnTo>
                    <a:pt x="218" y="140"/>
                  </a:lnTo>
                  <a:lnTo>
                    <a:pt x="218" y="138"/>
                  </a:lnTo>
                  <a:lnTo>
                    <a:pt x="218" y="136"/>
                  </a:lnTo>
                  <a:lnTo>
                    <a:pt x="216" y="134"/>
                  </a:lnTo>
                  <a:lnTo>
                    <a:pt x="214" y="132"/>
                  </a:lnTo>
                  <a:lnTo>
                    <a:pt x="214" y="132"/>
                  </a:lnTo>
                  <a:lnTo>
                    <a:pt x="214" y="132"/>
                  </a:lnTo>
                  <a:lnTo>
                    <a:pt x="212" y="132"/>
                  </a:lnTo>
                  <a:lnTo>
                    <a:pt x="212" y="132"/>
                  </a:lnTo>
                  <a:lnTo>
                    <a:pt x="210" y="132"/>
                  </a:lnTo>
                  <a:lnTo>
                    <a:pt x="208" y="132"/>
                  </a:lnTo>
                  <a:lnTo>
                    <a:pt x="206" y="130"/>
                  </a:lnTo>
                  <a:lnTo>
                    <a:pt x="206" y="130"/>
                  </a:lnTo>
                  <a:lnTo>
                    <a:pt x="206" y="130"/>
                  </a:lnTo>
                  <a:lnTo>
                    <a:pt x="204" y="130"/>
                  </a:lnTo>
                  <a:lnTo>
                    <a:pt x="204" y="128"/>
                  </a:lnTo>
                  <a:lnTo>
                    <a:pt x="204" y="128"/>
                  </a:lnTo>
                  <a:lnTo>
                    <a:pt x="204" y="126"/>
                  </a:lnTo>
                  <a:lnTo>
                    <a:pt x="204" y="124"/>
                  </a:lnTo>
                  <a:lnTo>
                    <a:pt x="204" y="122"/>
                  </a:lnTo>
                  <a:lnTo>
                    <a:pt x="204" y="120"/>
                  </a:lnTo>
                  <a:lnTo>
                    <a:pt x="204" y="120"/>
                  </a:lnTo>
                  <a:lnTo>
                    <a:pt x="206" y="118"/>
                  </a:lnTo>
                  <a:lnTo>
                    <a:pt x="206" y="118"/>
                  </a:lnTo>
                  <a:lnTo>
                    <a:pt x="206" y="118"/>
                  </a:lnTo>
                  <a:lnTo>
                    <a:pt x="206" y="118"/>
                  </a:lnTo>
                  <a:lnTo>
                    <a:pt x="208" y="118"/>
                  </a:lnTo>
                  <a:lnTo>
                    <a:pt x="208" y="118"/>
                  </a:lnTo>
                  <a:lnTo>
                    <a:pt x="210" y="118"/>
                  </a:lnTo>
                  <a:lnTo>
                    <a:pt x="212" y="118"/>
                  </a:lnTo>
                  <a:lnTo>
                    <a:pt x="214" y="120"/>
                  </a:lnTo>
                  <a:lnTo>
                    <a:pt x="216" y="120"/>
                  </a:lnTo>
                  <a:lnTo>
                    <a:pt x="216" y="120"/>
                  </a:lnTo>
                  <a:lnTo>
                    <a:pt x="218" y="120"/>
                  </a:lnTo>
                  <a:lnTo>
                    <a:pt x="218" y="120"/>
                  </a:lnTo>
                  <a:lnTo>
                    <a:pt x="218" y="120"/>
                  </a:lnTo>
                  <a:lnTo>
                    <a:pt x="218" y="118"/>
                  </a:lnTo>
                  <a:lnTo>
                    <a:pt x="220" y="118"/>
                  </a:lnTo>
                  <a:lnTo>
                    <a:pt x="220" y="118"/>
                  </a:lnTo>
                  <a:lnTo>
                    <a:pt x="220" y="116"/>
                  </a:lnTo>
                  <a:lnTo>
                    <a:pt x="220" y="116"/>
                  </a:lnTo>
                  <a:lnTo>
                    <a:pt x="220" y="114"/>
                  </a:lnTo>
                  <a:lnTo>
                    <a:pt x="218" y="110"/>
                  </a:lnTo>
                  <a:lnTo>
                    <a:pt x="218" y="108"/>
                  </a:lnTo>
                  <a:lnTo>
                    <a:pt x="216" y="106"/>
                  </a:lnTo>
                  <a:lnTo>
                    <a:pt x="216" y="104"/>
                  </a:lnTo>
                  <a:lnTo>
                    <a:pt x="214" y="100"/>
                  </a:lnTo>
                  <a:lnTo>
                    <a:pt x="212" y="96"/>
                  </a:lnTo>
                  <a:lnTo>
                    <a:pt x="212" y="94"/>
                  </a:lnTo>
                  <a:lnTo>
                    <a:pt x="212" y="92"/>
                  </a:lnTo>
                  <a:lnTo>
                    <a:pt x="212" y="88"/>
                  </a:lnTo>
                  <a:lnTo>
                    <a:pt x="210" y="84"/>
                  </a:lnTo>
                  <a:lnTo>
                    <a:pt x="210" y="80"/>
                  </a:lnTo>
                  <a:lnTo>
                    <a:pt x="210" y="78"/>
                  </a:lnTo>
                  <a:lnTo>
                    <a:pt x="210" y="76"/>
                  </a:lnTo>
                  <a:lnTo>
                    <a:pt x="210" y="74"/>
                  </a:lnTo>
                  <a:lnTo>
                    <a:pt x="210" y="72"/>
                  </a:lnTo>
                  <a:lnTo>
                    <a:pt x="212" y="70"/>
                  </a:lnTo>
                  <a:lnTo>
                    <a:pt x="212" y="66"/>
                  </a:lnTo>
                  <a:lnTo>
                    <a:pt x="214" y="62"/>
                  </a:lnTo>
                  <a:lnTo>
                    <a:pt x="216" y="58"/>
                  </a:lnTo>
                  <a:lnTo>
                    <a:pt x="220" y="50"/>
                  </a:lnTo>
                  <a:lnTo>
                    <a:pt x="220" y="46"/>
                  </a:lnTo>
                  <a:lnTo>
                    <a:pt x="220" y="40"/>
                  </a:lnTo>
                  <a:lnTo>
                    <a:pt x="220" y="36"/>
                  </a:lnTo>
                  <a:lnTo>
                    <a:pt x="220" y="34"/>
                  </a:lnTo>
                  <a:lnTo>
                    <a:pt x="220" y="32"/>
                  </a:lnTo>
                  <a:lnTo>
                    <a:pt x="218" y="28"/>
                  </a:lnTo>
                  <a:lnTo>
                    <a:pt x="216" y="24"/>
                  </a:lnTo>
                  <a:lnTo>
                    <a:pt x="216" y="20"/>
                  </a:lnTo>
                  <a:lnTo>
                    <a:pt x="214" y="18"/>
                  </a:lnTo>
                  <a:lnTo>
                    <a:pt x="212" y="16"/>
                  </a:lnTo>
                  <a:lnTo>
                    <a:pt x="212" y="14"/>
                  </a:lnTo>
                  <a:lnTo>
                    <a:pt x="212" y="14"/>
                  </a:lnTo>
                  <a:lnTo>
                    <a:pt x="210" y="12"/>
                  </a:lnTo>
                  <a:lnTo>
                    <a:pt x="208" y="10"/>
                  </a:lnTo>
                  <a:lnTo>
                    <a:pt x="204" y="8"/>
                  </a:lnTo>
                  <a:lnTo>
                    <a:pt x="200" y="6"/>
                  </a:lnTo>
                  <a:lnTo>
                    <a:pt x="196" y="2"/>
                  </a:lnTo>
                  <a:lnTo>
                    <a:pt x="192" y="0"/>
                  </a:lnTo>
                  <a:lnTo>
                    <a:pt x="190" y="2"/>
                  </a:lnTo>
                  <a:lnTo>
                    <a:pt x="188" y="6"/>
                  </a:lnTo>
                  <a:lnTo>
                    <a:pt x="184" y="10"/>
                  </a:lnTo>
                  <a:lnTo>
                    <a:pt x="180" y="14"/>
                  </a:lnTo>
                  <a:lnTo>
                    <a:pt x="178" y="16"/>
                  </a:lnTo>
                  <a:lnTo>
                    <a:pt x="176" y="16"/>
                  </a:lnTo>
                  <a:lnTo>
                    <a:pt x="174" y="18"/>
                  </a:lnTo>
                  <a:lnTo>
                    <a:pt x="172" y="18"/>
                  </a:lnTo>
                  <a:lnTo>
                    <a:pt x="170" y="20"/>
                  </a:lnTo>
                  <a:lnTo>
                    <a:pt x="168" y="20"/>
                  </a:lnTo>
                  <a:lnTo>
                    <a:pt x="168" y="20"/>
                  </a:lnTo>
                  <a:lnTo>
                    <a:pt x="168" y="20"/>
                  </a:lnTo>
                  <a:lnTo>
                    <a:pt x="166" y="20"/>
                  </a:lnTo>
                  <a:lnTo>
                    <a:pt x="166" y="18"/>
                  </a:lnTo>
                  <a:lnTo>
                    <a:pt x="164" y="18"/>
                  </a:lnTo>
                  <a:lnTo>
                    <a:pt x="164" y="16"/>
                  </a:lnTo>
                  <a:lnTo>
                    <a:pt x="162" y="14"/>
                  </a:lnTo>
                  <a:lnTo>
                    <a:pt x="160" y="12"/>
                  </a:lnTo>
                  <a:lnTo>
                    <a:pt x="160" y="12"/>
                  </a:lnTo>
                  <a:lnTo>
                    <a:pt x="158" y="12"/>
                  </a:lnTo>
                  <a:lnTo>
                    <a:pt x="156" y="12"/>
                  </a:lnTo>
                  <a:lnTo>
                    <a:pt x="154" y="10"/>
                  </a:lnTo>
                  <a:lnTo>
                    <a:pt x="150" y="10"/>
                  </a:lnTo>
                  <a:lnTo>
                    <a:pt x="144" y="8"/>
                  </a:lnTo>
                  <a:lnTo>
                    <a:pt x="138" y="8"/>
                  </a:lnTo>
                  <a:lnTo>
                    <a:pt x="132" y="8"/>
                  </a:lnTo>
                  <a:lnTo>
                    <a:pt x="126" y="6"/>
                  </a:lnTo>
                  <a:lnTo>
                    <a:pt x="118" y="6"/>
                  </a:lnTo>
                  <a:lnTo>
                    <a:pt x="112" y="6"/>
                  </a:lnTo>
                  <a:lnTo>
                    <a:pt x="106" y="6"/>
                  </a:lnTo>
                  <a:lnTo>
                    <a:pt x="98" y="6"/>
                  </a:lnTo>
                  <a:lnTo>
                    <a:pt x="92" y="8"/>
                  </a:lnTo>
                  <a:lnTo>
                    <a:pt x="86" y="8"/>
                  </a:lnTo>
                  <a:lnTo>
                    <a:pt x="80" y="8"/>
                  </a:lnTo>
                  <a:lnTo>
                    <a:pt x="74" y="10"/>
                  </a:lnTo>
                  <a:lnTo>
                    <a:pt x="70" y="10"/>
                  </a:lnTo>
                  <a:lnTo>
                    <a:pt x="64" y="12"/>
                  </a:lnTo>
                  <a:lnTo>
                    <a:pt x="64" y="12"/>
                  </a:lnTo>
                  <a:lnTo>
                    <a:pt x="62" y="14"/>
                  </a:lnTo>
                  <a:lnTo>
                    <a:pt x="58" y="16"/>
                  </a:lnTo>
                  <a:lnTo>
                    <a:pt x="56" y="18"/>
                  </a:lnTo>
                  <a:lnTo>
                    <a:pt x="54" y="20"/>
                  </a:lnTo>
                  <a:lnTo>
                    <a:pt x="48" y="22"/>
                  </a:lnTo>
                  <a:lnTo>
                    <a:pt x="44" y="24"/>
                  </a:lnTo>
                  <a:lnTo>
                    <a:pt x="44" y="28"/>
                  </a:lnTo>
                  <a:lnTo>
                    <a:pt x="46" y="32"/>
                  </a:lnTo>
                  <a:lnTo>
                    <a:pt x="46" y="36"/>
                  </a:lnTo>
                  <a:lnTo>
                    <a:pt x="46" y="40"/>
                  </a:lnTo>
                  <a:lnTo>
                    <a:pt x="46" y="42"/>
                  </a:lnTo>
                  <a:lnTo>
                    <a:pt x="44" y="44"/>
                  </a:lnTo>
                  <a:lnTo>
                    <a:pt x="44" y="46"/>
                  </a:lnTo>
                  <a:lnTo>
                    <a:pt x="44" y="48"/>
                  </a:lnTo>
                  <a:lnTo>
                    <a:pt x="44" y="48"/>
                  </a:lnTo>
                  <a:lnTo>
                    <a:pt x="42" y="50"/>
                  </a:lnTo>
                  <a:lnTo>
                    <a:pt x="42" y="50"/>
                  </a:lnTo>
                  <a:lnTo>
                    <a:pt x="42" y="50"/>
                  </a:lnTo>
                  <a:lnTo>
                    <a:pt x="42" y="50"/>
                  </a:lnTo>
                  <a:lnTo>
                    <a:pt x="40" y="52"/>
                  </a:lnTo>
                  <a:lnTo>
                    <a:pt x="38" y="52"/>
                  </a:lnTo>
                  <a:lnTo>
                    <a:pt x="36" y="52"/>
                  </a:lnTo>
                  <a:lnTo>
                    <a:pt x="36" y="52"/>
                  </a:lnTo>
                  <a:lnTo>
                    <a:pt x="34" y="52"/>
                  </a:lnTo>
                  <a:lnTo>
                    <a:pt x="34" y="52"/>
                  </a:lnTo>
                  <a:lnTo>
                    <a:pt x="32" y="52"/>
                  </a:lnTo>
                  <a:lnTo>
                    <a:pt x="32" y="54"/>
                  </a:lnTo>
                  <a:lnTo>
                    <a:pt x="32" y="56"/>
                  </a:lnTo>
                  <a:lnTo>
                    <a:pt x="32" y="58"/>
                  </a:lnTo>
                  <a:lnTo>
                    <a:pt x="32" y="58"/>
                  </a:lnTo>
                  <a:lnTo>
                    <a:pt x="32" y="62"/>
                  </a:lnTo>
                  <a:lnTo>
                    <a:pt x="32" y="64"/>
                  </a:lnTo>
                  <a:lnTo>
                    <a:pt x="32" y="68"/>
                  </a:lnTo>
                  <a:lnTo>
                    <a:pt x="34" y="72"/>
                  </a:lnTo>
                  <a:lnTo>
                    <a:pt x="34" y="76"/>
                  </a:lnTo>
                  <a:lnTo>
                    <a:pt x="36" y="7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4" name="Freeform 412"/>
            <p:cNvSpPr>
              <a:spLocks/>
            </p:cNvSpPr>
            <p:nvPr/>
          </p:nvSpPr>
          <p:spPr bwMode="auto">
            <a:xfrm>
              <a:off x="4477061" y="4583856"/>
              <a:ext cx="162815" cy="190528"/>
            </a:xfrm>
            <a:custGeom>
              <a:avLst/>
              <a:gdLst>
                <a:gd name="T0" fmla="*/ 60 w 94"/>
                <a:gd name="T1" fmla="*/ 0 h 110"/>
                <a:gd name="T2" fmla="*/ 48 w 94"/>
                <a:gd name="T3" fmla="*/ 0 h 110"/>
                <a:gd name="T4" fmla="*/ 42 w 94"/>
                <a:gd name="T5" fmla="*/ 4 h 110"/>
                <a:gd name="T6" fmla="*/ 38 w 94"/>
                <a:gd name="T7" fmla="*/ 8 h 110"/>
                <a:gd name="T8" fmla="*/ 38 w 94"/>
                <a:gd name="T9" fmla="*/ 16 h 110"/>
                <a:gd name="T10" fmla="*/ 36 w 94"/>
                <a:gd name="T11" fmla="*/ 24 h 110"/>
                <a:gd name="T12" fmla="*/ 34 w 94"/>
                <a:gd name="T13" fmla="*/ 26 h 110"/>
                <a:gd name="T14" fmla="*/ 28 w 94"/>
                <a:gd name="T15" fmla="*/ 28 h 110"/>
                <a:gd name="T16" fmla="*/ 20 w 94"/>
                <a:gd name="T17" fmla="*/ 28 h 110"/>
                <a:gd name="T18" fmla="*/ 16 w 94"/>
                <a:gd name="T19" fmla="*/ 24 h 110"/>
                <a:gd name="T20" fmla="*/ 16 w 94"/>
                <a:gd name="T21" fmla="*/ 34 h 110"/>
                <a:gd name="T22" fmla="*/ 16 w 94"/>
                <a:gd name="T23" fmla="*/ 42 h 110"/>
                <a:gd name="T24" fmla="*/ 14 w 94"/>
                <a:gd name="T25" fmla="*/ 44 h 110"/>
                <a:gd name="T26" fmla="*/ 4 w 94"/>
                <a:gd name="T27" fmla="*/ 48 h 110"/>
                <a:gd name="T28" fmla="*/ 2 w 94"/>
                <a:gd name="T29" fmla="*/ 50 h 110"/>
                <a:gd name="T30" fmla="*/ 2 w 94"/>
                <a:gd name="T31" fmla="*/ 52 h 110"/>
                <a:gd name="T32" fmla="*/ 4 w 94"/>
                <a:gd name="T33" fmla="*/ 54 h 110"/>
                <a:gd name="T34" fmla="*/ 8 w 94"/>
                <a:gd name="T35" fmla="*/ 56 h 110"/>
                <a:gd name="T36" fmla="*/ 8 w 94"/>
                <a:gd name="T37" fmla="*/ 62 h 110"/>
                <a:gd name="T38" fmla="*/ 8 w 94"/>
                <a:gd name="T39" fmla="*/ 68 h 110"/>
                <a:gd name="T40" fmla="*/ 10 w 94"/>
                <a:gd name="T41" fmla="*/ 74 h 110"/>
                <a:gd name="T42" fmla="*/ 22 w 94"/>
                <a:gd name="T43" fmla="*/ 82 h 110"/>
                <a:gd name="T44" fmla="*/ 32 w 94"/>
                <a:gd name="T45" fmla="*/ 94 h 110"/>
                <a:gd name="T46" fmla="*/ 48 w 94"/>
                <a:gd name="T47" fmla="*/ 106 h 110"/>
                <a:gd name="T48" fmla="*/ 54 w 94"/>
                <a:gd name="T49" fmla="*/ 96 h 110"/>
                <a:gd name="T50" fmla="*/ 56 w 94"/>
                <a:gd name="T51" fmla="*/ 90 h 110"/>
                <a:gd name="T52" fmla="*/ 54 w 94"/>
                <a:gd name="T53" fmla="*/ 88 h 110"/>
                <a:gd name="T54" fmla="*/ 48 w 94"/>
                <a:gd name="T55" fmla="*/ 86 h 110"/>
                <a:gd name="T56" fmla="*/ 46 w 94"/>
                <a:gd name="T57" fmla="*/ 80 h 110"/>
                <a:gd name="T58" fmla="*/ 48 w 94"/>
                <a:gd name="T59" fmla="*/ 76 h 110"/>
                <a:gd name="T60" fmla="*/ 50 w 94"/>
                <a:gd name="T61" fmla="*/ 74 h 110"/>
                <a:gd name="T62" fmla="*/ 60 w 94"/>
                <a:gd name="T63" fmla="*/ 70 h 110"/>
                <a:gd name="T64" fmla="*/ 64 w 94"/>
                <a:gd name="T65" fmla="*/ 70 h 110"/>
                <a:gd name="T66" fmla="*/ 68 w 94"/>
                <a:gd name="T67" fmla="*/ 74 h 110"/>
                <a:gd name="T68" fmla="*/ 72 w 94"/>
                <a:gd name="T69" fmla="*/ 80 h 110"/>
                <a:gd name="T70" fmla="*/ 74 w 94"/>
                <a:gd name="T71" fmla="*/ 80 h 110"/>
                <a:gd name="T72" fmla="*/ 80 w 94"/>
                <a:gd name="T73" fmla="*/ 78 h 110"/>
                <a:gd name="T74" fmla="*/ 88 w 94"/>
                <a:gd name="T75" fmla="*/ 72 h 110"/>
                <a:gd name="T76" fmla="*/ 92 w 94"/>
                <a:gd name="T77" fmla="*/ 64 h 110"/>
                <a:gd name="T78" fmla="*/ 94 w 94"/>
                <a:gd name="T79" fmla="*/ 58 h 110"/>
                <a:gd name="T80" fmla="*/ 92 w 94"/>
                <a:gd name="T81" fmla="*/ 50 h 110"/>
                <a:gd name="T82" fmla="*/ 90 w 94"/>
                <a:gd name="T83" fmla="*/ 46 h 110"/>
                <a:gd name="T84" fmla="*/ 84 w 94"/>
                <a:gd name="T85" fmla="*/ 40 h 110"/>
                <a:gd name="T86" fmla="*/ 80 w 94"/>
                <a:gd name="T87" fmla="*/ 32 h 110"/>
                <a:gd name="T88" fmla="*/ 80 w 94"/>
                <a:gd name="T89" fmla="*/ 28 h 110"/>
                <a:gd name="T90" fmla="*/ 82 w 94"/>
                <a:gd name="T91" fmla="*/ 22 h 110"/>
                <a:gd name="T92" fmla="*/ 82 w 94"/>
                <a:gd name="T93" fmla="*/ 18 h 110"/>
                <a:gd name="T94" fmla="*/ 80 w 94"/>
                <a:gd name="T95" fmla="*/ 14 h 110"/>
                <a:gd name="T96" fmla="*/ 76 w 94"/>
                <a:gd name="T97" fmla="*/ 12 h 110"/>
                <a:gd name="T98" fmla="*/ 70 w 94"/>
                <a:gd name="T99" fmla="*/ 12 h 110"/>
                <a:gd name="T100" fmla="*/ 70 w 94"/>
                <a:gd name="T101" fmla="*/ 12 h 110"/>
                <a:gd name="T102" fmla="*/ 68 w 94"/>
                <a:gd name="T10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10">
                  <a:moveTo>
                    <a:pt x="70" y="0"/>
                  </a:moveTo>
                  <a:lnTo>
                    <a:pt x="70" y="0"/>
                  </a:lnTo>
                  <a:lnTo>
                    <a:pt x="66" y="0"/>
                  </a:lnTo>
                  <a:lnTo>
                    <a:pt x="60" y="0"/>
                  </a:lnTo>
                  <a:lnTo>
                    <a:pt x="56" y="0"/>
                  </a:lnTo>
                  <a:lnTo>
                    <a:pt x="52" y="0"/>
                  </a:lnTo>
                  <a:lnTo>
                    <a:pt x="50" y="0"/>
                  </a:lnTo>
                  <a:lnTo>
                    <a:pt x="48" y="0"/>
                  </a:lnTo>
                  <a:lnTo>
                    <a:pt x="46" y="0"/>
                  </a:lnTo>
                  <a:lnTo>
                    <a:pt x="46" y="2"/>
                  </a:lnTo>
                  <a:lnTo>
                    <a:pt x="44" y="2"/>
                  </a:lnTo>
                  <a:lnTo>
                    <a:pt x="42" y="4"/>
                  </a:lnTo>
                  <a:lnTo>
                    <a:pt x="40" y="4"/>
                  </a:lnTo>
                  <a:lnTo>
                    <a:pt x="40" y="6"/>
                  </a:lnTo>
                  <a:lnTo>
                    <a:pt x="38" y="6"/>
                  </a:lnTo>
                  <a:lnTo>
                    <a:pt x="38" y="8"/>
                  </a:lnTo>
                  <a:lnTo>
                    <a:pt x="38" y="8"/>
                  </a:lnTo>
                  <a:lnTo>
                    <a:pt x="38" y="10"/>
                  </a:lnTo>
                  <a:lnTo>
                    <a:pt x="38" y="12"/>
                  </a:lnTo>
                  <a:lnTo>
                    <a:pt x="38" y="16"/>
                  </a:lnTo>
                  <a:lnTo>
                    <a:pt x="38" y="16"/>
                  </a:lnTo>
                  <a:lnTo>
                    <a:pt x="38" y="20"/>
                  </a:lnTo>
                  <a:lnTo>
                    <a:pt x="36" y="22"/>
                  </a:lnTo>
                  <a:lnTo>
                    <a:pt x="36" y="24"/>
                  </a:lnTo>
                  <a:lnTo>
                    <a:pt x="36" y="26"/>
                  </a:lnTo>
                  <a:lnTo>
                    <a:pt x="34" y="26"/>
                  </a:lnTo>
                  <a:lnTo>
                    <a:pt x="34" y="26"/>
                  </a:lnTo>
                  <a:lnTo>
                    <a:pt x="34" y="26"/>
                  </a:lnTo>
                  <a:lnTo>
                    <a:pt x="34" y="28"/>
                  </a:lnTo>
                  <a:lnTo>
                    <a:pt x="32" y="28"/>
                  </a:lnTo>
                  <a:lnTo>
                    <a:pt x="30" y="28"/>
                  </a:lnTo>
                  <a:lnTo>
                    <a:pt x="28" y="28"/>
                  </a:lnTo>
                  <a:lnTo>
                    <a:pt x="24" y="28"/>
                  </a:lnTo>
                  <a:lnTo>
                    <a:pt x="22" y="28"/>
                  </a:lnTo>
                  <a:lnTo>
                    <a:pt x="20" y="28"/>
                  </a:lnTo>
                  <a:lnTo>
                    <a:pt x="20" y="28"/>
                  </a:lnTo>
                  <a:lnTo>
                    <a:pt x="18" y="28"/>
                  </a:lnTo>
                  <a:lnTo>
                    <a:pt x="18" y="26"/>
                  </a:lnTo>
                  <a:lnTo>
                    <a:pt x="16" y="26"/>
                  </a:lnTo>
                  <a:lnTo>
                    <a:pt x="16" y="24"/>
                  </a:lnTo>
                  <a:lnTo>
                    <a:pt x="16" y="26"/>
                  </a:lnTo>
                  <a:lnTo>
                    <a:pt x="16" y="28"/>
                  </a:lnTo>
                  <a:lnTo>
                    <a:pt x="16" y="32"/>
                  </a:lnTo>
                  <a:lnTo>
                    <a:pt x="16" y="34"/>
                  </a:lnTo>
                  <a:lnTo>
                    <a:pt x="16" y="38"/>
                  </a:lnTo>
                  <a:lnTo>
                    <a:pt x="16" y="40"/>
                  </a:lnTo>
                  <a:lnTo>
                    <a:pt x="16" y="40"/>
                  </a:lnTo>
                  <a:lnTo>
                    <a:pt x="16" y="42"/>
                  </a:lnTo>
                  <a:lnTo>
                    <a:pt x="16" y="42"/>
                  </a:lnTo>
                  <a:lnTo>
                    <a:pt x="16" y="44"/>
                  </a:lnTo>
                  <a:lnTo>
                    <a:pt x="14" y="44"/>
                  </a:lnTo>
                  <a:lnTo>
                    <a:pt x="14" y="44"/>
                  </a:lnTo>
                  <a:lnTo>
                    <a:pt x="12" y="46"/>
                  </a:lnTo>
                  <a:lnTo>
                    <a:pt x="10" y="46"/>
                  </a:lnTo>
                  <a:lnTo>
                    <a:pt x="6" y="46"/>
                  </a:lnTo>
                  <a:lnTo>
                    <a:pt x="4" y="48"/>
                  </a:lnTo>
                  <a:lnTo>
                    <a:pt x="4" y="48"/>
                  </a:lnTo>
                  <a:lnTo>
                    <a:pt x="4" y="48"/>
                  </a:lnTo>
                  <a:lnTo>
                    <a:pt x="2" y="48"/>
                  </a:lnTo>
                  <a:lnTo>
                    <a:pt x="2" y="50"/>
                  </a:lnTo>
                  <a:lnTo>
                    <a:pt x="2" y="52"/>
                  </a:lnTo>
                  <a:lnTo>
                    <a:pt x="0" y="52"/>
                  </a:lnTo>
                  <a:lnTo>
                    <a:pt x="0" y="52"/>
                  </a:lnTo>
                  <a:lnTo>
                    <a:pt x="2" y="52"/>
                  </a:lnTo>
                  <a:lnTo>
                    <a:pt x="2" y="54"/>
                  </a:lnTo>
                  <a:lnTo>
                    <a:pt x="2" y="54"/>
                  </a:lnTo>
                  <a:lnTo>
                    <a:pt x="4" y="54"/>
                  </a:lnTo>
                  <a:lnTo>
                    <a:pt x="4" y="54"/>
                  </a:lnTo>
                  <a:lnTo>
                    <a:pt x="6" y="54"/>
                  </a:lnTo>
                  <a:lnTo>
                    <a:pt x="8" y="56"/>
                  </a:lnTo>
                  <a:lnTo>
                    <a:pt x="8" y="56"/>
                  </a:lnTo>
                  <a:lnTo>
                    <a:pt x="8" y="56"/>
                  </a:lnTo>
                  <a:lnTo>
                    <a:pt x="8" y="56"/>
                  </a:lnTo>
                  <a:lnTo>
                    <a:pt x="8" y="58"/>
                  </a:lnTo>
                  <a:lnTo>
                    <a:pt x="8" y="60"/>
                  </a:lnTo>
                  <a:lnTo>
                    <a:pt x="8" y="62"/>
                  </a:lnTo>
                  <a:lnTo>
                    <a:pt x="8" y="64"/>
                  </a:lnTo>
                  <a:lnTo>
                    <a:pt x="8" y="66"/>
                  </a:lnTo>
                  <a:lnTo>
                    <a:pt x="6" y="68"/>
                  </a:lnTo>
                  <a:lnTo>
                    <a:pt x="8" y="68"/>
                  </a:lnTo>
                  <a:lnTo>
                    <a:pt x="8" y="70"/>
                  </a:lnTo>
                  <a:lnTo>
                    <a:pt x="8" y="70"/>
                  </a:lnTo>
                  <a:lnTo>
                    <a:pt x="8" y="72"/>
                  </a:lnTo>
                  <a:lnTo>
                    <a:pt x="10" y="74"/>
                  </a:lnTo>
                  <a:lnTo>
                    <a:pt x="10" y="74"/>
                  </a:lnTo>
                  <a:lnTo>
                    <a:pt x="12" y="76"/>
                  </a:lnTo>
                  <a:lnTo>
                    <a:pt x="16" y="78"/>
                  </a:lnTo>
                  <a:lnTo>
                    <a:pt x="22" y="82"/>
                  </a:lnTo>
                  <a:lnTo>
                    <a:pt x="24" y="84"/>
                  </a:lnTo>
                  <a:lnTo>
                    <a:pt x="26" y="86"/>
                  </a:lnTo>
                  <a:lnTo>
                    <a:pt x="28" y="90"/>
                  </a:lnTo>
                  <a:lnTo>
                    <a:pt x="32" y="94"/>
                  </a:lnTo>
                  <a:lnTo>
                    <a:pt x="36" y="100"/>
                  </a:lnTo>
                  <a:lnTo>
                    <a:pt x="40" y="104"/>
                  </a:lnTo>
                  <a:lnTo>
                    <a:pt x="46" y="110"/>
                  </a:lnTo>
                  <a:lnTo>
                    <a:pt x="48" y="106"/>
                  </a:lnTo>
                  <a:lnTo>
                    <a:pt x="50" y="104"/>
                  </a:lnTo>
                  <a:lnTo>
                    <a:pt x="50" y="102"/>
                  </a:lnTo>
                  <a:lnTo>
                    <a:pt x="52" y="100"/>
                  </a:lnTo>
                  <a:lnTo>
                    <a:pt x="54" y="96"/>
                  </a:lnTo>
                  <a:lnTo>
                    <a:pt x="54" y="94"/>
                  </a:lnTo>
                  <a:lnTo>
                    <a:pt x="56" y="92"/>
                  </a:lnTo>
                  <a:lnTo>
                    <a:pt x="56" y="92"/>
                  </a:lnTo>
                  <a:lnTo>
                    <a:pt x="56" y="90"/>
                  </a:lnTo>
                  <a:lnTo>
                    <a:pt x="56" y="90"/>
                  </a:lnTo>
                  <a:lnTo>
                    <a:pt x="56" y="90"/>
                  </a:lnTo>
                  <a:lnTo>
                    <a:pt x="54" y="90"/>
                  </a:lnTo>
                  <a:lnTo>
                    <a:pt x="54" y="88"/>
                  </a:lnTo>
                  <a:lnTo>
                    <a:pt x="54" y="88"/>
                  </a:lnTo>
                  <a:lnTo>
                    <a:pt x="52" y="88"/>
                  </a:lnTo>
                  <a:lnTo>
                    <a:pt x="50" y="86"/>
                  </a:lnTo>
                  <a:lnTo>
                    <a:pt x="48" y="86"/>
                  </a:lnTo>
                  <a:lnTo>
                    <a:pt x="48" y="84"/>
                  </a:lnTo>
                  <a:lnTo>
                    <a:pt x="48" y="84"/>
                  </a:lnTo>
                  <a:lnTo>
                    <a:pt x="48" y="82"/>
                  </a:lnTo>
                  <a:lnTo>
                    <a:pt x="46" y="80"/>
                  </a:lnTo>
                  <a:lnTo>
                    <a:pt x="46" y="80"/>
                  </a:lnTo>
                  <a:lnTo>
                    <a:pt x="46" y="78"/>
                  </a:lnTo>
                  <a:lnTo>
                    <a:pt x="46" y="78"/>
                  </a:lnTo>
                  <a:lnTo>
                    <a:pt x="48" y="76"/>
                  </a:lnTo>
                  <a:lnTo>
                    <a:pt x="48" y="76"/>
                  </a:lnTo>
                  <a:lnTo>
                    <a:pt x="48" y="76"/>
                  </a:lnTo>
                  <a:lnTo>
                    <a:pt x="48" y="76"/>
                  </a:lnTo>
                  <a:lnTo>
                    <a:pt x="50" y="74"/>
                  </a:lnTo>
                  <a:lnTo>
                    <a:pt x="52" y="74"/>
                  </a:lnTo>
                  <a:lnTo>
                    <a:pt x="54" y="72"/>
                  </a:lnTo>
                  <a:lnTo>
                    <a:pt x="58" y="72"/>
                  </a:lnTo>
                  <a:lnTo>
                    <a:pt x="60" y="70"/>
                  </a:lnTo>
                  <a:lnTo>
                    <a:pt x="62" y="70"/>
                  </a:lnTo>
                  <a:lnTo>
                    <a:pt x="64" y="70"/>
                  </a:lnTo>
                  <a:lnTo>
                    <a:pt x="64" y="70"/>
                  </a:lnTo>
                  <a:lnTo>
                    <a:pt x="64" y="70"/>
                  </a:lnTo>
                  <a:lnTo>
                    <a:pt x="66" y="70"/>
                  </a:lnTo>
                  <a:lnTo>
                    <a:pt x="66" y="70"/>
                  </a:lnTo>
                  <a:lnTo>
                    <a:pt x="66" y="72"/>
                  </a:lnTo>
                  <a:lnTo>
                    <a:pt x="68" y="74"/>
                  </a:lnTo>
                  <a:lnTo>
                    <a:pt x="68" y="76"/>
                  </a:lnTo>
                  <a:lnTo>
                    <a:pt x="70" y="78"/>
                  </a:lnTo>
                  <a:lnTo>
                    <a:pt x="70" y="78"/>
                  </a:lnTo>
                  <a:lnTo>
                    <a:pt x="72" y="80"/>
                  </a:lnTo>
                  <a:lnTo>
                    <a:pt x="72" y="80"/>
                  </a:lnTo>
                  <a:lnTo>
                    <a:pt x="72" y="80"/>
                  </a:lnTo>
                  <a:lnTo>
                    <a:pt x="72" y="80"/>
                  </a:lnTo>
                  <a:lnTo>
                    <a:pt x="74" y="80"/>
                  </a:lnTo>
                  <a:lnTo>
                    <a:pt x="76" y="80"/>
                  </a:lnTo>
                  <a:lnTo>
                    <a:pt x="76" y="80"/>
                  </a:lnTo>
                  <a:lnTo>
                    <a:pt x="78" y="80"/>
                  </a:lnTo>
                  <a:lnTo>
                    <a:pt x="80" y="78"/>
                  </a:lnTo>
                  <a:lnTo>
                    <a:pt x="82" y="78"/>
                  </a:lnTo>
                  <a:lnTo>
                    <a:pt x="84" y="76"/>
                  </a:lnTo>
                  <a:lnTo>
                    <a:pt x="86" y="74"/>
                  </a:lnTo>
                  <a:lnTo>
                    <a:pt x="88" y="72"/>
                  </a:lnTo>
                  <a:lnTo>
                    <a:pt x="88" y="70"/>
                  </a:lnTo>
                  <a:lnTo>
                    <a:pt x="90" y="68"/>
                  </a:lnTo>
                  <a:lnTo>
                    <a:pt x="92" y="66"/>
                  </a:lnTo>
                  <a:lnTo>
                    <a:pt x="92" y="64"/>
                  </a:lnTo>
                  <a:lnTo>
                    <a:pt x="94" y="64"/>
                  </a:lnTo>
                  <a:lnTo>
                    <a:pt x="94" y="62"/>
                  </a:lnTo>
                  <a:lnTo>
                    <a:pt x="94" y="60"/>
                  </a:lnTo>
                  <a:lnTo>
                    <a:pt x="94" y="58"/>
                  </a:lnTo>
                  <a:lnTo>
                    <a:pt x="94" y="56"/>
                  </a:lnTo>
                  <a:lnTo>
                    <a:pt x="94" y="54"/>
                  </a:lnTo>
                  <a:lnTo>
                    <a:pt x="94" y="52"/>
                  </a:lnTo>
                  <a:lnTo>
                    <a:pt x="92" y="50"/>
                  </a:lnTo>
                  <a:lnTo>
                    <a:pt x="92" y="48"/>
                  </a:lnTo>
                  <a:lnTo>
                    <a:pt x="92" y="48"/>
                  </a:lnTo>
                  <a:lnTo>
                    <a:pt x="90" y="46"/>
                  </a:lnTo>
                  <a:lnTo>
                    <a:pt x="90" y="46"/>
                  </a:lnTo>
                  <a:lnTo>
                    <a:pt x="88" y="44"/>
                  </a:lnTo>
                  <a:lnTo>
                    <a:pt x="86" y="42"/>
                  </a:lnTo>
                  <a:lnTo>
                    <a:pt x="84" y="42"/>
                  </a:lnTo>
                  <a:lnTo>
                    <a:pt x="84" y="40"/>
                  </a:lnTo>
                  <a:lnTo>
                    <a:pt x="82" y="38"/>
                  </a:lnTo>
                  <a:lnTo>
                    <a:pt x="80" y="36"/>
                  </a:lnTo>
                  <a:lnTo>
                    <a:pt x="80" y="34"/>
                  </a:lnTo>
                  <a:lnTo>
                    <a:pt x="80" y="32"/>
                  </a:lnTo>
                  <a:lnTo>
                    <a:pt x="80" y="32"/>
                  </a:lnTo>
                  <a:lnTo>
                    <a:pt x="80" y="30"/>
                  </a:lnTo>
                  <a:lnTo>
                    <a:pt x="80" y="30"/>
                  </a:lnTo>
                  <a:lnTo>
                    <a:pt x="80" y="28"/>
                  </a:lnTo>
                  <a:lnTo>
                    <a:pt x="82" y="26"/>
                  </a:lnTo>
                  <a:lnTo>
                    <a:pt x="82" y="24"/>
                  </a:lnTo>
                  <a:lnTo>
                    <a:pt x="82" y="24"/>
                  </a:lnTo>
                  <a:lnTo>
                    <a:pt x="82" y="22"/>
                  </a:lnTo>
                  <a:lnTo>
                    <a:pt x="82" y="22"/>
                  </a:lnTo>
                  <a:lnTo>
                    <a:pt x="82" y="20"/>
                  </a:lnTo>
                  <a:lnTo>
                    <a:pt x="82" y="18"/>
                  </a:lnTo>
                  <a:lnTo>
                    <a:pt x="82" y="18"/>
                  </a:lnTo>
                  <a:lnTo>
                    <a:pt x="82" y="16"/>
                  </a:lnTo>
                  <a:lnTo>
                    <a:pt x="82" y="14"/>
                  </a:lnTo>
                  <a:lnTo>
                    <a:pt x="80" y="14"/>
                  </a:lnTo>
                  <a:lnTo>
                    <a:pt x="80" y="14"/>
                  </a:lnTo>
                  <a:lnTo>
                    <a:pt x="80" y="12"/>
                  </a:lnTo>
                  <a:lnTo>
                    <a:pt x="78" y="12"/>
                  </a:lnTo>
                  <a:lnTo>
                    <a:pt x="78" y="12"/>
                  </a:lnTo>
                  <a:lnTo>
                    <a:pt x="76" y="12"/>
                  </a:lnTo>
                  <a:lnTo>
                    <a:pt x="74" y="12"/>
                  </a:lnTo>
                  <a:lnTo>
                    <a:pt x="74" y="14"/>
                  </a:lnTo>
                  <a:lnTo>
                    <a:pt x="72" y="14"/>
                  </a:lnTo>
                  <a:lnTo>
                    <a:pt x="70" y="12"/>
                  </a:lnTo>
                  <a:lnTo>
                    <a:pt x="70" y="12"/>
                  </a:lnTo>
                  <a:lnTo>
                    <a:pt x="70" y="12"/>
                  </a:lnTo>
                  <a:lnTo>
                    <a:pt x="70" y="12"/>
                  </a:lnTo>
                  <a:lnTo>
                    <a:pt x="70" y="12"/>
                  </a:lnTo>
                  <a:lnTo>
                    <a:pt x="68" y="10"/>
                  </a:lnTo>
                  <a:lnTo>
                    <a:pt x="68" y="10"/>
                  </a:lnTo>
                  <a:lnTo>
                    <a:pt x="68" y="8"/>
                  </a:lnTo>
                  <a:lnTo>
                    <a:pt x="68" y="4"/>
                  </a:lnTo>
                  <a:lnTo>
                    <a:pt x="70" y="0"/>
                  </a:lnTo>
                  <a:lnTo>
                    <a:pt x="7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5" name="Freeform 413"/>
            <p:cNvSpPr>
              <a:spLocks/>
            </p:cNvSpPr>
            <p:nvPr/>
          </p:nvSpPr>
          <p:spPr bwMode="auto">
            <a:xfrm>
              <a:off x="4477061" y="4583856"/>
              <a:ext cx="162815" cy="190528"/>
            </a:xfrm>
            <a:custGeom>
              <a:avLst/>
              <a:gdLst>
                <a:gd name="T0" fmla="*/ 60 w 94"/>
                <a:gd name="T1" fmla="*/ 0 h 110"/>
                <a:gd name="T2" fmla="*/ 48 w 94"/>
                <a:gd name="T3" fmla="*/ 0 h 110"/>
                <a:gd name="T4" fmla="*/ 42 w 94"/>
                <a:gd name="T5" fmla="*/ 4 h 110"/>
                <a:gd name="T6" fmla="*/ 38 w 94"/>
                <a:gd name="T7" fmla="*/ 8 h 110"/>
                <a:gd name="T8" fmla="*/ 38 w 94"/>
                <a:gd name="T9" fmla="*/ 16 h 110"/>
                <a:gd name="T10" fmla="*/ 36 w 94"/>
                <a:gd name="T11" fmla="*/ 24 h 110"/>
                <a:gd name="T12" fmla="*/ 34 w 94"/>
                <a:gd name="T13" fmla="*/ 26 h 110"/>
                <a:gd name="T14" fmla="*/ 28 w 94"/>
                <a:gd name="T15" fmla="*/ 28 h 110"/>
                <a:gd name="T16" fmla="*/ 20 w 94"/>
                <a:gd name="T17" fmla="*/ 28 h 110"/>
                <a:gd name="T18" fmla="*/ 16 w 94"/>
                <a:gd name="T19" fmla="*/ 24 h 110"/>
                <a:gd name="T20" fmla="*/ 16 w 94"/>
                <a:gd name="T21" fmla="*/ 34 h 110"/>
                <a:gd name="T22" fmla="*/ 16 w 94"/>
                <a:gd name="T23" fmla="*/ 42 h 110"/>
                <a:gd name="T24" fmla="*/ 14 w 94"/>
                <a:gd name="T25" fmla="*/ 44 h 110"/>
                <a:gd name="T26" fmla="*/ 4 w 94"/>
                <a:gd name="T27" fmla="*/ 48 h 110"/>
                <a:gd name="T28" fmla="*/ 2 w 94"/>
                <a:gd name="T29" fmla="*/ 50 h 110"/>
                <a:gd name="T30" fmla="*/ 2 w 94"/>
                <a:gd name="T31" fmla="*/ 52 h 110"/>
                <a:gd name="T32" fmla="*/ 4 w 94"/>
                <a:gd name="T33" fmla="*/ 54 h 110"/>
                <a:gd name="T34" fmla="*/ 8 w 94"/>
                <a:gd name="T35" fmla="*/ 56 h 110"/>
                <a:gd name="T36" fmla="*/ 8 w 94"/>
                <a:gd name="T37" fmla="*/ 62 h 110"/>
                <a:gd name="T38" fmla="*/ 8 w 94"/>
                <a:gd name="T39" fmla="*/ 68 h 110"/>
                <a:gd name="T40" fmla="*/ 10 w 94"/>
                <a:gd name="T41" fmla="*/ 74 h 110"/>
                <a:gd name="T42" fmla="*/ 22 w 94"/>
                <a:gd name="T43" fmla="*/ 82 h 110"/>
                <a:gd name="T44" fmla="*/ 32 w 94"/>
                <a:gd name="T45" fmla="*/ 94 h 110"/>
                <a:gd name="T46" fmla="*/ 48 w 94"/>
                <a:gd name="T47" fmla="*/ 106 h 110"/>
                <a:gd name="T48" fmla="*/ 54 w 94"/>
                <a:gd name="T49" fmla="*/ 96 h 110"/>
                <a:gd name="T50" fmla="*/ 56 w 94"/>
                <a:gd name="T51" fmla="*/ 90 h 110"/>
                <a:gd name="T52" fmla="*/ 54 w 94"/>
                <a:gd name="T53" fmla="*/ 88 h 110"/>
                <a:gd name="T54" fmla="*/ 48 w 94"/>
                <a:gd name="T55" fmla="*/ 86 h 110"/>
                <a:gd name="T56" fmla="*/ 46 w 94"/>
                <a:gd name="T57" fmla="*/ 80 h 110"/>
                <a:gd name="T58" fmla="*/ 48 w 94"/>
                <a:gd name="T59" fmla="*/ 76 h 110"/>
                <a:gd name="T60" fmla="*/ 50 w 94"/>
                <a:gd name="T61" fmla="*/ 74 h 110"/>
                <a:gd name="T62" fmla="*/ 60 w 94"/>
                <a:gd name="T63" fmla="*/ 70 h 110"/>
                <a:gd name="T64" fmla="*/ 64 w 94"/>
                <a:gd name="T65" fmla="*/ 70 h 110"/>
                <a:gd name="T66" fmla="*/ 68 w 94"/>
                <a:gd name="T67" fmla="*/ 74 h 110"/>
                <a:gd name="T68" fmla="*/ 72 w 94"/>
                <a:gd name="T69" fmla="*/ 80 h 110"/>
                <a:gd name="T70" fmla="*/ 74 w 94"/>
                <a:gd name="T71" fmla="*/ 80 h 110"/>
                <a:gd name="T72" fmla="*/ 80 w 94"/>
                <a:gd name="T73" fmla="*/ 78 h 110"/>
                <a:gd name="T74" fmla="*/ 88 w 94"/>
                <a:gd name="T75" fmla="*/ 72 h 110"/>
                <a:gd name="T76" fmla="*/ 92 w 94"/>
                <a:gd name="T77" fmla="*/ 64 h 110"/>
                <a:gd name="T78" fmla="*/ 94 w 94"/>
                <a:gd name="T79" fmla="*/ 58 h 110"/>
                <a:gd name="T80" fmla="*/ 92 w 94"/>
                <a:gd name="T81" fmla="*/ 50 h 110"/>
                <a:gd name="T82" fmla="*/ 90 w 94"/>
                <a:gd name="T83" fmla="*/ 46 h 110"/>
                <a:gd name="T84" fmla="*/ 84 w 94"/>
                <a:gd name="T85" fmla="*/ 40 h 110"/>
                <a:gd name="T86" fmla="*/ 80 w 94"/>
                <a:gd name="T87" fmla="*/ 32 h 110"/>
                <a:gd name="T88" fmla="*/ 80 w 94"/>
                <a:gd name="T89" fmla="*/ 28 h 110"/>
                <a:gd name="T90" fmla="*/ 82 w 94"/>
                <a:gd name="T91" fmla="*/ 22 h 110"/>
                <a:gd name="T92" fmla="*/ 82 w 94"/>
                <a:gd name="T93" fmla="*/ 18 h 110"/>
                <a:gd name="T94" fmla="*/ 80 w 94"/>
                <a:gd name="T95" fmla="*/ 14 h 110"/>
                <a:gd name="T96" fmla="*/ 76 w 94"/>
                <a:gd name="T97" fmla="*/ 12 h 110"/>
                <a:gd name="T98" fmla="*/ 70 w 94"/>
                <a:gd name="T99" fmla="*/ 12 h 110"/>
                <a:gd name="T100" fmla="*/ 70 w 94"/>
                <a:gd name="T101" fmla="*/ 12 h 110"/>
                <a:gd name="T102" fmla="*/ 68 w 94"/>
                <a:gd name="T10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10">
                  <a:moveTo>
                    <a:pt x="70" y="0"/>
                  </a:moveTo>
                  <a:lnTo>
                    <a:pt x="70" y="0"/>
                  </a:lnTo>
                  <a:lnTo>
                    <a:pt x="66" y="0"/>
                  </a:lnTo>
                  <a:lnTo>
                    <a:pt x="60" y="0"/>
                  </a:lnTo>
                  <a:lnTo>
                    <a:pt x="56" y="0"/>
                  </a:lnTo>
                  <a:lnTo>
                    <a:pt x="52" y="0"/>
                  </a:lnTo>
                  <a:lnTo>
                    <a:pt x="50" y="0"/>
                  </a:lnTo>
                  <a:lnTo>
                    <a:pt x="48" y="0"/>
                  </a:lnTo>
                  <a:lnTo>
                    <a:pt x="46" y="0"/>
                  </a:lnTo>
                  <a:lnTo>
                    <a:pt x="46" y="2"/>
                  </a:lnTo>
                  <a:lnTo>
                    <a:pt x="44" y="2"/>
                  </a:lnTo>
                  <a:lnTo>
                    <a:pt x="42" y="4"/>
                  </a:lnTo>
                  <a:lnTo>
                    <a:pt x="40" y="4"/>
                  </a:lnTo>
                  <a:lnTo>
                    <a:pt x="40" y="6"/>
                  </a:lnTo>
                  <a:lnTo>
                    <a:pt x="38" y="6"/>
                  </a:lnTo>
                  <a:lnTo>
                    <a:pt x="38" y="8"/>
                  </a:lnTo>
                  <a:lnTo>
                    <a:pt x="38" y="8"/>
                  </a:lnTo>
                  <a:lnTo>
                    <a:pt x="38" y="10"/>
                  </a:lnTo>
                  <a:lnTo>
                    <a:pt x="38" y="12"/>
                  </a:lnTo>
                  <a:lnTo>
                    <a:pt x="38" y="16"/>
                  </a:lnTo>
                  <a:lnTo>
                    <a:pt x="38" y="16"/>
                  </a:lnTo>
                  <a:lnTo>
                    <a:pt x="38" y="20"/>
                  </a:lnTo>
                  <a:lnTo>
                    <a:pt x="36" y="22"/>
                  </a:lnTo>
                  <a:lnTo>
                    <a:pt x="36" y="24"/>
                  </a:lnTo>
                  <a:lnTo>
                    <a:pt x="36" y="26"/>
                  </a:lnTo>
                  <a:lnTo>
                    <a:pt x="34" y="26"/>
                  </a:lnTo>
                  <a:lnTo>
                    <a:pt x="34" y="26"/>
                  </a:lnTo>
                  <a:lnTo>
                    <a:pt x="34" y="26"/>
                  </a:lnTo>
                  <a:lnTo>
                    <a:pt x="34" y="28"/>
                  </a:lnTo>
                  <a:lnTo>
                    <a:pt x="32" y="28"/>
                  </a:lnTo>
                  <a:lnTo>
                    <a:pt x="30" y="28"/>
                  </a:lnTo>
                  <a:lnTo>
                    <a:pt x="28" y="28"/>
                  </a:lnTo>
                  <a:lnTo>
                    <a:pt x="24" y="28"/>
                  </a:lnTo>
                  <a:lnTo>
                    <a:pt x="22" y="28"/>
                  </a:lnTo>
                  <a:lnTo>
                    <a:pt x="20" y="28"/>
                  </a:lnTo>
                  <a:lnTo>
                    <a:pt x="20" y="28"/>
                  </a:lnTo>
                  <a:lnTo>
                    <a:pt x="18" y="28"/>
                  </a:lnTo>
                  <a:lnTo>
                    <a:pt x="18" y="26"/>
                  </a:lnTo>
                  <a:lnTo>
                    <a:pt x="16" y="26"/>
                  </a:lnTo>
                  <a:lnTo>
                    <a:pt x="16" y="24"/>
                  </a:lnTo>
                  <a:lnTo>
                    <a:pt x="16" y="26"/>
                  </a:lnTo>
                  <a:lnTo>
                    <a:pt x="16" y="28"/>
                  </a:lnTo>
                  <a:lnTo>
                    <a:pt x="16" y="32"/>
                  </a:lnTo>
                  <a:lnTo>
                    <a:pt x="16" y="34"/>
                  </a:lnTo>
                  <a:lnTo>
                    <a:pt x="16" y="38"/>
                  </a:lnTo>
                  <a:lnTo>
                    <a:pt x="16" y="40"/>
                  </a:lnTo>
                  <a:lnTo>
                    <a:pt x="16" y="40"/>
                  </a:lnTo>
                  <a:lnTo>
                    <a:pt x="16" y="42"/>
                  </a:lnTo>
                  <a:lnTo>
                    <a:pt x="16" y="42"/>
                  </a:lnTo>
                  <a:lnTo>
                    <a:pt x="16" y="44"/>
                  </a:lnTo>
                  <a:lnTo>
                    <a:pt x="14" y="44"/>
                  </a:lnTo>
                  <a:lnTo>
                    <a:pt x="14" y="44"/>
                  </a:lnTo>
                  <a:lnTo>
                    <a:pt x="12" y="46"/>
                  </a:lnTo>
                  <a:lnTo>
                    <a:pt x="10" y="46"/>
                  </a:lnTo>
                  <a:lnTo>
                    <a:pt x="6" y="46"/>
                  </a:lnTo>
                  <a:lnTo>
                    <a:pt x="4" y="48"/>
                  </a:lnTo>
                  <a:lnTo>
                    <a:pt x="4" y="48"/>
                  </a:lnTo>
                  <a:lnTo>
                    <a:pt x="4" y="48"/>
                  </a:lnTo>
                  <a:lnTo>
                    <a:pt x="2" y="48"/>
                  </a:lnTo>
                  <a:lnTo>
                    <a:pt x="2" y="50"/>
                  </a:lnTo>
                  <a:lnTo>
                    <a:pt x="2" y="52"/>
                  </a:lnTo>
                  <a:lnTo>
                    <a:pt x="0" y="52"/>
                  </a:lnTo>
                  <a:lnTo>
                    <a:pt x="0" y="52"/>
                  </a:lnTo>
                  <a:lnTo>
                    <a:pt x="2" y="52"/>
                  </a:lnTo>
                  <a:lnTo>
                    <a:pt x="2" y="54"/>
                  </a:lnTo>
                  <a:lnTo>
                    <a:pt x="2" y="54"/>
                  </a:lnTo>
                  <a:lnTo>
                    <a:pt x="4" y="54"/>
                  </a:lnTo>
                  <a:lnTo>
                    <a:pt x="4" y="54"/>
                  </a:lnTo>
                  <a:lnTo>
                    <a:pt x="6" y="54"/>
                  </a:lnTo>
                  <a:lnTo>
                    <a:pt x="8" y="56"/>
                  </a:lnTo>
                  <a:lnTo>
                    <a:pt x="8" y="56"/>
                  </a:lnTo>
                  <a:lnTo>
                    <a:pt x="8" y="56"/>
                  </a:lnTo>
                  <a:lnTo>
                    <a:pt x="8" y="56"/>
                  </a:lnTo>
                  <a:lnTo>
                    <a:pt x="8" y="58"/>
                  </a:lnTo>
                  <a:lnTo>
                    <a:pt x="8" y="60"/>
                  </a:lnTo>
                  <a:lnTo>
                    <a:pt x="8" y="62"/>
                  </a:lnTo>
                  <a:lnTo>
                    <a:pt x="8" y="64"/>
                  </a:lnTo>
                  <a:lnTo>
                    <a:pt x="8" y="66"/>
                  </a:lnTo>
                  <a:lnTo>
                    <a:pt x="6" y="68"/>
                  </a:lnTo>
                  <a:lnTo>
                    <a:pt x="8" y="68"/>
                  </a:lnTo>
                  <a:lnTo>
                    <a:pt x="8" y="70"/>
                  </a:lnTo>
                  <a:lnTo>
                    <a:pt x="8" y="70"/>
                  </a:lnTo>
                  <a:lnTo>
                    <a:pt x="8" y="72"/>
                  </a:lnTo>
                  <a:lnTo>
                    <a:pt x="10" y="74"/>
                  </a:lnTo>
                  <a:lnTo>
                    <a:pt x="10" y="74"/>
                  </a:lnTo>
                  <a:lnTo>
                    <a:pt x="12" y="76"/>
                  </a:lnTo>
                  <a:lnTo>
                    <a:pt x="16" y="78"/>
                  </a:lnTo>
                  <a:lnTo>
                    <a:pt x="22" y="82"/>
                  </a:lnTo>
                  <a:lnTo>
                    <a:pt x="24" y="84"/>
                  </a:lnTo>
                  <a:lnTo>
                    <a:pt x="26" y="86"/>
                  </a:lnTo>
                  <a:lnTo>
                    <a:pt x="28" y="90"/>
                  </a:lnTo>
                  <a:lnTo>
                    <a:pt x="32" y="94"/>
                  </a:lnTo>
                  <a:lnTo>
                    <a:pt x="36" y="100"/>
                  </a:lnTo>
                  <a:lnTo>
                    <a:pt x="40" y="104"/>
                  </a:lnTo>
                  <a:lnTo>
                    <a:pt x="46" y="110"/>
                  </a:lnTo>
                  <a:lnTo>
                    <a:pt x="48" y="106"/>
                  </a:lnTo>
                  <a:lnTo>
                    <a:pt x="50" y="104"/>
                  </a:lnTo>
                  <a:lnTo>
                    <a:pt x="50" y="102"/>
                  </a:lnTo>
                  <a:lnTo>
                    <a:pt x="52" y="100"/>
                  </a:lnTo>
                  <a:lnTo>
                    <a:pt x="54" y="96"/>
                  </a:lnTo>
                  <a:lnTo>
                    <a:pt x="54" y="94"/>
                  </a:lnTo>
                  <a:lnTo>
                    <a:pt x="56" y="92"/>
                  </a:lnTo>
                  <a:lnTo>
                    <a:pt x="56" y="92"/>
                  </a:lnTo>
                  <a:lnTo>
                    <a:pt x="56" y="90"/>
                  </a:lnTo>
                  <a:lnTo>
                    <a:pt x="56" y="90"/>
                  </a:lnTo>
                  <a:lnTo>
                    <a:pt x="56" y="90"/>
                  </a:lnTo>
                  <a:lnTo>
                    <a:pt x="54" y="90"/>
                  </a:lnTo>
                  <a:lnTo>
                    <a:pt x="54" y="88"/>
                  </a:lnTo>
                  <a:lnTo>
                    <a:pt x="54" y="88"/>
                  </a:lnTo>
                  <a:lnTo>
                    <a:pt x="52" y="88"/>
                  </a:lnTo>
                  <a:lnTo>
                    <a:pt x="50" y="86"/>
                  </a:lnTo>
                  <a:lnTo>
                    <a:pt x="48" y="86"/>
                  </a:lnTo>
                  <a:lnTo>
                    <a:pt x="48" y="84"/>
                  </a:lnTo>
                  <a:lnTo>
                    <a:pt x="48" y="84"/>
                  </a:lnTo>
                  <a:lnTo>
                    <a:pt x="48" y="82"/>
                  </a:lnTo>
                  <a:lnTo>
                    <a:pt x="46" y="80"/>
                  </a:lnTo>
                  <a:lnTo>
                    <a:pt x="46" y="80"/>
                  </a:lnTo>
                  <a:lnTo>
                    <a:pt x="46" y="78"/>
                  </a:lnTo>
                  <a:lnTo>
                    <a:pt x="46" y="78"/>
                  </a:lnTo>
                  <a:lnTo>
                    <a:pt x="48" y="76"/>
                  </a:lnTo>
                  <a:lnTo>
                    <a:pt x="48" y="76"/>
                  </a:lnTo>
                  <a:lnTo>
                    <a:pt x="48" y="76"/>
                  </a:lnTo>
                  <a:lnTo>
                    <a:pt x="48" y="76"/>
                  </a:lnTo>
                  <a:lnTo>
                    <a:pt x="50" y="74"/>
                  </a:lnTo>
                  <a:lnTo>
                    <a:pt x="52" y="74"/>
                  </a:lnTo>
                  <a:lnTo>
                    <a:pt x="54" y="72"/>
                  </a:lnTo>
                  <a:lnTo>
                    <a:pt x="58" y="72"/>
                  </a:lnTo>
                  <a:lnTo>
                    <a:pt x="60" y="70"/>
                  </a:lnTo>
                  <a:lnTo>
                    <a:pt x="62" y="70"/>
                  </a:lnTo>
                  <a:lnTo>
                    <a:pt x="64" y="70"/>
                  </a:lnTo>
                  <a:lnTo>
                    <a:pt x="64" y="70"/>
                  </a:lnTo>
                  <a:lnTo>
                    <a:pt x="64" y="70"/>
                  </a:lnTo>
                  <a:lnTo>
                    <a:pt x="66" y="70"/>
                  </a:lnTo>
                  <a:lnTo>
                    <a:pt x="66" y="70"/>
                  </a:lnTo>
                  <a:lnTo>
                    <a:pt x="66" y="72"/>
                  </a:lnTo>
                  <a:lnTo>
                    <a:pt x="68" y="74"/>
                  </a:lnTo>
                  <a:lnTo>
                    <a:pt x="68" y="76"/>
                  </a:lnTo>
                  <a:lnTo>
                    <a:pt x="70" y="78"/>
                  </a:lnTo>
                  <a:lnTo>
                    <a:pt x="70" y="78"/>
                  </a:lnTo>
                  <a:lnTo>
                    <a:pt x="72" y="80"/>
                  </a:lnTo>
                  <a:lnTo>
                    <a:pt x="72" y="80"/>
                  </a:lnTo>
                  <a:lnTo>
                    <a:pt x="72" y="80"/>
                  </a:lnTo>
                  <a:lnTo>
                    <a:pt x="72" y="80"/>
                  </a:lnTo>
                  <a:lnTo>
                    <a:pt x="74" y="80"/>
                  </a:lnTo>
                  <a:lnTo>
                    <a:pt x="76" y="80"/>
                  </a:lnTo>
                  <a:lnTo>
                    <a:pt x="76" y="80"/>
                  </a:lnTo>
                  <a:lnTo>
                    <a:pt x="78" y="80"/>
                  </a:lnTo>
                  <a:lnTo>
                    <a:pt x="80" y="78"/>
                  </a:lnTo>
                  <a:lnTo>
                    <a:pt x="82" y="78"/>
                  </a:lnTo>
                  <a:lnTo>
                    <a:pt x="84" y="76"/>
                  </a:lnTo>
                  <a:lnTo>
                    <a:pt x="86" y="74"/>
                  </a:lnTo>
                  <a:lnTo>
                    <a:pt x="88" y="72"/>
                  </a:lnTo>
                  <a:lnTo>
                    <a:pt x="88" y="70"/>
                  </a:lnTo>
                  <a:lnTo>
                    <a:pt x="90" y="68"/>
                  </a:lnTo>
                  <a:lnTo>
                    <a:pt x="92" y="66"/>
                  </a:lnTo>
                  <a:lnTo>
                    <a:pt x="92" y="64"/>
                  </a:lnTo>
                  <a:lnTo>
                    <a:pt x="94" y="64"/>
                  </a:lnTo>
                  <a:lnTo>
                    <a:pt x="94" y="62"/>
                  </a:lnTo>
                  <a:lnTo>
                    <a:pt x="94" y="60"/>
                  </a:lnTo>
                  <a:lnTo>
                    <a:pt x="94" y="58"/>
                  </a:lnTo>
                  <a:lnTo>
                    <a:pt x="94" y="56"/>
                  </a:lnTo>
                  <a:lnTo>
                    <a:pt x="94" y="54"/>
                  </a:lnTo>
                  <a:lnTo>
                    <a:pt x="94" y="52"/>
                  </a:lnTo>
                  <a:lnTo>
                    <a:pt x="92" y="50"/>
                  </a:lnTo>
                  <a:lnTo>
                    <a:pt x="92" y="48"/>
                  </a:lnTo>
                  <a:lnTo>
                    <a:pt x="92" y="48"/>
                  </a:lnTo>
                  <a:lnTo>
                    <a:pt x="90" y="46"/>
                  </a:lnTo>
                  <a:lnTo>
                    <a:pt x="90" y="46"/>
                  </a:lnTo>
                  <a:lnTo>
                    <a:pt x="88" y="44"/>
                  </a:lnTo>
                  <a:lnTo>
                    <a:pt x="86" y="42"/>
                  </a:lnTo>
                  <a:lnTo>
                    <a:pt x="84" y="42"/>
                  </a:lnTo>
                  <a:lnTo>
                    <a:pt x="84" y="40"/>
                  </a:lnTo>
                  <a:lnTo>
                    <a:pt x="82" y="38"/>
                  </a:lnTo>
                  <a:lnTo>
                    <a:pt x="80" y="36"/>
                  </a:lnTo>
                  <a:lnTo>
                    <a:pt x="80" y="34"/>
                  </a:lnTo>
                  <a:lnTo>
                    <a:pt x="80" y="32"/>
                  </a:lnTo>
                  <a:lnTo>
                    <a:pt x="80" y="32"/>
                  </a:lnTo>
                  <a:lnTo>
                    <a:pt x="80" y="30"/>
                  </a:lnTo>
                  <a:lnTo>
                    <a:pt x="80" y="30"/>
                  </a:lnTo>
                  <a:lnTo>
                    <a:pt x="80" y="28"/>
                  </a:lnTo>
                  <a:lnTo>
                    <a:pt x="82" y="26"/>
                  </a:lnTo>
                  <a:lnTo>
                    <a:pt x="82" y="24"/>
                  </a:lnTo>
                  <a:lnTo>
                    <a:pt x="82" y="24"/>
                  </a:lnTo>
                  <a:lnTo>
                    <a:pt x="82" y="22"/>
                  </a:lnTo>
                  <a:lnTo>
                    <a:pt x="82" y="22"/>
                  </a:lnTo>
                  <a:lnTo>
                    <a:pt x="82" y="20"/>
                  </a:lnTo>
                  <a:lnTo>
                    <a:pt x="82" y="18"/>
                  </a:lnTo>
                  <a:lnTo>
                    <a:pt x="82" y="18"/>
                  </a:lnTo>
                  <a:lnTo>
                    <a:pt x="82" y="16"/>
                  </a:lnTo>
                  <a:lnTo>
                    <a:pt x="82" y="14"/>
                  </a:lnTo>
                  <a:lnTo>
                    <a:pt x="80" y="14"/>
                  </a:lnTo>
                  <a:lnTo>
                    <a:pt x="80" y="14"/>
                  </a:lnTo>
                  <a:lnTo>
                    <a:pt x="80" y="12"/>
                  </a:lnTo>
                  <a:lnTo>
                    <a:pt x="78" y="12"/>
                  </a:lnTo>
                  <a:lnTo>
                    <a:pt x="78" y="12"/>
                  </a:lnTo>
                  <a:lnTo>
                    <a:pt x="76" y="12"/>
                  </a:lnTo>
                  <a:lnTo>
                    <a:pt x="74" y="12"/>
                  </a:lnTo>
                  <a:lnTo>
                    <a:pt x="74" y="14"/>
                  </a:lnTo>
                  <a:lnTo>
                    <a:pt x="72" y="14"/>
                  </a:lnTo>
                  <a:lnTo>
                    <a:pt x="70" y="12"/>
                  </a:lnTo>
                  <a:lnTo>
                    <a:pt x="70" y="12"/>
                  </a:lnTo>
                  <a:lnTo>
                    <a:pt x="70" y="12"/>
                  </a:lnTo>
                  <a:lnTo>
                    <a:pt x="70" y="12"/>
                  </a:lnTo>
                  <a:lnTo>
                    <a:pt x="70" y="12"/>
                  </a:lnTo>
                  <a:lnTo>
                    <a:pt x="68" y="10"/>
                  </a:lnTo>
                  <a:lnTo>
                    <a:pt x="68" y="10"/>
                  </a:lnTo>
                  <a:lnTo>
                    <a:pt x="68" y="8"/>
                  </a:lnTo>
                  <a:lnTo>
                    <a:pt x="68" y="4"/>
                  </a:lnTo>
                  <a:lnTo>
                    <a:pt x="70" y="0"/>
                  </a:lnTo>
                  <a:lnTo>
                    <a:pt x="7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6" name="Freeform 414"/>
            <p:cNvSpPr>
              <a:spLocks/>
            </p:cNvSpPr>
            <p:nvPr/>
          </p:nvSpPr>
          <p:spPr bwMode="auto">
            <a:xfrm>
              <a:off x="4050970" y="4355222"/>
              <a:ext cx="162815" cy="159351"/>
            </a:xfrm>
            <a:custGeom>
              <a:avLst/>
              <a:gdLst>
                <a:gd name="T0" fmla="*/ 28 w 94"/>
                <a:gd name="T1" fmla="*/ 92 h 92"/>
                <a:gd name="T2" fmla="*/ 18 w 94"/>
                <a:gd name="T3" fmla="*/ 88 h 92"/>
                <a:gd name="T4" fmla="*/ 14 w 94"/>
                <a:gd name="T5" fmla="*/ 86 h 92"/>
                <a:gd name="T6" fmla="*/ 14 w 94"/>
                <a:gd name="T7" fmla="*/ 84 h 92"/>
                <a:gd name="T8" fmla="*/ 14 w 94"/>
                <a:gd name="T9" fmla="*/ 78 h 92"/>
                <a:gd name="T10" fmla="*/ 12 w 94"/>
                <a:gd name="T11" fmla="*/ 72 h 92"/>
                <a:gd name="T12" fmla="*/ 12 w 94"/>
                <a:gd name="T13" fmla="*/ 70 h 92"/>
                <a:gd name="T14" fmla="*/ 10 w 94"/>
                <a:gd name="T15" fmla="*/ 68 h 92"/>
                <a:gd name="T16" fmla="*/ 4 w 94"/>
                <a:gd name="T17" fmla="*/ 68 h 92"/>
                <a:gd name="T18" fmla="*/ 2 w 94"/>
                <a:gd name="T19" fmla="*/ 66 h 92"/>
                <a:gd name="T20" fmla="*/ 0 w 94"/>
                <a:gd name="T21" fmla="*/ 62 h 92"/>
                <a:gd name="T22" fmla="*/ 0 w 94"/>
                <a:gd name="T23" fmla="*/ 54 h 92"/>
                <a:gd name="T24" fmla="*/ 0 w 94"/>
                <a:gd name="T25" fmla="*/ 42 h 92"/>
                <a:gd name="T26" fmla="*/ 2 w 94"/>
                <a:gd name="T27" fmla="*/ 36 h 92"/>
                <a:gd name="T28" fmla="*/ 4 w 94"/>
                <a:gd name="T29" fmla="*/ 32 h 92"/>
                <a:gd name="T30" fmla="*/ 10 w 94"/>
                <a:gd name="T31" fmla="*/ 30 h 92"/>
                <a:gd name="T32" fmla="*/ 16 w 94"/>
                <a:gd name="T33" fmla="*/ 26 h 92"/>
                <a:gd name="T34" fmla="*/ 18 w 94"/>
                <a:gd name="T35" fmla="*/ 24 h 92"/>
                <a:gd name="T36" fmla="*/ 20 w 94"/>
                <a:gd name="T37" fmla="*/ 22 h 92"/>
                <a:gd name="T38" fmla="*/ 18 w 94"/>
                <a:gd name="T39" fmla="*/ 20 h 92"/>
                <a:gd name="T40" fmla="*/ 12 w 94"/>
                <a:gd name="T41" fmla="*/ 18 h 92"/>
                <a:gd name="T42" fmla="*/ 10 w 94"/>
                <a:gd name="T43" fmla="*/ 16 h 92"/>
                <a:gd name="T44" fmla="*/ 10 w 94"/>
                <a:gd name="T45" fmla="*/ 14 h 92"/>
                <a:gd name="T46" fmla="*/ 10 w 94"/>
                <a:gd name="T47" fmla="*/ 10 h 92"/>
                <a:gd name="T48" fmla="*/ 14 w 94"/>
                <a:gd name="T49" fmla="*/ 2 h 92"/>
                <a:gd name="T50" fmla="*/ 48 w 94"/>
                <a:gd name="T51" fmla="*/ 2 h 92"/>
                <a:gd name="T52" fmla="*/ 54 w 94"/>
                <a:gd name="T53" fmla="*/ 6 h 92"/>
                <a:gd name="T54" fmla="*/ 60 w 94"/>
                <a:gd name="T55" fmla="*/ 6 h 92"/>
                <a:gd name="T56" fmla="*/ 78 w 94"/>
                <a:gd name="T57" fmla="*/ 6 h 92"/>
                <a:gd name="T58" fmla="*/ 82 w 94"/>
                <a:gd name="T59" fmla="*/ 12 h 92"/>
                <a:gd name="T60" fmla="*/ 84 w 94"/>
                <a:gd name="T61" fmla="*/ 18 h 92"/>
                <a:gd name="T62" fmla="*/ 84 w 94"/>
                <a:gd name="T63" fmla="*/ 20 h 92"/>
                <a:gd name="T64" fmla="*/ 88 w 94"/>
                <a:gd name="T65" fmla="*/ 22 h 92"/>
                <a:gd name="T66" fmla="*/ 92 w 94"/>
                <a:gd name="T67" fmla="*/ 24 h 92"/>
                <a:gd name="T68" fmla="*/ 92 w 94"/>
                <a:gd name="T69" fmla="*/ 26 h 92"/>
                <a:gd name="T70" fmla="*/ 94 w 94"/>
                <a:gd name="T71" fmla="*/ 32 h 92"/>
                <a:gd name="T72" fmla="*/ 92 w 94"/>
                <a:gd name="T73" fmla="*/ 36 h 92"/>
                <a:gd name="T74" fmla="*/ 90 w 94"/>
                <a:gd name="T75" fmla="*/ 38 h 92"/>
                <a:gd name="T76" fmla="*/ 84 w 94"/>
                <a:gd name="T77" fmla="*/ 38 h 92"/>
                <a:gd name="T78" fmla="*/ 82 w 94"/>
                <a:gd name="T79" fmla="*/ 40 h 92"/>
                <a:gd name="T80" fmla="*/ 82 w 94"/>
                <a:gd name="T81" fmla="*/ 46 h 92"/>
                <a:gd name="T82" fmla="*/ 82 w 94"/>
                <a:gd name="T83" fmla="*/ 56 h 92"/>
                <a:gd name="T84" fmla="*/ 82 w 94"/>
                <a:gd name="T85" fmla="*/ 66 h 92"/>
                <a:gd name="T86" fmla="*/ 80 w 94"/>
                <a:gd name="T87" fmla="*/ 84 h 92"/>
                <a:gd name="T88" fmla="*/ 58 w 94"/>
                <a:gd name="T89" fmla="*/ 84 h 92"/>
                <a:gd name="T90" fmla="*/ 48 w 94"/>
                <a:gd name="T91" fmla="*/ 86 h 92"/>
                <a:gd name="T92" fmla="*/ 38 w 94"/>
                <a:gd name="T93"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92">
                  <a:moveTo>
                    <a:pt x="30" y="92"/>
                  </a:moveTo>
                  <a:lnTo>
                    <a:pt x="30" y="92"/>
                  </a:lnTo>
                  <a:lnTo>
                    <a:pt x="28" y="92"/>
                  </a:lnTo>
                  <a:lnTo>
                    <a:pt x="24" y="90"/>
                  </a:lnTo>
                  <a:lnTo>
                    <a:pt x="20" y="90"/>
                  </a:lnTo>
                  <a:lnTo>
                    <a:pt x="18" y="88"/>
                  </a:lnTo>
                  <a:lnTo>
                    <a:pt x="16" y="86"/>
                  </a:lnTo>
                  <a:lnTo>
                    <a:pt x="16" y="86"/>
                  </a:lnTo>
                  <a:lnTo>
                    <a:pt x="14" y="86"/>
                  </a:lnTo>
                  <a:lnTo>
                    <a:pt x="14" y="86"/>
                  </a:lnTo>
                  <a:lnTo>
                    <a:pt x="14" y="84"/>
                  </a:lnTo>
                  <a:lnTo>
                    <a:pt x="14" y="84"/>
                  </a:lnTo>
                  <a:lnTo>
                    <a:pt x="14" y="82"/>
                  </a:lnTo>
                  <a:lnTo>
                    <a:pt x="14" y="80"/>
                  </a:lnTo>
                  <a:lnTo>
                    <a:pt x="14" y="78"/>
                  </a:lnTo>
                  <a:lnTo>
                    <a:pt x="14" y="76"/>
                  </a:lnTo>
                  <a:lnTo>
                    <a:pt x="14" y="72"/>
                  </a:lnTo>
                  <a:lnTo>
                    <a:pt x="12" y="72"/>
                  </a:lnTo>
                  <a:lnTo>
                    <a:pt x="12" y="70"/>
                  </a:lnTo>
                  <a:lnTo>
                    <a:pt x="12" y="70"/>
                  </a:lnTo>
                  <a:lnTo>
                    <a:pt x="12" y="70"/>
                  </a:lnTo>
                  <a:lnTo>
                    <a:pt x="12" y="70"/>
                  </a:lnTo>
                  <a:lnTo>
                    <a:pt x="12" y="68"/>
                  </a:lnTo>
                  <a:lnTo>
                    <a:pt x="10" y="68"/>
                  </a:lnTo>
                  <a:lnTo>
                    <a:pt x="8" y="68"/>
                  </a:lnTo>
                  <a:lnTo>
                    <a:pt x="8" y="68"/>
                  </a:lnTo>
                  <a:lnTo>
                    <a:pt x="4" y="68"/>
                  </a:lnTo>
                  <a:lnTo>
                    <a:pt x="4" y="68"/>
                  </a:lnTo>
                  <a:lnTo>
                    <a:pt x="4" y="66"/>
                  </a:lnTo>
                  <a:lnTo>
                    <a:pt x="2" y="66"/>
                  </a:lnTo>
                  <a:lnTo>
                    <a:pt x="2" y="66"/>
                  </a:lnTo>
                  <a:lnTo>
                    <a:pt x="2" y="64"/>
                  </a:lnTo>
                  <a:lnTo>
                    <a:pt x="0" y="62"/>
                  </a:lnTo>
                  <a:lnTo>
                    <a:pt x="0" y="60"/>
                  </a:lnTo>
                  <a:lnTo>
                    <a:pt x="0" y="54"/>
                  </a:lnTo>
                  <a:lnTo>
                    <a:pt x="0" y="54"/>
                  </a:lnTo>
                  <a:lnTo>
                    <a:pt x="0" y="50"/>
                  </a:lnTo>
                  <a:lnTo>
                    <a:pt x="0" y="46"/>
                  </a:lnTo>
                  <a:lnTo>
                    <a:pt x="0" y="42"/>
                  </a:lnTo>
                  <a:lnTo>
                    <a:pt x="2" y="38"/>
                  </a:lnTo>
                  <a:lnTo>
                    <a:pt x="2" y="36"/>
                  </a:lnTo>
                  <a:lnTo>
                    <a:pt x="2" y="36"/>
                  </a:lnTo>
                  <a:lnTo>
                    <a:pt x="4" y="34"/>
                  </a:lnTo>
                  <a:lnTo>
                    <a:pt x="4" y="34"/>
                  </a:lnTo>
                  <a:lnTo>
                    <a:pt x="4" y="32"/>
                  </a:lnTo>
                  <a:lnTo>
                    <a:pt x="6" y="32"/>
                  </a:lnTo>
                  <a:lnTo>
                    <a:pt x="6" y="32"/>
                  </a:lnTo>
                  <a:lnTo>
                    <a:pt x="10" y="30"/>
                  </a:lnTo>
                  <a:lnTo>
                    <a:pt x="12" y="28"/>
                  </a:lnTo>
                  <a:lnTo>
                    <a:pt x="14" y="28"/>
                  </a:lnTo>
                  <a:lnTo>
                    <a:pt x="16" y="26"/>
                  </a:lnTo>
                  <a:lnTo>
                    <a:pt x="18" y="26"/>
                  </a:lnTo>
                  <a:lnTo>
                    <a:pt x="18" y="26"/>
                  </a:lnTo>
                  <a:lnTo>
                    <a:pt x="18" y="24"/>
                  </a:lnTo>
                  <a:lnTo>
                    <a:pt x="20" y="24"/>
                  </a:lnTo>
                  <a:lnTo>
                    <a:pt x="20" y="22"/>
                  </a:lnTo>
                  <a:lnTo>
                    <a:pt x="20" y="22"/>
                  </a:lnTo>
                  <a:lnTo>
                    <a:pt x="20" y="22"/>
                  </a:lnTo>
                  <a:lnTo>
                    <a:pt x="18" y="22"/>
                  </a:lnTo>
                  <a:lnTo>
                    <a:pt x="18" y="20"/>
                  </a:lnTo>
                  <a:lnTo>
                    <a:pt x="16" y="20"/>
                  </a:lnTo>
                  <a:lnTo>
                    <a:pt x="14" y="18"/>
                  </a:lnTo>
                  <a:lnTo>
                    <a:pt x="12" y="18"/>
                  </a:lnTo>
                  <a:lnTo>
                    <a:pt x="12" y="16"/>
                  </a:lnTo>
                  <a:lnTo>
                    <a:pt x="10" y="16"/>
                  </a:lnTo>
                  <a:lnTo>
                    <a:pt x="10" y="16"/>
                  </a:lnTo>
                  <a:lnTo>
                    <a:pt x="10" y="14"/>
                  </a:lnTo>
                  <a:lnTo>
                    <a:pt x="10" y="14"/>
                  </a:lnTo>
                  <a:lnTo>
                    <a:pt x="10" y="14"/>
                  </a:lnTo>
                  <a:lnTo>
                    <a:pt x="10" y="12"/>
                  </a:lnTo>
                  <a:lnTo>
                    <a:pt x="10" y="10"/>
                  </a:lnTo>
                  <a:lnTo>
                    <a:pt x="10" y="10"/>
                  </a:lnTo>
                  <a:lnTo>
                    <a:pt x="12" y="8"/>
                  </a:lnTo>
                  <a:lnTo>
                    <a:pt x="14" y="4"/>
                  </a:lnTo>
                  <a:lnTo>
                    <a:pt x="14" y="2"/>
                  </a:lnTo>
                  <a:lnTo>
                    <a:pt x="28" y="2"/>
                  </a:lnTo>
                  <a:lnTo>
                    <a:pt x="44" y="0"/>
                  </a:lnTo>
                  <a:lnTo>
                    <a:pt x="48" y="2"/>
                  </a:lnTo>
                  <a:lnTo>
                    <a:pt x="52" y="4"/>
                  </a:lnTo>
                  <a:lnTo>
                    <a:pt x="52" y="4"/>
                  </a:lnTo>
                  <a:lnTo>
                    <a:pt x="54" y="6"/>
                  </a:lnTo>
                  <a:lnTo>
                    <a:pt x="54" y="6"/>
                  </a:lnTo>
                  <a:lnTo>
                    <a:pt x="56" y="6"/>
                  </a:lnTo>
                  <a:lnTo>
                    <a:pt x="60" y="6"/>
                  </a:lnTo>
                  <a:lnTo>
                    <a:pt x="66" y="6"/>
                  </a:lnTo>
                  <a:lnTo>
                    <a:pt x="70" y="6"/>
                  </a:lnTo>
                  <a:lnTo>
                    <a:pt x="78" y="6"/>
                  </a:lnTo>
                  <a:lnTo>
                    <a:pt x="82" y="6"/>
                  </a:lnTo>
                  <a:lnTo>
                    <a:pt x="82" y="8"/>
                  </a:lnTo>
                  <a:lnTo>
                    <a:pt x="82" y="12"/>
                  </a:lnTo>
                  <a:lnTo>
                    <a:pt x="82" y="14"/>
                  </a:lnTo>
                  <a:lnTo>
                    <a:pt x="82" y="16"/>
                  </a:lnTo>
                  <a:lnTo>
                    <a:pt x="84" y="18"/>
                  </a:lnTo>
                  <a:lnTo>
                    <a:pt x="84" y="20"/>
                  </a:lnTo>
                  <a:lnTo>
                    <a:pt x="84" y="20"/>
                  </a:lnTo>
                  <a:lnTo>
                    <a:pt x="84" y="20"/>
                  </a:lnTo>
                  <a:lnTo>
                    <a:pt x="84" y="22"/>
                  </a:lnTo>
                  <a:lnTo>
                    <a:pt x="86" y="22"/>
                  </a:lnTo>
                  <a:lnTo>
                    <a:pt x="88" y="22"/>
                  </a:lnTo>
                  <a:lnTo>
                    <a:pt x="90" y="24"/>
                  </a:lnTo>
                  <a:lnTo>
                    <a:pt x="90" y="24"/>
                  </a:lnTo>
                  <a:lnTo>
                    <a:pt x="92" y="24"/>
                  </a:lnTo>
                  <a:lnTo>
                    <a:pt x="92" y="24"/>
                  </a:lnTo>
                  <a:lnTo>
                    <a:pt x="92" y="26"/>
                  </a:lnTo>
                  <a:lnTo>
                    <a:pt x="92" y="26"/>
                  </a:lnTo>
                  <a:lnTo>
                    <a:pt x="94" y="28"/>
                  </a:lnTo>
                  <a:lnTo>
                    <a:pt x="94" y="30"/>
                  </a:lnTo>
                  <a:lnTo>
                    <a:pt x="94" y="32"/>
                  </a:lnTo>
                  <a:lnTo>
                    <a:pt x="92" y="32"/>
                  </a:lnTo>
                  <a:lnTo>
                    <a:pt x="92" y="34"/>
                  </a:lnTo>
                  <a:lnTo>
                    <a:pt x="92" y="36"/>
                  </a:lnTo>
                  <a:lnTo>
                    <a:pt x="92" y="36"/>
                  </a:lnTo>
                  <a:lnTo>
                    <a:pt x="90" y="38"/>
                  </a:lnTo>
                  <a:lnTo>
                    <a:pt x="90" y="38"/>
                  </a:lnTo>
                  <a:lnTo>
                    <a:pt x="88" y="38"/>
                  </a:lnTo>
                  <a:lnTo>
                    <a:pt x="86" y="38"/>
                  </a:lnTo>
                  <a:lnTo>
                    <a:pt x="84" y="38"/>
                  </a:lnTo>
                  <a:lnTo>
                    <a:pt x="84" y="38"/>
                  </a:lnTo>
                  <a:lnTo>
                    <a:pt x="84" y="38"/>
                  </a:lnTo>
                  <a:lnTo>
                    <a:pt x="82" y="40"/>
                  </a:lnTo>
                  <a:lnTo>
                    <a:pt x="82" y="42"/>
                  </a:lnTo>
                  <a:lnTo>
                    <a:pt x="82" y="42"/>
                  </a:lnTo>
                  <a:lnTo>
                    <a:pt x="82" y="46"/>
                  </a:lnTo>
                  <a:lnTo>
                    <a:pt x="82" y="48"/>
                  </a:lnTo>
                  <a:lnTo>
                    <a:pt x="82" y="52"/>
                  </a:lnTo>
                  <a:lnTo>
                    <a:pt x="82" y="56"/>
                  </a:lnTo>
                  <a:lnTo>
                    <a:pt x="82" y="60"/>
                  </a:lnTo>
                  <a:lnTo>
                    <a:pt x="82" y="64"/>
                  </a:lnTo>
                  <a:lnTo>
                    <a:pt x="82" y="66"/>
                  </a:lnTo>
                  <a:lnTo>
                    <a:pt x="82" y="74"/>
                  </a:lnTo>
                  <a:lnTo>
                    <a:pt x="84" y="84"/>
                  </a:lnTo>
                  <a:lnTo>
                    <a:pt x="80" y="84"/>
                  </a:lnTo>
                  <a:lnTo>
                    <a:pt x="70" y="84"/>
                  </a:lnTo>
                  <a:lnTo>
                    <a:pt x="62" y="84"/>
                  </a:lnTo>
                  <a:lnTo>
                    <a:pt x="58" y="84"/>
                  </a:lnTo>
                  <a:lnTo>
                    <a:pt x="52" y="84"/>
                  </a:lnTo>
                  <a:lnTo>
                    <a:pt x="50" y="86"/>
                  </a:lnTo>
                  <a:lnTo>
                    <a:pt x="48" y="86"/>
                  </a:lnTo>
                  <a:lnTo>
                    <a:pt x="46" y="86"/>
                  </a:lnTo>
                  <a:lnTo>
                    <a:pt x="44" y="86"/>
                  </a:lnTo>
                  <a:lnTo>
                    <a:pt x="38" y="90"/>
                  </a:lnTo>
                  <a:lnTo>
                    <a:pt x="30" y="9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7" name="Freeform 415"/>
            <p:cNvSpPr>
              <a:spLocks/>
            </p:cNvSpPr>
            <p:nvPr/>
          </p:nvSpPr>
          <p:spPr bwMode="auto">
            <a:xfrm>
              <a:off x="4050970" y="4355222"/>
              <a:ext cx="162815" cy="159351"/>
            </a:xfrm>
            <a:custGeom>
              <a:avLst/>
              <a:gdLst>
                <a:gd name="T0" fmla="*/ 28 w 94"/>
                <a:gd name="T1" fmla="*/ 92 h 92"/>
                <a:gd name="T2" fmla="*/ 18 w 94"/>
                <a:gd name="T3" fmla="*/ 88 h 92"/>
                <a:gd name="T4" fmla="*/ 14 w 94"/>
                <a:gd name="T5" fmla="*/ 86 h 92"/>
                <a:gd name="T6" fmla="*/ 14 w 94"/>
                <a:gd name="T7" fmla="*/ 84 h 92"/>
                <a:gd name="T8" fmla="*/ 14 w 94"/>
                <a:gd name="T9" fmla="*/ 78 h 92"/>
                <a:gd name="T10" fmla="*/ 12 w 94"/>
                <a:gd name="T11" fmla="*/ 72 h 92"/>
                <a:gd name="T12" fmla="*/ 12 w 94"/>
                <a:gd name="T13" fmla="*/ 70 h 92"/>
                <a:gd name="T14" fmla="*/ 10 w 94"/>
                <a:gd name="T15" fmla="*/ 68 h 92"/>
                <a:gd name="T16" fmla="*/ 4 w 94"/>
                <a:gd name="T17" fmla="*/ 68 h 92"/>
                <a:gd name="T18" fmla="*/ 2 w 94"/>
                <a:gd name="T19" fmla="*/ 66 h 92"/>
                <a:gd name="T20" fmla="*/ 0 w 94"/>
                <a:gd name="T21" fmla="*/ 62 h 92"/>
                <a:gd name="T22" fmla="*/ 0 w 94"/>
                <a:gd name="T23" fmla="*/ 54 h 92"/>
                <a:gd name="T24" fmla="*/ 0 w 94"/>
                <a:gd name="T25" fmla="*/ 42 h 92"/>
                <a:gd name="T26" fmla="*/ 2 w 94"/>
                <a:gd name="T27" fmla="*/ 36 h 92"/>
                <a:gd name="T28" fmla="*/ 4 w 94"/>
                <a:gd name="T29" fmla="*/ 32 h 92"/>
                <a:gd name="T30" fmla="*/ 10 w 94"/>
                <a:gd name="T31" fmla="*/ 30 h 92"/>
                <a:gd name="T32" fmla="*/ 16 w 94"/>
                <a:gd name="T33" fmla="*/ 26 h 92"/>
                <a:gd name="T34" fmla="*/ 18 w 94"/>
                <a:gd name="T35" fmla="*/ 24 h 92"/>
                <a:gd name="T36" fmla="*/ 20 w 94"/>
                <a:gd name="T37" fmla="*/ 22 h 92"/>
                <a:gd name="T38" fmla="*/ 18 w 94"/>
                <a:gd name="T39" fmla="*/ 20 h 92"/>
                <a:gd name="T40" fmla="*/ 12 w 94"/>
                <a:gd name="T41" fmla="*/ 18 h 92"/>
                <a:gd name="T42" fmla="*/ 10 w 94"/>
                <a:gd name="T43" fmla="*/ 16 h 92"/>
                <a:gd name="T44" fmla="*/ 10 w 94"/>
                <a:gd name="T45" fmla="*/ 14 h 92"/>
                <a:gd name="T46" fmla="*/ 10 w 94"/>
                <a:gd name="T47" fmla="*/ 10 h 92"/>
                <a:gd name="T48" fmla="*/ 14 w 94"/>
                <a:gd name="T49" fmla="*/ 2 h 92"/>
                <a:gd name="T50" fmla="*/ 48 w 94"/>
                <a:gd name="T51" fmla="*/ 2 h 92"/>
                <a:gd name="T52" fmla="*/ 54 w 94"/>
                <a:gd name="T53" fmla="*/ 6 h 92"/>
                <a:gd name="T54" fmla="*/ 60 w 94"/>
                <a:gd name="T55" fmla="*/ 6 h 92"/>
                <a:gd name="T56" fmla="*/ 78 w 94"/>
                <a:gd name="T57" fmla="*/ 6 h 92"/>
                <a:gd name="T58" fmla="*/ 82 w 94"/>
                <a:gd name="T59" fmla="*/ 12 h 92"/>
                <a:gd name="T60" fmla="*/ 84 w 94"/>
                <a:gd name="T61" fmla="*/ 18 h 92"/>
                <a:gd name="T62" fmla="*/ 84 w 94"/>
                <a:gd name="T63" fmla="*/ 20 h 92"/>
                <a:gd name="T64" fmla="*/ 88 w 94"/>
                <a:gd name="T65" fmla="*/ 22 h 92"/>
                <a:gd name="T66" fmla="*/ 92 w 94"/>
                <a:gd name="T67" fmla="*/ 24 h 92"/>
                <a:gd name="T68" fmla="*/ 92 w 94"/>
                <a:gd name="T69" fmla="*/ 26 h 92"/>
                <a:gd name="T70" fmla="*/ 94 w 94"/>
                <a:gd name="T71" fmla="*/ 32 h 92"/>
                <a:gd name="T72" fmla="*/ 92 w 94"/>
                <a:gd name="T73" fmla="*/ 36 h 92"/>
                <a:gd name="T74" fmla="*/ 90 w 94"/>
                <a:gd name="T75" fmla="*/ 38 h 92"/>
                <a:gd name="T76" fmla="*/ 84 w 94"/>
                <a:gd name="T77" fmla="*/ 38 h 92"/>
                <a:gd name="T78" fmla="*/ 82 w 94"/>
                <a:gd name="T79" fmla="*/ 40 h 92"/>
                <a:gd name="T80" fmla="*/ 82 w 94"/>
                <a:gd name="T81" fmla="*/ 46 h 92"/>
                <a:gd name="T82" fmla="*/ 82 w 94"/>
                <a:gd name="T83" fmla="*/ 56 h 92"/>
                <a:gd name="T84" fmla="*/ 82 w 94"/>
                <a:gd name="T85" fmla="*/ 66 h 92"/>
                <a:gd name="T86" fmla="*/ 80 w 94"/>
                <a:gd name="T87" fmla="*/ 84 h 92"/>
                <a:gd name="T88" fmla="*/ 58 w 94"/>
                <a:gd name="T89" fmla="*/ 84 h 92"/>
                <a:gd name="T90" fmla="*/ 48 w 94"/>
                <a:gd name="T91" fmla="*/ 86 h 92"/>
                <a:gd name="T92" fmla="*/ 38 w 94"/>
                <a:gd name="T93"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92">
                  <a:moveTo>
                    <a:pt x="30" y="92"/>
                  </a:moveTo>
                  <a:lnTo>
                    <a:pt x="30" y="92"/>
                  </a:lnTo>
                  <a:lnTo>
                    <a:pt x="28" y="92"/>
                  </a:lnTo>
                  <a:lnTo>
                    <a:pt x="24" y="90"/>
                  </a:lnTo>
                  <a:lnTo>
                    <a:pt x="20" y="90"/>
                  </a:lnTo>
                  <a:lnTo>
                    <a:pt x="18" y="88"/>
                  </a:lnTo>
                  <a:lnTo>
                    <a:pt x="16" y="86"/>
                  </a:lnTo>
                  <a:lnTo>
                    <a:pt x="16" y="86"/>
                  </a:lnTo>
                  <a:lnTo>
                    <a:pt x="14" y="86"/>
                  </a:lnTo>
                  <a:lnTo>
                    <a:pt x="14" y="86"/>
                  </a:lnTo>
                  <a:lnTo>
                    <a:pt x="14" y="84"/>
                  </a:lnTo>
                  <a:lnTo>
                    <a:pt x="14" y="84"/>
                  </a:lnTo>
                  <a:lnTo>
                    <a:pt x="14" y="82"/>
                  </a:lnTo>
                  <a:lnTo>
                    <a:pt x="14" y="80"/>
                  </a:lnTo>
                  <a:lnTo>
                    <a:pt x="14" y="78"/>
                  </a:lnTo>
                  <a:lnTo>
                    <a:pt x="14" y="76"/>
                  </a:lnTo>
                  <a:lnTo>
                    <a:pt x="14" y="72"/>
                  </a:lnTo>
                  <a:lnTo>
                    <a:pt x="12" y="72"/>
                  </a:lnTo>
                  <a:lnTo>
                    <a:pt x="12" y="70"/>
                  </a:lnTo>
                  <a:lnTo>
                    <a:pt x="12" y="70"/>
                  </a:lnTo>
                  <a:lnTo>
                    <a:pt x="12" y="70"/>
                  </a:lnTo>
                  <a:lnTo>
                    <a:pt x="12" y="70"/>
                  </a:lnTo>
                  <a:lnTo>
                    <a:pt x="12" y="68"/>
                  </a:lnTo>
                  <a:lnTo>
                    <a:pt x="10" y="68"/>
                  </a:lnTo>
                  <a:lnTo>
                    <a:pt x="8" y="68"/>
                  </a:lnTo>
                  <a:lnTo>
                    <a:pt x="8" y="68"/>
                  </a:lnTo>
                  <a:lnTo>
                    <a:pt x="4" y="68"/>
                  </a:lnTo>
                  <a:lnTo>
                    <a:pt x="4" y="68"/>
                  </a:lnTo>
                  <a:lnTo>
                    <a:pt x="4" y="66"/>
                  </a:lnTo>
                  <a:lnTo>
                    <a:pt x="2" y="66"/>
                  </a:lnTo>
                  <a:lnTo>
                    <a:pt x="2" y="66"/>
                  </a:lnTo>
                  <a:lnTo>
                    <a:pt x="2" y="64"/>
                  </a:lnTo>
                  <a:lnTo>
                    <a:pt x="0" y="62"/>
                  </a:lnTo>
                  <a:lnTo>
                    <a:pt x="0" y="60"/>
                  </a:lnTo>
                  <a:lnTo>
                    <a:pt x="0" y="54"/>
                  </a:lnTo>
                  <a:lnTo>
                    <a:pt x="0" y="54"/>
                  </a:lnTo>
                  <a:lnTo>
                    <a:pt x="0" y="50"/>
                  </a:lnTo>
                  <a:lnTo>
                    <a:pt x="0" y="46"/>
                  </a:lnTo>
                  <a:lnTo>
                    <a:pt x="0" y="42"/>
                  </a:lnTo>
                  <a:lnTo>
                    <a:pt x="2" y="38"/>
                  </a:lnTo>
                  <a:lnTo>
                    <a:pt x="2" y="36"/>
                  </a:lnTo>
                  <a:lnTo>
                    <a:pt x="2" y="36"/>
                  </a:lnTo>
                  <a:lnTo>
                    <a:pt x="4" y="34"/>
                  </a:lnTo>
                  <a:lnTo>
                    <a:pt x="4" y="34"/>
                  </a:lnTo>
                  <a:lnTo>
                    <a:pt x="4" y="32"/>
                  </a:lnTo>
                  <a:lnTo>
                    <a:pt x="6" y="32"/>
                  </a:lnTo>
                  <a:lnTo>
                    <a:pt x="6" y="32"/>
                  </a:lnTo>
                  <a:lnTo>
                    <a:pt x="10" y="30"/>
                  </a:lnTo>
                  <a:lnTo>
                    <a:pt x="12" y="28"/>
                  </a:lnTo>
                  <a:lnTo>
                    <a:pt x="14" y="28"/>
                  </a:lnTo>
                  <a:lnTo>
                    <a:pt x="16" y="26"/>
                  </a:lnTo>
                  <a:lnTo>
                    <a:pt x="18" y="26"/>
                  </a:lnTo>
                  <a:lnTo>
                    <a:pt x="18" y="26"/>
                  </a:lnTo>
                  <a:lnTo>
                    <a:pt x="18" y="24"/>
                  </a:lnTo>
                  <a:lnTo>
                    <a:pt x="20" y="24"/>
                  </a:lnTo>
                  <a:lnTo>
                    <a:pt x="20" y="22"/>
                  </a:lnTo>
                  <a:lnTo>
                    <a:pt x="20" y="22"/>
                  </a:lnTo>
                  <a:lnTo>
                    <a:pt x="20" y="22"/>
                  </a:lnTo>
                  <a:lnTo>
                    <a:pt x="18" y="22"/>
                  </a:lnTo>
                  <a:lnTo>
                    <a:pt x="18" y="20"/>
                  </a:lnTo>
                  <a:lnTo>
                    <a:pt x="16" y="20"/>
                  </a:lnTo>
                  <a:lnTo>
                    <a:pt x="14" y="18"/>
                  </a:lnTo>
                  <a:lnTo>
                    <a:pt x="12" y="18"/>
                  </a:lnTo>
                  <a:lnTo>
                    <a:pt x="12" y="16"/>
                  </a:lnTo>
                  <a:lnTo>
                    <a:pt x="10" y="16"/>
                  </a:lnTo>
                  <a:lnTo>
                    <a:pt x="10" y="16"/>
                  </a:lnTo>
                  <a:lnTo>
                    <a:pt x="10" y="14"/>
                  </a:lnTo>
                  <a:lnTo>
                    <a:pt x="10" y="14"/>
                  </a:lnTo>
                  <a:lnTo>
                    <a:pt x="10" y="14"/>
                  </a:lnTo>
                  <a:lnTo>
                    <a:pt x="10" y="12"/>
                  </a:lnTo>
                  <a:lnTo>
                    <a:pt x="10" y="10"/>
                  </a:lnTo>
                  <a:lnTo>
                    <a:pt x="10" y="10"/>
                  </a:lnTo>
                  <a:lnTo>
                    <a:pt x="12" y="8"/>
                  </a:lnTo>
                  <a:lnTo>
                    <a:pt x="14" y="4"/>
                  </a:lnTo>
                  <a:lnTo>
                    <a:pt x="14" y="2"/>
                  </a:lnTo>
                  <a:lnTo>
                    <a:pt x="28" y="2"/>
                  </a:lnTo>
                  <a:lnTo>
                    <a:pt x="44" y="0"/>
                  </a:lnTo>
                  <a:lnTo>
                    <a:pt x="48" y="2"/>
                  </a:lnTo>
                  <a:lnTo>
                    <a:pt x="52" y="4"/>
                  </a:lnTo>
                  <a:lnTo>
                    <a:pt x="52" y="4"/>
                  </a:lnTo>
                  <a:lnTo>
                    <a:pt x="54" y="6"/>
                  </a:lnTo>
                  <a:lnTo>
                    <a:pt x="54" y="6"/>
                  </a:lnTo>
                  <a:lnTo>
                    <a:pt x="56" y="6"/>
                  </a:lnTo>
                  <a:lnTo>
                    <a:pt x="60" y="6"/>
                  </a:lnTo>
                  <a:lnTo>
                    <a:pt x="66" y="6"/>
                  </a:lnTo>
                  <a:lnTo>
                    <a:pt x="70" y="6"/>
                  </a:lnTo>
                  <a:lnTo>
                    <a:pt x="78" y="6"/>
                  </a:lnTo>
                  <a:lnTo>
                    <a:pt x="82" y="6"/>
                  </a:lnTo>
                  <a:lnTo>
                    <a:pt x="82" y="8"/>
                  </a:lnTo>
                  <a:lnTo>
                    <a:pt x="82" y="12"/>
                  </a:lnTo>
                  <a:lnTo>
                    <a:pt x="82" y="14"/>
                  </a:lnTo>
                  <a:lnTo>
                    <a:pt x="82" y="16"/>
                  </a:lnTo>
                  <a:lnTo>
                    <a:pt x="84" y="18"/>
                  </a:lnTo>
                  <a:lnTo>
                    <a:pt x="84" y="20"/>
                  </a:lnTo>
                  <a:lnTo>
                    <a:pt x="84" y="20"/>
                  </a:lnTo>
                  <a:lnTo>
                    <a:pt x="84" y="20"/>
                  </a:lnTo>
                  <a:lnTo>
                    <a:pt x="84" y="22"/>
                  </a:lnTo>
                  <a:lnTo>
                    <a:pt x="86" y="22"/>
                  </a:lnTo>
                  <a:lnTo>
                    <a:pt x="88" y="22"/>
                  </a:lnTo>
                  <a:lnTo>
                    <a:pt x="90" y="24"/>
                  </a:lnTo>
                  <a:lnTo>
                    <a:pt x="90" y="24"/>
                  </a:lnTo>
                  <a:lnTo>
                    <a:pt x="92" y="24"/>
                  </a:lnTo>
                  <a:lnTo>
                    <a:pt x="92" y="24"/>
                  </a:lnTo>
                  <a:lnTo>
                    <a:pt x="92" y="26"/>
                  </a:lnTo>
                  <a:lnTo>
                    <a:pt x="92" y="26"/>
                  </a:lnTo>
                  <a:lnTo>
                    <a:pt x="94" y="28"/>
                  </a:lnTo>
                  <a:lnTo>
                    <a:pt x="94" y="30"/>
                  </a:lnTo>
                  <a:lnTo>
                    <a:pt x="94" y="32"/>
                  </a:lnTo>
                  <a:lnTo>
                    <a:pt x="92" y="32"/>
                  </a:lnTo>
                  <a:lnTo>
                    <a:pt x="92" y="34"/>
                  </a:lnTo>
                  <a:lnTo>
                    <a:pt x="92" y="36"/>
                  </a:lnTo>
                  <a:lnTo>
                    <a:pt x="92" y="36"/>
                  </a:lnTo>
                  <a:lnTo>
                    <a:pt x="90" y="38"/>
                  </a:lnTo>
                  <a:lnTo>
                    <a:pt x="90" y="38"/>
                  </a:lnTo>
                  <a:lnTo>
                    <a:pt x="88" y="38"/>
                  </a:lnTo>
                  <a:lnTo>
                    <a:pt x="86" y="38"/>
                  </a:lnTo>
                  <a:lnTo>
                    <a:pt x="84" y="38"/>
                  </a:lnTo>
                  <a:lnTo>
                    <a:pt x="84" y="38"/>
                  </a:lnTo>
                  <a:lnTo>
                    <a:pt x="84" y="38"/>
                  </a:lnTo>
                  <a:lnTo>
                    <a:pt x="82" y="40"/>
                  </a:lnTo>
                  <a:lnTo>
                    <a:pt x="82" y="42"/>
                  </a:lnTo>
                  <a:lnTo>
                    <a:pt x="82" y="42"/>
                  </a:lnTo>
                  <a:lnTo>
                    <a:pt x="82" y="46"/>
                  </a:lnTo>
                  <a:lnTo>
                    <a:pt x="82" y="48"/>
                  </a:lnTo>
                  <a:lnTo>
                    <a:pt x="82" y="52"/>
                  </a:lnTo>
                  <a:lnTo>
                    <a:pt x="82" y="56"/>
                  </a:lnTo>
                  <a:lnTo>
                    <a:pt x="82" y="60"/>
                  </a:lnTo>
                  <a:lnTo>
                    <a:pt x="82" y="64"/>
                  </a:lnTo>
                  <a:lnTo>
                    <a:pt x="82" y="66"/>
                  </a:lnTo>
                  <a:lnTo>
                    <a:pt x="82" y="74"/>
                  </a:lnTo>
                  <a:lnTo>
                    <a:pt x="84" y="84"/>
                  </a:lnTo>
                  <a:lnTo>
                    <a:pt x="80" y="84"/>
                  </a:lnTo>
                  <a:lnTo>
                    <a:pt x="70" y="84"/>
                  </a:lnTo>
                  <a:lnTo>
                    <a:pt x="62" y="84"/>
                  </a:lnTo>
                  <a:lnTo>
                    <a:pt x="58" y="84"/>
                  </a:lnTo>
                  <a:lnTo>
                    <a:pt x="52" y="84"/>
                  </a:lnTo>
                  <a:lnTo>
                    <a:pt x="50" y="86"/>
                  </a:lnTo>
                  <a:lnTo>
                    <a:pt x="48" y="86"/>
                  </a:lnTo>
                  <a:lnTo>
                    <a:pt x="46" y="86"/>
                  </a:lnTo>
                  <a:lnTo>
                    <a:pt x="44" y="86"/>
                  </a:lnTo>
                  <a:lnTo>
                    <a:pt x="38" y="90"/>
                  </a:lnTo>
                  <a:lnTo>
                    <a:pt x="30" y="9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8" name="Freeform 416"/>
            <p:cNvSpPr>
              <a:spLocks/>
            </p:cNvSpPr>
            <p:nvPr/>
          </p:nvSpPr>
          <p:spPr bwMode="auto">
            <a:xfrm>
              <a:off x="4504774" y="4611569"/>
              <a:ext cx="38106" cy="20785"/>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39" name="Freeform 417"/>
            <p:cNvSpPr>
              <a:spLocks/>
            </p:cNvSpPr>
            <p:nvPr/>
          </p:nvSpPr>
          <p:spPr bwMode="auto">
            <a:xfrm>
              <a:off x="4504774" y="4611569"/>
              <a:ext cx="38106" cy="20785"/>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0" name="Freeform 418"/>
            <p:cNvSpPr>
              <a:spLocks/>
            </p:cNvSpPr>
            <p:nvPr/>
          </p:nvSpPr>
          <p:spPr bwMode="auto">
            <a:xfrm>
              <a:off x="4986291" y="4684317"/>
              <a:ext cx="48498" cy="48498"/>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1" name="Freeform 419"/>
            <p:cNvSpPr>
              <a:spLocks/>
            </p:cNvSpPr>
            <p:nvPr/>
          </p:nvSpPr>
          <p:spPr bwMode="auto">
            <a:xfrm>
              <a:off x="4986291" y="4684317"/>
              <a:ext cx="48498" cy="48498"/>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2" name="Freeform 420"/>
            <p:cNvSpPr>
              <a:spLocks/>
            </p:cNvSpPr>
            <p:nvPr/>
          </p:nvSpPr>
          <p:spPr bwMode="auto">
            <a:xfrm>
              <a:off x="4127182" y="4220120"/>
              <a:ext cx="200921" cy="148958"/>
            </a:xfrm>
            <a:custGeom>
              <a:avLst/>
              <a:gdLst>
                <a:gd name="T0" fmla="*/ 116 w 116"/>
                <a:gd name="T1" fmla="*/ 46 h 86"/>
                <a:gd name="T2" fmla="*/ 114 w 116"/>
                <a:gd name="T3" fmla="*/ 54 h 86"/>
                <a:gd name="T4" fmla="*/ 112 w 116"/>
                <a:gd name="T5" fmla="*/ 58 h 86"/>
                <a:gd name="T6" fmla="*/ 110 w 116"/>
                <a:gd name="T7" fmla="*/ 60 h 86"/>
                <a:gd name="T8" fmla="*/ 104 w 116"/>
                <a:gd name="T9" fmla="*/ 62 h 86"/>
                <a:gd name="T10" fmla="*/ 96 w 116"/>
                <a:gd name="T11" fmla="*/ 62 h 86"/>
                <a:gd name="T12" fmla="*/ 94 w 116"/>
                <a:gd name="T13" fmla="*/ 64 h 86"/>
                <a:gd name="T14" fmla="*/ 90 w 116"/>
                <a:gd name="T15" fmla="*/ 70 h 86"/>
                <a:gd name="T16" fmla="*/ 84 w 116"/>
                <a:gd name="T17" fmla="*/ 78 h 86"/>
                <a:gd name="T18" fmla="*/ 68 w 116"/>
                <a:gd name="T19" fmla="*/ 78 h 86"/>
                <a:gd name="T20" fmla="*/ 64 w 116"/>
                <a:gd name="T21" fmla="*/ 78 h 86"/>
                <a:gd name="T22" fmla="*/ 56 w 116"/>
                <a:gd name="T23" fmla="*/ 72 h 86"/>
                <a:gd name="T24" fmla="*/ 52 w 116"/>
                <a:gd name="T25" fmla="*/ 70 h 86"/>
                <a:gd name="T26" fmla="*/ 48 w 116"/>
                <a:gd name="T27" fmla="*/ 70 h 86"/>
                <a:gd name="T28" fmla="*/ 46 w 116"/>
                <a:gd name="T29" fmla="*/ 72 h 86"/>
                <a:gd name="T30" fmla="*/ 42 w 116"/>
                <a:gd name="T31" fmla="*/ 76 h 86"/>
                <a:gd name="T32" fmla="*/ 38 w 116"/>
                <a:gd name="T33" fmla="*/ 84 h 86"/>
                <a:gd name="T34" fmla="*/ 22 w 116"/>
                <a:gd name="T35" fmla="*/ 84 h 86"/>
                <a:gd name="T36" fmla="*/ 12 w 116"/>
                <a:gd name="T37" fmla="*/ 84 h 86"/>
                <a:gd name="T38" fmla="*/ 8 w 116"/>
                <a:gd name="T39" fmla="*/ 82 h 86"/>
                <a:gd name="T40" fmla="*/ 2 w 116"/>
                <a:gd name="T41" fmla="*/ 74 h 86"/>
                <a:gd name="T42" fmla="*/ 4 w 116"/>
                <a:gd name="T43" fmla="*/ 60 h 86"/>
                <a:gd name="T44" fmla="*/ 8 w 116"/>
                <a:gd name="T45" fmla="*/ 54 h 86"/>
                <a:gd name="T46" fmla="*/ 14 w 116"/>
                <a:gd name="T47" fmla="*/ 46 h 86"/>
                <a:gd name="T48" fmla="*/ 18 w 116"/>
                <a:gd name="T49" fmla="*/ 38 h 86"/>
                <a:gd name="T50" fmla="*/ 24 w 116"/>
                <a:gd name="T51" fmla="*/ 26 h 86"/>
                <a:gd name="T52" fmla="*/ 26 w 116"/>
                <a:gd name="T53" fmla="*/ 24 h 86"/>
                <a:gd name="T54" fmla="*/ 32 w 116"/>
                <a:gd name="T55" fmla="*/ 22 h 86"/>
                <a:gd name="T56" fmla="*/ 42 w 116"/>
                <a:gd name="T57" fmla="*/ 20 h 86"/>
                <a:gd name="T58" fmla="*/ 44 w 116"/>
                <a:gd name="T59" fmla="*/ 18 h 86"/>
                <a:gd name="T60" fmla="*/ 50 w 116"/>
                <a:gd name="T61" fmla="*/ 12 h 86"/>
                <a:gd name="T62" fmla="*/ 54 w 116"/>
                <a:gd name="T63" fmla="*/ 6 h 86"/>
                <a:gd name="T64" fmla="*/ 58 w 116"/>
                <a:gd name="T65" fmla="*/ 2 h 86"/>
                <a:gd name="T66" fmla="*/ 60 w 116"/>
                <a:gd name="T67" fmla="*/ 0 h 86"/>
                <a:gd name="T68" fmla="*/ 68 w 116"/>
                <a:gd name="T69" fmla="*/ 0 h 86"/>
                <a:gd name="T70" fmla="*/ 80 w 116"/>
                <a:gd name="T71" fmla="*/ 2 h 86"/>
                <a:gd name="T72" fmla="*/ 86 w 116"/>
                <a:gd name="T73" fmla="*/ 8 h 86"/>
                <a:gd name="T74" fmla="*/ 88 w 116"/>
                <a:gd name="T75" fmla="*/ 12 h 86"/>
                <a:gd name="T76" fmla="*/ 94 w 116"/>
                <a:gd name="T77" fmla="*/ 14 h 86"/>
                <a:gd name="T78" fmla="*/ 96 w 116"/>
                <a:gd name="T79" fmla="*/ 16 h 86"/>
                <a:gd name="T80" fmla="*/ 98 w 116"/>
                <a:gd name="T81" fmla="*/ 20 h 86"/>
                <a:gd name="T82" fmla="*/ 96 w 116"/>
                <a:gd name="T83" fmla="*/ 26 h 86"/>
                <a:gd name="T84" fmla="*/ 96 w 116"/>
                <a:gd name="T85" fmla="*/ 30 h 86"/>
                <a:gd name="T86" fmla="*/ 98 w 116"/>
                <a:gd name="T87" fmla="*/ 32 h 86"/>
                <a:gd name="T88" fmla="*/ 102 w 116"/>
                <a:gd name="T89" fmla="*/ 32 h 86"/>
                <a:gd name="T90" fmla="*/ 106 w 116"/>
                <a:gd name="T91" fmla="*/ 32 h 86"/>
                <a:gd name="T92" fmla="*/ 108 w 116"/>
                <a:gd name="T93" fmla="*/ 34 h 86"/>
                <a:gd name="T94" fmla="*/ 112 w 116"/>
                <a:gd name="T9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86">
                  <a:moveTo>
                    <a:pt x="116" y="44"/>
                  </a:moveTo>
                  <a:lnTo>
                    <a:pt x="116" y="44"/>
                  </a:lnTo>
                  <a:lnTo>
                    <a:pt x="116" y="46"/>
                  </a:lnTo>
                  <a:lnTo>
                    <a:pt x="114" y="50"/>
                  </a:lnTo>
                  <a:lnTo>
                    <a:pt x="114" y="52"/>
                  </a:lnTo>
                  <a:lnTo>
                    <a:pt x="114" y="54"/>
                  </a:lnTo>
                  <a:lnTo>
                    <a:pt x="112" y="56"/>
                  </a:lnTo>
                  <a:lnTo>
                    <a:pt x="112" y="58"/>
                  </a:lnTo>
                  <a:lnTo>
                    <a:pt x="112" y="58"/>
                  </a:lnTo>
                  <a:lnTo>
                    <a:pt x="110" y="60"/>
                  </a:lnTo>
                  <a:lnTo>
                    <a:pt x="110" y="60"/>
                  </a:lnTo>
                  <a:lnTo>
                    <a:pt x="110" y="60"/>
                  </a:lnTo>
                  <a:lnTo>
                    <a:pt x="108" y="60"/>
                  </a:lnTo>
                  <a:lnTo>
                    <a:pt x="106" y="60"/>
                  </a:lnTo>
                  <a:lnTo>
                    <a:pt x="104" y="62"/>
                  </a:lnTo>
                  <a:lnTo>
                    <a:pt x="102" y="62"/>
                  </a:lnTo>
                  <a:lnTo>
                    <a:pt x="98" y="62"/>
                  </a:lnTo>
                  <a:lnTo>
                    <a:pt x="96" y="62"/>
                  </a:lnTo>
                  <a:lnTo>
                    <a:pt x="96" y="64"/>
                  </a:lnTo>
                  <a:lnTo>
                    <a:pt x="96" y="64"/>
                  </a:lnTo>
                  <a:lnTo>
                    <a:pt x="94" y="64"/>
                  </a:lnTo>
                  <a:lnTo>
                    <a:pt x="94" y="64"/>
                  </a:lnTo>
                  <a:lnTo>
                    <a:pt x="92" y="66"/>
                  </a:lnTo>
                  <a:lnTo>
                    <a:pt x="90" y="70"/>
                  </a:lnTo>
                  <a:lnTo>
                    <a:pt x="88" y="72"/>
                  </a:lnTo>
                  <a:lnTo>
                    <a:pt x="84" y="76"/>
                  </a:lnTo>
                  <a:lnTo>
                    <a:pt x="84" y="78"/>
                  </a:lnTo>
                  <a:lnTo>
                    <a:pt x="78" y="80"/>
                  </a:lnTo>
                  <a:lnTo>
                    <a:pt x="72" y="80"/>
                  </a:lnTo>
                  <a:lnTo>
                    <a:pt x="68" y="78"/>
                  </a:lnTo>
                  <a:lnTo>
                    <a:pt x="66" y="78"/>
                  </a:lnTo>
                  <a:lnTo>
                    <a:pt x="64" y="78"/>
                  </a:lnTo>
                  <a:lnTo>
                    <a:pt x="64" y="78"/>
                  </a:lnTo>
                  <a:lnTo>
                    <a:pt x="62" y="76"/>
                  </a:lnTo>
                  <a:lnTo>
                    <a:pt x="60" y="74"/>
                  </a:lnTo>
                  <a:lnTo>
                    <a:pt x="56" y="72"/>
                  </a:lnTo>
                  <a:lnTo>
                    <a:pt x="56" y="72"/>
                  </a:lnTo>
                  <a:lnTo>
                    <a:pt x="54" y="72"/>
                  </a:lnTo>
                  <a:lnTo>
                    <a:pt x="52" y="70"/>
                  </a:lnTo>
                  <a:lnTo>
                    <a:pt x="50" y="70"/>
                  </a:lnTo>
                  <a:lnTo>
                    <a:pt x="48" y="70"/>
                  </a:lnTo>
                  <a:lnTo>
                    <a:pt x="48" y="70"/>
                  </a:lnTo>
                  <a:lnTo>
                    <a:pt x="46" y="70"/>
                  </a:lnTo>
                  <a:lnTo>
                    <a:pt x="46" y="72"/>
                  </a:lnTo>
                  <a:lnTo>
                    <a:pt x="46" y="72"/>
                  </a:lnTo>
                  <a:lnTo>
                    <a:pt x="44" y="72"/>
                  </a:lnTo>
                  <a:lnTo>
                    <a:pt x="44" y="74"/>
                  </a:lnTo>
                  <a:lnTo>
                    <a:pt x="42" y="76"/>
                  </a:lnTo>
                  <a:lnTo>
                    <a:pt x="40" y="78"/>
                  </a:lnTo>
                  <a:lnTo>
                    <a:pt x="40" y="84"/>
                  </a:lnTo>
                  <a:lnTo>
                    <a:pt x="38" y="84"/>
                  </a:lnTo>
                  <a:lnTo>
                    <a:pt x="34" y="84"/>
                  </a:lnTo>
                  <a:lnTo>
                    <a:pt x="26" y="86"/>
                  </a:lnTo>
                  <a:lnTo>
                    <a:pt x="22" y="84"/>
                  </a:lnTo>
                  <a:lnTo>
                    <a:pt x="18" y="84"/>
                  </a:lnTo>
                  <a:lnTo>
                    <a:pt x="12" y="84"/>
                  </a:lnTo>
                  <a:lnTo>
                    <a:pt x="12" y="84"/>
                  </a:lnTo>
                  <a:lnTo>
                    <a:pt x="10" y="84"/>
                  </a:lnTo>
                  <a:lnTo>
                    <a:pt x="8" y="84"/>
                  </a:lnTo>
                  <a:lnTo>
                    <a:pt x="8" y="82"/>
                  </a:lnTo>
                  <a:lnTo>
                    <a:pt x="4" y="80"/>
                  </a:lnTo>
                  <a:lnTo>
                    <a:pt x="0" y="78"/>
                  </a:lnTo>
                  <a:lnTo>
                    <a:pt x="2" y="74"/>
                  </a:lnTo>
                  <a:lnTo>
                    <a:pt x="2" y="70"/>
                  </a:lnTo>
                  <a:lnTo>
                    <a:pt x="4" y="62"/>
                  </a:lnTo>
                  <a:lnTo>
                    <a:pt x="4" y="60"/>
                  </a:lnTo>
                  <a:lnTo>
                    <a:pt x="6" y="58"/>
                  </a:lnTo>
                  <a:lnTo>
                    <a:pt x="6" y="56"/>
                  </a:lnTo>
                  <a:lnTo>
                    <a:pt x="8" y="54"/>
                  </a:lnTo>
                  <a:lnTo>
                    <a:pt x="10" y="50"/>
                  </a:lnTo>
                  <a:lnTo>
                    <a:pt x="14" y="46"/>
                  </a:lnTo>
                  <a:lnTo>
                    <a:pt x="14" y="46"/>
                  </a:lnTo>
                  <a:lnTo>
                    <a:pt x="16" y="44"/>
                  </a:lnTo>
                  <a:lnTo>
                    <a:pt x="16" y="42"/>
                  </a:lnTo>
                  <a:lnTo>
                    <a:pt x="18" y="38"/>
                  </a:lnTo>
                  <a:lnTo>
                    <a:pt x="20" y="32"/>
                  </a:lnTo>
                  <a:lnTo>
                    <a:pt x="22" y="28"/>
                  </a:lnTo>
                  <a:lnTo>
                    <a:pt x="24" y="26"/>
                  </a:lnTo>
                  <a:lnTo>
                    <a:pt x="24" y="26"/>
                  </a:lnTo>
                  <a:lnTo>
                    <a:pt x="24" y="26"/>
                  </a:lnTo>
                  <a:lnTo>
                    <a:pt x="26" y="24"/>
                  </a:lnTo>
                  <a:lnTo>
                    <a:pt x="26" y="24"/>
                  </a:lnTo>
                  <a:lnTo>
                    <a:pt x="28" y="22"/>
                  </a:lnTo>
                  <a:lnTo>
                    <a:pt x="32" y="22"/>
                  </a:lnTo>
                  <a:lnTo>
                    <a:pt x="34" y="22"/>
                  </a:lnTo>
                  <a:lnTo>
                    <a:pt x="40" y="20"/>
                  </a:lnTo>
                  <a:lnTo>
                    <a:pt x="42" y="20"/>
                  </a:lnTo>
                  <a:lnTo>
                    <a:pt x="42" y="20"/>
                  </a:lnTo>
                  <a:lnTo>
                    <a:pt x="44" y="18"/>
                  </a:lnTo>
                  <a:lnTo>
                    <a:pt x="44" y="18"/>
                  </a:lnTo>
                  <a:lnTo>
                    <a:pt x="46" y="18"/>
                  </a:lnTo>
                  <a:lnTo>
                    <a:pt x="48" y="16"/>
                  </a:lnTo>
                  <a:lnTo>
                    <a:pt x="50" y="12"/>
                  </a:lnTo>
                  <a:lnTo>
                    <a:pt x="52" y="10"/>
                  </a:lnTo>
                  <a:lnTo>
                    <a:pt x="52" y="8"/>
                  </a:lnTo>
                  <a:lnTo>
                    <a:pt x="54" y="6"/>
                  </a:lnTo>
                  <a:lnTo>
                    <a:pt x="56" y="4"/>
                  </a:lnTo>
                  <a:lnTo>
                    <a:pt x="56" y="2"/>
                  </a:lnTo>
                  <a:lnTo>
                    <a:pt x="58" y="2"/>
                  </a:lnTo>
                  <a:lnTo>
                    <a:pt x="58" y="2"/>
                  </a:lnTo>
                  <a:lnTo>
                    <a:pt x="60" y="0"/>
                  </a:lnTo>
                  <a:lnTo>
                    <a:pt x="60" y="0"/>
                  </a:lnTo>
                  <a:lnTo>
                    <a:pt x="62" y="0"/>
                  </a:lnTo>
                  <a:lnTo>
                    <a:pt x="64" y="0"/>
                  </a:lnTo>
                  <a:lnTo>
                    <a:pt x="68" y="0"/>
                  </a:lnTo>
                  <a:lnTo>
                    <a:pt x="72" y="0"/>
                  </a:lnTo>
                  <a:lnTo>
                    <a:pt x="76" y="2"/>
                  </a:lnTo>
                  <a:lnTo>
                    <a:pt x="80" y="2"/>
                  </a:lnTo>
                  <a:lnTo>
                    <a:pt x="82" y="2"/>
                  </a:lnTo>
                  <a:lnTo>
                    <a:pt x="84" y="6"/>
                  </a:lnTo>
                  <a:lnTo>
                    <a:pt x="86" y="8"/>
                  </a:lnTo>
                  <a:lnTo>
                    <a:pt x="86" y="10"/>
                  </a:lnTo>
                  <a:lnTo>
                    <a:pt x="88" y="10"/>
                  </a:lnTo>
                  <a:lnTo>
                    <a:pt x="88" y="12"/>
                  </a:lnTo>
                  <a:lnTo>
                    <a:pt x="90" y="12"/>
                  </a:lnTo>
                  <a:lnTo>
                    <a:pt x="92" y="14"/>
                  </a:lnTo>
                  <a:lnTo>
                    <a:pt x="94" y="14"/>
                  </a:lnTo>
                  <a:lnTo>
                    <a:pt x="94" y="14"/>
                  </a:lnTo>
                  <a:lnTo>
                    <a:pt x="96" y="16"/>
                  </a:lnTo>
                  <a:lnTo>
                    <a:pt x="96" y="16"/>
                  </a:lnTo>
                  <a:lnTo>
                    <a:pt x="96" y="16"/>
                  </a:lnTo>
                  <a:lnTo>
                    <a:pt x="96" y="18"/>
                  </a:lnTo>
                  <a:lnTo>
                    <a:pt x="98" y="20"/>
                  </a:lnTo>
                  <a:lnTo>
                    <a:pt x="98" y="22"/>
                  </a:lnTo>
                  <a:lnTo>
                    <a:pt x="96" y="24"/>
                  </a:lnTo>
                  <a:lnTo>
                    <a:pt x="96" y="26"/>
                  </a:lnTo>
                  <a:lnTo>
                    <a:pt x="96" y="28"/>
                  </a:lnTo>
                  <a:lnTo>
                    <a:pt x="96" y="28"/>
                  </a:lnTo>
                  <a:lnTo>
                    <a:pt x="96" y="30"/>
                  </a:lnTo>
                  <a:lnTo>
                    <a:pt x="98" y="30"/>
                  </a:lnTo>
                  <a:lnTo>
                    <a:pt x="98" y="30"/>
                  </a:lnTo>
                  <a:lnTo>
                    <a:pt x="98" y="32"/>
                  </a:lnTo>
                  <a:lnTo>
                    <a:pt x="98" y="32"/>
                  </a:lnTo>
                  <a:lnTo>
                    <a:pt x="100" y="32"/>
                  </a:lnTo>
                  <a:lnTo>
                    <a:pt x="102" y="32"/>
                  </a:lnTo>
                  <a:lnTo>
                    <a:pt x="102" y="32"/>
                  </a:lnTo>
                  <a:lnTo>
                    <a:pt x="106" y="32"/>
                  </a:lnTo>
                  <a:lnTo>
                    <a:pt x="106" y="32"/>
                  </a:lnTo>
                  <a:lnTo>
                    <a:pt x="108" y="32"/>
                  </a:lnTo>
                  <a:lnTo>
                    <a:pt x="108" y="32"/>
                  </a:lnTo>
                  <a:lnTo>
                    <a:pt x="108" y="34"/>
                  </a:lnTo>
                  <a:lnTo>
                    <a:pt x="110" y="34"/>
                  </a:lnTo>
                  <a:lnTo>
                    <a:pt x="112" y="36"/>
                  </a:lnTo>
                  <a:lnTo>
                    <a:pt x="112" y="38"/>
                  </a:lnTo>
                  <a:lnTo>
                    <a:pt x="114" y="42"/>
                  </a:lnTo>
                  <a:lnTo>
                    <a:pt x="116" y="4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3" name="Freeform 421"/>
            <p:cNvSpPr>
              <a:spLocks/>
            </p:cNvSpPr>
            <p:nvPr/>
          </p:nvSpPr>
          <p:spPr bwMode="auto">
            <a:xfrm>
              <a:off x="4127182" y="4220120"/>
              <a:ext cx="200921" cy="148958"/>
            </a:xfrm>
            <a:custGeom>
              <a:avLst/>
              <a:gdLst>
                <a:gd name="T0" fmla="*/ 116 w 116"/>
                <a:gd name="T1" fmla="*/ 46 h 86"/>
                <a:gd name="T2" fmla="*/ 114 w 116"/>
                <a:gd name="T3" fmla="*/ 54 h 86"/>
                <a:gd name="T4" fmla="*/ 112 w 116"/>
                <a:gd name="T5" fmla="*/ 58 h 86"/>
                <a:gd name="T6" fmla="*/ 110 w 116"/>
                <a:gd name="T7" fmla="*/ 60 h 86"/>
                <a:gd name="T8" fmla="*/ 104 w 116"/>
                <a:gd name="T9" fmla="*/ 62 h 86"/>
                <a:gd name="T10" fmla="*/ 96 w 116"/>
                <a:gd name="T11" fmla="*/ 62 h 86"/>
                <a:gd name="T12" fmla="*/ 94 w 116"/>
                <a:gd name="T13" fmla="*/ 64 h 86"/>
                <a:gd name="T14" fmla="*/ 90 w 116"/>
                <a:gd name="T15" fmla="*/ 70 h 86"/>
                <a:gd name="T16" fmla="*/ 84 w 116"/>
                <a:gd name="T17" fmla="*/ 78 h 86"/>
                <a:gd name="T18" fmla="*/ 68 w 116"/>
                <a:gd name="T19" fmla="*/ 78 h 86"/>
                <a:gd name="T20" fmla="*/ 64 w 116"/>
                <a:gd name="T21" fmla="*/ 78 h 86"/>
                <a:gd name="T22" fmla="*/ 56 w 116"/>
                <a:gd name="T23" fmla="*/ 72 h 86"/>
                <a:gd name="T24" fmla="*/ 52 w 116"/>
                <a:gd name="T25" fmla="*/ 70 h 86"/>
                <a:gd name="T26" fmla="*/ 48 w 116"/>
                <a:gd name="T27" fmla="*/ 70 h 86"/>
                <a:gd name="T28" fmla="*/ 46 w 116"/>
                <a:gd name="T29" fmla="*/ 72 h 86"/>
                <a:gd name="T30" fmla="*/ 42 w 116"/>
                <a:gd name="T31" fmla="*/ 76 h 86"/>
                <a:gd name="T32" fmla="*/ 38 w 116"/>
                <a:gd name="T33" fmla="*/ 84 h 86"/>
                <a:gd name="T34" fmla="*/ 22 w 116"/>
                <a:gd name="T35" fmla="*/ 84 h 86"/>
                <a:gd name="T36" fmla="*/ 12 w 116"/>
                <a:gd name="T37" fmla="*/ 84 h 86"/>
                <a:gd name="T38" fmla="*/ 8 w 116"/>
                <a:gd name="T39" fmla="*/ 82 h 86"/>
                <a:gd name="T40" fmla="*/ 2 w 116"/>
                <a:gd name="T41" fmla="*/ 74 h 86"/>
                <a:gd name="T42" fmla="*/ 4 w 116"/>
                <a:gd name="T43" fmla="*/ 60 h 86"/>
                <a:gd name="T44" fmla="*/ 8 w 116"/>
                <a:gd name="T45" fmla="*/ 54 h 86"/>
                <a:gd name="T46" fmla="*/ 14 w 116"/>
                <a:gd name="T47" fmla="*/ 46 h 86"/>
                <a:gd name="T48" fmla="*/ 18 w 116"/>
                <a:gd name="T49" fmla="*/ 38 h 86"/>
                <a:gd name="T50" fmla="*/ 24 w 116"/>
                <a:gd name="T51" fmla="*/ 26 h 86"/>
                <a:gd name="T52" fmla="*/ 26 w 116"/>
                <a:gd name="T53" fmla="*/ 24 h 86"/>
                <a:gd name="T54" fmla="*/ 32 w 116"/>
                <a:gd name="T55" fmla="*/ 22 h 86"/>
                <a:gd name="T56" fmla="*/ 42 w 116"/>
                <a:gd name="T57" fmla="*/ 20 h 86"/>
                <a:gd name="T58" fmla="*/ 44 w 116"/>
                <a:gd name="T59" fmla="*/ 18 h 86"/>
                <a:gd name="T60" fmla="*/ 50 w 116"/>
                <a:gd name="T61" fmla="*/ 12 h 86"/>
                <a:gd name="T62" fmla="*/ 54 w 116"/>
                <a:gd name="T63" fmla="*/ 6 h 86"/>
                <a:gd name="T64" fmla="*/ 58 w 116"/>
                <a:gd name="T65" fmla="*/ 2 h 86"/>
                <a:gd name="T66" fmla="*/ 60 w 116"/>
                <a:gd name="T67" fmla="*/ 0 h 86"/>
                <a:gd name="T68" fmla="*/ 68 w 116"/>
                <a:gd name="T69" fmla="*/ 0 h 86"/>
                <a:gd name="T70" fmla="*/ 80 w 116"/>
                <a:gd name="T71" fmla="*/ 2 h 86"/>
                <a:gd name="T72" fmla="*/ 86 w 116"/>
                <a:gd name="T73" fmla="*/ 8 h 86"/>
                <a:gd name="T74" fmla="*/ 88 w 116"/>
                <a:gd name="T75" fmla="*/ 12 h 86"/>
                <a:gd name="T76" fmla="*/ 94 w 116"/>
                <a:gd name="T77" fmla="*/ 14 h 86"/>
                <a:gd name="T78" fmla="*/ 96 w 116"/>
                <a:gd name="T79" fmla="*/ 16 h 86"/>
                <a:gd name="T80" fmla="*/ 98 w 116"/>
                <a:gd name="T81" fmla="*/ 20 h 86"/>
                <a:gd name="T82" fmla="*/ 96 w 116"/>
                <a:gd name="T83" fmla="*/ 26 h 86"/>
                <a:gd name="T84" fmla="*/ 96 w 116"/>
                <a:gd name="T85" fmla="*/ 30 h 86"/>
                <a:gd name="T86" fmla="*/ 98 w 116"/>
                <a:gd name="T87" fmla="*/ 32 h 86"/>
                <a:gd name="T88" fmla="*/ 102 w 116"/>
                <a:gd name="T89" fmla="*/ 32 h 86"/>
                <a:gd name="T90" fmla="*/ 106 w 116"/>
                <a:gd name="T91" fmla="*/ 32 h 86"/>
                <a:gd name="T92" fmla="*/ 108 w 116"/>
                <a:gd name="T93" fmla="*/ 34 h 86"/>
                <a:gd name="T94" fmla="*/ 112 w 116"/>
                <a:gd name="T9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86">
                  <a:moveTo>
                    <a:pt x="116" y="44"/>
                  </a:moveTo>
                  <a:lnTo>
                    <a:pt x="116" y="44"/>
                  </a:lnTo>
                  <a:lnTo>
                    <a:pt x="116" y="46"/>
                  </a:lnTo>
                  <a:lnTo>
                    <a:pt x="114" y="50"/>
                  </a:lnTo>
                  <a:lnTo>
                    <a:pt x="114" y="52"/>
                  </a:lnTo>
                  <a:lnTo>
                    <a:pt x="114" y="54"/>
                  </a:lnTo>
                  <a:lnTo>
                    <a:pt x="112" y="56"/>
                  </a:lnTo>
                  <a:lnTo>
                    <a:pt x="112" y="58"/>
                  </a:lnTo>
                  <a:lnTo>
                    <a:pt x="112" y="58"/>
                  </a:lnTo>
                  <a:lnTo>
                    <a:pt x="110" y="60"/>
                  </a:lnTo>
                  <a:lnTo>
                    <a:pt x="110" y="60"/>
                  </a:lnTo>
                  <a:lnTo>
                    <a:pt x="110" y="60"/>
                  </a:lnTo>
                  <a:lnTo>
                    <a:pt x="108" y="60"/>
                  </a:lnTo>
                  <a:lnTo>
                    <a:pt x="106" y="60"/>
                  </a:lnTo>
                  <a:lnTo>
                    <a:pt x="104" y="62"/>
                  </a:lnTo>
                  <a:lnTo>
                    <a:pt x="102" y="62"/>
                  </a:lnTo>
                  <a:lnTo>
                    <a:pt x="98" y="62"/>
                  </a:lnTo>
                  <a:lnTo>
                    <a:pt x="96" y="62"/>
                  </a:lnTo>
                  <a:lnTo>
                    <a:pt x="96" y="64"/>
                  </a:lnTo>
                  <a:lnTo>
                    <a:pt x="96" y="64"/>
                  </a:lnTo>
                  <a:lnTo>
                    <a:pt x="94" y="64"/>
                  </a:lnTo>
                  <a:lnTo>
                    <a:pt x="94" y="64"/>
                  </a:lnTo>
                  <a:lnTo>
                    <a:pt x="92" y="66"/>
                  </a:lnTo>
                  <a:lnTo>
                    <a:pt x="90" y="70"/>
                  </a:lnTo>
                  <a:lnTo>
                    <a:pt x="88" y="72"/>
                  </a:lnTo>
                  <a:lnTo>
                    <a:pt x="84" y="76"/>
                  </a:lnTo>
                  <a:lnTo>
                    <a:pt x="84" y="78"/>
                  </a:lnTo>
                  <a:lnTo>
                    <a:pt x="78" y="80"/>
                  </a:lnTo>
                  <a:lnTo>
                    <a:pt x="72" y="80"/>
                  </a:lnTo>
                  <a:lnTo>
                    <a:pt x="68" y="78"/>
                  </a:lnTo>
                  <a:lnTo>
                    <a:pt x="66" y="78"/>
                  </a:lnTo>
                  <a:lnTo>
                    <a:pt x="64" y="78"/>
                  </a:lnTo>
                  <a:lnTo>
                    <a:pt x="64" y="78"/>
                  </a:lnTo>
                  <a:lnTo>
                    <a:pt x="62" y="76"/>
                  </a:lnTo>
                  <a:lnTo>
                    <a:pt x="60" y="74"/>
                  </a:lnTo>
                  <a:lnTo>
                    <a:pt x="56" y="72"/>
                  </a:lnTo>
                  <a:lnTo>
                    <a:pt x="56" y="72"/>
                  </a:lnTo>
                  <a:lnTo>
                    <a:pt x="54" y="72"/>
                  </a:lnTo>
                  <a:lnTo>
                    <a:pt x="52" y="70"/>
                  </a:lnTo>
                  <a:lnTo>
                    <a:pt x="50" y="70"/>
                  </a:lnTo>
                  <a:lnTo>
                    <a:pt x="48" y="70"/>
                  </a:lnTo>
                  <a:lnTo>
                    <a:pt x="48" y="70"/>
                  </a:lnTo>
                  <a:lnTo>
                    <a:pt x="46" y="70"/>
                  </a:lnTo>
                  <a:lnTo>
                    <a:pt x="46" y="72"/>
                  </a:lnTo>
                  <a:lnTo>
                    <a:pt x="46" y="72"/>
                  </a:lnTo>
                  <a:lnTo>
                    <a:pt x="44" y="72"/>
                  </a:lnTo>
                  <a:lnTo>
                    <a:pt x="44" y="74"/>
                  </a:lnTo>
                  <a:lnTo>
                    <a:pt x="42" y="76"/>
                  </a:lnTo>
                  <a:lnTo>
                    <a:pt x="40" y="78"/>
                  </a:lnTo>
                  <a:lnTo>
                    <a:pt x="40" y="84"/>
                  </a:lnTo>
                  <a:lnTo>
                    <a:pt x="38" y="84"/>
                  </a:lnTo>
                  <a:lnTo>
                    <a:pt x="34" y="84"/>
                  </a:lnTo>
                  <a:lnTo>
                    <a:pt x="26" y="86"/>
                  </a:lnTo>
                  <a:lnTo>
                    <a:pt x="22" y="84"/>
                  </a:lnTo>
                  <a:lnTo>
                    <a:pt x="18" y="84"/>
                  </a:lnTo>
                  <a:lnTo>
                    <a:pt x="12" y="84"/>
                  </a:lnTo>
                  <a:lnTo>
                    <a:pt x="12" y="84"/>
                  </a:lnTo>
                  <a:lnTo>
                    <a:pt x="10" y="84"/>
                  </a:lnTo>
                  <a:lnTo>
                    <a:pt x="8" y="84"/>
                  </a:lnTo>
                  <a:lnTo>
                    <a:pt x="8" y="82"/>
                  </a:lnTo>
                  <a:lnTo>
                    <a:pt x="4" y="80"/>
                  </a:lnTo>
                  <a:lnTo>
                    <a:pt x="0" y="78"/>
                  </a:lnTo>
                  <a:lnTo>
                    <a:pt x="2" y="74"/>
                  </a:lnTo>
                  <a:lnTo>
                    <a:pt x="2" y="70"/>
                  </a:lnTo>
                  <a:lnTo>
                    <a:pt x="4" y="62"/>
                  </a:lnTo>
                  <a:lnTo>
                    <a:pt x="4" y="60"/>
                  </a:lnTo>
                  <a:lnTo>
                    <a:pt x="6" y="58"/>
                  </a:lnTo>
                  <a:lnTo>
                    <a:pt x="6" y="56"/>
                  </a:lnTo>
                  <a:lnTo>
                    <a:pt x="8" y="54"/>
                  </a:lnTo>
                  <a:lnTo>
                    <a:pt x="10" y="50"/>
                  </a:lnTo>
                  <a:lnTo>
                    <a:pt x="14" y="46"/>
                  </a:lnTo>
                  <a:lnTo>
                    <a:pt x="14" y="46"/>
                  </a:lnTo>
                  <a:lnTo>
                    <a:pt x="16" y="44"/>
                  </a:lnTo>
                  <a:lnTo>
                    <a:pt x="16" y="42"/>
                  </a:lnTo>
                  <a:lnTo>
                    <a:pt x="18" y="38"/>
                  </a:lnTo>
                  <a:lnTo>
                    <a:pt x="20" y="32"/>
                  </a:lnTo>
                  <a:lnTo>
                    <a:pt x="22" y="28"/>
                  </a:lnTo>
                  <a:lnTo>
                    <a:pt x="24" y="26"/>
                  </a:lnTo>
                  <a:lnTo>
                    <a:pt x="24" y="26"/>
                  </a:lnTo>
                  <a:lnTo>
                    <a:pt x="24" y="26"/>
                  </a:lnTo>
                  <a:lnTo>
                    <a:pt x="26" y="24"/>
                  </a:lnTo>
                  <a:lnTo>
                    <a:pt x="26" y="24"/>
                  </a:lnTo>
                  <a:lnTo>
                    <a:pt x="28" y="22"/>
                  </a:lnTo>
                  <a:lnTo>
                    <a:pt x="32" y="22"/>
                  </a:lnTo>
                  <a:lnTo>
                    <a:pt x="34" y="22"/>
                  </a:lnTo>
                  <a:lnTo>
                    <a:pt x="40" y="20"/>
                  </a:lnTo>
                  <a:lnTo>
                    <a:pt x="42" y="20"/>
                  </a:lnTo>
                  <a:lnTo>
                    <a:pt x="42" y="20"/>
                  </a:lnTo>
                  <a:lnTo>
                    <a:pt x="44" y="18"/>
                  </a:lnTo>
                  <a:lnTo>
                    <a:pt x="44" y="18"/>
                  </a:lnTo>
                  <a:lnTo>
                    <a:pt x="46" y="18"/>
                  </a:lnTo>
                  <a:lnTo>
                    <a:pt x="48" y="16"/>
                  </a:lnTo>
                  <a:lnTo>
                    <a:pt x="50" y="12"/>
                  </a:lnTo>
                  <a:lnTo>
                    <a:pt x="52" y="10"/>
                  </a:lnTo>
                  <a:lnTo>
                    <a:pt x="52" y="8"/>
                  </a:lnTo>
                  <a:lnTo>
                    <a:pt x="54" y="6"/>
                  </a:lnTo>
                  <a:lnTo>
                    <a:pt x="56" y="4"/>
                  </a:lnTo>
                  <a:lnTo>
                    <a:pt x="56" y="2"/>
                  </a:lnTo>
                  <a:lnTo>
                    <a:pt x="58" y="2"/>
                  </a:lnTo>
                  <a:lnTo>
                    <a:pt x="58" y="2"/>
                  </a:lnTo>
                  <a:lnTo>
                    <a:pt x="60" y="0"/>
                  </a:lnTo>
                  <a:lnTo>
                    <a:pt x="60" y="0"/>
                  </a:lnTo>
                  <a:lnTo>
                    <a:pt x="62" y="0"/>
                  </a:lnTo>
                  <a:lnTo>
                    <a:pt x="64" y="0"/>
                  </a:lnTo>
                  <a:lnTo>
                    <a:pt x="68" y="0"/>
                  </a:lnTo>
                  <a:lnTo>
                    <a:pt x="72" y="0"/>
                  </a:lnTo>
                  <a:lnTo>
                    <a:pt x="76" y="2"/>
                  </a:lnTo>
                  <a:lnTo>
                    <a:pt x="80" y="2"/>
                  </a:lnTo>
                  <a:lnTo>
                    <a:pt x="82" y="2"/>
                  </a:lnTo>
                  <a:lnTo>
                    <a:pt x="84" y="6"/>
                  </a:lnTo>
                  <a:lnTo>
                    <a:pt x="86" y="8"/>
                  </a:lnTo>
                  <a:lnTo>
                    <a:pt x="86" y="10"/>
                  </a:lnTo>
                  <a:lnTo>
                    <a:pt x="88" y="10"/>
                  </a:lnTo>
                  <a:lnTo>
                    <a:pt x="88" y="12"/>
                  </a:lnTo>
                  <a:lnTo>
                    <a:pt x="90" y="12"/>
                  </a:lnTo>
                  <a:lnTo>
                    <a:pt x="92" y="14"/>
                  </a:lnTo>
                  <a:lnTo>
                    <a:pt x="94" y="14"/>
                  </a:lnTo>
                  <a:lnTo>
                    <a:pt x="94" y="14"/>
                  </a:lnTo>
                  <a:lnTo>
                    <a:pt x="96" y="16"/>
                  </a:lnTo>
                  <a:lnTo>
                    <a:pt x="96" y="16"/>
                  </a:lnTo>
                  <a:lnTo>
                    <a:pt x="96" y="16"/>
                  </a:lnTo>
                  <a:lnTo>
                    <a:pt x="96" y="18"/>
                  </a:lnTo>
                  <a:lnTo>
                    <a:pt x="98" y="20"/>
                  </a:lnTo>
                  <a:lnTo>
                    <a:pt x="98" y="22"/>
                  </a:lnTo>
                  <a:lnTo>
                    <a:pt x="96" y="24"/>
                  </a:lnTo>
                  <a:lnTo>
                    <a:pt x="96" y="26"/>
                  </a:lnTo>
                  <a:lnTo>
                    <a:pt x="96" y="28"/>
                  </a:lnTo>
                  <a:lnTo>
                    <a:pt x="96" y="28"/>
                  </a:lnTo>
                  <a:lnTo>
                    <a:pt x="96" y="30"/>
                  </a:lnTo>
                  <a:lnTo>
                    <a:pt x="98" y="30"/>
                  </a:lnTo>
                  <a:lnTo>
                    <a:pt x="98" y="30"/>
                  </a:lnTo>
                  <a:lnTo>
                    <a:pt x="98" y="32"/>
                  </a:lnTo>
                  <a:lnTo>
                    <a:pt x="98" y="32"/>
                  </a:lnTo>
                  <a:lnTo>
                    <a:pt x="100" y="32"/>
                  </a:lnTo>
                  <a:lnTo>
                    <a:pt x="102" y="32"/>
                  </a:lnTo>
                  <a:lnTo>
                    <a:pt x="102" y="32"/>
                  </a:lnTo>
                  <a:lnTo>
                    <a:pt x="106" y="32"/>
                  </a:lnTo>
                  <a:lnTo>
                    <a:pt x="106" y="32"/>
                  </a:lnTo>
                  <a:lnTo>
                    <a:pt x="108" y="32"/>
                  </a:lnTo>
                  <a:lnTo>
                    <a:pt x="108" y="32"/>
                  </a:lnTo>
                  <a:lnTo>
                    <a:pt x="108" y="34"/>
                  </a:lnTo>
                  <a:lnTo>
                    <a:pt x="110" y="34"/>
                  </a:lnTo>
                  <a:lnTo>
                    <a:pt x="112" y="36"/>
                  </a:lnTo>
                  <a:lnTo>
                    <a:pt x="112" y="38"/>
                  </a:lnTo>
                  <a:lnTo>
                    <a:pt x="114" y="42"/>
                  </a:lnTo>
                  <a:lnTo>
                    <a:pt x="116" y="4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4" name="Freeform 422"/>
            <p:cNvSpPr>
              <a:spLocks/>
            </p:cNvSpPr>
            <p:nvPr/>
          </p:nvSpPr>
          <p:spPr bwMode="auto">
            <a:xfrm>
              <a:off x="3888155" y="4285939"/>
              <a:ext cx="197457" cy="159351"/>
            </a:xfrm>
            <a:custGeom>
              <a:avLst/>
              <a:gdLst>
                <a:gd name="T0" fmla="*/ 0 w 114"/>
                <a:gd name="T1" fmla="*/ 14 h 92"/>
                <a:gd name="T2" fmla="*/ 6 w 114"/>
                <a:gd name="T3" fmla="*/ 8 h 92"/>
                <a:gd name="T4" fmla="*/ 10 w 114"/>
                <a:gd name="T5" fmla="*/ 6 h 92"/>
                <a:gd name="T6" fmla="*/ 18 w 114"/>
                <a:gd name="T7" fmla="*/ 2 h 92"/>
                <a:gd name="T8" fmla="*/ 34 w 114"/>
                <a:gd name="T9" fmla="*/ 2 h 92"/>
                <a:gd name="T10" fmla="*/ 46 w 114"/>
                <a:gd name="T11" fmla="*/ 4 h 92"/>
                <a:gd name="T12" fmla="*/ 62 w 114"/>
                <a:gd name="T13" fmla="*/ 4 h 92"/>
                <a:gd name="T14" fmla="*/ 80 w 114"/>
                <a:gd name="T15" fmla="*/ 8 h 92"/>
                <a:gd name="T16" fmla="*/ 90 w 114"/>
                <a:gd name="T17" fmla="*/ 10 h 92"/>
                <a:gd name="T18" fmla="*/ 94 w 114"/>
                <a:gd name="T19" fmla="*/ 12 h 92"/>
                <a:gd name="T20" fmla="*/ 100 w 114"/>
                <a:gd name="T21" fmla="*/ 16 h 92"/>
                <a:gd name="T22" fmla="*/ 104 w 114"/>
                <a:gd name="T23" fmla="*/ 22 h 92"/>
                <a:gd name="T24" fmla="*/ 104 w 114"/>
                <a:gd name="T25" fmla="*/ 26 h 92"/>
                <a:gd name="T26" fmla="*/ 108 w 114"/>
                <a:gd name="T27" fmla="*/ 34 h 92"/>
                <a:gd name="T28" fmla="*/ 108 w 114"/>
                <a:gd name="T29" fmla="*/ 44 h 92"/>
                <a:gd name="T30" fmla="*/ 104 w 114"/>
                <a:gd name="T31" fmla="*/ 50 h 92"/>
                <a:gd name="T32" fmla="*/ 104 w 114"/>
                <a:gd name="T33" fmla="*/ 54 h 92"/>
                <a:gd name="T34" fmla="*/ 104 w 114"/>
                <a:gd name="T35" fmla="*/ 56 h 92"/>
                <a:gd name="T36" fmla="*/ 108 w 114"/>
                <a:gd name="T37" fmla="*/ 58 h 92"/>
                <a:gd name="T38" fmla="*/ 112 w 114"/>
                <a:gd name="T39" fmla="*/ 62 h 92"/>
                <a:gd name="T40" fmla="*/ 114 w 114"/>
                <a:gd name="T41" fmla="*/ 62 h 92"/>
                <a:gd name="T42" fmla="*/ 112 w 114"/>
                <a:gd name="T43" fmla="*/ 66 h 92"/>
                <a:gd name="T44" fmla="*/ 108 w 114"/>
                <a:gd name="T45" fmla="*/ 68 h 92"/>
                <a:gd name="T46" fmla="*/ 100 w 114"/>
                <a:gd name="T47" fmla="*/ 72 h 92"/>
                <a:gd name="T48" fmla="*/ 98 w 114"/>
                <a:gd name="T49" fmla="*/ 74 h 92"/>
                <a:gd name="T50" fmla="*/ 96 w 114"/>
                <a:gd name="T51" fmla="*/ 76 h 92"/>
                <a:gd name="T52" fmla="*/ 94 w 114"/>
                <a:gd name="T53" fmla="*/ 84 h 92"/>
                <a:gd name="T54" fmla="*/ 92 w 114"/>
                <a:gd name="T55" fmla="*/ 92 h 92"/>
                <a:gd name="T56" fmla="*/ 84 w 114"/>
                <a:gd name="T57" fmla="*/ 90 h 92"/>
                <a:gd name="T58" fmla="*/ 80 w 114"/>
                <a:gd name="T59" fmla="*/ 88 h 92"/>
                <a:gd name="T60" fmla="*/ 78 w 114"/>
                <a:gd name="T61" fmla="*/ 82 h 92"/>
                <a:gd name="T62" fmla="*/ 72 w 114"/>
                <a:gd name="T63" fmla="*/ 72 h 92"/>
                <a:gd name="T64" fmla="*/ 72 w 114"/>
                <a:gd name="T65" fmla="*/ 62 h 92"/>
                <a:gd name="T66" fmla="*/ 70 w 114"/>
                <a:gd name="T67" fmla="*/ 56 h 92"/>
                <a:gd name="T68" fmla="*/ 66 w 114"/>
                <a:gd name="T69" fmla="*/ 52 h 92"/>
                <a:gd name="T70" fmla="*/ 58 w 114"/>
                <a:gd name="T71" fmla="*/ 48 h 92"/>
                <a:gd name="T72" fmla="*/ 54 w 114"/>
                <a:gd name="T73" fmla="*/ 46 h 92"/>
                <a:gd name="T74" fmla="*/ 52 w 114"/>
                <a:gd name="T75" fmla="*/ 46 h 92"/>
                <a:gd name="T76" fmla="*/ 46 w 114"/>
                <a:gd name="T77" fmla="*/ 50 h 92"/>
                <a:gd name="T78" fmla="*/ 40 w 114"/>
                <a:gd name="T79" fmla="*/ 52 h 92"/>
                <a:gd name="T80" fmla="*/ 32 w 114"/>
                <a:gd name="T81" fmla="*/ 56 h 92"/>
                <a:gd name="T82" fmla="*/ 18 w 114"/>
                <a:gd name="T83" fmla="*/ 50 h 92"/>
                <a:gd name="T84" fmla="*/ 8 w 114"/>
                <a:gd name="T85" fmla="*/ 40 h 92"/>
                <a:gd name="T86" fmla="*/ 6 w 114"/>
                <a:gd name="T87" fmla="*/ 36 h 92"/>
                <a:gd name="T88" fmla="*/ 2 w 114"/>
                <a:gd name="T89"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 h="92">
                  <a:moveTo>
                    <a:pt x="0" y="16"/>
                  </a:moveTo>
                  <a:lnTo>
                    <a:pt x="0" y="16"/>
                  </a:lnTo>
                  <a:lnTo>
                    <a:pt x="0" y="14"/>
                  </a:lnTo>
                  <a:lnTo>
                    <a:pt x="2" y="12"/>
                  </a:lnTo>
                  <a:lnTo>
                    <a:pt x="6" y="8"/>
                  </a:lnTo>
                  <a:lnTo>
                    <a:pt x="6" y="8"/>
                  </a:lnTo>
                  <a:lnTo>
                    <a:pt x="8" y="6"/>
                  </a:lnTo>
                  <a:lnTo>
                    <a:pt x="8" y="6"/>
                  </a:lnTo>
                  <a:lnTo>
                    <a:pt x="10" y="6"/>
                  </a:lnTo>
                  <a:lnTo>
                    <a:pt x="12" y="4"/>
                  </a:lnTo>
                  <a:lnTo>
                    <a:pt x="14" y="2"/>
                  </a:lnTo>
                  <a:lnTo>
                    <a:pt x="18" y="2"/>
                  </a:lnTo>
                  <a:lnTo>
                    <a:pt x="22" y="0"/>
                  </a:lnTo>
                  <a:lnTo>
                    <a:pt x="26" y="0"/>
                  </a:lnTo>
                  <a:lnTo>
                    <a:pt x="34" y="2"/>
                  </a:lnTo>
                  <a:lnTo>
                    <a:pt x="40" y="2"/>
                  </a:lnTo>
                  <a:lnTo>
                    <a:pt x="42" y="4"/>
                  </a:lnTo>
                  <a:lnTo>
                    <a:pt x="46" y="4"/>
                  </a:lnTo>
                  <a:lnTo>
                    <a:pt x="50" y="4"/>
                  </a:lnTo>
                  <a:lnTo>
                    <a:pt x="54" y="4"/>
                  </a:lnTo>
                  <a:lnTo>
                    <a:pt x="62" y="4"/>
                  </a:lnTo>
                  <a:lnTo>
                    <a:pt x="68" y="6"/>
                  </a:lnTo>
                  <a:lnTo>
                    <a:pt x="76" y="8"/>
                  </a:lnTo>
                  <a:lnTo>
                    <a:pt x="80" y="8"/>
                  </a:lnTo>
                  <a:lnTo>
                    <a:pt x="84" y="10"/>
                  </a:lnTo>
                  <a:lnTo>
                    <a:pt x="88" y="10"/>
                  </a:lnTo>
                  <a:lnTo>
                    <a:pt x="90" y="10"/>
                  </a:lnTo>
                  <a:lnTo>
                    <a:pt x="92" y="12"/>
                  </a:lnTo>
                  <a:lnTo>
                    <a:pt x="92" y="12"/>
                  </a:lnTo>
                  <a:lnTo>
                    <a:pt x="94" y="12"/>
                  </a:lnTo>
                  <a:lnTo>
                    <a:pt x="96" y="14"/>
                  </a:lnTo>
                  <a:lnTo>
                    <a:pt x="98" y="16"/>
                  </a:lnTo>
                  <a:lnTo>
                    <a:pt x="100" y="16"/>
                  </a:lnTo>
                  <a:lnTo>
                    <a:pt x="100" y="18"/>
                  </a:lnTo>
                  <a:lnTo>
                    <a:pt x="102" y="20"/>
                  </a:lnTo>
                  <a:lnTo>
                    <a:pt x="104" y="22"/>
                  </a:lnTo>
                  <a:lnTo>
                    <a:pt x="104" y="22"/>
                  </a:lnTo>
                  <a:lnTo>
                    <a:pt x="104" y="24"/>
                  </a:lnTo>
                  <a:lnTo>
                    <a:pt x="104" y="26"/>
                  </a:lnTo>
                  <a:lnTo>
                    <a:pt x="106" y="28"/>
                  </a:lnTo>
                  <a:lnTo>
                    <a:pt x="106" y="32"/>
                  </a:lnTo>
                  <a:lnTo>
                    <a:pt x="108" y="34"/>
                  </a:lnTo>
                  <a:lnTo>
                    <a:pt x="108" y="40"/>
                  </a:lnTo>
                  <a:lnTo>
                    <a:pt x="108" y="42"/>
                  </a:lnTo>
                  <a:lnTo>
                    <a:pt x="108" y="44"/>
                  </a:lnTo>
                  <a:lnTo>
                    <a:pt x="106" y="48"/>
                  </a:lnTo>
                  <a:lnTo>
                    <a:pt x="104" y="50"/>
                  </a:lnTo>
                  <a:lnTo>
                    <a:pt x="104" y="50"/>
                  </a:lnTo>
                  <a:lnTo>
                    <a:pt x="104" y="52"/>
                  </a:lnTo>
                  <a:lnTo>
                    <a:pt x="104" y="54"/>
                  </a:lnTo>
                  <a:lnTo>
                    <a:pt x="104" y="54"/>
                  </a:lnTo>
                  <a:lnTo>
                    <a:pt x="104" y="54"/>
                  </a:lnTo>
                  <a:lnTo>
                    <a:pt x="104" y="56"/>
                  </a:lnTo>
                  <a:lnTo>
                    <a:pt x="104" y="56"/>
                  </a:lnTo>
                  <a:lnTo>
                    <a:pt x="106" y="56"/>
                  </a:lnTo>
                  <a:lnTo>
                    <a:pt x="106" y="58"/>
                  </a:lnTo>
                  <a:lnTo>
                    <a:pt x="108" y="58"/>
                  </a:lnTo>
                  <a:lnTo>
                    <a:pt x="110" y="60"/>
                  </a:lnTo>
                  <a:lnTo>
                    <a:pt x="112" y="60"/>
                  </a:lnTo>
                  <a:lnTo>
                    <a:pt x="112" y="62"/>
                  </a:lnTo>
                  <a:lnTo>
                    <a:pt x="112" y="62"/>
                  </a:lnTo>
                  <a:lnTo>
                    <a:pt x="114" y="62"/>
                  </a:lnTo>
                  <a:lnTo>
                    <a:pt x="114" y="62"/>
                  </a:lnTo>
                  <a:lnTo>
                    <a:pt x="114" y="64"/>
                  </a:lnTo>
                  <a:lnTo>
                    <a:pt x="112" y="64"/>
                  </a:lnTo>
                  <a:lnTo>
                    <a:pt x="112" y="66"/>
                  </a:lnTo>
                  <a:lnTo>
                    <a:pt x="110" y="66"/>
                  </a:lnTo>
                  <a:lnTo>
                    <a:pt x="110" y="66"/>
                  </a:lnTo>
                  <a:lnTo>
                    <a:pt x="108" y="68"/>
                  </a:lnTo>
                  <a:lnTo>
                    <a:pt x="106" y="68"/>
                  </a:lnTo>
                  <a:lnTo>
                    <a:pt x="104" y="70"/>
                  </a:lnTo>
                  <a:lnTo>
                    <a:pt x="100" y="72"/>
                  </a:lnTo>
                  <a:lnTo>
                    <a:pt x="100" y="72"/>
                  </a:lnTo>
                  <a:lnTo>
                    <a:pt x="98" y="72"/>
                  </a:lnTo>
                  <a:lnTo>
                    <a:pt x="98" y="74"/>
                  </a:lnTo>
                  <a:lnTo>
                    <a:pt x="96" y="74"/>
                  </a:lnTo>
                  <a:lnTo>
                    <a:pt x="96" y="74"/>
                  </a:lnTo>
                  <a:lnTo>
                    <a:pt x="96" y="76"/>
                  </a:lnTo>
                  <a:lnTo>
                    <a:pt x="96" y="78"/>
                  </a:lnTo>
                  <a:lnTo>
                    <a:pt x="94" y="82"/>
                  </a:lnTo>
                  <a:lnTo>
                    <a:pt x="94" y="84"/>
                  </a:lnTo>
                  <a:lnTo>
                    <a:pt x="94" y="90"/>
                  </a:lnTo>
                  <a:lnTo>
                    <a:pt x="92" y="92"/>
                  </a:lnTo>
                  <a:lnTo>
                    <a:pt x="92" y="92"/>
                  </a:lnTo>
                  <a:lnTo>
                    <a:pt x="88" y="92"/>
                  </a:lnTo>
                  <a:lnTo>
                    <a:pt x="86" y="92"/>
                  </a:lnTo>
                  <a:lnTo>
                    <a:pt x="84" y="90"/>
                  </a:lnTo>
                  <a:lnTo>
                    <a:pt x="82" y="90"/>
                  </a:lnTo>
                  <a:lnTo>
                    <a:pt x="82" y="90"/>
                  </a:lnTo>
                  <a:lnTo>
                    <a:pt x="80" y="88"/>
                  </a:lnTo>
                  <a:lnTo>
                    <a:pt x="80" y="88"/>
                  </a:lnTo>
                  <a:lnTo>
                    <a:pt x="78" y="86"/>
                  </a:lnTo>
                  <a:lnTo>
                    <a:pt x="78" y="82"/>
                  </a:lnTo>
                  <a:lnTo>
                    <a:pt x="76" y="80"/>
                  </a:lnTo>
                  <a:lnTo>
                    <a:pt x="74" y="74"/>
                  </a:lnTo>
                  <a:lnTo>
                    <a:pt x="72" y="72"/>
                  </a:lnTo>
                  <a:lnTo>
                    <a:pt x="72" y="70"/>
                  </a:lnTo>
                  <a:lnTo>
                    <a:pt x="72" y="64"/>
                  </a:lnTo>
                  <a:lnTo>
                    <a:pt x="72" y="62"/>
                  </a:lnTo>
                  <a:lnTo>
                    <a:pt x="70" y="60"/>
                  </a:lnTo>
                  <a:lnTo>
                    <a:pt x="70" y="58"/>
                  </a:lnTo>
                  <a:lnTo>
                    <a:pt x="70" y="56"/>
                  </a:lnTo>
                  <a:lnTo>
                    <a:pt x="68" y="56"/>
                  </a:lnTo>
                  <a:lnTo>
                    <a:pt x="68" y="54"/>
                  </a:lnTo>
                  <a:lnTo>
                    <a:pt x="66" y="52"/>
                  </a:lnTo>
                  <a:lnTo>
                    <a:pt x="64" y="52"/>
                  </a:lnTo>
                  <a:lnTo>
                    <a:pt x="62" y="50"/>
                  </a:lnTo>
                  <a:lnTo>
                    <a:pt x="58" y="48"/>
                  </a:lnTo>
                  <a:lnTo>
                    <a:pt x="56" y="48"/>
                  </a:lnTo>
                  <a:lnTo>
                    <a:pt x="54" y="46"/>
                  </a:lnTo>
                  <a:lnTo>
                    <a:pt x="54" y="46"/>
                  </a:lnTo>
                  <a:lnTo>
                    <a:pt x="52" y="46"/>
                  </a:lnTo>
                  <a:lnTo>
                    <a:pt x="52" y="46"/>
                  </a:lnTo>
                  <a:lnTo>
                    <a:pt x="52" y="46"/>
                  </a:lnTo>
                  <a:lnTo>
                    <a:pt x="50" y="48"/>
                  </a:lnTo>
                  <a:lnTo>
                    <a:pt x="48" y="48"/>
                  </a:lnTo>
                  <a:lnTo>
                    <a:pt x="46" y="50"/>
                  </a:lnTo>
                  <a:lnTo>
                    <a:pt x="42" y="52"/>
                  </a:lnTo>
                  <a:lnTo>
                    <a:pt x="42" y="52"/>
                  </a:lnTo>
                  <a:lnTo>
                    <a:pt x="40" y="52"/>
                  </a:lnTo>
                  <a:lnTo>
                    <a:pt x="38" y="54"/>
                  </a:lnTo>
                  <a:lnTo>
                    <a:pt x="36" y="54"/>
                  </a:lnTo>
                  <a:lnTo>
                    <a:pt x="32" y="56"/>
                  </a:lnTo>
                  <a:lnTo>
                    <a:pt x="24" y="56"/>
                  </a:lnTo>
                  <a:lnTo>
                    <a:pt x="22" y="54"/>
                  </a:lnTo>
                  <a:lnTo>
                    <a:pt x="18" y="50"/>
                  </a:lnTo>
                  <a:lnTo>
                    <a:pt x="14" y="46"/>
                  </a:lnTo>
                  <a:lnTo>
                    <a:pt x="12" y="44"/>
                  </a:lnTo>
                  <a:lnTo>
                    <a:pt x="8" y="40"/>
                  </a:lnTo>
                  <a:lnTo>
                    <a:pt x="8" y="40"/>
                  </a:lnTo>
                  <a:lnTo>
                    <a:pt x="8" y="38"/>
                  </a:lnTo>
                  <a:lnTo>
                    <a:pt x="6" y="36"/>
                  </a:lnTo>
                  <a:lnTo>
                    <a:pt x="4" y="32"/>
                  </a:lnTo>
                  <a:lnTo>
                    <a:pt x="4" y="28"/>
                  </a:lnTo>
                  <a:lnTo>
                    <a:pt x="2" y="26"/>
                  </a:lnTo>
                  <a:lnTo>
                    <a:pt x="0" y="18"/>
                  </a:lnTo>
                  <a:lnTo>
                    <a:pt x="0" y="1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5" name="Freeform 423"/>
            <p:cNvSpPr>
              <a:spLocks/>
            </p:cNvSpPr>
            <p:nvPr/>
          </p:nvSpPr>
          <p:spPr bwMode="auto">
            <a:xfrm>
              <a:off x="3888155" y="4285939"/>
              <a:ext cx="197457" cy="159351"/>
            </a:xfrm>
            <a:custGeom>
              <a:avLst/>
              <a:gdLst>
                <a:gd name="T0" fmla="*/ 0 w 114"/>
                <a:gd name="T1" fmla="*/ 14 h 92"/>
                <a:gd name="T2" fmla="*/ 6 w 114"/>
                <a:gd name="T3" fmla="*/ 8 h 92"/>
                <a:gd name="T4" fmla="*/ 10 w 114"/>
                <a:gd name="T5" fmla="*/ 6 h 92"/>
                <a:gd name="T6" fmla="*/ 18 w 114"/>
                <a:gd name="T7" fmla="*/ 2 h 92"/>
                <a:gd name="T8" fmla="*/ 34 w 114"/>
                <a:gd name="T9" fmla="*/ 2 h 92"/>
                <a:gd name="T10" fmla="*/ 46 w 114"/>
                <a:gd name="T11" fmla="*/ 4 h 92"/>
                <a:gd name="T12" fmla="*/ 62 w 114"/>
                <a:gd name="T13" fmla="*/ 4 h 92"/>
                <a:gd name="T14" fmla="*/ 80 w 114"/>
                <a:gd name="T15" fmla="*/ 8 h 92"/>
                <a:gd name="T16" fmla="*/ 90 w 114"/>
                <a:gd name="T17" fmla="*/ 10 h 92"/>
                <a:gd name="T18" fmla="*/ 94 w 114"/>
                <a:gd name="T19" fmla="*/ 12 h 92"/>
                <a:gd name="T20" fmla="*/ 100 w 114"/>
                <a:gd name="T21" fmla="*/ 16 h 92"/>
                <a:gd name="T22" fmla="*/ 104 w 114"/>
                <a:gd name="T23" fmla="*/ 22 h 92"/>
                <a:gd name="T24" fmla="*/ 104 w 114"/>
                <a:gd name="T25" fmla="*/ 26 h 92"/>
                <a:gd name="T26" fmla="*/ 108 w 114"/>
                <a:gd name="T27" fmla="*/ 34 h 92"/>
                <a:gd name="T28" fmla="*/ 108 w 114"/>
                <a:gd name="T29" fmla="*/ 44 h 92"/>
                <a:gd name="T30" fmla="*/ 104 w 114"/>
                <a:gd name="T31" fmla="*/ 50 h 92"/>
                <a:gd name="T32" fmla="*/ 104 w 114"/>
                <a:gd name="T33" fmla="*/ 54 h 92"/>
                <a:gd name="T34" fmla="*/ 104 w 114"/>
                <a:gd name="T35" fmla="*/ 56 h 92"/>
                <a:gd name="T36" fmla="*/ 108 w 114"/>
                <a:gd name="T37" fmla="*/ 58 h 92"/>
                <a:gd name="T38" fmla="*/ 112 w 114"/>
                <a:gd name="T39" fmla="*/ 62 h 92"/>
                <a:gd name="T40" fmla="*/ 114 w 114"/>
                <a:gd name="T41" fmla="*/ 62 h 92"/>
                <a:gd name="T42" fmla="*/ 112 w 114"/>
                <a:gd name="T43" fmla="*/ 66 h 92"/>
                <a:gd name="T44" fmla="*/ 108 w 114"/>
                <a:gd name="T45" fmla="*/ 68 h 92"/>
                <a:gd name="T46" fmla="*/ 100 w 114"/>
                <a:gd name="T47" fmla="*/ 72 h 92"/>
                <a:gd name="T48" fmla="*/ 98 w 114"/>
                <a:gd name="T49" fmla="*/ 74 h 92"/>
                <a:gd name="T50" fmla="*/ 96 w 114"/>
                <a:gd name="T51" fmla="*/ 76 h 92"/>
                <a:gd name="T52" fmla="*/ 94 w 114"/>
                <a:gd name="T53" fmla="*/ 84 h 92"/>
                <a:gd name="T54" fmla="*/ 92 w 114"/>
                <a:gd name="T55" fmla="*/ 92 h 92"/>
                <a:gd name="T56" fmla="*/ 84 w 114"/>
                <a:gd name="T57" fmla="*/ 90 h 92"/>
                <a:gd name="T58" fmla="*/ 80 w 114"/>
                <a:gd name="T59" fmla="*/ 88 h 92"/>
                <a:gd name="T60" fmla="*/ 78 w 114"/>
                <a:gd name="T61" fmla="*/ 82 h 92"/>
                <a:gd name="T62" fmla="*/ 72 w 114"/>
                <a:gd name="T63" fmla="*/ 72 h 92"/>
                <a:gd name="T64" fmla="*/ 72 w 114"/>
                <a:gd name="T65" fmla="*/ 62 h 92"/>
                <a:gd name="T66" fmla="*/ 70 w 114"/>
                <a:gd name="T67" fmla="*/ 56 h 92"/>
                <a:gd name="T68" fmla="*/ 66 w 114"/>
                <a:gd name="T69" fmla="*/ 52 h 92"/>
                <a:gd name="T70" fmla="*/ 58 w 114"/>
                <a:gd name="T71" fmla="*/ 48 h 92"/>
                <a:gd name="T72" fmla="*/ 54 w 114"/>
                <a:gd name="T73" fmla="*/ 46 h 92"/>
                <a:gd name="T74" fmla="*/ 52 w 114"/>
                <a:gd name="T75" fmla="*/ 46 h 92"/>
                <a:gd name="T76" fmla="*/ 46 w 114"/>
                <a:gd name="T77" fmla="*/ 50 h 92"/>
                <a:gd name="T78" fmla="*/ 40 w 114"/>
                <a:gd name="T79" fmla="*/ 52 h 92"/>
                <a:gd name="T80" fmla="*/ 32 w 114"/>
                <a:gd name="T81" fmla="*/ 56 h 92"/>
                <a:gd name="T82" fmla="*/ 18 w 114"/>
                <a:gd name="T83" fmla="*/ 50 h 92"/>
                <a:gd name="T84" fmla="*/ 8 w 114"/>
                <a:gd name="T85" fmla="*/ 40 h 92"/>
                <a:gd name="T86" fmla="*/ 6 w 114"/>
                <a:gd name="T87" fmla="*/ 36 h 92"/>
                <a:gd name="T88" fmla="*/ 2 w 114"/>
                <a:gd name="T89"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 h="92">
                  <a:moveTo>
                    <a:pt x="0" y="16"/>
                  </a:moveTo>
                  <a:lnTo>
                    <a:pt x="0" y="16"/>
                  </a:lnTo>
                  <a:lnTo>
                    <a:pt x="0" y="14"/>
                  </a:lnTo>
                  <a:lnTo>
                    <a:pt x="2" y="12"/>
                  </a:lnTo>
                  <a:lnTo>
                    <a:pt x="6" y="8"/>
                  </a:lnTo>
                  <a:lnTo>
                    <a:pt x="6" y="8"/>
                  </a:lnTo>
                  <a:lnTo>
                    <a:pt x="8" y="6"/>
                  </a:lnTo>
                  <a:lnTo>
                    <a:pt x="8" y="6"/>
                  </a:lnTo>
                  <a:lnTo>
                    <a:pt x="10" y="6"/>
                  </a:lnTo>
                  <a:lnTo>
                    <a:pt x="12" y="4"/>
                  </a:lnTo>
                  <a:lnTo>
                    <a:pt x="14" y="2"/>
                  </a:lnTo>
                  <a:lnTo>
                    <a:pt x="18" y="2"/>
                  </a:lnTo>
                  <a:lnTo>
                    <a:pt x="22" y="0"/>
                  </a:lnTo>
                  <a:lnTo>
                    <a:pt x="26" y="0"/>
                  </a:lnTo>
                  <a:lnTo>
                    <a:pt x="34" y="2"/>
                  </a:lnTo>
                  <a:lnTo>
                    <a:pt x="40" y="2"/>
                  </a:lnTo>
                  <a:lnTo>
                    <a:pt x="42" y="4"/>
                  </a:lnTo>
                  <a:lnTo>
                    <a:pt x="46" y="4"/>
                  </a:lnTo>
                  <a:lnTo>
                    <a:pt x="50" y="4"/>
                  </a:lnTo>
                  <a:lnTo>
                    <a:pt x="54" y="4"/>
                  </a:lnTo>
                  <a:lnTo>
                    <a:pt x="62" y="4"/>
                  </a:lnTo>
                  <a:lnTo>
                    <a:pt x="68" y="6"/>
                  </a:lnTo>
                  <a:lnTo>
                    <a:pt x="76" y="8"/>
                  </a:lnTo>
                  <a:lnTo>
                    <a:pt x="80" y="8"/>
                  </a:lnTo>
                  <a:lnTo>
                    <a:pt x="84" y="10"/>
                  </a:lnTo>
                  <a:lnTo>
                    <a:pt x="88" y="10"/>
                  </a:lnTo>
                  <a:lnTo>
                    <a:pt x="90" y="10"/>
                  </a:lnTo>
                  <a:lnTo>
                    <a:pt x="92" y="12"/>
                  </a:lnTo>
                  <a:lnTo>
                    <a:pt x="92" y="12"/>
                  </a:lnTo>
                  <a:lnTo>
                    <a:pt x="94" y="12"/>
                  </a:lnTo>
                  <a:lnTo>
                    <a:pt x="96" y="14"/>
                  </a:lnTo>
                  <a:lnTo>
                    <a:pt x="98" y="16"/>
                  </a:lnTo>
                  <a:lnTo>
                    <a:pt x="100" y="16"/>
                  </a:lnTo>
                  <a:lnTo>
                    <a:pt x="100" y="18"/>
                  </a:lnTo>
                  <a:lnTo>
                    <a:pt x="102" y="20"/>
                  </a:lnTo>
                  <a:lnTo>
                    <a:pt x="104" y="22"/>
                  </a:lnTo>
                  <a:lnTo>
                    <a:pt x="104" y="22"/>
                  </a:lnTo>
                  <a:lnTo>
                    <a:pt x="104" y="24"/>
                  </a:lnTo>
                  <a:lnTo>
                    <a:pt x="104" y="26"/>
                  </a:lnTo>
                  <a:lnTo>
                    <a:pt x="106" y="28"/>
                  </a:lnTo>
                  <a:lnTo>
                    <a:pt x="106" y="32"/>
                  </a:lnTo>
                  <a:lnTo>
                    <a:pt x="108" y="34"/>
                  </a:lnTo>
                  <a:lnTo>
                    <a:pt x="108" y="40"/>
                  </a:lnTo>
                  <a:lnTo>
                    <a:pt x="108" y="42"/>
                  </a:lnTo>
                  <a:lnTo>
                    <a:pt x="108" y="44"/>
                  </a:lnTo>
                  <a:lnTo>
                    <a:pt x="106" y="48"/>
                  </a:lnTo>
                  <a:lnTo>
                    <a:pt x="104" y="50"/>
                  </a:lnTo>
                  <a:lnTo>
                    <a:pt x="104" y="50"/>
                  </a:lnTo>
                  <a:lnTo>
                    <a:pt x="104" y="52"/>
                  </a:lnTo>
                  <a:lnTo>
                    <a:pt x="104" y="54"/>
                  </a:lnTo>
                  <a:lnTo>
                    <a:pt x="104" y="54"/>
                  </a:lnTo>
                  <a:lnTo>
                    <a:pt x="104" y="54"/>
                  </a:lnTo>
                  <a:lnTo>
                    <a:pt x="104" y="56"/>
                  </a:lnTo>
                  <a:lnTo>
                    <a:pt x="104" y="56"/>
                  </a:lnTo>
                  <a:lnTo>
                    <a:pt x="106" y="56"/>
                  </a:lnTo>
                  <a:lnTo>
                    <a:pt x="106" y="58"/>
                  </a:lnTo>
                  <a:lnTo>
                    <a:pt x="108" y="58"/>
                  </a:lnTo>
                  <a:lnTo>
                    <a:pt x="110" y="60"/>
                  </a:lnTo>
                  <a:lnTo>
                    <a:pt x="112" y="60"/>
                  </a:lnTo>
                  <a:lnTo>
                    <a:pt x="112" y="62"/>
                  </a:lnTo>
                  <a:lnTo>
                    <a:pt x="112" y="62"/>
                  </a:lnTo>
                  <a:lnTo>
                    <a:pt x="114" y="62"/>
                  </a:lnTo>
                  <a:lnTo>
                    <a:pt x="114" y="62"/>
                  </a:lnTo>
                  <a:lnTo>
                    <a:pt x="114" y="64"/>
                  </a:lnTo>
                  <a:lnTo>
                    <a:pt x="112" y="64"/>
                  </a:lnTo>
                  <a:lnTo>
                    <a:pt x="112" y="66"/>
                  </a:lnTo>
                  <a:lnTo>
                    <a:pt x="110" y="66"/>
                  </a:lnTo>
                  <a:lnTo>
                    <a:pt x="110" y="66"/>
                  </a:lnTo>
                  <a:lnTo>
                    <a:pt x="108" y="68"/>
                  </a:lnTo>
                  <a:lnTo>
                    <a:pt x="106" y="68"/>
                  </a:lnTo>
                  <a:lnTo>
                    <a:pt x="104" y="70"/>
                  </a:lnTo>
                  <a:lnTo>
                    <a:pt x="100" y="72"/>
                  </a:lnTo>
                  <a:lnTo>
                    <a:pt x="100" y="72"/>
                  </a:lnTo>
                  <a:lnTo>
                    <a:pt x="98" y="72"/>
                  </a:lnTo>
                  <a:lnTo>
                    <a:pt x="98" y="74"/>
                  </a:lnTo>
                  <a:lnTo>
                    <a:pt x="96" y="74"/>
                  </a:lnTo>
                  <a:lnTo>
                    <a:pt x="96" y="74"/>
                  </a:lnTo>
                  <a:lnTo>
                    <a:pt x="96" y="76"/>
                  </a:lnTo>
                  <a:lnTo>
                    <a:pt x="96" y="78"/>
                  </a:lnTo>
                  <a:lnTo>
                    <a:pt x="94" y="82"/>
                  </a:lnTo>
                  <a:lnTo>
                    <a:pt x="94" y="84"/>
                  </a:lnTo>
                  <a:lnTo>
                    <a:pt x="94" y="90"/>
                  </a:lnTo>
                  <a:lnTo>
                    <a:pt x="92" y="92"/>
                  </a:lnTo>
                  <a:lnTo>
                    <a:pt x="92" y="92"/>
                  </a:lnTo>
                  <a:lnTo>
                    <a:pt x="88" y="92"/>
                  </a:lnTo>
                  <a:lnTo>
                    <a:pt x="86" y="92"/>
                  </a:lnTo>
                  <a:lnTo>
                    <a:pt x="84" y="90"/>
                  </a:lnTo>
                  <a:lnTo>
                    <a:pt x="82" y="90"/>
                  </a:lnTo>
                  <a:lnTo>
                    <a:pt x="82" y="90"/>
                  </a:lnTo>
                  <a:lnTo>
                    <a:pt x="80" y="88"/>
                  </a:lnTo>
                  <a:lnTo>
                    <a:pt x="80" y="88"/>
                  </a:lnTo>
                  <a:lnTo>
                    <a:pt x="78" y="86"/>
                  </a:lnTo>
                  <a:lnTo>
                    <a:pt x="78" y="82"/>
                  </a:lnTo>
                  <a:lnTo>
                    <a:pt x="76" y="80"/>
                  </a:lnTo>
                  <a:lnTo>
                    <a:pt x="74" y="74"/>
                  </a:lnTo>
                  <a:lnTo>
                    <a:pt x="72" y="72"/>
                  </a:lnTo>
                  <a:lnTo>
                    <a:pt x="72" y="70"/>
                  </a:lnTo>
                  <a:lnTo>
                    <a:pt x="72" y="64"/>
                  </a:lnTo>
                  <a:lnTo>
                    <a:pt x="72" y="62"/>
                  </a:lnTo>
                  <a:lnTo>
                    <a:pt x="70" y="60"/>
                  </a:lnTo>
                  <a:lnTo>
                    <a:pt x="70" y="58"/>
                  </a:lnTo>
                  <a:lnTo>
                    <a:pt x="70" y="56"/>
                  </a:lnTo>
                  <a:lnTo>
                    <a:pt x="68" y="56"/>
                  </a:lnTo>
                  <a:lnTo>
                    <a:pt x="68" y="54"/>
                  </a:lnTo>
                  <a:lnTo>
                    <a:pt x="66" y="52"/>
                  </a:lnTo>
                  <a:lnTo>
                    <a:pt x="64" y="52"/>
                  </a:lnTo>
                  <a:lnTo>
                    <a:pt x="62" y="50"/>
                  </a:lnTo>
                  <a:lnTo>
                    <a:pt x="58" y="48"/>
                  </a:lnTo>
                  <a:lnTo>
                    <a:pt x="56" y="48"/>
                  </a:lnTo>
                  <a:lnTo>
                    <a:pt x="54" y="46"/>
                  </a:lnTo>
                  <a:lnTo>
                    <a:pt x="54" y="46"/>
                  </a:lnTo>
                  <a:lnTo>
                    <a:pt x="52" y="46"/>
                  </a:lnTo>
                  <a:lnTo>
                    <a:pt x="52" y="46"/>
                  </a:lnTo>
                  <a:lnTo>
                    <a:pt x="52" y="46"/>
                  </a:lnTo>
                  <a:lnTo>
                    <a:pt x="50" y="48"/>
                  </a:lnTo>
                  <a:lnTo>
                    <a:pt x="48" y="48"/>
                  </a:lnTo>
                  <a:lnTo>
                    <a:pt x="46" y="50"/>
                  </a:lnTo>
                  <a:lnTo>
                    <a:pt x="42" y="52"/>
                  </a:lnTo>
                  <a:lnTo>
                    <a:pt x="42" y="52"/>
                  </a:lnTo>
                  <a:lnTo>
                    <a:pt x="40" y="52"/>
                  </a:lnTo>
                  <a:lnTo>
                    <a:pt x="38" y="54"/>
                  </a:lnTo>
                  <a:lnTo>
                    <a:pt x="36" y="54"/>
                  </a:lnTo>
                  <a:lnTo>
                    <a:pt x="32" y="56"/>
                  </a:lnTo>
                  <a:lnTo>
                    <a:pt x="24" y="56"/>
                  </a:lnTo>
                  <a:lnTo>
                    <a:pt x="22" y="54"/>
                  </a:lnTo>
                  <a:lnTo>
                    <a:pt x="18" y="50"/>
                  </a:lnTo>
                  <a:lnTo>
                    <a:pt x="14" y="46"/>
                  </a:lnTo>
                  <a:lnTo>
                    <a:pt x="12" y="44"/>
                  </a:lnTo>
                  <a:lnTo>
                    <a:pt x="8" y="40"/>
                  </a:lnTo>
                  <a:lnTo>
                    <a:pt x="8" y="40"/>
                  </a:lnTo>
                  <a:lnTo>
                    <a:pt x="8" y="38"/>
                  </a:lnTo>
                  <a:lnTo>
                    <a:pt x="6" y="36"/>
                  </a:lnTo>
                  <a:lnTo>
                    <a:pt x="4" y="32"/>
                  </a:lnTo>
                  <a:lnTo>
                    <a:pt x="4" y="28"/>
                  </a:lnTo>
                  <a:lnTo>
                    <a:pt x="2" y="26"/>
                  </a:lnTo>
                  <a:lnTo>
                    <a:pt x="0" y="18"/>
                  </a:lnTo>
                  <a:lnTo>
                    <a:pt x="0" y="1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6" name="Freeform 424"/>
            <p:cNvSpPr>
              <a:spLocks/>
            </p:cNvSpPr>
            <p:nvPr/>
          </p:nvSpPr>
          <p:spPr bwMode="auto">
            <a:xfrm>
              <a:off x="4193000" y="4341366"/>
              <a:ext cx="93532" cy="166279"/>
            </a:xfrm>
            <a:custGeom>
              <a:avLst/>
              <a:gdLst>
                <a:gd name="T0" fmla="*/ 0 w 54"/>
                <a:gd name="T1" fmla="*/ 84 h 96"/>
                <a:gd name="T2" fmla="*/ 0 w 54"/>
                <a:gd name="T3" fmla="*/ 68 h 96"/>
                <a:gd name="T4" fmla="*/ 0 w 54"/>
                <a:gd name="T5" fmla="*/ 56 h 96"/>
                <a:gd name="T6" fmla="*/ 0 w 54"/>
                <a:gd name="T7" fmla="*/ 50 h 96"/>
                <a:gd name="T8" fmla="*/ 2 w 54"/>
                <a:gd name="T9" fmla="*/ 46 h 96"/>
                <a:gd name="T10" fmla="*/ 6 w 54"/>
                <a:gd name="T11" fmla="*/ 46 h 96"/>
                <a:gd name="T12" fmla="*/ 10 w 54"/>
                <a:gd name="T13" fmla="*/ 44 h 96"/>
                <a:gd name="T14" fmla="*/ 12 w 54"/>
                <a:gd name="T15" fmla="*/ 42 h 96"/>
                <a:gd name="T16" fmla="*/ 12 w 54"/>
                <a:gd name="T17" fmla="*/ 36 h 96"/>
                <a:gd name="T18" fmla="*/ 10 w 54"/>
                <a:gd name="T19" fmla="*/ 34 h 96"/>
                <a:gd name="T20" fmla="*/ 8 w 54"/>
                <a:gd name="T21" fmla="*/ 32 h 96"/>
                <a:gd name="T22" fmla="*/ 2 w 54"/>
                <a:gd name="T23" fmla="*/ 30 h 96"/>
                <a:gd name="T24" fmla="*/ 2 w 54"/>
                <a:gd name="T25" fmla="*/ 28 h 96"/>
                <a:gd name="T26" fmla="*/ 0 w 54"/>
                <a:gd name="T27" fmla="*/ 22 h 96"/>
                <a:gd name="T28" fmla="*/ 0 w 54"/>
                <a:gd name="T29" fmla="*/ 14 h 96"/>
                <a:gd name="T30" fmla="*/ 4 w 54"/>
                <a:gd name="T31" fmla="*/ 6 h 96"/>
                <a:gd name="T32" fmla="*/ 8 w 54"/>
                <a:gd name="T33" fmla="*/ 2 h 96"/>
                <a:gd name="T34" fmla="*/ 10 w 54"/>
                <a:gd name="T35" fmla="*/ 0 h 96"/>
                <a:gd name="T36" fmla="*/ 14 w 54"/>
                <a:gd name="T37" fmla="*/ 0 h 96"/>
                <a:gd name="T38" fmla="*/ 20 w 54"/>
                <a:gd name="T39" fmla="*/ 2 h 96"/>
                <a:gd name="T40" fmla="*/ 26 w 54"/>
                <a:gd name="T41" fmla="*/ 6 h 96"/>
                <a:gd name="T42" fmla="*/ 30 w 54"/>
                <a:gd name="T43" fmla="*/ 8 h 96"/>
                <a:gd name="T44" fmla="*/ 40 w 54"/>
                <a:gd name="T45" fmla="*/ 12 h 96"/>
                <a:gd name="T46" fmla="*/ 40 w 54"/>
                <a:gd name="T47" fmla="*/ 20 h 96"/>
                <a:gd name="T48" fmla="*/ 40 w 54"/>
                <a:gd name="T49" fmla="*/ 24 h 96"/>
                <a:gd name="T50" fmla="*/ 44 w 54"/>
                <a:gd name="T51" fmla="*/ 26 h 96"/>
                <a:gd name="T52" fmla="*/ 46 w 54"/>
                <a:gd name="T53" fmla="*/ 28 h 96"/>
                <a:gd name="T54" fmla="*/ 48 w 54"/>
                <a:gd name="T55" fmla="*/ 30 h 96"/>
                <a:gd name="T56" fmla="*/ 46 w 54"/>
                <a:gd name="T57" fmla="*/ 38 h 96"/>
                <a:gd name="T58" fmla="*/ 46 w 54"/>
                <a:gd name="T59" fmla="*/ 44 h 96"/>
                <a:gd name="T60" fmla="*/ 48 w 54"/>
                <a:gd name="T61" fmla="*/ 60 h 96"/>
                <a:gd name="T62" fmla="*/ 54 w 54"/>
                <a:gd name="T63" fmla="*/ 80 h 96"/>
                <a:gd name="T64" fmla="*/ 50 w 54"/>
                <a:gd name="T65" fmla="*/ 84 h 96"/>
                <a:gd name="T66" fmla="*/ 46 w 54"/>
                <a:gd name="T67" fmla="*/ 88 h 96"/>
                <a:gd name="T68" fmla="*/ 44 w 54"/>
                <a:gd name="T69" fmla="*/ 88 h 96"/>
                <a:gd name="T70" fmla="*/ 40 w 54"/>
                <a:gd name="T71" fmla="*/ 86 h 96"/>
                <a:gd name="T72" fmla="*/ 36 w 54"/>
                <a:gd name="T73" fmla="*/ 86 h 96"/>
                <a:gd name="T74" fmla="*/ 34 w 54"/>
                <a:gd name="T75" fmla="*/ 88 h 96"/>
                <a:gd name="T76" fmla="*/ 30 w 54"/>
                <a:gd name="T77" fmla="*/ 94 h 96"/>
                <a:gd name="T78" fmla="*/ 26 w 54"/>
                <a:gd name="T79" fmla="*/ 96 h 96"/>
                <a:gd name="T80" fmla="*/ 20 w 54"/>
                <a:gd name="T81" fmla="*/ 96 h 96"/>
                <a:gd name="T82" fmla="*/ 14 w 54"/>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6">
                  <a:moveTo>
                    <a:pt x="2" y="92"/>
                  </a:moveTo>
                  <a:lnTo>
                    <a:pt x="2" y="92"/>
                  </a:lnTo>
                  <a:lnTo>
                    <a:pt x="0" y="84"/>
                  </a:lnTo>
                  <a:lnTo>
                    <a:pt x="0" y="76"/>
                  </a:lnTo>
                  <a:lnTo>
                    <a:pt x="0" y="72"/>
                  </a:lnTo>
                  <a:lnTo>
                    <a:pt x="0" y="68"/>
                  </a:lnTo>
                  <a:lnTo>
                    <a:pt x="0" y="64"/>
                  </a:lnTo>
                  <a:lnTo>
                    <a:pt x="0" y="60"/>
                  </a:lnTo>
                  <a:lnTo>
                    <a:pt x="0" y="56"/>
                  </a:lnTo>
                  <a:lnTo>
                    <a:pt x="0" y="54"/>
                  </a:lnTo>
                  <a:lnTo>
                    <a:pt x="0" y="50"/>
                  </a:lnTo>
                  <a:lnTo>
                    <a:pt x="0" y="50"/>
                  </a:lnTo>
                  <a:lnTo>
                    <a:pt x="0" y="48"/>
                  </a:lnTo>
                  <a:lnTo>
                    <a:pt x="2" y="48"/>
                  </a:lnTo>
                  <a:lnTo>
                    <a:pt x="2" y="46"/>
                  </a:lnTo>
                  <a:lnTo>
                    <a:pt x="2" y="46"/>
                  </a:lnTo>
                  <a:lnTo>
                    <a:pt x="4" y="46"/>
                  </a:lnTo>
                  <a:lnTo>
                    <a:pt x="6" y="46"/>
                  </a:lnTo>
                  <a:lnTo>
                    <a:pt x="8" y="46"/>
                  </a:lnTo>
                  <a:lnTo>
                    <a:pt x="8" y="46"/>
                  </a:lnTo>
                  <a:lnTo>
                    <a:pt x="10" y="44"/>
                  </a:lnTo>
                  <a:lnTo>
                    <a:pt x="10" y="44"/>
                  </a:lnTo>
                  <a:lnTo>
                    <a:pt x="10" y="42"/>
                  </a:lnTo>
                  <a:lnTo>
                    <a:pt x="12" y="42"/>
                  </a:lnTo>
                  <a:lnTo>
                    <a:pt x="12" y="40"/>
                  </a:lnTo>
                  <a:lnTo>
                    <a:pt x="12" y="38"/>
                  </a:lnTo>
                  <a:lnTo>
                    <a:pt x="12" y="36"/>
                  </a:lnTo>
                  <a:lnTo>
                    <a:pt x="12" y="34"/>
                  </a:lnTo>
                  <a:lnTo>
                    <a:pt x="10" y="34"/>
                  </a:lnTo>
                  <a:lnTo>
                    <a:pt x="10" y="34"/>
                  </a:lnTo>
                  <a:lnTo>
                    <a:pt x="10" y="32"/>
                  </a:lnTo>
                  <a:lnTo>
                    <a:pt x="10" y="32"/>
                  </a:lnTo>
                  <a:lnTo>
                    <a:pt x="8" y="32"/>
                  </a:lnTo>
                  <a:lnTo>
                    <a:pt x="6" y="30"/>
                  </a:lnTo>
                  <a:lnTo>
                    <a:pt x="4" y="30"/>
                  </a:lnTo>
                  <a:lnTo>
                    <a:pt x="2" y="30"/>
                  </a:lnTo>
                  <a:lnTo>
                    <a:pt x="2" y="28"/>
                  </a:lnTo>
                  <a:lnTo>
                    <a:pt x="2" y="28"/>
                  </a:lnTo>
                  <a:lnTo>
                    <a:pt x="2" y="28"/>
                  </a:lnTo>
                  <a:lnTo>
                    <a:pt x="2" y="28"/>
                  </a:lnTo>
                  <a:lnTo>
                    <a:pt x="0" y="26"/>
                  </a:lnTo>
                  <a:lnTo>
                    <a:pt x="0" y="22"/>
                  </a:lnTo>
                  <a:lnTo>
                    <a:pt x="0" y="20"/>
                  </a:lnTo>
                  <a:lnTo>
                    <a:pt x="0" y="16"/>
                  </a:lnTo>
                  <a:lnTo>
                    <a:pt x="0" y="14"/>
                  </a:lnTo>
                  <a:lnTo>
                    <a:pt x="2" y="12"/>
                  </a:lnTo>
                  <a:lnTo>
                    <a:pt x="2" y="8"/>
                  </a:lnTo>
                  <a:lnTo>
                    <a:pt x="4" y="6"/>
                  </a:lnTo>
                  <a:lnTo>
                    <a:pt x="6" y="4"/>
                  </a:lnTo>
                  <a:lnTo>
                    <a:pt x="6" y="2"/>
                  </a:lnTo>
                  <a:lnTo>
                    <a:pt x="8" y="2"/>
                  </a:lnTo>
                  <a:lnTo>
                    <a:pt x="8" y="2"/>
                  </a:lnTo>
                  <a:lnTo>
                    <a:pt x="8" y="0"/>
                  </a:lnTo>
                  <a:lnTo>
                    <a:pt x="10" y="0"/>
                  </a:lnTo>
                  <a:lnTo>
                    <a:pt x="10" y="0"/>
                  </a:lnTo>
                  <a:lnTo>
                    <a:pt x="12" y="0"/>
                  </a:lnTo>
                  <a:lnTo>
                    <a:pt x="14" y="0"/>
                  </a:lnTo>
                  <a:lnTo>
                    <a:pt x="16" y="2"/>
                  </a:lnTo>
                  <a:lnTo>
                    <a:pt x="18" y="2"/>
                  </a:lnTo>
                  <a:lnTo>
                    <a:pt x="20" y="2"/>
                  </a:lnTo>
                  <a:lnTo>
                    <a:pt x="22" y="4"/>
                  </a:lnTo>
                  <a:lnTo>
                    <a:pt x="24" y="6"/>
                  </a:lnTo>
                  <a:lnTo>
                    <a:pt x="26" y="6"/>
                  </a:lnTo>
                  <a:lnTo>
                    <a:pt x="26" y="8"/>
                  </a:lnTo>
                  <a:lnTo>
                    <a:pt x="28" y="8"/>
                  </a:lnTo>
                  <a:lnTo>
                    <a:pt x="30" y="8"/>
                  </a:lnTo>
                  <a:lnTo>
                    <a:pt x="34" y="10"/>
                  </a:lnTo>
                  <a:lnTo>
                    <a:pt x="40" y="10"/>
                  </a:lnTo>
                  <a:lnTo>
                    <a:pt x="40" y="12"/>
                  </a:lnTo>
                  <a:lnTo>
                    <a:pt x="40" y="16"/>
                  </a:lnTo>
                  <a:lnTo>
                    <a:pt x="40" y="18"/>
                  </a:lnTo>
                  <a:lnTo>
                    <a:pt x="40" y="20"/>
                  </a:lnTo>
                  <a:lnTo>
                    <a:pt x="40" y="22"/>
                  </a:lnTo>
                  <a:lnTo>
                    <a:pt x="40" y="24"/>
                  </a:lnTo>
                  <a:lnTo>
                    <a:pt x="40" y="24"/>
                  </a:lnTo>
                  <a:lnTo>
                    <a:pt x="42" y="24"/>
                  </a:lnTo>
                  <a:lnTo>
                    <a:pt x="42" y="24"/>
                  </a:lnTo>
                  <a:lnTo>
                    <a:pt x="44" y="26"/>
                  </a:lnTo>
                  <a:lnTo>
                    <a:pt x="46" y="26"/>
                  </a:lnTo>
                  <a:lnTo>
                    <a:pt x="46" y="28"/>
                  </a:lnTo>
                  <a:lnTo>
                    <a:pt x="46" y="28"/>
                  </a:lnTo>
                  <a:lnTo>
                    <a:pt x="48" y="28"/>
                  </a:lnTo>
                  <a:lnTo>
                    <a:pt x="48" y="28"/>
                  </a:lnTo>
                  <a:lnTo>
                    <a:pt x="48" y="30"/>
                  </a:lnTo>
                  <a:lnTo>
                    <a:pt x="48" y="32"/>
                  </a:lnTo>
                  <a:lnTo>
                    <a:pt x="46" y="34"/>
                  </a:lnTo>
                  <a:lnTo>
                    <a:pt x="46" y="38"/>
                  </a:lnTo>
                  <a:lnTo>
                    <a:pt x="46" y="38"/>
                  </a:lnTo>
                  <a:lnTo>
                    <a:pt x="46" y="40"/>
                  </a:lnTo>
                  <a:lnTo>
                    <a:pt x="46" y="44"/>
                  </a:lnTo>
                  <a:lnTo>
                    <a:pt x="46" y="50"/>
                  </a:lnTo>
                  <a:lnTo>
                    <a:pt x="48" y="56"/>
                  </a:lnTo>
                  <a:lnTo>
                    <a:pt x="48" y="60"/>
                  </a:lnTo>
                  <a:lnTo>
                    <a:pt x="50" y="66"/>
                  </a:lnTo>
                  <a:lnTo>
                    <a:pt x="50" y="72"/>
                  </a:lnTo>
                  <a:lnTo>
                    <a:pt x="54" y="80"/>
                  </a:lnTo>
                  <a:lnTo>
                    <a:pt x="52" y="80"/>
                  </a:lnTo>
                  <a:lnTo>
                    <a:pt x="50" y="82"/>
                  </a:lnTo>
                  <a:lnTo>
                    <a:pt x="50" y="84"/>
                  </a:lnTo>
                  <a:lnTo>
                    <a:pt x="48" y="86"/>
                  </a:lnTo>
                  <a:lnTo>
                    <a:pt x="48" y="86"/>
                  </a:lnTo>
                  <a:lnTo>
                    <a:pt x="46" y="88"/>
                  </a:lnTo>
                  <a:lnTo>
                    <a:pt x="46" y="88"/>
                  </a:lnTo>
                  <a:lnTo>
                    <a:pt x="46" y="88"/>
                  </a:lnTo>
                  <a:lnTo>
                    <a:pt x="44" y="88"/>
                  </a:lnTo>
                  <a:lnTo>
                    <a:pt x="42" y="88"/>
                  </a:lnTo>
                  <a:lnTo>
                    <a:pt x="42" y="88"/>
                  </a:lnTo>
                  <a:lnTo>
                    <a:pt x="40" y="86"/>
                  </a:lnTo>
                  <a:lnTo>
                    <a:pt x="38" y="86"/>
                  </a:lnTo>
                  <a:lnTo>
                    <a:pt x="36" y="86"/>
                  </a:lnTo>
                  <a:lnTo>
                    <a:pt x="36" y="86"/>
                  </a:lnTo>
                  <a:lnTo>
                    <a:pt x="36" y="88"/>
                  </a:lnTo>
                  <a:lnTo>
                    <a:pt x="34" y="88"/>
                  </a:lnTo>
                  <a:lnTo>
                    <a:pt x="34" y="88"/>
                  </a:lnTo>
                  <a:lnTo>
                    <a:pt x="32" y="90"/>
                  </a:lnTo>
                  <a:lnTo>
                    <a:pt x="30" y="94"/>
                  </a:lnTo>
                  <a:lnTo>
                    <a:pt x="30" y="94"/>
                  </a:lnTo>
                  <a:lnTo>
                    <a:pt x="30" y="94"/>
                  </a:lnTo>
                  <a:lnTo>
                    <a:pt x="28" y="96"/>
                  </a:lnTo>
                  <a:lnTo>
                    <a:pt x="26" y="96"/>
                  </a:lnTo>
                  <a:lnTo>
                    <a:pt x="26" y="96"/>
                  </a:lnTo>
                  <a:lnTo>
                    <a:pt x="24" y="96"/>
                  </a:lnTo>
                  <a:lnTo>
                    <a:pt x="20" y="96"/>
                  </a:lnTo>
                  <a:lnTo>
                    <a:pt x="18" y="96"/>
                  </a:lnTo>
                  <a:lnTo>
                    <a:pt x="16" y="96"/>
                  </a:lnTo>
                  <a:lnTo>
                    <a:pt x="14" y="96"/>
                  </a:lnTo>
                  <a:lnTo>
                    <a:pt x="8" y="94"/>
                  </a:lnTo>
                  <a:lnTo>
                    <a:pt x="2" y="9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7" name="Freeform 425"/>
            <p:cNvSpPr>
              <a:spLocks/>
            </p:cNvSpPr>
            <p:nvPr/>
          </p:nvSpPr>
          <p:spPr bwMode="auto">
            <a:xfrm>
              <a:off x="4193000" y="4341366"/>
              <a:ext cx="93532" cy="166279"/>
            </a:xfrm>
            <a:custGeom>
              <a:avLst/>
              <a:gdLst>
                <a:gd name="T0" fmla="*/ 0 w 54"/>
                <a:gd name="T1" fmla="*/ 84 h 96"/>
                <a:gd name="T2" fmla="*/ 0 w 54"/>
                <a:gd name="T3" fmla="*/ 68 h 96"/>
                <a:gd name="T4" fmla="*/ 0 w 54"/>
                <a:gd name="T5" fmla="*/ 56 h 96"/>
                <a:gd name="T6" fmla="*/ 0 w 54"/>
                <a:gd name="T7" fmla="*/ 50 h 96"/>
                <a:gd name="T8" fmla="*/ 2 w 54"/>
                <a:gd name="T9" fmla="*/ 46 h 96"/>
                <a:gd name="T10" fmla="*/ 6 w 54"/>
                <a:gd name="T11" fmla="*/ 46 h 96"/>
                <a:gd name="T12" fmla="*/ 10 w 54"/>
                <a:gd name="T13" fmla="*/ 44 h 96"/>
                <a:gd name="T14" fmla="*/ 12 w 54"/>
                <a:gd name="T15" fmla="*/ 42 h 96"/>
                <a:gd name="T16" fmla="*/ 12 w 54"/>
                <a:gd name="T17" fmla="*/ 36 h 96"/>
                <a:gd name="T18" fmla="*/ 10 w 54"/>
                <a:gd name="T19" fmla="*/ 34 h 96"/>
                <a:gd name="T20" fmla="*/ 8 w 54"/>
                <a:gd name="T21" fmla="*/ 32 h 96"/>
                <a:gd name="T22" fmla="*/ 2 w 54"/>
                <a:gd name="T23" fmla="*/ 30 h 96"/>
                <a:gd name="T24" fmla="*/ 2 w 54"/>
                <a:gd name="T25" fmla="*/ 28 h 96"/>
                <a:gd name="T26" fmla="*/ 0 w 54"/>
                <a:gd name="T27" fmla="*/ 22 h 96"/>
                <a:gd name="T28" fmla="*/ 0 w 54"/>
                <a:gd name="T29" fmla="*/ 14 h 96"/>
                <a:gd name="T30" fmla="*/ 4 w 54"/>
                <a:gd name="T31" fmla="*/ 6 h 96"/>
                <a:gd name="T32" fmla="*/ 8 w 54"/>
                <a:gd name="T33" fmla="*/ 2 h 96"/>
                <a:gd name="T34" fmla="*/ 10 w 54"/>
                <a:gd name="T35" fmla="*/ 0 h 96"/>
                <a:gd name="T36" fmla="*/ 14 w 54"/>
                <a:gd name="T37" fmla="*/ 0 h 96"/>
                <a:gd name="T38" fmla="*/ 20 w 54"/>
                <a:gd name="T39" fmla="*/ 2 h 96"/>
                <a:gd name="T40" fmla="*/ 26 w 54"/>
                <a:gd name="T41" fmla="*/ 6 h 96"/>
                <a:gd name="T42" fmla="*/ 30 w 54"/>
                <a:gd name="T43" fmla="*/ 8 h 96"/>
                <a:gd name="T44" fmla="*/ 40 w 54"/>
                <a:gd name="T45" fmla="*/ 12 h 96"/>
                <a:gd name="T46" fmla="*/ 40 w 54"/>
                <a:gd name="T47" fmla="*/ 20 h 96"/>
                <a:gd name="T48" fmla="*/ 40 w 54"/>
                <a:gd name="T49" fmla="*/ 24 h 96"/>
                <a:gd name="T50" fmla="*/ 44 w 54"/>
                <a:gd name="T51" fmla="*/ 26 h 96"/>
                <a:gd name="T52" fmla="*/ 46 w 54"/>
                <a:gd name="T53" fmla="*/ 28 h 96"/>
                <a:gd name="T54" fmla="*/ 48 w 54"/>
                <a:gd name="T55" fmla="*/ 30 h 96"/>
                <a:gd name="T56" fmla="*/ 46 w 54"/>
                <a:gd name="T57" fmla="*/ 38 h 96"/>
                <a:gd name="T58" fmla="*/ 46 w 54"/>
                <a:gd name="T59" fmla="*/ 44 h 96"/>
                <a:gd name="T60" fmla="*/ 48 w 54"/>
                <a:gd name="T61" fmla="*/ 60 h 96"/>
                <a:gd name="T62" fmla="*/ 54 w 54"/>
                <a:gd name="T63" fmla="*/ 80 h 96"/>
                <a:gd name="T64" fmla="*/ 50 w 54"/>
                <a:gd name="T65" fmla="*/ 84 h 96"/>
                <a:gd name="T66" fmla="*/ 46 w 54"/>
                <a:gd name="T67" fmla="*/ 88 h 96"/>
                <a:gd name="T68" fmla="*/ 44 w 54"/>
                <a:gd name="T69" fmla="*/ 88 h 96"/>
                <a:gd name="T70" fmla="*/ 40 w 54"/>
                <a:gd name="T71" fmla="*/ 86 h 96"/>
                <a:gd name="T72" fmla="*/ 36 w 54"/>
                <a:gd name="T73" fmla="*/ 86 h 96"/>
                <a:gd name="T74" fmla="*/ 34 w 54"/>
                <a:gd name="T75" fmla="*/ 88 h 96"/>
                <a:gd name="T76" fmla="*/ 30 w 54"/>
                <a:gd name="T77" fmla="*/ 94 h 96"/>
                <a:gd name="T78" fmla="*/ 26 w 54"/>
                <a:gd name="T79" fmla="*/ 96 h 96"/>
                <a:gd name="T80" fmla="*/ 20 w 54"/>
                <a:gd name="T81" fmla="*/ 96 h 96"/>
                <a:gd name="T82" fmla="*/ 14 w 54"/>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6">
                  <a:moveTo>
                    <a:pt x="2" y="92"/>
                  </a:moveTo>
                  <a:lnTo>
                    <a:pt x="2" y="92"/>
                  </a:lnTo>
                  <a:lnTo>
                    <a:pt x="0" y="84"/>
                  </a:lnTo>
                  <a:lnTo>
                    <a:pt x="0" y="76"/>
                  </a:lnTo>
                  <a:lnTo>
                    <a:pt x="0" y="72"/>
                  </a:lnTo>
                  <a:lnTo>
                    <a:pt x="0" y="68"/>
                  </a:lnTo>
                  <a:lnTo>
                    <a:pt x="0" y="64"/>
                  </a:lnTo>
                  <a:lnTo>
                    <a:pt x="0" y="60"/>
                  </a:lnTo>
                  <a:lnTo>
                    <a:pt x="0" y="56"/>
                  </a:lnTo>
                  <a:lnTo>
                    <a:pt x="0" y="54"/>
                  </a:lnTo>
                  <a:lnTo>
                    <a:pt x="0" y="50"/>
                  </a:lnTo>
                  <a:lnTo>
                    <a:pt x="0" y="50"/>
                  </a:lnTo>
                  <a:lnTo>
                    <a:pt x="0" y="48"/>
                  </a:lnTo>
                  <a:lnTo>
                    <a:pt x="2" y="48"/>
                  </a:lnTo>
                  <a:lnTo>
                    <a:pt x="2" y="46"/>
                  </a:lnTo>
                  <a:lnTo>
                    <a:pt x="2" y="46"/>
                  </a:lnTo>
                  <a:lnTo>
                    <a:pt x="4" y="46"/>
                  </a:lnTo>
                  <a:lnTo>
                    <a:pt x="6" y="46"/>
                  </a:lnTo>
                  <a:lnTo>
                    <a:pt x="8" y="46"/>
                  </a:lnTo>
                  <a:lnTo>
                    <a:pt x="8" y="46"/>
                  </a:lnTo>
                  <a:lnTo>
                    <a:pt x="10" y="44"/>
                  </a:lnTo>
                  <a:lnTo>
                    <a:pt x="10" y="44"/>
                  </a:lnTo>
                  <a:lnTo>
                    <a:pt x="10" y="42"/>
                  </a:lnTo>
                  <a:lnTo>
                    <a:pt x="12" y="42"/>
                  </a:lnTo>
                  <a:lnTo>
                    <a:pt x="12" y="40"/>
                  </a:lnTo>
                  <a:lnTo>
                    <a:pt x="12" y="38"/>
                  </a:lnTo>
                  <a:lnTo>
                    <a:pt x="12" y="36"/>
                  </a:lnTo>
                  <a:lnTo>
                    <a:pt x="12" y="34"/>
                  </a:lnTo>
                  <a:lnTo>
                    <a:pt x="10" y="34"/>
                  </a:lnTo>
                  <a:lnTo>
                    <a:pt x="10" y="34"/>
                  </a:lnTo>
                  <a:lnTo>
                    <a:pt x="10" y="32"/>
                  </a:lnTo>
                  <a:lnTo>
                    <a:pt x="10" y="32"/>
                  </a:lnTo>
                  <a:lnTo>
                    <a:pt x="8" y="32"/>
                  </a:lnTo>
                  <a:lnTo>
                    <a:pt x="6" y="30"/>
                  </a:lnTo>
                  <a:lnTo>
                    <a:pt x="4" y="30"/>
                  </a:lnTo>
                  <a:lnTo>
                    <a:pt x="2" y="30"/>
                  </a:lnTo>
                  <a:lnTo>
                    <a:pt x="2" y="28"/>
                  </a:lnTo>
                  <a:lnTo>
                    <a:pt x="2" y="28"/>
                  </a:lnTo>
                  <a:lnTo>
                    <a:pt x="2" y="28"/>
                  </a:lnTo>
                  <a:lnTo>
                    <a:pt x="2" y="28"/>
                  </a:lnTo>
                  <a:lnTo>
                    <a:pt x="0" y="26"/>
                  </a:lnTo>
                  <a:lnTo>
                    <a:pt x="0" y="22"/>
                  </a:lnTo>
                  <a:lnTo>
                    <a:pt x="0" y="20"/>
                  </a:lnTo>
                  <a:lnTo>
                    <a:pt x="0" y="16"/>
                  </a:lnTo>
                  <a:lnTo>
                    <a:pt x="0" y="14"/>
                  </a:lnTo>
                  <a:lnTo>
                    <a:pt x="2" y="12"/>
                  </a:lnTo>
                  <a:lnTo>
                    <a:pt x="2" y="8"/>
                  </a:lnTo>
                  <a:lnTo>
                    <a:pt x="4" y="6"/>
                  </a:lnTo>
                  <a:lnTo>
                    <a:pt x="6" y="4"/>
                  </a:lnTo>
                  <a:lnTo>
                    <a:pt x="6" y="2"/>
                  </a:lnTo>
                  <a:lnTo>
                    <a:pt x="8" y="2"/>
                  </a:lnTo>
                  <a:lnTo>
                    <a:pt x="8" y="2"/>
                  </a:lnTo>
                  <a:lnTo>
                    <a:pt x="8" y="0"/>
                  </a:lnTo>
                  <a:lnTo>
                    <a:pt x="10" y="0"/>
                  </a:lnTo>
                  <a:lnTo>
                    <a:pt x="10" y="0"/>
                  </a:lnTo>
                  <a:lnTo>
                    <a:pt x="12" y="0"/>
                  </a:lnTo>
                  <a:lnTo>
                    <a:pt x="14" y="0"/>
                  </a:lnTo>
                  <a:lnTo>
                    <a:pt x="16" y="2"/>
                  </a:lnTo>
                  <a:lnTo>
                    <a:pt x="18" y="2"/>
                  </a:lnTo>
                  <a:lnTo>
                    <a:pt x="20" y="2"/>
                  </a:lnTo>
                  <a:lnTo>
                    <a:pt x="22" y="4"/>
                  </a:lnTo>
                  <a:lnTo>
                    <a:pt x="24" y="6"/>
                  </a:lnTo>
                  <a:lnTo>
                    <a:pt x="26" y="6"/>
                  </a:lnTo>
                  <a:lnTo>
                    <a:pt x="26" y="8"/>
                  </a:lnTo>
                  <a:lnTo>
                    <a:pt x="28" y="8"/>
                  </a:lnTo>
                  <a:lnTo>
                    <a:pt x="30" y="8"/>
                  </a:lnTo>
                  <a:lnTo>
                    <a:pt x="34" y="10"/>
                  </a:lnTo>
                  <a:lnTo>
                    <a:pt x="40" y="10"/>
                  </a:lnTo>
                  <a:lnTo>
                    <a:pt x="40" y="12"/>
                  </a:lnTo>
                  <a:lnTo>
                    <a:pt x="40" y="16"/>
                  </a:lnTo>
                  <a:lnTo>
                    <a:pt x="40" y="18"/>
                  </a:lnTo>
                  <a:lnTo>
                    <a:pt x="40" y="20"/>
                  </a:lnTo>
                  <a:lnTo>
                    <a:pt x="40" y="22"/>
                  </a:lnTo>
                  <a:lnTo>
                    <a:pt x="40" y="24"/>
                  </a:lnTo>
                  <a:lnTo>
                    <a:pt x="40" y="24"/>
                  </a:lnTo>
                  <a:lnTo>
                    <a:pt x="42" y="24"/>
                  </a:lnTo>
                  <a:lnTo>
                    <a:pt x="42" y="24"/>
                  </a:lnTo>
                  <a:lnTo>
                    <a:pt x="44" y="26"/>
                  </a:lnTo>
                  <a:lnTo>
                    <a:pt x="46" y="26"/>
                  </a:lnTo>
                  <a:lnTo>
                    <a:pt x="46" y="28"/>
                  </a:lnTo>
                  <a:lnTo>
                    <a:pt x="46" y="28"/>
                  </a:lnTo>
                  <a:lnTo>
                    <a:pt x="48" y="28"/>
                  </a:lnTo>
                  <a:lnTo>
                    <a:pt x="48" y="28"/>
                  </a:lnTo>
                  <a:lnTo>
                    <a:pt x="48" y="30"/>
                  </a:lnTo>
                  <a:lnTo>
                    <a:pt x="48" y="32"/>
                  </a:lnTo>
                  <a:lnTo>
                    <a:pt x="46" y="34"/>
                  </a:lnTo>
                  <a:lnTo>
                    <a:pt x="46" y="38"/>
                  </a:lnTo>
                  <a:lnTo>
                    <a:pt x="46" y="38"/>
                  </a:lnTo>
                  <a:lnTo>
                    <a:pt x="46" y="40"/>
                  </a:lnTo>
                  <a:lnTo>
                    <a:pt x="46" y="44"/>
                  </a:lnTo>
                  <a:lnTo>
                    <a:pt x="46" y="50"/>
                  </a:lnTo>
                  <a:lnTo>
                    <a:pt x="48" y="56"/>
                  </a:lnTo>
                  <a:lnTo>
                    <a:pt x="48" y="60"/>
                  </a:lnTo>
                  <a:lnTo>
                    <a:pt x="50" y="66"/>
                  </a:lnTo>
                  <a:lnTo>
                    <a:pt x="50" y="72"/>
                  </a:lnTo>
                  <a:lnTo>
                    <a:pt x="54" y="80"/>
                  </a:lnTo>
                  <a:lnTo>
                    <a:pt x="52" y="80"/>
                  </a:lnTo>
                  <a:lnTo>
                    <a:pt x="50" y="82"/>
                  </a:lnTo>
                  <a:lnTo>
                    <a:pt x="50" y="84"/>
                  </a:lnTo>
                  <a:lnTo>
                    <a:pt x="48" y="86"/>
                  </a:lnTo>
                  <a:lnTo>
                    <a:pt x="48" y="86"/>
                  </a:lnTo>
                  <a:lnTo>
                    <a:pt x="46" y="88"/>
                  </a:lnTo>
                  <a:lnTo>
                    <a:pt x="46" y="88"/>
                  </a:lnTo>
                  <a:lnTo>
                    <a:pt x="46" y="88"/>
                  </a:lnTo>
                  <a:lnTo>
                    <a:pt x="44" y="88"/>
                  </a:lnTo>
                  <a:lnTo>
                    <a:pt x="42" y="88"/>
                  </a:lnTo>
                  <a:lnTo>
                    <a:pt x="42" y="88"/>
                  </a:lnTo>
                  <a:lnTo>
                    <a:pt x="40" y="86"/>
                  </a:lnTo>
                  <a:lnTo>
                    <a:pt x="38" y="86"/>
                  </a:lnTo>
                  <a:lnTo>
                    <a:pt x="36" y="86"/>
                  </a:lnTo>
                  <a:lnTo>
                    <a:pt x="36" y="86"/>
                  </a:lnTo>
                  <a:lnTo>
                    <a:pt x="36" y="88"/>
                  </a:lnTo>
                  <a:lnTo>
                    <a:pt x="34" y="88"/>
                  </a:lnTo>
                  <a:lnTo>
                    <a:pt x="34" y="88"/>
                  </a:lnTo>
                  <a:lnTo>
                    <a:pt x="32" y="90"/>
                  </a:lnTo>
                  <a:lnTo>
                    <a:pt x="30" y="94"/>
                  </a:lnTo>
                  <a:lnTo>
                    <a:pt x="30" y="94"/>
                  </a:lnTo>
                  <a:lnTo>
                    <a:pt x="30" y="94"/>
                  </a:lnTo>
                  <a:lnTo>
                    <a:pt x="28" y="96"/>
                  </a:lnTo>
                  <a:lnTo>
                    <a:pt x="26" y="96"/>
                  </a:lnTo>
                  <a:lnTo>
                    <a:pt x="26" y="96"/>
                  </a:lnTo>
                  <a:lnTo>
                    <a:pt x="24" y="96"/>
                  </a:lnTo>
                  <a:lnTo>
                    <a:pt x="20" y="96"/>
                  </a:lnTo>
                  <a:lnTo>
                    <a:pt x="18" y="96"/>
                  </a:lnTo>
                  <a:lnTo>
                    <a:pt x="16" y="96"/>
                  </a:lnTo>
                  <a:lnTo>
                    <a:pt x="14" y="96"/>
                  </a:lnTo>
                  <a:lnTo>
                    <a:pt x="8" y="94"/>
                  </a:lnTo>
                  <a:lnTo>
                    <a:pt x="2" y="9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8" name="Freeform 426"/>
            <p:cNvSpPr>
              <a:spLocks/>
            </p:cNvSpPr>
            <p:nvPr/>
          </p:nvSpPr>
          <p:spPr bwMode="auto">
            <a:xfrm>
              <a:off x="5000147" y="4718958"/>
              <a:ext cx="45034" cy="45034"/>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49" name="Freeform 427"/>
            <p:cNvSpPr>
              <a:spLocks/>
            </p:cNvSpPr>
            <p:nvPr/>
          </p:nvSpPr>
          <p:spPr bwMode="auto">
            <a:xfrm>
              <a:off x="5000147" y="4718958"/>
              <a:ext cx="45034" cy="45034"/>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0" name="Freeform 428"/>
            <p:cNvSpPr>
              <a:spLocks/>
            </p:cNvSpPr>
            <p:nvPr/>
          </p:nvSpPr>
          <p:spPr bwMode="auto">
            <a:xfrm>
              <a:off x="4671053" y="5290543"/>
              <a:ext cx="412234" cy="387985"/>
            </a:xfrm>
            <a:custGeom>
              <a:avLst/>
              <a:gdLst>
                <a:gd name="T0" fmla="*/ 204 w 238"/>
                <a:gd name="T1" fmla="*/ 10 h 224"/>
                <a:gd name="T2" fmla="*/ 200 w 238"/>
                <a:gd name="T3" fmla="*/ 6 h 224"/>
                <a:gd name="T4" fmla="*/ 186 w 238"/>
                <a:gd name="T5" fmla="*/ 8 h 224"/>
                <a:gd name="T6" fmla="*/ 176 w 238"/>
                <a:gd name="T7" fmla="*/ 16 h 224"/>
                <a:gd name="T8" fmla="*/ 166 w 238"/>
                <a:gd name="T9" fmla="*/ 26 h 224"/>
                <a:gd name="T10" fmla="*/ 156 w 238"/>
                <a:gd name="T11" fmla="*/ 32 h 224"/>
                <a:gd name="T12" fmla="*/ 154 w 238"/>
                <a:gd name="T13" fmla="*/ 44 h 224"/>
                <a:gd name="T14" fmla="*/ 146 w 238"/>
                <a:gd name="T15" fmla="*/ 46 h 224"/>
                <a:gd name="T16" fmla="*/ 140 w 238"/>
                <a:gd name="T17" fmla="*/ 54 h 224"/>
                <a:gd name="T18" fmla="*/ 130 w 238"/>
                <a:gd name="T19" fmla="*/ 64 h 224"/>
                <a:gd name="T20" fmla="*/ 118 w 238"/>
                <a:gd name="T21" fmla="*/ 66 h 224"/>
                <a:gd name="T22" fmla="*/ 108 w 238"/>
                <a:gd name="T23" fmla="*/ 60 h 224"/>
                <a:gd name="T24" fmla="*/ 98 w 238"/>
                <a:gd name="T25" fmla="*/ 60 h 224"/>
                <a:gd name="T26" fmla="*/ 92 w 238"/>
                <a:gd name="T27" fmla="*/ 70 h 224"/>
                <a:gd name="T28" fmla="*/ 86 w 238"/>
                <a:gd name="T29" fmla="*/ 80 h 224"/>
                <a:gd name="T30" fmla="*/ 72 w 238"/>
                <a:gd name="T31" fmla="*/ 82 h 224"/>
                <a:gd name="T32" fmla="*/ 60 w 238"/>
                <a:gd name="T33" fmla="*/ 76 h 224"/>
                <a:gd name="T34" fmla="*/ 58 w 238"/>
                <a:gd name="T35" fmla="*/ 62 h 224"/>
                <a:gd name="T36" fmla="*/ 52 w 238"/>
                <a:gd name="T37" fmla="*/ 88 h 224"/>
                <a:gd name="T38" fmla="*/ 50 w 238"/>
                <a:gd name="T39" fmla="*/ 112 h 224"/>
                <a:gd name="T40" fmla="*/ 42 w 238"/>
                <a:gd name="T41" fmla="*/ 120 h 224"/>
                <a:gd name="T42" fmla="*/ 26 w 238"/>
                <a:gd name="T43" fmla="*/ 122 h 224"/>
                <a:gd name="T44" fmla="*/ 18 w 238"/>
                <a:gd name="T45" fmla="*/ 114 h 224"/>
                <a:gd name="T46" fmla="*/ 14 w 238"/>
                <a:gd name="T47" fmla="*/ 108 h 224"/>
                <a:gd name="T48" fmla="*/ 10 w 238"/>
                <a:gd name="T49" fmla="*/ 112 h 224"/>
                <a:gd name="T50" fmla="*/ 2 w 238"/>
                <a:gd name="T51" fmla="*/ 118 h 224"/>
                <a:gd name="T52" fmla="*/ 2 w 238"/>
                <a:gd name="T53" fmla="*/ 134 h 224"/>
                <a:gd name="T54" fmla="*/ 6 w 238"/>
                <a:gd name="T55" fmla="*/ 138 h 224"/>
                <a:gd name="T56" fmla="*/ 14 w 238"/>
                <a:gd name="T57" fmla="*/ 140 h 224"/>
                <a:gd name="T58" fmla="*/ 14 w 238"/>
                <a:gd name="T59" fmla="*/ 156 h 224"/>
                <a:gd name="T60" fmla="*/ 18 w 238"/>
                <a:gd name="T61" fmla="*/ 160 h 224"/>
                <a:gd name="T62" fmla="*/ 20 w 238"/>
                <a:gd name="T63" fmla="*/ 166 h 224"/>
                <a:gd name="T64" fmla="*/ 26 w 238"/>
                <a:gd name="T65" fmla="*/ 168 h 224"/>
                <a:gd name="T66" fmla="*/ 28 w 238"/>
                <a:gd name="T67" fmla="*/ 172 h 224"/>
                <a:gd name="T68" fmla="*/ 24 w 238"/>
                <a:gd name="T69" fmla="*/ 182 h 224"/>
                <a:gd name="T70" fmla="*/ 18 w 238"/>
                <a:gd name="T71" fmla="*/ 186 h 224"/>
                <a:gd name="T72" fmla="*/ 22 w 238"/>
                <a:gd name="T73" fmla="*/ 198 h 224"/>
                <a:gd name="T74" fmla="*/ 36 w 238"/>
                <a:gd name="T75" fmla="*/ 214 h 224"/>
                <a:gd name="T76" fmla="*/ 50 w 238"/>
                <a:gd name="T77" fmla="*/ 222 h 224"/>
                <a:gd name="T78" fmla="*/ 64 w 238"/>
                <a:gd name="T79" fmla="*/ 222 h 224"/>
                <a:gd name="T80" fmla="*/ 76 w 238"/>
                <a:gd name="T81" fmla="*/ 210 h 224"/>
                <a:gd name="T82" fmla="*/ 82 w 238"/>
                <a:gd name="T83" fmla="*/ 204 h 224"/>
                <a:gd name="T84" fmla="*/ 100 w 238"/>
                <a:gd name="T85" fmla="*/ 204 h 224"/>
                <a:gd name="T86" fmla="*/ 110 w 238"/>
                <a:gd name="T87" fmla="*/ 208 h 224"/>
                <a:gd name="T88" fmla="*/ 116 w 238"/>
                <a:gd name="T89" fmla="*/ 212 h 224"/>
                <a:gd name="T90" fmla="*/ 130 w 238"/>
                <a:gd name="T91" fmla="*/ 204 h 224"/>
                <a:gd name="T92" fmla="*/ 142 w 238"/>
                <a:gd name="T93" fmla="*/ 198 h 224"/>
                <a:gd name="T94" fmla="*/ 164 w 238"/>
                <a:gd name="T95" fmla="*/ 192 h 224"/>
                <a:gd name="T96" fmla="*/ 172 w 238"/>
                <a:gd name="T97" fmla="*/ 182 h 224"/>
                <a:gd name="T98" fmla="*/ 180 w 238"/>
                <a:gd name="T99" fmla="*/ 168 h 224"/>
                <a:gd name="T100" fmla="*/ 198 w 238"/>
                <a:gd name="T101" fmla="*/ 156 h 224"/>
                <a:gd name="T102" fmla="*/ 212 w 238"/>
                <a:gd name="T103" fmla="*/ 142 h 224"/>
                <a:gd name="T104" fmla="*/ 214 w 238"/>
                <a:gd name="T105" fmla="*/ 124 h 224"/>
                <a:gd name="T106" fmla="*/ 220 w 238"/>
                <a:gd name="T107" fmla="*/ 112 h 224"/>
                <a:gd name="T108" fmla="*/ 228 w 238"/>
                <a:gd name="T109" fmla="*/ 110 h 224"/>
                <a:gd name="T110" fmla="*/ 236 w 238"/>
                <a:gd name="T111" fmla="*/ 102 h 224"/>
                <a:gd name="T112" fmla="*/ 222 w 238"/>
                <a:gd name="T113" fmla="*/ 76 h 224"/>
                <a:gd name="T114" fmla="*/ 218 w 238"/>
                <a:gd name="T115" fmla="*/ 1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4">
                  <a:moveTo>
                    <a:pt x="218" y="10"/>
                  </a:moveTo>
                  <a:lnTo>
                    <a:pt x="218" y="10"/>
                  </a:lnTo>
                  <a:lnTo>
                    <a:pt x="216" y="10"/>
                  </a:lnTo>
                  <a:lnTo>
                    <a:pt x="212" y="10"/>
                  </a:lnTo>
                  <a:lnTo>
                    <a:pt x="210" y="10"/>
                  </a:lnTo>
                  <a:lnTo>
                    <a:pt x="206" y="10"/>
                  </a:lnTo>
                  <a:lnTo>
                    <a:pt x="204" y="10"/>
                  </a:lnTo>
                  <a:lnTo>
                    <a:pt x="204" y="10"/>
                  </a:lnTo>
                  <a:lnTo>
                    <a:pt x="202" y="10"/>
                  </a:lnTo>
                  <a:lnTo>
                    <a:pt x="202" y="10"/>
                  </a:lnTo>
                  <a:lnTo>
                    <a:pt x="202" y="10"/>
                  </a:lnTo>
                  <a:lnTo>
                    <a:pt x="200" y="8"/>
                  </a:lnTo>
                  <a:lnTo>
                    <a:pt x="200" y="6"/>
                  </a:lnTo>
                  <a:lnTo>
                    <a:pt x="200" y="6"/>
                  </a:lnTo>
                  <a:lnTo>
                    <a:pt x="198" y="6"/>
                  </a:lnTo>
                  <a:lnTo>
                    <a:pt x="198" y="4"/>
                  </a:lnTo>
                  <a:lnTo>
                    <a:pt x="196" y="4"/>
                  </a:lnTo>
                  <a:lnTo>
                    <a:pt x="194" y="2"/>
                  </a:lnTo>
                  <a:lnTo>
                    <a:pt x="190" y="0"/>
                  </a:lnTo>
                  <a:lnTo>
                    <a:pt x="188" y="4"/>
                  </a:lnTo>
                  <a:lnTo>
                    <a:pt x="186" y="8"/>
                  </a:lnTo>
                  <a:lnTo>
                    <a:pt x="186" y="8"/>
                  </a:lnTo>
                  <a:lnTo>
                    <a:pt x="186" y="10"/>
                  </a:lnTo>
                  <a:lnTo>
                    <a:pt x="184" y="10"/>
                  </a:lnTo>
                  <a:lnTo>
                    <a:pt x="184" y="12"/>
                  </a:lnTo>
                  <a:lnTo>
                    <a:pt x="182" y="14"/>
                  </a:lnTo>
                  <a:lnTo>
                    <a:pt x="178" y="14"/>
                  </a:lnTo>
                  <a:lnTo>
                    <a:pt x="176" y="16"/>
                  </a:lnTo>
                  <a:lnTo>
                    <a:pt x="174" y="18"/>
                  </a:lnTo>
                  <a:lnTo>
                    <a:pt x="172" y="20"/>
                  </a:lnTo>
                  <a:lnTo>
                    <a:pt x="170" y="24"/>
                  </a:lnTo>
                  <a:lnTo>
                    <a:pt x="170" y="24"/>
                  </a:lnTo>
                  <a:lnTo>
                    <a:pt x="168" y="26"/>
                  </a:lnTo>
                  <a:lnTo>
                    <a:pt x="168" y="26"/>
                  </a:lnTo>
                  <a:lnTo>
                    <a:pt x="166" y="26"/>
                  </a:lnTo>
                  <a:lnTo>
                    <a:pt x="162" y="28"/>
                  </a:lnTo>
                  <a:lnTo>
                    <a:pt x="160" y="28"/>
                  </a:lnTo>
                  <a:lnTo>
                    <a:pt x="160" y="30"/>
                  </a:lnTo>
                  <a:lnTo>
                    <a:pt x="158" y="30"/>
                  </a:lnTo>
                  <a:lnTo>
                    <a:pt x="158" y="30"/>
                  </a:lnTo>
                  <a:lnTo>
                    <a:pt x="156" y="32"/>
                  </a:lnTo>
                  <a:lnTo>
                    <a:pt x="156" y="32"/>
                  </a:lnTo>
                  <a:lnTo>
                    <a:pt x="156" y="34"/>
                  </a:lnTo>
                  <a:lnTo>
                    <a:pt x="156" y="36"/>
                  </a:lnTo>
                  <a:lnTo>
                    <a:pt x="156" y="38"/>
                  </a:lnTo>
                  <a:lnTo>
                    <a:pt x="156" y="40"/>
                  </a:lnTo>
                  <a:lnTo>
                    <a:pt x="154" y="42"/>
                  </a:lnTo>
                  <a:lnTo>
                    <a:pt x="154" y="44"/>
                  </a:lnTo>
                  <a:lnTo>
                    <a:pt x="154" y="44"/>
                  </a:lnTo>
                  <a:lnTo>
                    <a:pt x="154" y="46"/>
                  </a:lnTo>
                  <a:lnTo>
                    <a:pt x="152" y="46"/>
                  </a:lnTo>
                  <a:lnTo>
                    <a:pt x="152" y="46"/>
                  </a:lnTo>
                  <a:lnTo>
                    <a:pt x="152" y="46"/>
                  </a:lnTo>
                  <a:lnTo>
                    <a:pt x="150" y="46"/>
                  </a:lnTo>
                  <a:lnTo>
                    <a:pt x="148" y="46"/>
                  </a:lnTo>
                  <a:lnTo>
                    <a:pt x="146" y="46"/>
                  </a:lnTo>
                  <a:lnTo>
                    <a:pt x="144" y="48"/>
                  </a:lnTo>
                  <a:lnTo>
                    <a:pt x="144" y="48"/>
                  </a:lnTo>
                  <a:lnTo>
                    <a:pt x="144" y="48"/>
                  </a:lnTo>
                  <a:lnTo>
                    <a:pt x="142" y="50"/>
                  </a:lnTo>
                  <a:lnTo>
                    <a:pt x="142" y="50"/>
                  </a:lnTo>
                  <a:lnTo>
                    <a:pt x="140" y="52"/>
                  </a:lnTo>
                  <a:lnTo>
                    <a:pt x="140" y="54"/>
                  </a:lnTo>
                  <a:lnTo>
                    <a:pt x="138" y="56"/>
                  </a:lnTo>
                  <a:lnTo>
                    <a:pt x="138" y="56"/>
                  </a:lnTo>
                  <a:lnTo>
                    <a:pt x="136" y="60"/>
                  </a:lnTo>
                  <a:lnTo>
                    <a:pt x="134" y="62"/>
                  </a:lnTo>
                  <a:lnTo>
                    <a:pt x="134" y="62"/>
                  </a:lnTo>
                  <a:lnTo>
                    <a:pt x="132" y="64"/>
                  </a:lnTo>
                  <a:lnTo>
                    <a:pt x="130" y="64"/>
                  </a:lnTo>
                  <a:lnTo>
                    <a:pt x="130" y="66"/>
                  </a:lnTo>
                  <a:lnTo>
                    <a:pt x="128" y="66"/>
                  </a:lnTo>
                  <a:lnTo>
                    <a:pt x="126" y="66"/>
                  </a:lnTo>
                  <a:lnTo>
                    <a:pt x="124" y="66"/>
                  </a:lnTo>
                  <a:lnTo>
                    <a:pt x="122" y="66"/>
                  </a:lnTo>
                  <a:lnTo>
                    <a:pt x="120" y="66"/>
                  </a:lnTo>
                  <a:lnTo>
                    <a:pt x="118" y="66"/>
                  </a:lnTo>
                  <a:lnTo>
                    <a:pt x="118" y="66"/>
                  </a:lnTo>
                  <a:lnTo>
                    <a:pt x="116" y="66"/>
                  </a:lnTo>
                  <a:lnTo>
                    <a:pt x="114" y="66"/>
                  </a:lnTo>
                  <a:lnTo>
                    <a:pt x="114" y="64"/>
                  </a:lnTo>
                  <a:lnTo>
                    <a:pt x="110" y="62"/>
                  </a:lnTo>
                  <a:lnTo>
                    <a:pt x="108" y="62"/>
                  </a:lnTo>
                  <a:lnTo>
                    <a:pt x="108" y="60"/>
                  </a:lnTo>
                  <a:lnTo>
                    <a:pt x="106" y="60"/>
                  </a:lnTo>
                  <a:lnTo>
                    <a:pt x="104" y="60"/>
                  </a:lnTo>
                  <a:lnTo>
                    <a:pt x="102" y="60"/>
                  </a:lnTo>
                  <a:lnTo>
                    <a:pt x="100" y="60"/>
                  </a:lnTo>
                  <a:lnTo>
                    <a:pt x="98" y="60"/>
                  </a:lnTo>
                  <a:lnTo>
                    <a:pt x="98" y="60"/>
                  </a:lnTo>
                  <a:lnTo>
                    <a:pt x="98" y="60"/>
                  </a:lnTo>
                  <a:lnTo>
                    <a:pt x="96" y="62"/>
                  </a:lnTo>
                  <a:lnTo>
                    <a:pt x="96" y="62"/>
                  </a:lnTo>
                  <a:lnTo>
                    <a:pt x="96" y="64"/>
                  </a:lnTo>
                  <a:lnTo>
                    <a:pt x="94" y="66"/>
                  </a:lnTo>
                  <a:lnTo>
                    <a:pt x="92" y="68"/>
                  </a:lnTo>
                  <a:lnTo>
                    <a:pt x="92" y="68"/>
                  </a:lnTo>
                  <a:lnTo>
                    <a:pt x="92" y="70"/>
                  </a:lnTo>
                  <a:lnTo>
                    <a:pt x="92" y="72"/>
                  </a:lnTo>
                  <a:lnTo>
                    <a:pt x="90" y="74"/>
                  </a:lnTo>
                  <a:lnTo>
                    <a:pt x="90" y="76"/>
                  </a:lnTo>
                  <a:lnTo>
                    <a:pt x="90" y="76"/>
                  </a:lnTo>
                  <a:lnTo>
                    <a:pt x="88" y="78"/>
                  </a:lnTo>
                  <a:lnTo>
                    <a:pt x="88" y="78"/>
                  </a:lnTo>
                  <a:lnTo>
                    <a:pt x="86" y="80"/>
                  </a:lnTo>
                  <a:lnTo>
                    <a:pt x="84" y="82"/>
                  </a:lnTo>
                  <a:lnTo>
                    <a:pt x="82" y="82"/>
                  </a:lnTo>
                  <a:lnTo>
                    <a:pt x="82" y="82"/>
                  </a:lnTo>
                  <a:lnTo>
                    <a:pt x="80" y="82"/>
                  </a:lnTo>
                  <a:lnTo>
                    <a:pt x="76" y="82"/>
                  </a:lnTo>
                  <a:lnTo>
                    <a:pt x="74" y="82"/>
                  </a:lnTo>
                  <a:lnTo>
                    <a:pt x="72" y="82"/>
                  </a:lnTo>
                  <a:lnTo>
                    <a:pt x="68" y="80"/>
                  </a:lnTo>
                  <a:lnTo>
                    <a:pt x="66" y="80"/>
                  </a:lnTo>
                  <a:lnTo>
                    <a:pt x="64" y="78"/>
                  </a:lnTo>
                  <a:lnTo>
                    <a:pt x="62" y="78"/>
                  </a:lnTo>
                  <a:lnTo>
                    <a:pt x="62" y="78"/>
                  </a:lnTo>
                  <a:lnTo>
                    <a:pt x="62" y="78"/>
                  </a:lnTo>
                  <a:lnTo>
                    <a:pt x="60" y="76"/>
                  </a:lnTo>
                  <a:lnTo>
                    <a:pt x="60" y="74"/>
                  </a:lnTo>
                  <a:lnTo>
                    <a:pt x="60" y="72"/>
                  </a:lnTo>
                  <a:lnTo>
                    <a:pt x="60" y="70"/>
                  </a:lnTo>
                  <a:lnTo>
                    <a:pt x="58" y="66"/>
                  </a:lnTo>
                  <a:lnTo>
                    <a:pt x="58" y="64"/>
                  </a:lnTo>
                  <a:lnTo>
                    <a:pt x="58" y="62"/>
                  </a:lnTo>
                  <a:lnTo>
                    <a:pt x="58" y="62"/>
                  </a:lnTo>
                  <a:lnTo>
                    <a:pt x="56" y="60"/>
                  </a:lnTo>
                  <a:lnTo>
                    <a:pt x="56" y="58"/>
                  </a:lnTo>
                  <a:lnTo>
                    <a:pt x="52" y="56"/>
                  </a:lnTo>
                  <a:lnTo>
                    <a:pt x="52" y="62"/>
                  </a:lnTo>
                  <a:lnTo>
                    <a:pt x="54" y="70"/>
                  </a:lnTo>
                  <a:lnTo>
                    <a:pt x="54" y="80"/>
                  </a:lnTo>
                  <a:lnTo>
                    <a:pt x="52" y="88"/>
                  </a:lnTo>
                  <a:lnTo>
                    <a:pt x="52" y="94"/>
                  </a:lnTo>
                  <a:lnTo>
                    <a:pt x="52" y="98"/>
                  </a:lnTo>
                  <a:lnTo>
                    <a:pt x="52" y="102"/>
                  </a:lnTo>
                  <a:lnTo>
                    <a:pt x="50" y="106"/>
                  </a:lnTo>
                  <a:lnTo>
                    <a:pt x="50" y="110"/>
                  </a:lnTo>
                  <a:lnTo>
                    <a:pt x="50" y="112"/>
                  </a:lnTo>
                  <a:lnTo>
                    <a:pt x="50" y="112"/>
                  </a:lnTo>
                  <a:lnTo>
                    <a:pt x="48" y="114"/>
                  </a:lnTo>
                  <a:lnTo>
                    <a:pt x="48" y="116"/>
                  </a:lnTo>
                  <a:lnTo>
                    <a:pt x="46" y="116"/>
                  </a:lnTo>
                  <a:lnTo>
                    <a:pt x="46" y="118"/>
                  </a:lnTo>
                  <a:lnTo>
                    <a:pt x="44" y="118"/>
                  </a:lnTo>
                  <a:lnTo>
                    <a:pt x="42" y="120"/>
                  </a:lnTo>
                  <a:lnTo>
                    <a:pt x="42" y="120"/>
                  </a:lnTo>
                  <a:lnTo>
                    <a:pt x="40" y="122"/>
                  </a:lnTo>
                  <a:lnTo>
                    <a:pt x="38" y="122"/>
                  </a:lnTo>
                  <a:lnTo>
                    <a:pt x="36" y="122"/>
                  </a:lnTo>
                  <a:lnTo>
                    <a:pt x="34" y="122"/>
                  </a:lnTo>
                  <a:lnTo>
                    <a:pt x="30" y="122"/>
                  </a:lnTo>
                  <a:lnTo>
                    <a:pt x="28" y="122"/>
                  </a:lnTo>
                  <a:lnTo>
                    <a:pt x="26" y="122"/>
                  </a:lnTo>
                  <a:lnTo>
                    <a:pt x="24" y="120"/>
                  </a:lnTo>
                  <a:lnTo>
                    <a:pt x="22" y="120"/>
                  </a:lnTo>
                  <a:lnTo>
                    <a:pt x="22" y="120"/>
                  </a:lnTo>
                  <a:lnTo>
                    <a:pt x="20" y="118"/>
                  </a:lnTo>
                  <a:lnTo>
                    <a:pt x="20" y="118"/>
                  </a:lnTo>
                  <a:lnTo>
                    <a:pt x="20" y="116"/>
                  </a:lnTo>
                  <a:lnTo>
                    <a:pt x="18" y="114"/>
                  </a:lnTo>
                  <a:lnTo>
                    <a:pt x="18" y="112"/>
                  </a:lnTo>
                  <a:lnTo>
                    <a:pt x="18" y="110"/>
                  </a:lnTo>
                  <a:lnTo>
                    <a:pt x="16" y="110"/>
                  </a:lnTo>
                  <a:lnTo>
                    <a:pt x="16" y="108"/>
                  </a:lnTo>
                  <a:lnTo>
                    <a:pt x="16" y="108"/>
                  </a:lnTo>
                  <a:lnTo>
                    <a:pt x="16" y="108"/>
                  </a:lnTo>
                  <a:lnTo>
                    <a:pt x="14" y="108"/>
                  </a:lnTo>
                  <a:lnTo>
                    <a:pt x="14" y="108"/>
                  </a:lnTo>
                  <a:lnTo>
                    <a:pt x="14" y="108"/>
                  </a:lnTo>
                  <a:lnTo>
                    <a:pt x="14" y="110"/>
                  </a:lnTo>
                  <a:lnTo>
                    <a:pt x="12" y="110"/>
                  </a:lnTo>
                  <a:lnTo>
                    <a:pt x="12" y="112"/>
                  </a:lnTo>
                  <a:lnTo>
                    <a:pt x="12" y="112"/>
                  </a:lnTo>
                  <a:lnTo>
                    <a:pt x="10" y="112"/>
                  </a:lnTo>
                  <a:lnTo>
                    <a:pt x="8" y="112"/>
                  </a:lnTo>
                  <a:lnTo>
                    <a:pt x="8" y="112"/>
                  </a:lnTo>
                  <a:lnTo>
                    <a:pt x="6" y="112"/>
                  </a:lnTo>
                  <a:lnTo>
                    <a:pt x="2" y="114"/>
                  </a:lnTo>
                  <a:lnTo>
                    <a:pt x="0" y="114"/>
                  </a:lnTo>
                  <a:lnTo>
                    <a:pt x="2" y="116"/>
                  </a:lnTo>
                  <a:lnTo>
                    <a:pt x="2" y="118"/>
                  </a:lnTo>
                  <a:lnTo>
                    <a:pt x="2" y="120"/>
                  </a:lnTo>
                  <a:lnTo>
                    <a:pt x="2" y="122"/>
                  </a:lnTo>
                  <a:lnTo>
                    <a:pt x="2" y="124"/>
                  </a:lnTo>
                  <a:lnTo>
                    <a:pt x="2" y="128"/>
                  </a:lnTo>
                  <a:lnTo>
                    <a:pt x="2" y="130"/>
                  </a:lnTo>
                  <a:lnTo>
                    <a:pt x="2" y="132"/>
                  </a:lnTo>
                  <a:lnTo>
                    <a:pt x="2" y="134"/>
                  </a:lnTo>
                  <a:lnTo>
                    <a:pt x="2" y="134"/>
                  </a:lnTo>
                  <a:lnTo>
                    <a:pt x="2" y="134"/>
                  </a:lnTo>
                  <a:lnTo>
                    <a:pt x="2" y="136"/>
                  </a:lnTo>
                  <a:lnTo>
                    <a:pt x="4" y="136"/>
                  </a:lnTo>
                  <a:lnTo>
                    <a:pt x="4" y="136"/>
                  </a:lnTo>
                  <a:lnTo>
                    <a:pt x="4" y="136"/>
                  </a:lnTo>
                  <a:lnTo>
                    <a:pt x="6" y="138"/>
                  </a:lnTo>
                  <a:lnTo>
                    <a:pt x="8" y="138"/>
                  </a:lnTo>
                  <a:lnTo>
                    <a:pt x="10" y="138"/>
                  </a:lnTo>
                  <a:lnTo>
                    <a:pt x="12" y="138"/>
                  </a:lnTo>
                  <a:lnTo>
                    <a:pt x="12" y="138"/>
                  </a:lnTo>
                  <a:lnTo>
                    <a:pt x="14" y="140"/>
                  </a:lnTo>
                  <a:lnTo>
                    <a:pt x="14" y="140"/>
                  </a:lnTo>
                  <a:lnTo>
                    <a:pt x="14" y="140"/>
                  </a:lnTo>
                  <a:lnTo>
                    <a:pt x="14" y="142"/>
                  </a:lnTo>
                  <a:lnTo>
                    <a:pt x="14" y="142"/>
                  </a:lnTo>
                  <a:lnTo>
                    <a:pt x="14" y="144"/>
                  </a:lnTo>
                  <a:lnTo>
                    <a:pt x="14" y="146"/>
                  </a:lnTo>
                  <a:lnTo>
                    <a:pt x="14" y="150"/>
                  </a:lnTo>
                  <a:lnTo>
                    <a:pt x="14" y="152"/>
                  </a:lnTo>
                  <a:lnTo>
                    <a:pt x="14" y="156"/>
                  </a:lnTo>
                  <a:lnTo>
                    <a:pt x="14" y="156"/>
                  </a:lnTo>
                  <a:lnTo>
                    <a:pt x="14" y="158"/>
                  </a:lnTo>
                  <a:lnTo>
                    <a:pt x="14" y="158"/>
                  </a:lnTo>
                  <a:lnTo>
                    <a:pt x="14" y="160"/>
                  </a:lnTo>
                  <a:lnTo>
                    <a:pt x="14" y="160"/>
                  </a:lnTo>
                  <a:lnTo>
                    <a:pt x="16" y="160"/>
                  </a:lnTo>
                  <a:lnTo>
                    <a:pt x="18" y="160"/>
                  </a:lnTo>
                  <a:lnTo>
                    <a:pt x="20" y="162"/>
                  </a:lnTo>
                  <a:lnTo>
                    <a:pt x="20" y="162"/>
                  </a:lnTo>
                  <a:lnTo>
                    <a:pt x="22" y="162"/>
                  </a:lnTo>
                  <a:lnTo>
                    <a:pt x="22" y="162"/>
                  </a:lnTo>
                  <a:lnTo>
                    <a:pt x="22" y="164"/>
                  </a:lnTo>
                  <a:lnTo>
                    <a:pt x="22" y="166"/>
                  </a:lnTo>
                  <a:lnTo>
                    <a:pt x="20" y="166"/>
                  </a:lnTo>
                  <a:lnTo>
                    <a:pt x="20" y="168"/>
                  </a:lnTo>
                  <a:lnTo>
                    <a:pt x="22" y="168"/>
                  </a:lnTo>
                  <a:lnTo>
                    <a:pt x="22" y="168"/>
                  </a:lnTo>
                  <a:lnTo>
                    <a:pt x="22" y="168"/>
                  </a:lnTo>
                  <a:lnTo>
                    <a:pt x="22" y="168"/>
                  </a:lnTo>
                  <a:lnTo>
                    <a:pt x="24" y="168"/>
                  </a:lnTo>
                  <a:lnTo>
                    <a:pt x="26" y="168"/>
                  </a:lnTo>
                  <a:lnTo>
                    <a:pt x="26" y="168"/>
                  </a:lnTo>
                  <a:lnTo>
                    <a:pt x="28" y="168"/>
                  </a:lnTo>
                  <a:lnTo>
                    <a:pt x="28" y="168"/>
                  </a:lnTo>
                  <a:lnTo>
                    <a:pt x="28" y="168"/>
                  </a:lnTo>
                  <a:lnTo>
                    <a:pt x="28" y="168"/>
                  </a:lnTo>
                  <a:lnTo>
                    <a:pt x="28" y="170"/>
                  </a:lnTo>
                  <a:lnTo>
                    <a:pt x="28" y="172"/>
                  </a:lnTo>
                  <a:lnTo>
                    <a:pt x="28" y="172"/>
                  </a:lnTo>
                  <a:lnTo>
                    <a:pt x="28" y="174"/>
                  </a:lnTo>
                  <a:lnTo>
                    <a:pt x="28" y="176"/>
                  </a:lnTo>
                  <a:lnTo>
                    <a:pt x="26" y="178"/>
                  </a:lnTo>
                  <a:lnTo>
                    <a:pt x="26" y="180"/>
                  </a:lnTo>
                  <a:lnTo>
                    <a:pt x="26" y="182"/>
                  </a:lnTo>
                  <a:lnTo>
                    <a:pt x="24" y="182"/>
                  </a:lnTo>
                  <a:lnTo>
                    <a:pt x="24" y="182"/>
                  </a:lnTo>
                  <a:lnTo>
                    <a:pt x="22" y="184"/>
                  </a:lnTo>
                  <a:lnTo>
                    <a:pt x="20" y="184"/>
                  </a:lnTo>
                  <a:lnTo>
                    <a:pt x="20" y="186"/>
                  </a:lnTo>
                  <a:lnTo>
                    <a:pt x="18" y="186"/>
                  </a:lnTo>
                  <a:lnTo>
                    <a:pt x="18" y="186"/>
                  </a:lnTo>
                  <a:lnTo>
                    <a:pt x="18" y="186"/>
                  </a:lnTo>
                  <a:lnTo>
                    <a:pt x="18" y="188"/>
                  </a:lnTo>
                  <a:lnTo>
                    <a:pt x="18" y="190"/>
                  </a:lnTo>
                  <a:lnTo>
                    <a:pt x="18" y="190"/>
                  </a:lnTo>
                  <a:lnTo>
                    <a:pt x="18" y="192"/>
                  </a:lnTo>
                  <a:lnTo>
                    <a:pt x="20" y="194"/>
                  </a:lnTo>
                  <a:lnTo>
                    <a:pt x="20" y="196"/>
                  </a:lnTo>
                  <a:lnTo>
                    <a:pt x="22" y="198"/>
                  </a:lnTo>
                  <a:lnTo>
                    <a:pt x="24" y="200"/>
                  </a:lnTo>
                  <a:lnTo>
                    <a:pt x="26" y="204"/>
                  </a:lnTo>
                  <a:lnTo>
                    <a:pt x="28" y="206"/>
                  </a:lnTo>
                  <a:lnTo>
                    <a:pt x="30" y="208"/>
                  </a:lnTo>
                  <a:lnTo>
                    <a:pt x="32" y="210"/>
                  </a:lnTo>
                  <a:lnTo>
                    <a:pt x="34" y="212"/>
                  </a:lnTo>
                  <a:lnTo>
                    <a:pt x="36" y="214"/>
                  </a:lnTo>
                  <a:lnTo>
                    <a:pt x="38" y="216"/>
                  </a:lnTo>
                  <a:lnTo>
                    <a:pt x="42" y="218"/>
                  </a:lnTo>
                  <a:lnTo>
                    <a:pt x="42" y="220"/>
                  </a:lnTo>
                  <a:lnTo>
                    <a:pt x="44" y="220"/>
                  </a:lnTo>
                  <a:lnTo>
                    <a:pt x="46" y="222"/>
                  </a:lnTo>
                  <a:lnTo>
                    <a:pt x="48" y="222"/>
                  </a:lnTo>
                  <a:lnTo>
                    <a:pt x="50" y="222"/>
                  </a:lnTo>
                  <a:lnTo>
                    <a:pt x="54" y="222"/>
                  </a:lnTo>
                  <a:lnTo>
                    <a:pt x="56" y="224"/>
                  </a:lnTo>
                  <a:lnTo>
                    <a:pt x="58" y="224"/>
                  </a:lnTo>
                  <a:lnTo>
                    <a:pt x="60" y="222"/>
                  </a:lnTo>
                  <a:lnTo>
                    <a:pt x="62" y="222"/>
                  </a:lnTo>
                  <a:lnTo>
                    <a:pt x="64" y="222"/>
                  </a:lnTo>
                  <a:lnTo>
                    <a:pt x="64" y="222"/>
                  </a:lnTo>
                  <a:lnTo>
                    <a:pt x="66" y="220"/>
                  </a:lnTo>
                  <a:lnTo>
                    <a:pt x="68" y="220"/>
                  </a:lnTo>
                  <a:lnTo>
                    <a:pt x="70" y="218"/>
                  </a:lnTo>
                  <a:lnTo>
                    <a:pt x="72" y="216"/>
                  </a:lnTo>
                  <a:lnTo>
                    <a:pt x="72" y="216"/>
                  </a:lnTo>
                  <a:lnTo>
                    <a:pt x="74" y="214"/>
                  </a:lnTo>
                  <a:lnTo>
                    <a:pt x="76" y="210"/>
                  </a:lnTo>
                  <a:lnTo>
                    <a:pt x="76" y="208"/>
                  </a:lnTo>
                  <a:lnTo>
                    <a:pt x="78" y="208"/>
                  </a:lnTo>
                  <a:lnTo>
                    <a:pt x="78" y="206"/>
                  </a:lnTo>
                  <a:lnTo>
                    <a:pt x="78" y="206"/>
                  </a:lnTo>
                  <a:lnTo>
                    <a:pt x="80" y="206"/>
                  </a:lnTo>
                  <a:lnTo>
                    <a:pt x="80" y="204"/>
                  </a:lnTo>
                  <a:lnTo>
                    <a:pt x="82" y="204"/>
                  </a:lnTo>
                  <a:lnTo>
                    <a:pt x="84" y="204"/>
                  </a:lnTo>
                  <a:lnTo>
                    <a:pt x="86" y="204"/>
                  </a:lnTo>
                  <a:lnTo>
                    <a:pt x="88" y="202"/>
                  </a:lnTo>
                  <a:lnTo>
                    <a:pt x="90" y="202"/>
                  </a:lnTo>
                  <a:lnTo>
                    <a:pt x="94" y="202"/>
                  </a:lnTo>
                  <a:lnTo>
                    <a:pt x="98" y="204"/>
                  </a:lnTo>
                  <a:lnTo>
                    <a:pt x="100" y="204"/>
                  </a:lnTo>
                  <a:lnTo>
                    <a:pt x="104" y="204"/>
                  </a:lnTo>
                  <a:lnTo>
                    <a:pt x="104" y="204"/>
                  </a:lnTo>
                  <a:lnTo>
                    <a:pt x="106" y="206"/>
                  </a:lnTo>
                  <a:lnTo>
                    <a:pt x="108" y="206"/>
                  </a:lnTo>
                  <a:lnTo>
                    <a:pt x="110" y="206"/>
                  </a:lnTo>
                  <a:lnTo>
                    <a:pt x="110" y="206"/>
                  </a:lnTo>
                  <a:lnTo>
                    <a:pt x="110" y="208"/>
                  </a:lnTo>
                  <a:lnTo>
                    <a:pt x="110" y="210"/>
                  </a:lnTo>
                  <a:lnTo>
                    <a:pt x="112" y="212"/>
                  </a:lnTo>
                  <a:lnTo>
                    <a:pt x="112" y="212"/>
                  </a:lnTo>
                  <a:lnTo>
                    <a:pt x="112" y="212"/>
                  </a:lnTo>
                  <a:lnTo>
                    <a:pt x="114" y="212"/>
                  </a:lnTo>
                  <a:lnTo>
                    <a:pt x="114" y="212"/>
                  </a:lnTo>
                  <a:lnTo>
                    <a:pt x="116" y="212"/>
                  </a:lnTo>
                  <a:lnTo>
                    <a:pt x="116" y="212"/>
                  </a:lnTo>
                  <a:lnTo>
                    <a:pt x="118" y="210"/>
                  </a:lnTo>
                  <a:lnTo>
                    <a:pt x="120" y="210"/>
                  </a:lnTo>
                  <a:lnTo>
                    <a:pt x="124" y="208"/>
                  </a:lnTo>
                  <a:lnTo>
                    <a:pt x="126" y="206"/>
                  </a:lnTo>
                  <a:lnTo>
                    <a:pt x="128" y="204"/>
                  </a:lnTo>
                  <a:lnTo>
                    <a:pt x="130" y="204"/>
                  </a:lnTo>
                  <a:lnTo>
                    <a:pt x="132" y="202"/>
                  </a:lnTo>
                  <a:lnTo>
                    <a:pt x="134" y="200"/>
                  </a:lnTo>
                  <a:lnTo>
                    <a:pt x="136" y="200"/>
                  </a:lnTo>
                  <a:lnTo>
                    <a:pt x="136" y="198"/>
                  </a:lnTo>
                  <a:lnTo>
                    <a:pt x="138" y="198"/>
                  </a:lnTo>
                  <a:lnTo>
                    <a:pt x="138" y="198"/>
                  </a:lnTo>
                  <a:lnTo>
                    <a:pt x="142" y="198"/>
                  </a:lnTo>
                  <a:lnTo>
                    <a:pt x="144" y="198"/>
                  </a:lnTo>
                  <a:lnTo>
                    <a:pt x="148" y="198"/>
                  </a:lnTo>
                  <a:lnTo>
                    <a:pt x="152" y="196"/>
                  </a:lnTo>
                  <a:lnTo>
                    <a:pt x="156" y="196"/>
                  </a:lnTo>
                  <a:lnTo>
                    <a:pt x="158" y="196"/>
                  </a:lnTo>
                  <a:lnTo>
                    <a:pt x="160" y="194"/>
                  </a:lnTo>
                  <a:lnTo>
                    <a:pt x="164" y="192"/>
                  </a:lnTo>
                  <a:lnTo>
                    <a:pt x="166" y="190"/>
                  </a:lnTo>
                  <a:lnTo>
                    <a:pt x="168" y="190"/>
                  </a:lnTo>
                  <a:lnTo>
                    <a:pt x="170" y="188"/>
                  </a:lnTo>
                  <a:lnTo>
                    <a:pt x="170" y="188"/>
                  </a:lnTo>
                  <a:lnTo>
                    <a:pt x="170" y="186"/>
                  </a:lnTo>
                  <a:lnTo>
                    <a:pt x="172" y="184"/>
                  </a:lnTo>
                  <a:lnTo>
                    <a:pt x="172" y="182"/>
                  </a:lnTo>
                  <a:lnTo>
                    <a:pt x="174" y="178"/>
                  </a:lnTo>
                  <a:lnTo>
                    <a:pt x="176" y="176"/>
                  </a:lnTo>
                  <a:lnTo>
                    <a:pt x="176" y="174"/>
                  </a:lnTo>
                  <a:lnTo>
                    <a:pt x="178" y="172"/>
                  </a:lnTo>
                  <a:lnTo>
                    <a:pt x="178" y="170"/>
                  </a:lnTo>
                  <a:lnTo>
                    <a:pt x="180" y="170"/>
                  </a:lnTo>
                  <a:lnTo>
                    <a:pt x="180" y="168"/>
                  </a:lnTo>
                  <a:lnTo>
                    <a:pt x="182" y="166"/>
                  </a:lnTo>
                  <a:lnTo>
                    <a:pt x="184" y="166"/>
                  </a:lnTo>
                  <a:lnTo>
                    <a:pt x="186" y="164"/>
                  </a:lnTo>
                  <a:lnTo>
                    <a:pt x="190" y="162"/>
                  </a:lnTo>
                  <a:lnTo>
                    <a:pt x="192" y="162"/>
                  </a:lnTo>
                  <a:lnTo>
                    <a:pt x="192" y="160"/>
                  </a:lnTo>
                  <a:lnTo>
                    <a:pt x="198" y="156"/>
                  </a:lnTo>
                  <a:lnTo>
                    <a:pt x="202" y="152"/>
                  </a:lnTo>
                  <a:lnTo>
                    <a:pt x="206" y="150"/>
                  </a:lnTo>
                  <a:lnTo>
                    <a:pt x="208" y="148"/>
                  </a:lnTo>
                  <a:lnTo>
                    <a:pt x="210" y="146"/>
                  </a:lnTo>
                  <a:lnTo>
                    <a:pt x="210" y="144"/>
                  </a:lnTo>
                  <a:lnTo>
                    <a:pt x="210" y="144"/>
                  </a:lnTo>
                  <a:lnTo>
                    <a:pt x="212" y="142"/>
                  </a:lnTo>
                  <a:lnTo>
                    <a:pt x="212" y="140"/>
                  </a:lnTo>
                  <a:lnTo>
                    <a:pt x="212" y="138"/>
                  </a:lnTo>
                  <a:lnTo>
                    <a:pt x="212" y="136"/>
                  </a:lnTo>
                  <a:lnTo>
                    <a:pt x="214" y="130"/>
                  </a:lnTo>
                  <a:lnTo>
                    <a:pt x="214" y="128"/>
                  </a:lnTo>
                  <a:lnTo>
                    <a:pt x="214" y="126"/>
                  </a:lnTo>
                  <a:lnTo>
                    <a:pt x="214" y="124"/>
                  </a:lnTo>
                  <a:lnTo>
                    <a:pt x="216" y="120"/>
                  </a:lnTo>
                  <a:lnTo>
                    <a:pt x="216" y="118"/>
                  </a:lnTo>
                  <a:lnTo>
                    <a:pt x="216" y="116"/>
                  </a:lnTo>
                  <a:lnTo>
                    <a:pt x="218" y="114"/>
                  </a:lnTo>
                  <a:lnTo>
                    <a:pt x="218" y="112"/>
                  </a:lnTo>
                  <a:lnTo>
                    <a:pt x="218" y="112"/>
                  </a:lnTo>
                  <a:lnTo>
                    <a:pt x="220" y="112"/>
                  </a:lnTo>
                  <a:lnTo>
                    <a:pt x="220" y="112"/>
                  </a:lnTo>
                  <a:lnTo>
                    <a:pt x="220" y="112"/>
                  </a:lnTo>
                  <a:lnTo>
                    <a:pt x="222" y="112"/>
                  </a:lnTo>
                  <a:lnTo>
                    <a:pt x="224" y="112"/>
                  </a:lnTo>
                  <a:lnTo>
                    <a:pt x="226" y="112"/>
                  </a:lnTo>
                  <a:lnTo>
                    <a:pt x="228" y="112"/>
                  </a:lnTo>
                  <a:lnTo>
                    <a:pt x="228" y="110"/>
                  </a:lnTo>
                  <a:lnTo>
                    <a:pt x="230" y="110"/>
                  </a:lnTo>
                  <a:lnTo>
                    <a:pt x="230" y="110"/>
                  </a:lnTo>
                  <a:lnTo>
                    <a:pt x="230" y="110"/>
                  </a:lnTo>
                  <a:lnTo>
                    <a:pt x="232" y="108"/>
                  </a:lnTo>
                  <a:lnTo>
                    <a:pt x="232" y="106"/>
                  </a:lnTo>
                  <a:lnTo>
                    <a:pt x="234" y="104"/>
                  </a:lnTo>
                  <a:lnTo>
                    <a:pt x="236" y="102"/>
                  </a:lnTo>
                  <a:lnTo>
                    <a:pt x="238" y="96"/>
                  </a:lnTo>
                  <a:lnTo>
                    <a:pt x="238" y="94"/>
                  </a:lnTo>
                  <a:lnTo>
                    <a:pt x="226" y="90"/>
                  </a:lnTo>
                  <a:lnTo>
                    <a:pt x="226" y="86"/>
                  </a:lnTo>
                  <a:lnTo>
                    <a:pt x="224" y="82"/>
                  </a:lnTo>
                  <a:lnTo>
                    <a:pt x="224" y="78"/>
                  </a:lnTo>
                  <a:lnTo>
                    <a:pt x="222" y="76"/>
                  </a:lnTo>
                  <a:lnTo>
                    <a:pt x="220" y="72"/>
                  </a:lnTo>
                  <a:lnTo>
                    <a:pt x="218" y="68"/>
                  </a:lnTo>
                  <a:lnTo>
                    <a:pt x="218" y="62"/>
                  </a:lnTo>
                  <a:lnTo>
                    <a:pt x="218" y="52"/>
                  </a:lnTo>
                  <a:lnTo>
                    <a:pt x="218" y="44"/>
                  </a:lnTo>
                  <a:lnTo>
                    <a:pt x="218" y="36"/>
                  </a:lnTo>
                  <a:lnTo>
                    <a:pt x="218"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1" name="Freeform 429"/>
            <p:cNvSpPr>
              <a:spLocks/>
            </p:cNvSpPr>
            <p:nvPr/>
          </p:nvSpPr>
          <p:spPr bwMode="auto">
            <a:xfrm>
              <a:off x="4671053" y="5290543"/>
              <a:ext cx="412234" cy="387985"/>
            </a:xfrm>
            <a:custGeom>
              <a:avLst/>
              <a:gdLst>
                <a:gd name="T0" fmla="*/ 204 w 238"/>
                <a:gd name="T1" fmla="*/ 10 h 224"/>
                <a:gd name="T2" fmla="*/ 200 w 238"/>
                <a:gd name="T3" fmla="*/ 6 h 224"/>
                <a:gd name="T4" fmla="*/ 186 w 238"/>
                <a:gd name="T5" fmla="*/ 8 h 224"/>
                <a:gd name="T6" fmla="*/ 176 w 238"/>
                <a:gd name="T7" fmla="*/ 16 h 224"/>
                <a:gd name="T8" fmla="*/ 166 w 238"/>
                <a:gd name="T9" fmla="*/ 26 h 224"/>
                <a:gd name="T10" fmla="*/ 156 w 238"/>
                <a:gd name="T11" fmla="*/ 32 h 224"/>
                <a:gd name="T12" fmla="*/ 154 w 238"/>
                <a:gd name="T13" fmla="*/ 44 h 224"/>
                <a:gd name="T14" fmla="*/ 146 w 238"/>
                <a:gd name="T15" fmla="*/ 46 h 224"/>
                <a:gd name="T16" fmla="*/ 140 w 238"/>
                <a:gd name="T17" fmla="*/ 54 h 224"/>
                <a:gd name="T18" fmla="*/ 130 w 238"/>
                <a:gd name="T19" fmla="*/ 64 h 224"/>
                <a:gd name="T20" fmla="*/ 118 w 238"/>
                <a:gd name="T21" fmla="*/ 66 h 224"/>
                <a:gd name="T22" fmla="*/ 108 w 238"/>
                <a:gd name="T23" fmla="*/ 60 h 224"/>
                <a:gd name="T24" fmla="*/ 98 w 238"/>
                <a:gd name="T25" fmla="*/ 60 h 224"/>
                <a:gd name="T26" fmla="*/ 92 w 238"/>
                <a:gd name="T27" fmla="*/ 70 h 224"/>
                <a:gd name="T28" fmla="*/ 86 w 238"/>
                <a:gd name="T29" fmla="*/ 80 h 224"/>
                <a:gd name="T30" fmla="*/ 72 w 238"/>
                <a:gd name="T31" fmla="*/ 82 h 224"/>
                <a:gd name="T32" fmla="*/ 60 w 238"/>
                <a:gd name="T33" fmla="*/ 76 h 224"/>
                <a:gd name="T34" fmla="*/ 58 w 238"/>
                <a:gd name="T35" fmla="*/ 62 h 224"/>
                <a:gd name="T36" fmla="*/ 52 w 238"/>
                <a:gd name="T37" fmla="*/ 88 h 224"/>
                <a:gd name="T38" fmla="*/ 50 w 238"/>
                <a:gd name="T39" fmla="*/ 112 h 224"/>
                <a:gd name="T40" fmla="*/ 42 w 238"/>
                <a:gd name="T41" fmla="*/ 120 h 224"/>
                <a:gd name="T42" fmla="*/ 26 w 238"/>
                <a:gd name="T43" fmla="*/ 122 h 224"/>
                <a:gd name="T44" fmla="*/ 18 w 238"/>
                <a:gd name="T45" fmla="*/ 114 h 224"/>
                <a:gd name="T46" fmla="*/ 14 w 238"/>
                <a:gd name="T47" fmla="*/ 108 h 224"/>
                <a:gd name="T48" fmla="*/ 10 w 238"/>
                <a:gd name="T49" fmla="*/ 112 h 224"/>
                <a:gd name="T50" fmla="*/ 2 w 238"/>
                <a:gd name="T51" fmla="*/ 118 h 224"/>
                <a:gd name="T52" fmla="*/ 2 w 238"/>
                <a:gd name="T53" fmla="*/ 134 h 224"/>
                <a:gd name="T54" fmla="*/ 6 w 238"/>
                <a:gd name="T55" fmla="*/ 138 h 224"/>
                <a:gd name="T56" fmla="*/ 14 w 238"/>
                <a:gd name="T57" fmla="*/ 140 h 224"/>
                <a:gd name="T58" fmla="*/ 14 w 238"/>
                <a:gd name="T59" fmla="*/ 156 h 224"/>
                <a:gd name="T60" fmla="*/ 18 w 238"/>
                <a:gd name="T61" fmla="*/ 160 h 224"/>
                <a:gd name="T62" fmla="*/ 20 w 238"/>
                <a:gd name="T63" fmla="*/ 166 h 224"/>
                <a:gd name="T64" fmla="*/ 26 w 238"/>
                <a:gd name="T65" fmla="*/ 168 h 224"/>
                <a:gd name="T66" fmla="*/ 28 w 238"/>
                <a:gd name="T67" fmla="*/ 172 h 224"/>
                <a:gd name="T68" fmla="*/ 24 w 238"/>
                <a:gd name="T69" fmla="*/ 182 h 224"/>
                <a:gd name="T70" fmla="*/ 18 w 238"/>
                <a:gd name="T71" fmla="*/ 186 h 224"/>
                <a:gd name="T72" fmla="*/ 22 w 238"/>
                <a:gd name="T73" fmla="*/ 198 h 224"/>
                <a:gd name="T74" fmla="*/ 36 w 238"/>
                <a:gd name="T75" fmla="*/ 214 h 224"/>
                <a:gd name="T76" fmla="*/ 50 w 238"/>
                <a:gd name="T77" fmla="*/ 222 h 224"/>
                <a:gd name="T78" fmla="*/ 64 w 238"/>
                <a:gd name="T79" fmla="*/ 222 h 224"/>
                <a:gd name="T80" fmla="*/ 76 w 238"/>
                <a:gd name="T81" fmla="*/ 210 h 224"/>
                <a:gd name="T82" fmla="*/ 82 w 238"/>
                <a:gd name="T83" fmla="*/ 204 h 224"/>
                <a:gd name="T84" fmla="*/ 100 w 238"/>
                <a:gd name="T85" fmla="*/ 204 h 224"/>
                <a:gd name="T86" fmla="*/ 110 w 238"/>
                <a:gd name="T87" fmla="*/ 208 h 224"/>
                <a:gd name="T88" fmla="*/ 116 w 238"/>
                <a:gd name="T89" fmla="*/ 212 h 224"/>
                <a:gd name="T90" fmla="*/ 130 w 238"/>
                <a:gd name="T91" fmla="*/ 204 h 224"/>
                <a:gd name="T92" fmla="*/ 142 w 238"/>
                <a:gd name="T93" fmla="*/ 198 h 224"/>
                <a:gd name="T94" fmla="*/ 164 w 238"/>
                <a:gd name="T95" fmla="*/ 192 h 224"/>
                <a:gd name="T96" fmla="*/ 172 w 238"/>
                <a:gd name="T97" fmla="*/ 182 h 224"/>
                <a:gd name="T98" fmla="*/ 180 w 238"/>
                <a:gd name="T99" fmla="*/ 168 h 224"/>
                <a:gd name="T100" fmla="*/ 198 w 238"/>
                <a:gd name="T101" fmla="*/ 156 h 224"/>
                <a:gd name="T102" fmla="*/ 212 w 238"/>
                <a:gd name="T103" fmla="*/ 142 h 224"/>
                <a:gd name="T104" fmla="*/ 214 w 238"/>
                <a:gd name="T105" fmla="*/ 124 h 224"/>
                <a:gd name="T106" fmla="*/ 220 w 238"/>
                <a:gd name="T107" fmla="*/ 112 h 224"/>
                <a:gd name="T108" fmla="*/ 228 w 238"/>
                <a:gd name="T109" fmla="*/ 110 h 224"/>
                <a:gd name="T110" fmla="*/ 236 w 238"/>
                <a:gd name="T111" fmla="*/ 102 h 224"/>
                <a:gd name="T112" fmla="*/ 222 w 238"/>
                <a:gd name="T113" fmla="*/ 76 h 224"/>
                <a:gd name="T114" fmla="*/ 218 w 238"/>
                <a:gd name="T115" fmla="*/ 1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4">
                  <a:moveTo>
                    <a:pt x="218" y="10"/>
                  </a:moveTo>
                  <a:lnTo>
                    <a:pt x="218" y="10"/>
                  </a:lnTo>
                  <a:lnTo>
                    <a:pt x="216" y="10"/>
                  </a:lnTo>
                  <a:lnTo>
                    <a:pt x="212" y="10"/>
                  </a:lnTo>
                  <a:lnTo>
                    <a:pt x="210" y="10"/>
                  </a:lnTo>
                  <a:lnTo>
                    <a:pt x="206" y="10"/>
                  </a:lnTo>
                  <a:lnTo>
                    <a:pt x="204" y="10"/>
                  </a:lnTo>
                  <a:lnTo>
                    <a:pt x="204" y="10"/>
                  </a:lnTo>
                  <a:lnTo>
                    <a:pt x="202" y="10"/>
                  </a:lnTo>
                  <a:lnTo>
                    <a:pt x="202" y="10"/>
                  </a:lnTo>
                  <a:lnTo>
                    <a:pt x="202" y="10"/>
                  </a:lnTo>
                  <a:lnTo>
                    <a:pt x="200" y="8"/>
                  </a:lnTo>
                  <a:lnTo>
                    <a:pt x="200" y="6"/>
                  </a:lnTo>
                  <a:lnTo>
                    <a:pt x="200" y="6"/>
                  </a:lnTo>
                  <a:lnTo>
                    <a:pt x="198" y="6"/>
                  </a:lnTo>
                  <a:lnTo>
                    <a:pt x="198" y="4"/>
                  </a:lnTo>
                  <a:lnTo>
                    <a:pt x="196" y="4"/>
                  </a:lnTo>
                  <a:lnTo>
                    <a:pt x="194" y="2"/>
                  </a:lnTo>
                  <a:lnTo>
                    <a:pt x="190" y="0"/>
                  </a:lnTo>
                  <a:lnTo>
                    <a:pt x="188" y="4"/>
                  </a:lnTo>
                  <a:lnTo>
                    <a:pt x="186" y="8"/>
                  </a:lnTo>
                  <a:lnTo>
                    <a:pt x="186" y="8"/>
                  </a:lnTo>
                  <a:lnTo>
                    <a:pt x="186" y="10"/>
                  </a:lnTo>
                  <a:lnTo>
                    <a:pt x="184" y="10"/>
                  </a:lnTo>
                  <a:lnTo>
                    <a:pt x="184" y="12"/>
                  </a:lnTo>
                  <a:lnTo>
                    <a:pt x="182" y="14"/>
                  </a:lnTo>
                  <a:lnTo>
                    <a:pt x="178" y="14"/>
                  </a:lnTo>
                  <a:lnTo>
                    <a:pt x="176" y="16"/>
                  </a:lnTo>
                  <a:lnTo>
                    <a:pt x="174" y="18"/>
                  </a:lnTo>
                  <a:lnTo>
                    <a:pt x="172" y="20"/>
                  </a:lnTo>
                  <a:lnTo>
                    <a:pt x="170" y="24"/>
                  </a:lnTo>
                  <a:lnTo>
                    <a:pt x="170" y="24"/>
                  </a:lnTo>
                  <a:lnTo>
                    <a:pt x="168" y="26"/>
                  </a:lnTo>
                  <a:lnTo>
                    <a:pt x="168" y="26"/>
                  </a:lnTo>
                  <a:lnTo>
                    <a:pt x="166" y="26"/>
                  </a:lnTo>
                  <a:lnTo>
                    <a:pt x="162" y="28"/>
                  </a:lnTo>
                  <a:lnTo>
                    <a:pt x="160" y="28"/>
                  </a:lnTo>
                  <a:lnTo>
                    <a:pt x="160" y="30"/>
                  </a:lnTo>
                  <a:lnTo>
                    <a:pt x="158" y="30"/>
                  </a:lnTo>
                  <a:lnTo>
                    <a:pt x="158" y="30"/>
                  </a:lnTo>
                  <a:lnTo>
                    <a:pt x="156" y="32"/>
                  </a:lnTo>
                  <a:lnTo>
                    <a:pt x="156" y="32"/>
                  </a:lnTo>
                  <a:lnTo>
                    <a:pt x="156" y="34"/>
                  </a:lnTo>
                  <a:lnTo>
                    <a:pt x="156" y="36"/>
                  </a:lnTo>
                  <a:lnTo>
                    <a:pt x="156" y="38"/>
                  </a:lnTo>
                  <a:lnTo>
                    <a:pt x="156" y="40"/>
                  </a:lnTo>
                  <a:lnTo>
                    <a:pt x="154" y="42"/>
                  </a:lnTo>
                  <a:lnTo>
                    <a:pt x="154" y="44"/>
                  </a:lnTo>
                  <a:lnTo>
                    <a:pt x="154" y="44"/>
                  </a:lnTo>
                  <a:lnTo>
                    <a:pt x="154" y="46"/>
                  </a:lnTo>
                  <a:lnTo>
                    <a:pt x="152" y="46"/>
                  </a:lnTo>
                  <a:lnTo>
                    <a:pt x="152" y="46"/>
                  </a:lnTo>
                  <a:lnTo>
                    <a:pt x="152" y="46"/>
                  </a:lnTo>
                  <a:lnTo>
                    <a:pt x="150" y="46"/>
                  </a:lnTo>
                  <a:lnTo>
                    <a:pt x="148" y="46"/>
                  </a:lnTo>
                  <a:lnTo>
                    <a:pt x="146" y="46"/>
                  </a:lnTo>
                  <a:lnTo>
                    <a:pt x="144" y="48"/>
                  </a:lnTo>
                  <a:lnTo>
                    <a:pt x="144" y="48"/>
                  </a:lnTo>
                  <a:lnTo>
                    <a:pt x="144" y="48"/>
                  </a:lnTo>
                  <a:lnTo>
                    <a:pt x="142" y="50"/>
                  </a:lnTo>
                  <a:lnTo>
                    <a:pt x="142" y="50"/>
                  </a:lnTo>
                  <a:lnTo>
                    <a:pt x="140" y="52"/>
                  </a:lnTo>
                  <a:lnTo>
                    <a:pt x="140" y="54"/>
                  </a:lnTo>
                  <a:lnTo>
                    <a:pt x="138" y="56"/>
                  </a:lnTo>
                  <a:lnTo>
                    <a:pt x="138" y="56"/>
                  </a:lnTo>
                  <a:lnTo>
                    <a:pt x="136" y="60"/>
                  </a:lnTo>
                  <a:lnTo>
                    <a:pt x="134" y="62"/>
                  </a:lnTo>
                  <a:lnTo>
                    <a:pt x="134" y="62"/>
                  </a:lnTo>
                  <a:lnTo>
                    <a:pt x="132" y="64"/>
                  </a:lnTo>
                  <a:lnTo>
                    <a:pt x="130" y="64"/>
                  </a:lnTo>
                  <a:lnTo>
                    <a:pt x="130" y="66"/>
                  </a:lnTo>
                  <a:lnTo>
                    <a:pt x="128" y="66"/>
                  </a:lnTo>
                  <a:lnTo>
                    <a:pt x="126" y="66"/>
                  </a:lnTo>
                  <a:lnTo>
                    <a:pt x="124" y="66"/>
                  </a:lnTo>
                  <a:lnTo>
                    <a:pt x="122" y="66"/>
                  </a:lnTo>
                  <a:lnTo>
                    <a:pt x="120" y="66"/>
                  </a:lnTo>
                  <a:lnTo>
                    <a:pt x="118" y="66"/>
                  </a:lnTo>
                  <a:lnTo>
                    <a:pt x="118" y="66"/>
                  </a:lnTo>
                  <a:lnTo>
                    <a:pt x="116" y="66"/>
                  </a:lnTo>
                  <a:lnTo>
                    <a:pt x="114" y="66"/>
                  </a:lnTo>
                  <a:lnTo>
                    <a:pt x="114" y="64"/>
                  </a:lnTo>
                  <a:lnTo>
                    <a:pt x="110" y="62"/>
                  </a:lnTo>
                  <a:lnTo>
                    <a:pt x="108" y="62"/>
                  </a:lnTo>
                  <a:lnTo>
                    <a:pt x="108" y="60"/>
                  </a:lnTo>
                  <a:lnTo>
                    <a:pt x="106" y="60"/>
                  </a:lnTo>
                  <a:lnTo>
                    <a:pt x="104" y="60"/>
                  </a:lnTo>
                  <a:lnTo>
                    <a:pt x="102" y="60"/>
                  </a:lnTo>
                  <a:lnTo>
                    <a:pt x="100" y="60"/>
                  </a:lnTo>
                  <a:lnTo>
                    <a:pt x="98" y="60"/>
                  </a:lnTo>
                  <a:lnTo>
                    <a:pt x="98" y="60"/>
                  </a:lnTo>
                  <a:lnTo>
                    <a:pt x="98" y="60"/>
                  </a:lnTo>
                  <a:lnTo>
                    <a:pt x="96" y="62"/>
                  </a:lnTo>
                  <a:lnTo>
                    <a:pt x="96" y="62"/>
                  </a:lnTo>
                  <a:lnTo>
                    <a:pt x="96" y="64"/>
                  </a:lnTo>
                  <a:lnTo>
                    <a:pt x="94" y="66"/>
                  </a:lnTo>
                  <a:lnTo>
                    <a:pt x="92" y="68"/>
                  </a:lnTo>
                  <a:lnTo>
                    <a:pt x="92" y="68"/>
                  </a:lnTo>
                  <a:lnTo>
                    <a:pt x="92" y="70"/>
                  </a:lnTo>
                  <a:lnTo>
                    <a:pt x="92" y="72"/>
                  </a:lnTo>
                  <a:lnTo>
                    <a:pt x="90" y="74"/>
                  </a:lnTo>
                  <a:lnTo>
                    <a:pt x="90" y="76"/>
                  </a:lnTo>
                  <a:lnTo>
                    <a:pt x="90" y="76"/>
                  </a:lnTo>
                  <a:lnTo>
                    <a:pt x="88" y="78"/>
                  </a:lnTo>
                  <a:lnTo>
                    <a:pt x="88" y="78"/>
                  </a:lnTo>
                  <a:lnTo>
                    <a:pt x="86" y="80"/>
                  </a:lnTo>
                  <a:lnTo>
                    <a:pt x="84" y="82"/>
                  </a:lnTo>
                  <a:lnTo>
                    <a:pt x="82" y="82"/>
                  </a:lnTo>
                  <a:lnTo>
                    <a:pt x="82" y="82"/>
                  </a:lnTo>
                  <a:lnTo>
                    <a:pt x="80" y="82"/>
                  </a:lnTo>
                  <a:lnTo>
                    <a:pt x="76" y="82"/>
                  </a:lnTo>
                  <a:lnTo>
                    <a:pt x="74" y="82"/>
                  </a:lnTo>
                  <a:lnTo>
                    <a:pt x="72" y="82"/>
                  </a:lnTo>
                  <a:lnTo>
                    <a:pt x="68" y="80"/>
                  </a:lnTo>
                  <a:lnTo>
                    <a:pt x="66" y="80"/>
                  </a:lnTo>
                  <a:lnTo>
                    <a:pt x="64" y="78"/>
                  </a:lnTo>
                  <a:lnTo>
                    <a:pt x="62" y="78"/>
                  </a:lnTo>
                  <a:lnTo>
                    <a:pt x="62" y="78"/>
                  </a:lnTo>
                  <a:lnTo>
                    <a:pt x="62" y="78"/>
                  </a:lnTo>
                  <a:lnTo>
                    <a:pt x="60" y="76"/>
                  </a:lnTo>
                  <a:lnTo>
                    <a:pt x="60" y="74"/>
                  </a:lnTo>
                  <a:lnTo>
                    <a:pt x="60" y="72"/>
                  </a:lnTo>
                  <a:lnTo>
                    <a:pt x="60" y="70"/>
                  </a:lnTo>
                  <a:lnTo>
                    <a:pt x="58" y="66"/>
                  </a:lnTo>
                  <a:lnTo>
                    <a:pt x="58" y="64"/>
                  </a:lnTo>
                  <a:lnTo>
                    <a:pt x="58" y="62"/>
                  </a:lnTo>
                  <a:lnTo>
                    <a:pt x="58" y="62"/>
                  </a:lnTo>
                  <a:lnTo>
                    <a:pt x="56" y="60"/>
                  </a:lnTo>
                  <a:lnTo>
                    <a:pt x="56" y="58"/>
                  </a:lnTo>
                  <a:lnTo>
                    <a:pt x="52" y="56"/>
                  </a:lnTo>
                  <a:lnTo>
                    <a:pt x="52" y="62"/>
                  </a:lnTo>
                  <a:lnTo>
                    <a:pt x="54" y="70"/>
                  </a:lnTo>
                  <a:lnTo>
                    <a:pt x="54" y="80"/>
                  </a:lnTo>
                  <a:lnTo>
                    <a:pt x="52" y="88"/>
                  </a:lnTo>
                  <a:lnTo>
                    <a:pt x="52" y="94"/>
                  </a:lnTo>
                  <a:lnTo>
                    <a:pt x="52" y="98"/>
                  </a:lnTo>
                  <a:lnTo>
                    <a:pt x="52" y="102"/>
                  </a:lnTo>
                  <a:lnTo>
                    <a:pt x="50" y="106"/>
                  </a:lnTo>
                  <a:lnTo>
                    <a:pt x="50" y="110"/>
                  </a:lnTo>
                  <a:lnTo>
                    <a:pt x="50" y="112"/>
                  </a:lnTo>
                  <a:lnTo>
                    <a:pt x="50" y="112"/>
                  </a:lnTo>
                  <a:lnTo>
                    <a:pt x="48" y="114"/>
                  </a:lnTo>
                  <a:lnTo>
                    <a:pt x="48" y="116"/>
                  </a:lnTo>
                  <a:lnTo>
                    <a:pt x="46" y="116"/>
                  </a:lnTo>
                  <a:lnTo>
                    <a:pt x="46" y="118"/>
                  </a:lnTo>
                  <a:lnTo>
                    <a:pt x="44" y="118"/>
                  </a:lnTo>
                  <a:lnTo>
                    <a:pt x="42" y="120"/>
                  </a:lnTo>
                  <a:lnTo>
                    <a:pt x="42" y="120"/>
                  </a:lnTo>
                  <a:lnTo>
                    <a:pt x="40" y="122"/>
                  </a:lnTo>
                  <a:lnTo>
                    <a:pt x="38" y="122"/>
                  </a:lnTo>
                  <a:lnTo>
                    <a:pt x="36" y="122"/>
                  </a:lnTo>
                  <a:lnTo>
                    <a:pt x="34" y="122"/>
                  </a:lnTo>
                  <a:lnTo>
                    <a:pt x="30" y="122"/>
                  </a:lnTo>
                  <a:lnTo>
                    <a:pt x="28" y="122"/>
                  </a:lnTo>
                  <a:lnTo>
                    <a:pt x="26" y="122"/>
                  </a:lnTo>
                  <a:lnTo>
                    <a:pt x="24" y="120"/>
                  </a:lnTo>
                  <a:lnTo>
                    <a:pt x="22" y="120"/>
                  </a:lnTo>
                  <a:lnTo>
                    <a:pt x="22" y="120"/>
                  </a:lnTo>
                  <a:lnTo>
                    <a:pt x="20" y="118"/>
                  </a:lnTo>
                  <a:lnTo>
                    <a:pt x="20" y="118"/>
                  </a:lnTo>
                  <a:lnTo>
                    <a:pt x="20" y="116"/>
                  </a:lnTo>
                  <a:lnTo>
                    <a:pt x="18" y="114"/>
                  </a:lnTo>
                  <a:lnTo>
                    <a:pt x="18" y="112"/>
                  </a:lnTo>
                  <a:lnTo>
                    <a:pt x="18" y="110"/>
                  </a:lnTo>
                  <a:lnTo>
                    <a:pt x="16" y="110"/>
                  </a:lnTo>
                  <a:lnTo>
                    <a:pt x="16" y="108"/>
                  </a:lnTo>
                  <a:lnTo>
                    <a:pt x="16" y="108"/>
                  </a:lnTo>
                  <a:lnTo>
                    <a:pt x="16" y="108"/>
                  </a:lnTo>
                  <a:lnTo>
                    <a:pt x="14" y="108"/>
                  </a:lnTo>
                  <a:lnTo>
                    <a:pt x="14" y="108"/>
                  </a:lnTo>
                  <a:lnTo>
                    <a:pt x="14" y="108"/>
                  </a:lnTo>
                  <a:lnTo>
                    <a:pt x="14" y="110"/>
                  </a:lnTo>
                  <a:lnTo>
                    <a:pt x="12" y="110"/>
                  </a:lnTo>
                  <a:lnTo>
                    <a:pt x="12" y="112"/>
                  </a:lnTo>
                  <a:lnTo>
                    <a:pt x="12" y="112"/>
                  </a:lnTo>
                  <a:lnTo>
                    <a:pt x="10" y="112"/>
                  </a:lnTo>
                  <a:lnTo>
                    <a:pt x="8" y="112"/>
                  </a:lnTo>
                  <a:lnTo>
                    <a:pt x="8" y="112"/>
                  </a:lnTo>
                  <a:lnTo>
                    <a:pt x="6" y="112"/>
                  </a:lnTo>
                  <a:lnTo>
                    <a:pt x="2" y="114"/>
                  </a:lnTo>
                  <a:lnTo>
                    <a:pt x="0" y="114"/>
                  </a:lnTo>
                  <a:lnTo>
                    <a:pt x="2" y="116"/>
                  </a:lnTo>
                  <a:lnTo>
                    <a:pt x="2" y="118"/>
                  </a:lnTo>
                  <a:lnTo>
                    <a:pt x="2" y="120"/>
                  </a:lnTo>
                  <a:lnTo>
                    <a:pt x="2" y="122"/>
                  </a:lnTo>
                  <a:lnTo>
                    <a:pt x="2" y="124"/>
                  </a:lnTo>
                  <a:lnTo>
                    <a:pt x="2" y="128"/>
                  </a:lnTo>
                  <a:lnTo>
                    <a:pt x="2" y="130"/>
                  </a:lnTo>
                  <a:lnTo>
                    <a:pt x="2" y="132"/>
                  </a:lnTo>
                  <a:lnTo>
                    <a:pt x="2" y="134"/>
                  </a:lnTo>
                  <a:lnTo>
                    <a:pt x="2" y="134"/>
                  </a:lnTo>
                  <a:lnTo>
                    <a:pt x="2" y="134"/>
                  </a:lnTo>
                  <a:lnTo>
                    <a:pt x="2" y="136"/>
                  </a:lnTo>
                  <a:lnTo>
                    <a:pt x="4" y="136"/>
                  </a:lnTo>
                  <a:lnTo>
                    <a:pt x="4" y="136"/>
                  </a:lnTo>
                  <a:lnTo>
                    <a:pt x="4" y="136"/>
                  </a:lnTo>
                  <a:lnTo>
                    <a:pt x="6" y="138"/>
                  </a:lnTo>
                  <a:lnTo>
                    <a:pt x="8" y="138"/>
                  </a:lnTo>
                  <a:lnTo>
                    <a:pt x="10" y="138"/>
                  </a:lnTo>
                  <a:lnTo>
                    <a:pt x="12" y="138"/>
                  </a:lnTo>
                  <a:lnTo>
                    <a:pt x="12" y="138"/>
                  </a:lnTo>
                  <a:lnTo>
                    <a:pt x="14" y="140"/>
                  </a:lnTo>
                  <a:lnTo>
                    <a:pt x="14" y="140"/>
                  </a:lnTo>
                  <a:lnTo>
                    <a:pt x="14" y="140"/>
                  </a:lnTo>
                  <a:lnTo>
                    <a:pt x="14" y="142"/>
                  </a:lnTo>
                  <a:lnTo>
                    <a:pt x="14" y="142"/>
                  </a:lnTo>
                  <a:lnTo>
                    <a:pt x="14" y="144"/>
                  </a:lnTo>
                  <a:lnTo>
                    <a:pt x="14" y="146"/>
                  </a:lnTo>
                  <a:lnTo>
                    <a:pt x="14" y="150"/>
                  </a:lnTo>
                  <a:lnTo>
                    <a:pt x="14" y="152"/>
                  </a:lnTo>
                  <a:lnTo>
                    <a:pt x="14" y="156"/>
                  </a:lnTo>
                  <a:lnTo>
                    <a:pt x="14" y="156"/>
                  </a:lnTo>
                  <a:lnTo>
                    <a:pt x="14" y="158"/>
                  </a:lnTo>
                  <a:lnTo>
                    <a:pt x="14" y="158"/>
                  </a:lnTo>
                  <a:lnTo>
                    <a:pt x="14" y="160"/>
                  </a:lnTo>
                  <a:lnTo>
                    <a:pt x="14" y="160"/>
                  </a:lnTo>
                  <a:lnTo>
                    <a:pt x="16" y="160"/>
                  </a:lnTo>
                  <a:lnTo>
                    <a:pt x="18" y="160"/>
                  </a:lnTo>
                  <a:lnTo>
                    <a:pt x="20" y="162"/>
                  </a:lnTo>
                  <a:lnTo>
                    <a:pt x="20" y="162"/>
                  </a:lnTo>
                  <a:lnTo>
                    <a:pt x="22" y="162"/>
                  </a:lnTo>
                  <a:lnTo>
                    <a:pt x="22" y="162"/>
                  </a:lnTo>
                  <a:lnTo>
                    <a:pt x="22" y="164"/>
                  </a:lnTo>
                  <a:lnTo>
                    <a:pt x="22" y="166"/>
                  </a:lnTo>
                  <a:lnTo>
                    <a:pt x="20" y="166"/>
                  </a:lnTo>
                  <a:lnTo>
                    <a:pt x="20" y="168"/>
                  </a:lnTo>
                  <a:lnTo>
                    <a:pt x="22" y="168"/>
                  </a:lnTo>
                  <a:lnTo>
                    <a:pt x="22" y="168"/>
                  </a:lnTo>
                  <a:lnTo>
                    <a:pt x="22" y="168"/>
                  </a:lnTo>
                  <a:lnTo>
                    <a:pt x="22" y="168"/>
                  </a:lnTo>
                  <a:lnTo>
                    <a:pt x="24" y="168"/>
                  </a:lnTo>
                  <a:lnTo>
                    <a:pt x="26" y="168"/>
                  </a:lnTo>
                  <a:lnTo>
                    <a:pt x="26" y="168"/>
                  </a:lnTo>
                  <a:lnTo>
                    <a:pt x="28" y="168"/>
                  </a:lnTo>
                  <a:lnTo>
                    <a:pt x="28" y="168"/>
                  </a:lnTo>
                  <a:lnTo>
                    <a:pt x="28" y="168"/>
                  </a:lnTo>
                  <a:lnTo>
                    <a:pt x="28" y="168"/>
                  </a:lnTo>
                  <a:lnTo>
                    <a:pt x="28" y="170"/>
                  </a:lnTo>
                  <a:lnTo>
                    <a:pt x="28" y="172"/>
                  </a:lnTo>
                  <a:lnTo>
                    <a:pt x="28" y="172"/>
                  </a:lnTo>
                  <a:lnTo>
                    <a:pt x="28" y="174"/>
                  </a:lnTo>
                  <a:lnTo>
                    <a:pt x="28" y="176"/>
                  </a:lnTo>
                  <a:lnTo>
                    <a:pt x="26" y="178"/>
                  </a:lnTo>
                  <a:lnTo>
                    <a:pt x="26" y="180"/>
                  </a:lnTo>
                  <a:lnTo>
                    <a:pt x="26" y="182"/>
                  </a:lnTo>
                  <a:lnTo>
                    <a:pt x="24" y="182"/>
                  </a:lnTo>
                  <a:lnTo>
                    <a:pt x="24" y="182"/>
                  </a:lnTo>
                  <a:lnTo>
                    <a:pt x="22" y="184"/>
                  </a:lnTo>
                  <a:lnTo>
                    <a:pt x="20" y="184"/>
                  </a:lnTo>
                  <a:lnTo>
                    <a:pt x="20" y="186"/>
                  </a:lnTo>
                  <a:lnTo>
                    <a:pt x="18" y="186"/>
                  </a:lnTo>
                  <a:lnTo>
                    <a:pt x="18" y="186"/>
                  </a:lnTo>
                  <a:lnTo>
                    <a:pt x="18" y="186"/>
                  </a:lnTo>
                  <a:lnTo>
                    <a:pt x="18" y="188"/>
                  </a:lnTo>
                  <a:lnTo>
                    <a:pt x="18" y="190"/>
                  </a:lnTo>
                  <a:lnTo>
                    <a:pt x="18" y="190"/>
                  </a:lnTo>
                  <a:lnTo>
                    <a:pt x="18" y="192"/>
                  </a:lnTo>
                  <a:lnTo>
                    <a:pt x="20" y="194"/>
                  </a:lnTo>
                  <a:lnTo>
                    <a:pt x="20" y="196"/>
                  </a:lnTo>
                  <a:lnTo>
                    <a:pt x="22" y="198"/>
                  </a:lnTo>
                  <a:lnTo>
                    <a:pt x="24" y="200"/>
                  </a:lnTo>
                  <a:lnTo>
                    <a:pt x="26" y="204"/>
                  </a:lnTo>
                  <a:lnTo>
                    <a:pt x="28" y="206"/>
                  </a:lnTo>
                  <a:lnTo>
                    <a:pt x="30" y="208"/>
                  </a:lnTo>
                  <a:lnTo>
                    <a:pt x="32" y="210"/>
                  </a:lnTo>
                  <a:lnTo>
                    <a:pt x="34" y="212"/>
                  </a:lnTo>
                  <a:lnTo>
                    <a:pt x="36" y="214"/>
                  </a:lnTo>
                  <a:lnTo>
                    <a:pt x="38" y="216"/>
                  </a:lnTo>
                  <a:lnTo>
                    <a:pt x="42" y="218"/>
                  </a:lnTo>
                  <a:lnTo>
                    <a:pt x="42" y="220"/>
                  </a:lnTo>
                  <a:lnTo>
                    <a:pt x="44" y="220"/>
                  </a:lnTo>
                  <a:lnTo>
                    <a:pt x="46" y="222"/>
                  </a:lnTo>
                  <a:lnTo>
                    <a:pt x="48" y="222"/>
                  </a:lnTo>
                  <a:lnTo>
                    <a:pt x="50" y="222"/>
                  </a:lnTo>
                  <a:lnTo>
                    <a:pt x="54" y="222"/>
                  </a:lnTo>
                  <a:lnTo>
                    <a:pt x="56" y="224"/>
                  </a:lnTo>
                  <a:lnTo>
                    <a:pt x="58" y="224"/>
                  </a:lnTo>
                  <a:lnTo>
                    <a:pt x="60" y="222"/>
                  </a:lnTo>
                  <a:lnTo>
                    <a:pt x="62" y="222"/>
                  </a:lnTo>
                  <a:lnTo>
                    <a:pt x="64" y="222"/>
                  </a:lnTo>
                  <a:lnTo>
                    <a:pt x="64" y="222"/>
                  </a:lnTo>
                  <a:lnTo>
                    <a:pt x="66" y="220"/>
                  </a:lnTo>
                  <a:lnTo>
                    <a:pt x="68" y="220"/>
                  </a:lnTo>
                  <a:lnTo>
                    <a:pt x="70" y="218"/>
                  </a:lnTo>
                  <a:lnTo>
                    <a:pt x="72" y="216"/>
                  </a:lnTo>
                  <a:lnTo>
                    <a:pt x="72" y="216"/>
                  </a:lnTo>
                  <a:lnTo>
                    <a:pt x="74" y="214"/>
                  </a:lnTo>
                  <a:lnTo>
                    <a:pt x="76" y="210"/>
                  </a:lnTo>
                  <a:lnTo>
                    <a:pt x="76" y="208"/>
                  </a:lnTo>
                  <a:lnTo>
                    <a:pt x="78" y="208"/>
                  </a:lnTo>
                  <a:lnTo>
                    <a:pt x="78" y="206"/>
                  </a:lnTo>
                  <a:lnTo>
                    <a:pt x="78" y="206"/>
                  </a:lnTo>
                  <a:lnTo>
                    <a:pt x="80" y="206"/>
                  </a:lnTo>
                  <a:lnTo>
                    <a:pt x="80" y="204"/>
                  </a:lnTo>
                  <a:lnTo>
                    <a:pt x="82" y="204"/>
                  </a:lnTo>
                  <a:lnTo>
                    <a:pt x="84" y="204"/>
                  </a:lnTo>
                  <a:lnTo>
                    <a:pt x="86" y="204"/>
                  </a:lnTo>
                  <a:lnTo>
                    <a:pt x="88" y="202"/>
                  </a:lnTo>
                  <a:lnTo>
                    <a:pt x="90" y="202"/>
                  </a:lnTo>
                  <a:lnTo>
                    <a:pt x="94" y="202"/>
                  </a:lnTo>
                  <a:lnTo>
                    <a:pt x="98" y="204"/>
                  </a:lnTo>
                  <a:lnTo>
                    <a:pt x="100" y="204"/>
                  </a:lnTo>
                  <a:lnTo>
                    <a:pt x="104" y="204"/>
                  </a:lnTo>
                  <a:lnTo>
                    <a:pt x="104" y="204"/>
                  </a:lnTo>
                  <a:lnTo>
                    <a:pt x="106" y="206"/>
                  </a:lnTo>
                  <a:lnTo>
                    <a:pt x="108" y="206"/>
                  </a:lnTo>
                  <a:lnTo>
                    <a:pt x="110" y="206"/>
                  </a:lnTo>
                  <a:lnTo>
                    <a:pt x="110" y="206"/>
                  </a:lnTo>
                  <a:lnTo>
                    <a:pt x="110" y="208"/>
                  </a:lnTo>
                  <a:lnTo>
                    <a:pt x="110" y="210"/>
                  </a:lnTo>
                  <a:lnTo>
                    <a:pt x="112" y="212"/>
                  </a:lnTo>
                  <a:lnTo>
                    <a:pt x="112" y="212"/>
                  </a:lnTo>
                  <a:lnTo>
                    <a:pt x="112" y="212"/>
                  </a:lnTo>
                  <a:lnTo>
                    <a:pt x="114" y="212"/>
                  </a:lnTo>
                  <a:lnTo>
                    <a:pt x="114" y="212"/>
                  </a:lnTo>
                  <a:lnTo>
                    <a:pt x="116" y="212"/>
                  </a:lnTo>
                  <a:lnTo>
                    <a:pt x="116" y="212"/>
                  </a:lnTo>
                  <a:lnTo>
                    <a:pt x="118" y="210"/>
                  </a:lnTo>
                  <a:lnTo>
                    <a:pt x="120" y="210"/>
                  </a:lnTo>
                  <a:lnTo>
                    <a:pt x="124" y="208"/>
                  </a:lnTo>
                  <a:lnTo>
                    <a:pt x="126" y="206"/>
                  </a:lnTo>
                  <a:lnTo>
                    <a:pt x="128" y="204"/>
                  </a:lnTo>
                  <a:lnTo>
                    <a:pt x="130" y="204"/>
                  </a:lnTo>
                  <a:lnTo>
                    <a:pt x="132" y="202"/>
                  </a:lnTo>
                  <a:lnTo>
                    <a:pt x="134" y="200"/>
                  </a:lnTo>
                  <a:lnTo>
                    <a:pt x="136" y="200"/>
                  </a:lnTo>
                  <a:lnTo>
                    <a:pt x="136" y="198"/>
                  </a:lnTo>
                  <a:lnTo>
                    <a:pt x="138" y="198"/>
                  </a:lnTo>
                  <a:lnTo>
                    <a:pt x="138" y="198"/>
                  </a:lnTo>
                  <a:lnTo>
                    <a:pt x="142" y="198"/>
                  </a:lnTo>
                  <a:lnTo>
                    <a:pt x="144" y="198"/>
                  </a:lnTo>
                  <a:lnTo>
                    <a:pt x="148" y="198"/>
                  </a:lnTo>
                  <a:lnTo>
                    <a:pt x="152" y="196"/>
                  </a:lnTo>
                  <a:lnTo>
                    <a:pt x="156" y="196"/>
                  </a:lnTo>
                  <a:lnTo>
                    <a:pt x="158" y="196"/>
                  </a:lnTo>
                  <a:lnTo>
                    <a:pt x="160" y="194"/>
                  </a:lnTo>
                  <a:lnTo>
                    <a:pt x="164" y="192"/>
                  </a:lnTo>
                  <a:lnTo>
                    <a:pt x="166" y="190"/>
                  </a:lnTo>
                  <a:lnTo>
                    <a:pt x="168" y="190"/>
                  </a:lnTo>
                  <a:lnTo>
                    <a:pt x="170" y="188"/>
                  </a:lnTo>
                  <a:lnTo>
                    <a:pt x="170" y="188"/>
                  </a:lnTo>
                  <a:lnTo>
                    <a:pt x="170" y="186"/>
                  </a:lnTo>
                  <a:lnTo>
                    <a:pt x="172" y="184"/>
                  </a:lnTo>
                  <a:lnTo>
                    <a:pt x="172" y="182"/>
                  </a:lnTo>
                  <a:lnTo>
                    <a:pt x="174" y="178"/>
                  </a:lnTo>
                  <a:lnTo>
                    <a:pt x="176" y="176"/>
                  </a:lnTo>
                  <a:lnTo>
                    <a:pt x="176" y="174"/>
                  </a:lnTo>
                  <a:lnTo>
                    <a:pt x="178" y="172"/>
                  </a:lnTo>
                  <a:lnTo>
                    <a:pt x="178" y="170"/>
                  </a:lnTo>
                  <a:lnTo>
                    <a:pt x="180" y="170"/>
                  </a:lnTo>
                  <a:lnTo>
                    <a:pt x="180" y="168"/>
                  </a:lnTo>
                  <a:lnTo>
                    <a:pt x="182" y="166"/>
                  </a:lnTo>
                  <a:lnTo>
                    <a:pt x="184" y="166"/>
                  </a:lnTo>
                  <a:lnTo>
                    <a:pt x="186" y="164"/>
                  </a:lnTo>
                  <a:lnTo>
                    <a:pt x="190" y="162"/>
                  </a:lnTo>
                  <a:lnTo>
                    <a:pt x="192" y="162"/>
                  </a:lnTo>
                  <a:lnTo>
                    <a:pt x="192" y="160"/>
                  </a:lnTo>
                  <a:lnTo>
                    <a:pt x="198" y="156"/>
                  </a:lnTo>
                  <a:lnTo>
                    <a:pt x="202" y="152"/>
                  </a:lnTo>
                  <a:lnTo>
                    <a:pt x="206" y="150"/>
                  </a:lnTo>
                  <a:lnTo>
                    <a:pt x="208" y="148"/>
                  </a:lnTo>
                  <a:lnTo>
                    <a:pt x="210" y="146"/>
                  </a:lnTo>
                  <a:lnTo>
                    <a:pt x="210" y="144"/>
                  </a:lnTo>
                  <a:lnTo>
                    <a:pt x="210" y="144"/>
                  </a:lnTo>
                  <a:lnTo>
                    <a:pt x="212" y="142"/>
                  </a:lnTo>
                  <a:lnTo>
                    <a:pt x="212" y="140"/>
                  </a:lnTo>
                  <a:lnTo>
                    <a:pt x="212" y="138"/>
                  </a:lnTo>
                  <a:lnTo>
                    <a:pt x="212" y="136"/>
                  </a:lnTo>
                  <a:lnTo>
                    <a:pt x="214" y="130"/>
                  </a:lnTo>
                  <a:lnTo>
                    <a:pt x="214" y="128"/>
                  </a:lnTo>
                  <a:lnTo>
                    <a:pt x="214" y="126"/>
                  </a:lnTo>
                  <a:lnTo>
                    <a:pt x="214" y="124"/>
                  </a:lnTo>
                  <a:lnTo>
                    <a:pt x="216" y="120"/>
                  </a:lnTo>
                  <a:lnTo>
                    <a:pt x="216" y="118"/>
                  </a:lnTo>
                  <a:lnTo>
                    <a:pt x="216" y="116"/>
                  </a:lnTo>
                  <a:lnTo>
                    <a:pt x="218" y="114"/>
                  </a:lnTo>
                  <a:lnTo>
                    <a:pt x="218" y="112"/>
                  </a:lnTo>
                  <a:lnTo>
                    <a:pt x="218" y="112"/>
                  </a:lnTo>
                  <a:lnTo>
                    <a:pt x="220" y="112"/>
                  </a:lnTo>
                  <a:lnTo>
                    <a:pt x="220" y="112"/>
                  </a:lnTo>
                  <a:lnTo>
                    <a:pt x="220" y="112"/>
                  </a:lnTo>
                  <a:lnTo>
                    <a:pt x="222" y="112"/>
                  </a:lnTo>
                  <a:lnTo>
                    <a:pt x="224" y="112"/>
                  </a:lnTo>
                  <a:lnTo>
                    <a:pt x="226" y="112"/>
                  </a:lnTo>
                  <a:lnTo>
                    <a:pt x="228" y="112"/>
                  </a:lnTo>
                  <a:lnTo>
                    <a:pt x="228" y="110"/>
                  </a:lnTo>
                  <a:lnTo>
                    <a:pt x="230" y="110"/>
                  </a:lnTo>
                  <a:lnTo>
                    <a:pt x="230" y="110"/>
                  </a:lnTo>
                  <a:lnTo>
                    <a:pt x="230" y="110"/>
                  </a:lnTo>
                  <a:lnTo>
                    <a:pt x="232" y="108"/>
                  </a:lnTo>
                  <a:lnTo>
                    <a:pt x="232" y="106"/>
                  </a:lnTo>
                  <a:lnTo>
                    <a:pt x="234" y="104"/>
                  </a:lnTo>
                  <a:lnTo>
                    <a:pt x="236" y="102"/>
                  </a:lnTo>
                  <a:lnTo>
                    <a:pt x="238" y="96"/>
                  </a:lnTo>
                  <a:lnTo>
                    <a:pt x="238" y="94"/>
                  </a:lnTo>
                  <a:lnTo>
                    <a:pt x="226" y="90"/>
                  </a:lnTo>
                  <a:lnTo>
                    <a:pt x="226" y="86"/>
                  </a:lnTo>
                  <a:lnTo>
                    <a:pt x="224" y="82"/>
                  </a:lnTo>
                  <a:lnTo>
                    <a:pt x="224" y="78"/>
                  </a:lnTo>
                  <a:lnTo>
                    <a:pt x="222" y="76"/>
                  </a:lnTo>
                  <a:lnTo>
                    <a:pt x="220" y="72"/>
                  </a:lnTo>
                  <a:lnTo>
                    <a:pt x="218" y="68"/>
                  </a:lnTo>
                  <a:lnTo>
                    <a:pt x="218" y="62"/>
                  </a:lnTo>
                  <a:lnTo>
                    <a:pt x="218" y="52"/>
                  </a:lnTo>
                  <a:lnTo>
                    <a:pt x="218" y="44"/>
                  </a:lnTo>
                  <a:lnTo>
                    <a:pt x="218" y="36"/>
                  </a:lnTo>
                  <a:lnTo>
                    <a:pt x="218"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2" name="Freeform 430"/>
            <p:cNvSpPr>
              <a:spLocks/>
            </p:cNvSpPr>
            <p:nvPr/>
          </p:nvSpPr>
          <p:spPr bwMode="auto">
            <a:xfrm>
              <a:off x="5020932" y="4951056"/>
              <a:ext cx="266740" cy="502302"/>
            </a:xfrm>
            <a:custGeom>
              <a:avLst/>
              <a:gdLst>
                <a:gd name="T0" fmla="*/ 16 w 154"/>
                <a:gd name="T1" fmla="*/ 264 h 290"/>
                <a:gd name="T2" fmla="*/ 18 w 154"/>
                <a:gd name="T3" fmla="*/ 200 h 290"/>
                <a:gd name="T4" fmla="*/ 26 w 154"/>
                <a:gd name="T5" fmla="*/ 192 h 290"/>
                <a:gd name="T6" fmla="*/ 28 w 154"/>
                <a:gd name="T7" fmla="*/ 180 h 290"/>
                <a:gd name="T8" fmla="*/ 30 w 154"/>
                <a:gd name="T9" fmla="*/ 168 h 290"/>
                <a:gd name="T10" fmla="*/ 42 w 154"/>
                <a:gd name="T11" fmla="*/ 160 h 290"/>
                <a:gd name="T12" fmla="*/ 40 w 154"/>
                <a:gd name="T13" fmla="*/ 150 h 290"/>
                <a:gd name="T14" fmla="*/ 36 w 154"/>
                <a:gd name="T15" fmla="*/ 130 h 290"/>
                <a:gd name="T16" fmla="*/ 40 w 154"/>
                <a:gd name="T17" fmla="*/ 110 h 290"/>
                <a:gd name="T18" fmla="*/ 32 w 154"/>
                <a:gd name="T19" fmla="*/ 98 h 290"/>
                <a:gd name="T20" fmla="*/ 16 w 154"/>
                <a:gd name="T21" fmla="*/ 96 h 290"/>
                <a:gd name="T22" fmla="*/ 10 w 154"/>
                <a:gd name="T23" fmla="*/ 88 h 290"/>
                <a:gd name="T24" fmla="*/ 4 w 154"/>
                <a:gd name="T25" fmla="*/ 82 h 290"/>
                <a:gd name="T26" fmla="*/ 22 w 154"/>
                <a:gd name="T27" fmla="*/ 78 h 290"/>
                <a:gd name="T28" fmla="*/ 28 w 154"/>
                <a:gd name="T29" fmla="*/ 68 h 290"/>
                <a:gd name="T30" fmla="*/ 44 w 154"/>
                <a:gd name="T31" fmla="*/ 64 h 290"/>
                <a:gd name="T32" fmla="*/ 60 w 154"/>
                <a:gd name="T33" fmla="*/ 68 h 290"/>
                <a:gd name="T34" fmla="*/ 62 w 154"/>
                <a:gd name="T35" fmla="*/ 78 h 290"/>
                <a:gd name="T36" fmla="*/ 56 w 154"/>
                <a:gd name="T37" fmla="*/ 94 h 290"/>
                <a:gd name="T38" fmla="*/ 62 w 154"/>
                <a:gd name="T39" fmla="*/ 102 h 290"/>
                <a:gd name="T40" fmla="*/ 72 w 154"/>
                <a:gd name="T41" fmla="*/ 100 h 290"/>
                <a:gd name="T42" fmla="*/ 76 w 154"/>
                <a:gd name="T43" fmla="*/ 90 h 290"/>
                <a:gd name="T44" fmla="*/ 86 w 154"/>
                <a:gd name="T45" fmla="*/ 82 h 290"/>
                <a:gd name="T46" fmla="*/ 84 w 154"/>
                <a:gd name="T47" fmla="*/ 70 h 290"/>
                <a:gd name="T48" fmla="*/ 70 w 154"/>
                <a:gd name="T49" fmla="*/ 46 h 290"/>
                <a:gd name="T50" fmla="*/ 64 w 154"/>
                <a:gd name="T51" fmla="*/ 36 h 290"/>
                <a:gd name="T52" fmla="*/ 68 w 154"/>
                <a:gd name="T53" fmla="*/ 16 h 290"/>
                <a:gd name="T54" fmla="*/ 76 w 154"/>
                <a:gd name="T55" fmla="*/ 8 h 290"/>
                <a:gd name="T56" fmla="*/ 80 w 154"/>
                <a:gd name="T57" fmla="*/ 18 h 290"/>
                <a:gd name="T58" fmla="*/ 94 w 154"/>
                <a:gd name="T59" fmla="*/ 22 h 290"/>
                <a:gd name="T60" fmla="*/ 110 w 154"/>
                <a:gd name="T61" fmla="*/ 22 h 290"/>
                <a:gd name="T62" fmla="*/ 112 w 154"/>
                <a:gd name="T63" fmla="*/ 14 h 290"/>
                <a:gd name="T64" fmla="*/ 120 w 154"/>
                <a:gd name="T65" fmla="*/ 10 h 290"/>
                <a:gd name="T66" fmla="*/ 130 w 154"/>
                <a:gd name="T67" fmla="*/ 10 h 290"/>
                <a:gd name="T68" fmla="*/ 138 w 154"/>
                <a:gd name="T69" fmla="*/ 4 h 290"/>
                <a:gd name="T70" fmla="*/ 152 w 154"/>
                <a:gd name="T71" fmla="*/ 50 h 290"/>
                <a:gd name="T72" fmla="*/ 150 w 154"/>
                <a:gd name="T73" fmla="*/ 84 h 290"/>
                <a:gd name="T74" fmla="*/ 142 w 154"/>
                <a:gd name="T75" fmla="*/ 96 h 290"/>
                <a:gd name="T76" fmla="*/ 136 w 154"/>
                <a:gd name="T77" fmla="*/ 104 h 290"/>
                <a:gd name="T78" fmla="*/ 116 w 154"/>
                <a:gd name="T79" fmla="*/ 106 h 290"/>
                <a:gd name="T80" fmla="*/ 114 w 154"/>
                <a:gd name="T81" fmla="*/ 114 h 290"/>
                <a:gd name="T82" fmla="*/ 102 w 154"/>
                <a:gd name="T83" fmla="*/ 118 h 290"/>
                <a:gd name="T84" fmla="*/ 96 w 154"/>
                <a:gd name="T85" fmla="*/ 126 h 290"/>
                <a:gd name="T86" fmla="*/ 94 w 154"/>
                <a:gd name="T87" fmla="*/ 140 h 290"/>
                <a:gd name="T88" fmla="*/ 82 w 154"/>
                <a:gd name="T89" fmla="*/ 144 h 290"/>
                <a:gd name="T90" fmla="*/ 72 w 154"/>
                <a:gd name="T91" fmla="*/ 156 h 290"/>
                <a:gd name="T92" fmla="*/ 68 w 154"/>
                <a:gd name="T93" fmla="*/ 184 h 290"/>
                <a:gd name="T94" fmla="*/ 72 w 154"/>
                <a:gd name="T95" fmla="*/ 192 h 290"/>
                <a:gd name="T96" fmla="*/ 74 w 154"/>
                <a:gd name="T97" fmla="*/ 206 h 290"/>
                <a:gd name="T98" fmla="*/ 74 w 154"/>
                <a:gd name="T99" fmla="*/ 232 h 290"/>
                <a:gd name="T100" fmla="*/ 70 w 154"/>
                <a:gd name="T101" fmla="*/ 236 h 290"/>
                <a:gd name="T102" fmla="*/ 68 w 154"/>
                <a:gd name="T103" fmla="*/ 244 h 290"/>
                <a:gd name="T104" fmla="*/ 58 w 154"/>
                <a:gd name="T105" fmla="*/ 244 h 290"/>
                <a:gd name="T106" fmla="*/ 54 w 154"/>
                <a:gd name="T107" fmla="*/ 248 h 290"/>
                <a:gd name="T108" fmla="*/ 42 w 154"/>
                <a:gd name="T109" fmla="*/ 248 h 290"/>
                <a:gd name="T110" fmla="*/ 40 w 154"/>
                <a:gd name="T111" fmla="*/ 258 h 290"/>
                <a:gd name="T112" fmla="*/ 38 w 154"/>
                <a:gd name="T113" fmla="*/ 28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90">
                  <a:moveTo>
                    <a:pt x="36" y="290"/>
                  </a:moveTo>
                  <a:lnTo>
                    <a:pt x="26" y="286"/>
                  </a:lnTo>
                  <a:lnTo>
                    <a:pt x="24" y="282"/>
                  </a:lnTo>
                  <a:lnTo>
                    <a:pt x="24" y="278"/>
                  </a:lnTo>
                  <a:lnTo>
                    <a:pt x="22" y="274"/>
                  </a:lnTo>
                  <a:lnTo>
                    <a:pt x="20" y="272"/>
                  </a:lnTo>
                  <a:lnTo>
                    <a:pt x="18" y="268"/>
                  </a:lnTo>
                  <a:lnTo>
                    <a:pt x="16" y="264"/>
                  </a:lnTo>
                  <a:lnTo>
                    <a:pt x="16" y="258"/>
                  </a:lnTo>
                  <a:lnTo>
                    <a:pt x="18" y="248"/>
                  </a:lnTo>
                  <a:lnTo>
                    <a:pt x="18" y="240"/>
                  </a:lnTo>
                  <a:lnTo>
                    <a:pt x="18" y="232"/>
                  </a:lnTo>
                  <a:lnTo>
                    <a:pt x="18" y="206"/>
                  </a:lnTo>
                  <a:lnTo>
                    <a:pt x="18" y="204"/>
                  </a:lnTo>
                  <a:lnTo>
                    <a:pt x="18" y="202"/>
                  </a:lnTo>
                  <a:lnTo>
                    <a:pt x="18" y="200"/>
                  </a:lnTo>
                  <a:lnTo>
                    <a:pt x="20" y="198"/>
                  </a:lnTo>
                  <a:lnTo>
                    <a:pt x="20" y="196"/>
                  </a:lnTo>
                  <a:lnTo>
                    <a:pt x="20" y="194"/>
                  </a:lnTo>
                  <a:lnTo>
                    <a:pt x="22" y="194"/>
                  </a:lnTo>
                  <a:lnTo>
                    <a:pt x="22" y="194"/>
                  </a:lnTo>
                  <a:lnTo>
                    <a:pt x="24" y="192"/>
                  </a:lnTo>
                  <a:lnTo>
                    <a:pt x="26" y="192"/>
                  </a:lnTo>
                  <a:lnTo>
                    <a:pt x="26" y="192"/>
                  </a:lnTo>
                  <a:lnTo>
                    <a:pt x="28" y="190"/>
                  </a:lnTo>
                  <a:lnTo>
                    <a:pt x="28" y="190"/>
                  </a:lnTo>
                  <a:lnTo>
                    <a:pt x="28" y="188"/>
                  </a:lnTo>
                  <a:lnTo>
                    <a:pt x="28" y="188"/>
                  </a:lnTo>
                  <a:lnTo>
                    <a:pt x="30" y="186"/>
                  </a:lnTo>
                  <a:lnTo>
                    <a:pt x="30" y="186"/>
                  </a:lnTo>
                  <a:lnTo>
                    <a:pt x="28" y="182"/>
                  </a:lnTo>
                  <a:lnTo>
                    <a:pt x="28" y="180"/>
                  </a:lnTo>
                  <a:lnTo>
                    <a:pt x="28" y="178"/>
                  </a:lnTo>
                  <a:lnTo>
                    <a:pt x="28" y="174"/>
                  </a:lnTo>
                  <a:lnTo>
                    <a:pt x="28" y="174"/>
                  </a:lnTo>
                  <a:lnTo>
                    <a:pt x="28" y="172"/>
                  </a:lnTo>
                  <a:lnTo>
                    <a:pt x="28" y="172"/>
                  </a:lnTo>
                  <a:lnTo>
                    <a:pt x="28" y="170"/>
                  </a:lnTo>
                  <a:lnTo>
                    <a:pt x="28" y="170"/>
                  </a:lnTo>
                  <a:lnTo>
                    <a:pt x="30" y="168"/>
                  </a:lnTo>
                  <a:lnTo>
                    <a:pt x="30" y="168"/>
                  </a:lnTo>
                  <a:lnTo>
                    <a:pt x="32" y="166"/>
                  </a:lnTo>
                  <a:lnTo>
                    <a:pt x="36" y="166"/>
                  </a:lnTo>
                  <a:lnTo>
                    <a:pt x="36" y="164"/>
                  </a:lnTo>
                  <a:lnTo>
                    <a:pt x="38" y="164"/>
                  </a:lnTo>
                  <a:lnTo>
                    <a:pt x="38" y="162"/>
                  </a:lnTo>
                  <a:lnTo>
                    <a:pt x="40" y="160"/>
                  </a:lnTo>
                  <a:lnTo>
                    <a:pt x="42" y="160"/>
                  </a:lnTo>
                  <a:lnTo>
                    <a:pt x="42" y="158"/>
                  </a:lnTo>
                  <a:lnTo>
                    <a:pt x="42" y="158"/>
                  </a:lnTo>
                  <a:lnTo>
                    <a:pt x="42" y="156"/>
                  </a:lnTo>
                  <a:lnTo>
                    <a:pt x="42" y="156"/>
                  </a:lnTo>
                  <a:lnTo>
                    <a:pt x="42" y="156"/>
                  </a:lnTo>
                  <a:lnTo>
                    <a:pt x="42" y="154"/>
                  </a:lnTo>
                  <a:lnTo>
                    <a:pt x="40" y="152"/>
                  </a:lnTo>
                  <a:lnTo>
                    <a:pt x="40" y="150"/>
                  </a:lnTo>
                  <a:lnTo>
                    <a:pt x="38" y="146"/>
                  </a:lnTo>
                  <a:lnTo>
                    <a:pt x="38" y="144"/>
                  </a:lnTo>
                  <a:lnTo>
                    <a:pt x="36" y="144"/>
                  </a:lnTo>
                  <a:lnTo>
                    <a:pt x="36" y="140"/>
                  </a:lnTo>
                  <a:lnTo>
                    <a:pt x="36" y="138"/>
                  </a:lnTo>
                  <a:lnTo>
                    <a:pt x="36" y="136"/>
                  </a:lnTo>
                  <a:lnTo>
                    <a:pt x="36" y="132"/>
                  </a:lnTo>
                  <a:lnTo>
                    <a:pt x="36" y="130"/>
                  </a:lnTo>
                  <a:lnTo>
                    <a:pt x="38" y="128"/>
                  </a:lnTo>
                  <a:lnTo>
                    <a:pt x="38" y="122"/>
                  </a:lnTo>
                  <a:lnTo>
                    <a:pt x="40" y="120"/>
                  </a:lnTo>
                  <a:lnTo>
                    <a:pt x="40" y="118"/>
                  </a:lnTo>
                  <a:lnTo>
                    <a:pt x="42" y="114"/>
                  </a:lnTo>
                  <a:lnTo>
                    <a:pt x="42" y="114"/>
                  </a:lnTo>
                  <a:lnTo>
                    <a:pt x="42" y="112"/>
                  </a:lnTo>
                  <a:lnTo>
                    <a:pt x="40" y="110"/>
                  </a:lnTo>
                  <a:lnTo>
                    <a:pt x="40" y="108"/>
                  </a:lnTo>
                  <a:lnTo>
                    <a:pt x="40" y="106"/>
                  </a:lnTo>
                  <a:lnTo>
                    <a:pt x="38" y="104"/>
                  </a:lnTo>
                  <a:lnTo>
                    <a:pt x="38" y="102"/>
                  </a:lnTo>
                  <a:lnTo>
                    <a:pt x="36" y="100"/>
                  </a:lnTo>
                  <a:lnTo>
                    <a:pt x="34" y="100"/>
                  </a:lnTo>
                  <a:lnTo>
                    <a:pt x="34" y="98"/>
                  </a:lnTo>
                  <a:lnTo>
                    <a:pt x="32" y="98"/>
                  </a:lnTo>
                  <a:lnTo>
                    <a:pt x="32" y="98"/>
                  </a:lnTo>
                  <a:lnTo>
                    <a:pt x="30" y="96"/>
                  </a:lnTo>
                  <a:lnTo>
                    <a:pt x="30" y="96"/>
                  </a:lnTo>
                  <a:lnTo>
                    <a:pt x="26" y="96"/>
                  </a:lnTo>
                  <a:lnTo>
                    <a:pt x="24" y="96"/>
                  </a:lnTo>
                  <a:lnTo>
                    <a:pt x="20" y="96"/>
                  </a:lnTo>
                  <a:lnTo>
                    <a:pt x="18" y="96"/>
                  </a:lnTo>
                  <a:lnTo>
                    <a:pt x="16" y="96"/>
                  </a:lnTo>
                  <a:lnTo>
                    <a:pt x="14" y="96"/>
                  </a:lnTo>
                  <a:lnTo>
                    <a:pt x="14" y="94"/>
                  </a:lnTo>
                  <a:lnTo>
                    <a:pt x="12" y="94"/>
                  </a:lnTo>
                  <a:lnTo>
                    <a:pt x="12" y="94"/>
                  </a:lnTo>
                  <a:lnTo>
                    <a:pt x="12" y="94"/>
                  </a:lnTo>
                  <a:lnTo>
                    <a:pt x="12" y="92"/>
                  </a:lnTo>
                  <a:lnTo>
                    <a:pt x="10" y="90"/>
                  </a:lnTo>
                  <a:lnTo>
                    <a:pt x="10" y="88"/>
                  </a:lnTo>
                  <a:lnTo>
                    <a:pt x="8" y="88"/>
                  </a:lnTo>
                  <a:lnTo>
                    <a:pt x="8" y="86"/>
                  </a:lnTo>
                  <a:lnTo>
                    <a:pt x="8" y="84"/>
                  </a:lnTo>
                  <a:lnTo>
                    <a:pt x="8" y="84"/>
                  </a:lnTo>
                  <a:lnTo>
                    <a:pt x="6" y="84"/>
                  </a:lnTo>
                  <a:lnTo>
                    <a:pt x="6" y="82"/>
                  </a:lnTo>
                  <a:lnTo>
                    <a:pt x="6" y="82"/>
                  </a:lnTo>
                  <a:lnTo>
                    <a:pt x="4" y="82"/>
                  </a:lnTo>
                  <a:lnTo>
                    <a:pt x="0" y="82"/>
                  </a:lnTo>
                  <a:lnTo>
                    <a:pt x="4" y="80"/>
                  </a:lnTo>
                  <a:lnTo>
                    <a:pt x="8" y="80"/>
                  </a:lnTo>
                  <a:lnTo>
                    <a:pt x="10" y="80"/>
                  </a:lnTo>
                  <a:lnTo>
                    <a:pt x="14" y="80"/>
                  </a:lnTo>
                  <a:lnTo>
                    <a:pt x="18" y="78"/>
                  </a:lnTo>
                  <a:lnTo>
                    <a:pt x="20" y="78"/>
                  </a:lnTo>
                  <a:lnTo>
                    <a:pt x="22" y="78"/>
                  </a:lnTo>
                  <a:lnTo>
                    <a:pt x="24" y="76"/>
                  </a:lnTo>
                  <a:lnTo>
                    <a:pt x="24" y="76"/>
                  </a:lnTo>
                  <a:lnTo>
                    <a:pt x="24" y="76"/>
                  </a:lnTo>
                  <a:lnTo>
                    <a:pt x="26" y="74"/>
                  </a:lnTo>
                  <a:lnTo>
                    <a:pt x="26" y="72"/>
                  </a:lnTo>
                  <a:lnTo>
                    <a:pt x="26" y="72"/>
                  </a:lnTo>
                  <a:lnTo>
                    <a:pt x="26" y="68"/>
                  </a:lnTo>
                  <a:lnTo>
                    <a:pt x="28" y="68"/>
                  </a:lnTo>
                  <a:lnTo>
                    <a:pt x="28" y="66"/>
                  </a:lnTo>
                  <a:lnTo>
                    <a:pt x="28" y="66"/>
                  </a:lnTo>
                  <a:lnTo>
                    <a:pt x="30" y="64"/>
                  </a:lnTo>
                  <a:lnTo>
                    <a:pt x="32" y="64"/>
                  </a:lnTo>
                  <a:lnTo>
                    <a:pt x="34" y="62"/>
                  </a:lnTo>
                  <a:lnTo>
                    <a:pt x="38" y="62"/>
                  </a:lnTo>
                  <a:lnTo>
                    <a:pt x="40" y="62"/>
                  </a:lnTo>
                  <a:lnTo>
                    <a:pt x="44" y="64"/>
                  </a:lnTo>
                  <a:lnTo>
                    <a:pt x="48" y="64"/>
                  </a:lnTo>
                  <a:lnTo>
                    <a:pt x="50" y="66"/>
                  </a:lnTo>
                  <a:lnTo>
                    <a:pt x="52" y="66"/>
                  </a:lnTo>
                  <a:lnTo>
                    <a:pt x="54" y="66"/>
                  </a:lnTo>
                  <a:lnTo>
                    <a:pt x="56" y="68"/>
                  </a:lnTo>
                  <a:lnTo>
                    <a:pt x="58" y="68"/>
                  </a:lnTo>
                  <a:lnTo>
                    <a:pt x="60" y="68"/>
                  </a:lnTo>
                  <a:lnTo>
                    <a:pt x="60" y="68"/>
                  </a:lnTo>
                  <a:lnTo>
                    <a:pt x="62" y="68"/>
                  </a:lnTo>
                  <a:lnTo>
                    <a:pt x="62" y="70"/>
                  </a:lnTo>
                  <a:lnTo>
                    <a:pt x="62" y="70"/>
                  </a:lnTo>
                  <a:lnTo>
                    <a:pt x="62" y="70"/>
                  </a:lnTo>
                  <a:lnTo>
                    <a:pt x="62" y="72"/>
                  </a:lnTo>
                  <a:lnTo>
                    <a:pt x="62" y="72"/>
                  </a:lnTo>
                  <a:lnTo>
                    <a:pt x="62" y="74"/>
                  </a:lnTo>
                  <a:lnTo>
                    <a:pt x="62" y="78"/>
                  </a:lnTo>
                  <a:lnTo>
                    <a:pt x="62" y="80"/>
                  </a:lnTo>
                  <a:lnTo>
                    <a:pt x="60" y="82"/>
                  </a:lnTo>
                  <a:lnTo>
                    <a:pt x="60" y="84"/>
                  </a:lnTo>
                  <a:lnTo>
                    <a:pt x="58" y="88"/>
                  </a:lnTo>
                  <a:lnTo>
                    <a:pt x="58" y="90"/>
                  </a:lnTo>
                  <a:lnTo>
                    <a:pt x="56" y="92"/>
                  </a:lnTo>
                  <a:lnTo>
                    <a:pt x="56" y="94"/>
                  </a:lnTo>
                  <a:lnTo>
                    <a:pt x="56" y="94"/>
                  </a:lnTo>
                  <a:lnTo>
                    <a:pt x="56" y="94"/>
                  </a:lnTo>
                  <a:lnTo>
                    <a:pt x="56" y="96"/>
                  </a:lnTo>
                  <a:lnTo>
                    <a:pt x="58" y="96"/>
                  </a:lnTo>
                  <a:lnTo>
                    <a:pt x="58" y="98"/>
                  </a:lnTo>
                  <a:lnTo>
                    <a:pt x="58" y="100"/>
                  </a:lnTo>
                  <a:lnTo>
                    <a:pt x="60" y="100"/>
                  </a:lnTo>
                  <a:lnTo>
                    <a:pt x="60" y="100"/>
                  </a:lnTo>
                  <a:lnTo>
                    <a:pt x="62" y="102"/>
                  </a:lnTo>
                  <a:lnTo>
                    <a:pt x="62" y="102"/>
                  </a:lnTo>
                  <a:lnTo>
                    <a:pt x="64" y="102"/>
                  </a:lnTo>
                  <a:lnTo>
                    <a:pt x="64" y="102"/>
                  </a:lnTo>
                  <a:lnTo>
                    <a:pt x="66" y="102"/>
                  </a:lnTo>
                  <a:lnTo>
                    <a:pt x="68" y="102"/>
                  </a:lnTo>
                  <a:lnTo>
                    <a:pt x="68" y="102"/>
                  </a:lnTo>
                  <a:lnTo>
                    <a:pt x="70" y="100"/>
                  </a:lnTo>
                  <a:lnTo>
                    <a:pt x="72" y="100"/>
                  </a:lnTo>
                  <a:lnTo>
                    <a:pt x="72" y="100"/>
                  </a:lnTo>
                  <a:lnTo>
                    <a:pt x="72" y="100"/>
                  </a:lnTo>
                  <a:lnTo>
                    <a:pt x="74" y="100"/>
                  </a:lnTo>
                  <a:lnTo>
                    <a:pt x="74" y="98"/>
                  </a:lnTo>
                  <a:lnTo>
                    <a:pt x="74" y="96"/>
                  </a:lnTo>
                  <a:lnTo>
                    <a:pt x="74" y="94"/>
                  </a:lnTo>
                  <a:lnTo>
                    <a:pt x="76" y="92"/>
                  </a:lnTo>
                  <a:lnTo>
                    <a:pt x="76" y="90"/>
                  </a:lnTo>
                  <a:lnTo>
                    <a:pt x="76" y="90"/>
                  </a:lnTo>
                  <a:lnTo>
                    <a:pt x="78" y="88"/>
                  </a:lnTo>
                  <a:lnTo>
                    <a:pt x="78" y="88"/>
                  </a:lnTo>
                  <a:lnTo>
                    <a:pt x="82" y="86"/>
                  </a:lnTo>
                  <a:lnTo>
                    <a:pt x="84" y="86"/>
                  </a:lnTo>
                  <a:lnTo>
                    <a:pt x="84" y="84"/>
                  </a:lnTo>
                  <a:lnTo>
                    <a:pt x="86" y="84"/>
                  </a:lnTo>
                  <a:lnTo>
                    <a:pt x="86" y="82"/>
                  </a:lnTo>
                  <a:lnTo>
                    <a:pt x="86" y="82"/>
                  </a:lnTo>
                  <a:lnTo>
                    <a:pt x="86" y="82"/>
                  </a:lnTo>
                  <a:lnTo>
                    <a:pt x="86" y="82"/>
                  </a:lnTo>
                  <a:lnTo>
                    <a:pt x="86" y="80"/>
                  </a:lnTo>
                  <a:lnTo>
                    <a:pt x="86" y="78"/>
                  </a:lnTo>
                  <a:lnTo>
                    <a:pt x="86" y="76"/>
                  </a:lnTo>
                  <a:lnTo>
                    <a:pt x="84" y="72"/>
                  </a:lnTo>
                  <a:lnTo>
                    <a:pt x="84" y="70"/>
                  </a:lnTo>
                  <a:lnTo>
                    <a:pt x="84" y="66"/>
                  </a:lnTo>
                  <a:lnTo>
                    <a:pt x="82" y="64"/>
                  </a:lnTo>
                  <a:lnTo>
                    <a:pt x="80" y="62"/>
                  </a:lnTo>
                  <a:lnTo>
                    <a:pt x="80" y="60"/>
                  </a:lnTo>
                  <a:lnTo>
                    <a:pt x="78" y="56"/>
                  </a:lnTo>
                  <a:lnTo>
                    <a:pt x="76" y="54"/>
                  </a:lnTo>
                  <a:lnTo>
                    <a:pt x="74" y="50"/>
                  </a:lnTo>
                  <a:lnTo>
                    <a:pt x="70" y="46"/>
                  </a:lnTo>
                  <a:lnTo>
                    <a:pt x="68" y="44"/>
                  </a:lnTo>
                  <a:lnTo>
                    <a:pt x="66" y="42"/>
                  </a:lnTo>
                  <a:lnTo>
                    <a:pt x="66" y="40"/>
                  </a:lnTo>
                  <a:lnTo>
                    <a:pt x="64" y="40"/>
                  </a:lnTo>
                  <a:lnTo>
                    <a:pt x="64" y="38"/>
                  </a:lnTo>
                  <a:lnTo>
                    <a:pt x="64" y="38"/>
                  </a:lnTo>
                  <a:lnTo>
                    <a:pt x="64" y="36"/>
                  </a:lnTo>
                  <a:lnTo>
                    <a:pt x="64" y="36"/>
                  </a:lnTo>
                  <a:lnTo>
                    <a:pt x="64" y="34"/>
                  </a:lnTo>
                  <a:lnTo>
                    <a:pt x="64" y="32"/>
                  </a:lnTo>
                  <a:lnTo>
                    <a:pt x="64" y="30"/>
                  </a:lnTo>
                  <a:lnTo>
                    <a:pt x="66" y="28"/>
                  </a:lnTo>
                  <a:lnTo>
                    <a:pt x="66" y="24"/>
                  </a:lnTo>
                  <a:lnTo>
                    <a:pt x="68" y="20"/>
                  </a:lnTo>
                  <a:lnTo>
                    <a:pt x="68" y="18"/>
                  </a:lnTo>
                  <a:lnTo>
                    <a:pt x="68" y="16"/>
                  </a:lnTo>
                  <a:lnTo>
                    <a:pt x="68" y="14"/>
                  </a:lnTo>
                  <a:lnTo>
                    <a:pt x="68" y="12"/>
                  </a:lnTo>
                  <a:lnTo>
                    <a:pt x="68" y="10"/>
                  </a:lnTo>
                  <a:lnTo>
                    <a:pt x="68" y="6"/>
                  </a:lnTo>
                  <a:lnTo>
                    <a:pt x="66" y="0"/>
                  </a:lnTo>
                  <a:lnTo>
                    <a:pt x="68" y="2"/>
                  </a:lnTo>
                  <a:lnTo>
                    <a:pt x="72" y="4"/>
                  </a:lnTo>
                  <a:lnTo>
                    <a:pt x="76" y="8"/>
                  </a:lnTo>
                  <a:lnTo>
                    <a:pt x="76" y="8"/>
                  </a:lnTo>
                  <a:lnTo>
                    <a:pt x="78" y="10"/>
                  </a:lnTo>
                  <a:lnTo>
                    <a:pt x="78" y="10"/>
                  </a:lnTo>
                  <a:lnTo>
                    <a:pt x="78" y="12"/>
                  </a:lnTo>
                  <a:lnTo>
                    <a:pt x="80" y="14"/>
                  </a:lnTo>
                  <a:lnTo>
                    <a:pt x="80" y="16"/>
                  </a:lnTo>
                  <a:lnTo>
                    <a:pt x="80" y="16"/>
                  </a:lnTo>
                  <a:lnTo>
                    <a:pt x="80" y="18"/>
                  </a:lnTo>
                  <a:lnTo>
                    <a:pt x="82" y="18"/>
                  </a:lnTo>
                  <a:lnTo>
                    <a:pt x="82" y="18"/>
                  </a:lnTo>
                  <a:lnTo>
                    <a:pt x="84" y="20"/>
                  </a:lnTo>
                  <a:lnTo>
                    <a:pt x="86" y="20"/>
                  </a:lnTo>
                  <a:lnTo>
                    <a:pt x="88" y="22"/>
                  </a:lnTo>
                  <a:lnTo>
                    <a:pt x="90" y="22"/>
                  </a:lnTo>
                  <a:lnTo>
                    <a:pt x="92" y="22"/>
                  </a:lnTo>
                  <a:lnTo>
                    <a:pt x="94" y="22"/>
                  </a:lnTo>
                  <a:lnTo>
                    <a:pt x="96" y="22"/>
                  </a:lnTo>
                  <a:lnTo>
                    <a:pt x="98" y="22"/>
                  </a:lnTo>
                  <a:lnTo>
                    <a:pt x="100" y="22"/>
                  </a:lnTo>
                  <a:lnTo>
                    <a:pt x="102" y="22"/>
                  </a:lnTo>
                  <a:lnTo>
                    <a:pt x="104" y="22"/>
                  </a:lnTo>
                  <a:lnTo>
                    <a:pt x="106" y="22"/>
                  </a:lnTo>
                  <a:lnTo>
                    <a:pt x="108" y="22"/>
                  </a:lnTo>
                  <a:lnTo>
                    <a:pt x="110" y="22"/>
                  </a:lnTo>
                  <a:lnTo>
                    <a:pt x="110" y="20"/>
                  </a:lnTo>
                  <a:lnTo>
                    <a:pt x="112" y="20"/>
                  </a:lnTo>
                  <a:lnTo>
                    <a:pt x="112" y="20"/>
                  </a:lnTo>
                  <a:lnTo>
                    <a:pt x="112" y="18"/>
                  </a:lnTo>
                  <a:lnTo>
                    <a:pt x="112" y="18"/>
                  </a:lnTo>
                  <a:lnTo>
                    <a:pt x="112" y="16"/>
                  </a:lnTo>
                  <a:lnTo>
                    <a:pt x="112" y="14"/>
                  </a:lnTo>
                  <a:lnTo>
                    <a:pt x="112" y="14"/>
                  </a:lnTo>
                  <a:lnTo>
                    <a:pt x="114" y="12"/>
                  </a:lnTo>
                  <a:lnTo>
                    <a:pt x="114" y="12"/>
                  </a:lnTo>
                  <a:lnTo>
                    <a:pt x="114" y="12"/>
                  </a:lnTo>
                  <a:lnTo>
                    <a:pt x="114" y="10"/>
                  </a:lnTo>
                  <a:lnTo>
                    <a:pt x="116" y="10"/>
                  </a:lnTo>
                  <a:lnTo>
                    <a:pt x="116" y="10"/>
                  </a:lnTo>
                  <a:lnTo>
                    <a:pt x="118" y="10"/>
                  </a:lnTo>
                  <a:lnTo>
                    <a:pt x="120" y="10"/>
                  </a:lnTo>
                  <a:lnTo>
                    <a:pt x="122" y="12"/>
                  </a:lnTo>
                  <a:lnTo>
                    <a:pt x="124" y="12"/>
                  </a:lnTo>
                  <a:lnTo>
                    <a:pt x="126" y="12"/>
                  </a:lnTo>
                  <a:lnTo>
                    <a:pt x="128" y="12"/>
                  </a:lnTo>
                  <a:lnTo>
                    <a:pt x="128" y="12"/>
                  </a:lnTo>
                  <a:lnTo>
                    <a:pt x="130" y="12"/>
                  </a:lnTo>
                  <a:lnTo>
                    <a:pt x="130" y="12"/>
                  </a:lnTo>
                  <a:lnTo>
                    <a:pt x="130" y="10"/>
                  </a:lnTo>
                  <a:lnTo>
                    <a:pt x="132" y="10"/>
                  </a:lnTo>
                  <a:lnTo>
                    <a:pt x="132" y="8"/>
                  </a:lnTo>
                  <a:lnTo>
                    <a:pt x="132" y="6"/>
                  </a:lnTo>
                  <a:lnTo>
                    <a:pt x="134" y="6"/>
                  </a:lnTo>
                  <a:lnTo>
                    <a:pt x="134" y="6"/>
                  </a:lnTo>
                  <a:lnTo>
                    <a:pt x="134" y="4"/>
                  </a:lnTo>
                  <a:lnTo>
                    <a:pt x="136" y="4"/>
                  </a:lnTo>
                  <a:lnTo>
                    <a:pt x="138" y="4"/>
                  </a:lnTo>
                  <a:lnTo>
                    <a:pt x="140" y="2"/>
                  </a:lnTo>
                  <a:lnTo>
                    <a:pt x="144" y="2"/>
                  </a:lnTo>
                  <a:lnTo>
                    <a:pt x="148" y="2"/>
                  </a:lnTo>
                  <a:lnTo>
                    <a:pt x="150" y="2"/>
                  </a:lnTo>
                  <a:lnTo>
                    <a:pt x="150" y="30"/>
                  </a:lnTo>
                  <a:lnTo>
                    <a:pt x="152" y="36"/>
                  </a:lnTo>
                  <a:lnTo>
                    <a:pt x="152" y="42"/>
                  </a:lnTo>
                  <a:lnTo>
                    <a:pt x="152" y="50"/>
                  </a:lnTo>
                  <a:lnTo>
                    <a:pt x="152" y="58"/>
                  </a:lnTo>
                  <a:lnTo>
                    <a:pt x="154" y="66"/>
                  </a:lnTo>
                  <a:lnTo>
                    <a:pt x="154" y="68"/>
                  </a:lnTo>
                  <a:lnTo>
                    <a:pt x="154" y="72"/>
                  </a:lnTo>
                  <a:lnTo>
                    <a:pt x="152" y="76"/>
                  </a:lnTo>
                  <a:lnTo>
                    <a:pt x="152" y="78"/>
                  </a:lnTo>
                  <a:lnTo>
                    <a:pt x="152" y="82"/>
                  </a:lnTo>
                  <a:lnTo>
                    <a:pt x="150" y="84"/>
                  </a:lnTo>
                  <a:lnTo>
                    <a:pt x="150" y="86"/>
                  </a:lnTo>
                  <a:lnTo>
                    <a:pt x="150" y="86"/>
                  </a:lnTo>
                  <a:lnTo>
                    <a:pt x="148" y="88"/>
                  </a:lnTo>
                  <a:lnTo>
                    <a:pt x="146" y="90"/>
                  </a:lnTo>
                  <a:lnTo>
                    <a:pt x="144" y="92"/>
                  </a:lnTo>
                  <a:lnTo>
                    <a:pt x="142" y="94"/>
                  </a:lnTo>
                  <a:lnTo>
                    <a:pt x="142" y="94"/>
                  </a:lnTo>
                  <a:lnTo>
                    <a:pt x="142" y="96"/>
                  </a:lnTo>
                  <a:lnTo>
                    <a:pt x="140" y="96"/>
                  </a:lnTo>
                  <a:lnTo>
                    <a:pt x="140" y="100"/>
                  </a:lnTo>
                  <a:lnTo>
                    <a:pt x="140" y="100"/>
                  </a:lnTo>
                  <a:lnTo>
                    <a:pt x="140" y="102"/>
                  </a:lnTo>
                  <a:lnTo>
                    <a:pt x="140" y="102"/>
                  </a:lnTo>
                  <a:lnTo>
                    <a:pt x="138" y="104"/>
                  </a:lnTo>
                  <a:lnTo>
                    <a:pt x="138" y="104"/>
                  </a:lnTo>
                  <a:lnTo>
                    <a:pt x="136" y="104"/>
                  </a:lnTo>
                  <a:lnTo>
                    <a:pt x="134" y="106"/>
                  </a:lnTo>
                  <a:lnTo>
                    <a:pt x="134" y="106"/>
                  </a:lnTo>
                  <a:lnTo>
                    <a:pt x="130" y="106"/>
                  </a:lnTo>
                  <a:lnTo>
                    <a:pt x="126" y="106"/>
                  </a:lnTo>
                  <a:lnTo>
                    <a:pt x="122" y="106"/>
                  </a:lnTo>
                  <a:lnTo>
                    <a:pt x="120" y="106"/>
                  </a:lnTo>
                  <a:lnTo>
                    <a:pt x="118" y="106"/>
                  </a:lnTo>
                  <a:lnTo>
                    <a:pt x="116" y="106"/>
                  </a:lnTo>
                  <a:lnTo>
                    <a:pt x="116" y="106"/>
                  </a:lnTo>
                  <a:lnTo>
                    <a:pt x="114" y="108"/>
                  </a:lnTo>
                  <a:lnTo>
                    <a:pt x="114" y="108"/>
                  </a:lnTo>
                  <a:lnTo>
                    <a:pt x="114" y="108"/>
                  </a:lnTo>
                  <a:lnTo>
                    <a:pt x="114" y="110"/>
                  </a:lnTo>
                  <a:lnTo>
                    <a:pt x="114" y="112"/>
                  </a:lnTo>
                  <a:lnTo>
                    <a:pt x="114" y="114"/>
                  </a:lnTo>
                  <a:lnTo>
                    <a:pt x="114" y="114"/>
                  </a:lnTo>
                  <a:lnTo>
                    <a:pt x="112" y="114"/>
                  </a:lnTo>
                  <a:lnTo>
                    <a:pt x="112" y="116"/>
                  </a:lnTo>
                  <a:lnTo>
                    <a:pt x="112" y="116"/>
                  </a:lnTo>
                  <a:lnTo>
                    <a:pt x="110" y="116"/>
                  </a:lnTo>
                  <a:lnTo>
                    <a:pt x="108" y="116"/>
                  </a:lnTo>
                  <a:lnTo>
                    <a:pt x="104" y="118"/>
                  </a:lnTo>
                  <a:lnTo>
                    <a:pt x="104" y="118"/>
                  </a:lnTo>
                  <a:lnTo>
                    <a:pt x="102" y="118"/>
                  </a:lnTo>
                  <a:lnTo>
                    <a:pt x="102" y="120"/>
                  </a:lnTo>
                  <a:lnTo>
                    <a:pt x="100" y="120"/>
                  </a:lnTo>
                  <a:lnTo>
                    <a:pt x="98" y="122"/>
                  </a:lnTo>
                  <a:lnTo>
                    <a:pt x="98" y="122"/>
                  </a:lnTo>
                  <a:lnTo>
                    <a:pt x="98" y="122"/>
                  </a:lnTo>
                  <a:lnTo>
                    <a:pt x="98" y="124"/>
                  </a:lnTo>
                  <a:lnTo>
                    <a:pt x="96" y="124"/>
                  </a:lnTo>
                  <a:lnTo>
                    <a:pt x="96" y="126"/>
                  </a:lnTo>
                  <a:lnTo>
                    <a:pt x="96" y="130"/>
                  </a:lnTo>
                  <a:lnTo>
                    <a:pt x="96" y="132"/>
                  </a:lnTo>
                  <a:lnTo>
                    <a:pt x="96" y="134"/>
                  </a:lnTo>
                  <a:lnTo>
                    <a:pt x="96" y="138"/>
                  </a:lnTo>
                  <a:lnTo>
                    <a:pt x="96" y="138"/>
                  </a:lnTo>
                  <a:lnTo>
                    <a:pt x="96" y="140"/>
                  </a:lnTo>
                  <a:lnTo>
                    <a:pt x="96" y="140"/>
                  </a:lnTo>
                  <a:lnTo>
                    <a:pt x="94" y="140"/>
                  </a:lnTo>
                  <a:lnTo>
                    <a:pt x="94" y="142"/>
                  </a:lnTo>
                  <a:lnTo>
                    <a:pt x="94" y="142"/>
                  </a:lnTo>
                  <a:lnTo>
                    <a:pt x="92" y="142"/>
                  </a:lnTo>
                  <a:lnTo>
                    <a:pt x="90" y="142"/>
                  </a:lnTo>
                  <a:lnTo>
                    <a:pt x="88" y="142"/>
                  </a:lnTo>
                  <a:lnTo>
                    <a:pt x="86" y="144"/>
                  </a:lnTo>
                  <a:lnTo>
                    <a:pt x="84" y="144"/>
                  </a:lnTo>
                  <a:lnTo>
                    <a:pt x="82" y="144"/>
                  </a:lnTo>
                  <a:lnTo>
                    <a:pt x="80" y="146"/>
                  </a:lnTo>
                  <a:lnTo>
                    <a:pt x="78" y="146"/>
                  </a:lnTo>
                  <a:lnTo>
                    <a:pt x="76" y="148"/>
                  </a:lnTo>
                  <a:lnTo>
                    <a:pt x="76" y="150"/>
                  </a:lnTo>
                  <a:lnTo>
                    <a:pt x="74" y="150"/>
                  </a:lnTo>
                  <a:lnTo>
                    <a:pt x="74" y="152"/>
                  </a:lnTo>
                  <a:lnTo>
                    <a:pt x="72" y="154"/>
                  </a:lnTo>
                  <a:lnTo>
                    <a:pt x="72" y="156"/>
                  </a:lnTo>
                  <a:lnTo>
                    <a:pt x="70" y="158"/>
                  </a:lnTo>
                  <a:lnTo>
                    <a:pt x="70" y="162"/>
                  </a:lnTo>
                  <a:lnTo>
                    <a:pt x="70" y="166"/>
                  </a:lnTo>
                  <a:lnTo>
                    <a:pt x="68" y="170"/>
                  </a:lnTo>
                  <a:lnTo>
                    <a:pt x="68" y="174"/>
                  </a:lnTo>
                  <a:lnTo>
                    <a:pt x="68" y="178"/>
                  </a:lnTo>
                  <a:lnTo>
                    <a:pt x="68" y="180"/>
                  </a:lnTo>
                  <a:lnTo>
                    <a:pt x="68" y="184"/>
                  </a:lnTo>
                  <a:lnTo>
                    <a:pt x="68" y="186"/>
                  </a:lnTo>
                  <a:lnTo>
                    <a:pt x="68" y="186"/>
                  </a:lnTo>
                  <a:lnTo>
                    <a:pt x="68" y="188"/>
                  </a:lnTo>
                  <a:lnTo>
                    <a:pt x="70" y="190"/>
                  </a:lnTo>
                  <a:lnTo>
                    <a:pt x="70" y="190"/>
                  </a:lnTo>
                  <a:lnTo>
                    <a:pt x="70" y="190"/>
                  </a:lnTo>
                  <a:lnTo>
                    <a:pt x="72" y="192"/>
                  </a:lnTo>
                  <a:lnTo>
                    <a:pt x="72" y="192"/>
                  </a:lnTo>
                  <a:lnTo>
                    <a:pt x="72" y="192"/>
                  </a:lnTo>
                  <a:lnTo>
                    <a:pt x="74" y="192"/>
                  </a:lnTo>
                  <a:lnTo>
                    <a:pt x="74" y="194"/>
                  </a:lnTo>
                  <a:lnTo>
                    <a:pt x="74" y="196"/>
                  </a:lnTo>
                  <a:lnTo>
                    <a:pt x="74" y="196"/>
                  </a:lnTo>
                  <a:lnTo>
                    <a:pt x="74" y="198"/>
                  </a:lnTo>
                  <a:lnTo>
                    <a:pt x="74" y="202"/>
                  </a:lnTo>
                  <a:lnTo>
                    <a:pt x="74" y="206"/>
                  </a:lnTo>
                  <a:lnTo>
                    <a:pt x="74" y="214"/>
                  </a:lnTo>
                  <a:lnTo>
                    <a:pt x="74" y="218"/>
                  </a:lnTo>
                  <a:lnTo>
                    <a:pt x="74" y="222"/>
                  </a:lnTo>
                  <a:lnTo>
                    <a:pt x="74" y="222"/>
                  </a:lnTo>
                  <a:lnTo>
                    <a:pt x="74" y="224"/>
                  </a:lnTo>
                  <a:lnTo>
                    <a:pt x="74" y="228"/>
                  </a:lnTo>
                  <a:lnTo>
                    <a:pt x="74" y="230"/>
                  </a:lnTo>
                  <a:lnTo>
                    <a:pt x="74" y="232"/>
                  </a:lnTo>
                  <a:lnTo>
                    <a:pt x="74" y="234"/>
                  </a:lnTo>
                  <a:lnTo>
                    <a:pt x="74" y="234"/>
                  </a:lnTo>
                  <a:lnTo>
                    <a:pt x="74" y="234"/>
                  </a:lnTo>
                  <a:lnTo>
                    <a:pt x="74" y="234"/>
                  </a:lnTo>
                  <a:lnTo>
                    <a:pt x="74" y="236"/>
                  </a:lnTo>
                  <a:lnTo>
                    <a:pt x="72" y="236"/>
                  </a:lnTo>
                  <a:lnTo>
                    <a:pt x="70" y="236"/>
                  </a:lnTo>
                  <a:lnTo>
                    <a:pt x="70" y="236"/>
                  </a:lnTo>
                  <a:lnTo>
                    <a:pt x="70" y="236"/>
                  </a:lnTo>
                  <a:lnTo>
                    <a:pt x="68" y="238"/>
                  </a:lnTo>
                  <a:lnTo>
                    <a:pt x="68" y="238"/>
                  </a:lnTo>
                  <a:lnTo>
                    <a:pt x="68" y="240"/>
                  </a:lnTo>
                  <a:lnTo>
                    <a:pt x="68" y="242"/>
                  </a:lnTo>
                  <a:lnTo>
                    <a:pt x="68" y="242"/>
                  </a:lnTo>
                  <a:lnTo>
                    <a:pt x="68" y="244"/>
                  </a:lnTo>
                  <a:lnTo>
                    <a:pt x="68" y="244"/>
                  </a:lnTo>
                  <a:lnTo>
                    <a:pt x="68" y="244"/>
                  </a:lnTo>
                  <a:lnTo>
                    <a:pt x="66" y="244"/>
                  </a:lnTo>
                  <a:lnTo>
                    <a:pt x="64" y="244"/>
                  </a:lnTo>
                  <a:lnTo>
                    <a:pt x="62" y="244"/>
                  </a:lnTo>
                  <a:lnTo>
                    <a:pt x="60" y="244"/>
                  </a:lnTo>
                  <a:lnTo>
                    <a:pt x="60" y="244"/>
                  </a:lnTo>
                  <a:lnTo>
                    <a:pt x="58" y="244"/>
                  </a:lnTo>
                  <a:lnTo>
                    <a:pt x="58" y="244"/>
                  </a:lnTo>
                  <a:lnTo>
                    <a:pt x="56" y="244"/>
                  </a:lnTo>
                  <a:lnTo>
                    <a:pt x="56" y="244"/>
                  </a:lnTo>
                  <a:lnTo>
                    <a:pt x="56" y="244"/>
                  </a:lnTo>
                  <a:lnTo>
                    <a:pt x="56" y="246"/>
                  </a:lnTo>
                  <a:lnTo>
                    <a:pt x="54" y="248"/>
                  </a:lnTo>
                  <a:lnTo>
                    <a:pt x="54" y="248"/>
                  </a:lnTo>
                  <a:lnTo>
                    <a:pt x="54" y="248"/>
                  </a:lnTo>
                  <a:lnTo>
                    <a:pt x="54" y="248"/>
                  </a:lnTo>
                  <a:lnTo>
                    <a:pt x="52" y="248"/>
                  </a:lnTo>
                  <a:lnTo>
                    <a:pt x="52" y="248"/>
                  </a:lnTo>
                  <a:lnTo>
                    <a:pt x="50" y="248"/>
                  </a:lnTo>
                  <a:lnTo>
                    <a:pt x="48" y="248"/>
                  </a:lnTo>
                  <a:lnTo>
                    <a:pt x="46" y="248"/>
                  </a:lnTo>
                  <a:lnTo>
                    <a:pt x="44" y="248"/>
                  </a:lnTo>
                  <a:lnTo>
                    <a:pt x="42" y="248"/>
                  </a:lnTo>
                  <a:lnTo>
                    <a:pt x="42" y="248"/>
                  </a:lnTo>
                  <a:lnTo>
                    <a:pt x="40" y="250"/>
                  </a:lnTo>
                  <a:lnTo>
                    <a:pt x="40" y="250"/>
                  </a:lnTo>
                  <a:lnTo>
                    <a:pt x="40" y="250"/>
                  </a:lnTo>
                  <a:lnTo>
                    <a:pt x="40" y="250"/>
                  </a:lnTo>
                  <a:lnTo>
                    <a:pt x="40" y="252"/>
                  </a:lnTo>
                  <a:lnTo>
                    <a:pt x="40" y="254"/>
                  </a:lnTo>
                  <a:lnTo>
                    <a:pt x="40" y="254"/>
                  </a:lnTo>
                  <a:lnTo>
                    <a:pt x="40" y="258"/>
                  </a:lnTo>
                  <a:lnTo>
                    <a:pt x="40" y="260"/>
                  </a:lnTo>
                  <a:lnTo>
                    <a:pt x="40" y="266"/>
                  </a:lnTo>
                  <a:lnTo>
                    <a:pt x="40" y="270"/>
                  </a:lnTo>
                  <a:lnTo>
                    <a:pt x="40" y="276"/>
                  </a:lnTo>
                  <a:lnTo>
                    <a:pt x="40" y="280"/>
                  </a:lnTo>
                  <a:lnTo>
                    <a:pt x="40" y="282"/>
                  </a:lnTo>
                  <a:lnTo>
                    <a:pt x="38" y="284"/>
                  </a:lnTo>
                  <a:lnTo>
                    <a:pt x="38" y="286"/>
                  </a:lnTo>
                  <a:lnTo>
                    <a:pt x="36" y="29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3" name="Freeform 431"/>
            <p:cNvSpPr>
              <a:spLocks/>
            </p:cNvSpPr>
            <p:nvPr/>
          </p:nvSpPr>
          <p:spPr bwMode="auto">
            <a:xfrm>
              <a:off x="5020932" y="4951056"/>
              <a:ext cx="266740" cy="502302"/>
            </a:xfrm>
            <a:custGeom>
              <a:avLst/>
              <a:gdLst>
                <a:gd name="T0" fmla="*/ 16 w 154"/>
                <a:gd name="T1" fmla="*/ 264 h 290"/>
                <a:gd name="T2" fmla="*/ 18 w 154"/>
                <a:gd name="T3" fmla="*/ 200 h 290"/>
                <a:gd name="T4" fmla="*/ 26 w 154"/>
                <a:gd name="T5" fmla="*/ 192 h 290"/>
                <a:gd name="T6" fmla="*/ 28 w 154"/>
                <a:gd name="T7" fmla="*/ 180 h 290"/>
                <a:gd name="T8" fmla="*/ 30 w 154"/>
                <a:gd name="T9" fmla="*/ 168 h 290"/>
                <a:gd name="T10" fmla="*/ 42 w 154"/>
                <a:gd name="T11" fmla="*/ 160 h 290"/>
                <a:gd name="T12" fmla="*/ 40 w 154"/>
                <a:gd name="T13" fmla="*/ 150 h 290"/>
                <a:gd name="T14" fmla="*/ 36 w 154"/>
                <a:gd name="T15" fmla="*/ 130 h 290"/>
                <a:gd name="T16" fmla="*/ 40 w 154"/>
                <a:gd name="T17" fmla="*/ 110 h 290"/>
                <a:gd name="T18" fmla="*/ 32 w 154"/>
                <a:gd name="T19" fmla="*/ 98 h 290"/>
                <a:gd name="T20" fmla="*/ 16 w 154"/>
                <a:gd name="T21" fmla="*/ 96 h 290"/>
                <a:gd name="T22" fmla="*/ 10 w 154"/>
                <a:gd name="T23" fmla="*/ 88 h 290"/>
                <a:gd name="T24" fmla="*/ 4 w 154"/>
                <a:gd name="T25" fmla="*/ 82 h 290"/>
                <a:gd name="T26" fmla="*/ 22 w 154"/>
                <a:gd name="T27" fmla="*/ 78 h 290"/>
                <a:gd name="T28" fmla="*/ 28 w 154"/>
                <a:gd name="T29" fmla="*/ 68 h 290"/>
                <a:gd name="T30" fmla="*/ 44 w 154"/>
                <a:gd name="T31" fmla="*/ 64 h 290"/>
                <a:gd name="T32" fmla="*/ 60 w 154"/>
                <a:gd name="T33" fmla="*/ 68 h 290"/>
                <a:gd name="T34" fmla="*/ 62 w 154"/>
                <a:gd name="T35" fmla="*/ 78 h 290"/>
                <a:gd name="T36" fmla="*/ 56 w 154"/>
                <a:gd name="T37" fmla="*/ 94 h 290"/>
                <a:gd name="T38" fmla="*/ 62 w 154"/>
                <a:gd name="T39" fmla="*/ 102 h 290"/>
                <a:gd name="T40" fmla="*/ 72 w 154"/>
                <a:gd name="T41" fmla="*/ 100 h 290"/>
                <a:gd name="T42" fmla="*/ 76 w 154"/>
                <a:gd name="T43" fmla="*/ 90 h 290"/>
                <a:gd name="T44" fmla="*/ 86 w 154"/>
                <a:gd name="T45" fmla="*/ 82 h 290"/>
                <a:gd name="T46" fmla="*/ 84 w 154"/>
                <a:gd name="T47" fmla="*/ 70 h 290"/>
                <a:gd name="T48" fmla="*/ 70 w 154"/>
                <a:gd name="T49" fmla="*/ 46 h 290"/>
                <a:gd name="T50" fmla="*/ 64 w 154"/>
                <a:gd name="T51" fmla="*/ 36 h 290"/>
                <a:gd name="T52" fmla="*/ 68 w 154"/>
                <a:gd name="T53" fmla="*/ 16 h 290"/>
                <a:gd name="T54" fmla="*/ 76 w 154"/>
                <a:gd name="T55" fmla="*/ 8 h 290"/>
                <a:gd name="T56" fmla="*/ 80 w 154"/>
                <a:gd name="T57" fmla="*/ 18 h 290"/>
                <a:gd name="T58" fmla="*/ 94 w 154"/>
                <a:gd name="T59" fmla="*/ 22 h 290"/>
                <a:gd name="T60" fmla="*/ 110 w 154"/>
                <a:gd name="T61" fmla="*/ 22 h 290"/>
                <a:gd name="T62" fmla="*/ 112 w 154"/>
                <a:gd name="T63" fmla="*/ 14 h 290"/>
                <a:gd name="T64" fmla="*/ 120 w 154"/>
                <a:gd name="T65" fmla="*/ 10 h 290"/>
                <a:gd name="T66" fmla="*/ 130 w 154"/>
                <a:gd name="T67" fmla="*/ 10 h 290"/>
                <a:gd name="T68" fmla="*/ 138 w 154"/>
                <a:gd name="T69" fmla="*/ 4 h 290"/>
                <a:gd name="T70" fmla="*/ 152 w 154"/>
                <a:gd name="T71" fmla="*/ 50 h 290"/>
                <a:gd name="T72" fmla="*/ 150 w 154"/>
                <a:gd name="T73" fmla="*/ 84 h 290"/>
                <a:gd name="T74" fmla="*/ 142 w 154"/>
                <a:gd name="T75" fmla="*/ 96 h 290"/>
                <a:gd name="T76" fmla="*/ 136 w 154"/>
                <a:gd name="T77" fmla="*/ 104 h 290"/>
                <a:gd name="T78" fmla="*/ 116 w 154"/>
                <a:gd name="T79" fmla="*/ 106 h 290"/>
                <a:gd name="T80" fmla="*/ 114 w 154"/>
                <a:gd name="T81" fmla="*/ 114 h 290"/>
                <a:gd name="T82" fmla="*/ 102 w 154"/>
                <a:gd name="T83" fmla="*/ 118 h 290"/>
                <a:gd name="T84" fmla="*/ 96 w 154"/>
                <a:gd name="T85" fmla="*/ 126 h 290"/>
                <a:gd name="T86" fmla="*/ 94 w 154"/>
                <a:gd name="T87" fmla="*/ 140 h 290"/>
                <a:gd name="T88" fmla="*/ 82 w 154"/>
                <a:gd name="T89" fmla="*/ 144 h 290"/>
                <a:gd name="T90" fmla="*/ 72 w 154"/>
                <a:gd name="T91" fmla="*/ 156 h 290"/>
                <a:gd name="T92" fmla="*/ 68 w 154"/>
                <a:gd name="T93" fmla="*/ 184 h 290"/>
                <a:gd name="T94" fmla="*/ 72 w 154"/>
                <a:gd name="T95" fmla="*/ 192 h 290"/>
                <a:gd name="T96" fmla="*/ 74 w 154"/>
                <a:gd name="T97" fmla="*/ 206 h 290"/>
                <a:gd name="T98" fmla="*/ 74 w 154"/>
                <a:gd name="T99" fmla="*/ 232 h 290"/>
                <a:gd name="T100" fmla="*/ 70 w 154"/>
                <a:gd name="T101" fmla="*/ 236 h 290"/>
                <a:gd name="T102" fmla="*/ 68 w 154"/>
                <a:gd name="T103" fmla="*/ 244 h 290"/>
                <a:gd name="T104" fmla="*/ 58 w 154"/>
                <a:gd name="T105" fmla="*/ 244 h 290"/>
                <a:gd name="T106" fmla="*/ 54 w 154"/>
                <a:gd name="T107" fmla="*/ 248 h 290"/>
                <a:gd name="T108" fmla="*/ 42 w 154"/>
                <a:gd name="T109" fmla="*/ 248 h 290"/>
                <a:gd name="T110" fmla="*/ 40 w 154"/>
                <a:gd name="T111" fmla="*/ 258 h 290"/>
                <a:gd name="T112" fmla="*/ 38 w 154"/>
                <a:gd name="T113" fmla="*/ 28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90">
                  <a:moveTo>
                    <a:pt x="36" y="290"/>
                  </a:moveTo>
                  <a:lnTo>
                    <a:pt x="26" y="286"/>
                  </a:lnTo>
                  <a:lnTo>
                    <a:pt x="24" y="282"/>
                  </a:lnTo>
                  <a:lnTo>
                    <a:pt x="24" y="278"/>
                  </a:lnTo>
                  <a:lnTo>
                    <a:pt x="22" y="274"/>
                  </a:lnTo>
                  <a:lnTo>
                    <a:pt x="20" y="272"/>
                  </a:lnTo>
                  <a:lnTo>
                    <a:pt x="18" y="268"/>
                  </a:lnTo>
                  <a:lnTo>
                    <a:pt x="16" y="264"/>
                  </a:lnTo>
                  <a:lnTo>
                    <a:pt x="16" y="258"/>
                  </a:lnTo>
                  <a:lnTo>
                    <a:pt x="18" y="248"/>
                  </a:lnTo>
                  <a:lnTo>
                    <a:pt x="18" y="240"/>
                  </a:lnTo>
                  <a:lnTo>
                    <a:pt x="18" y="232"/>
                  </a:lnTo>
                  <a:lnTo>
                    <a:pt x="18" y="206"/>
                  </a:lnTo>
                  <a:lnTo>
                    <a:pt x="18" y="204"/>
                  </a:lnTo>
                  <a:lnTo>
                    <a:pt x="18" y="202"/>
                  </a:lnTo>
                  <a:lnTo>
                    <a:pt x="18" y="200"/>
                  </a:lnTo>
                  <a:lnTo>
                    <a:pt x="20" y="198"/>
                  </a:lnTo>
                  <a:lnTo>
                    <a:pt x="20" y="196"/>
                  </a:lnTo>
                  <a:lnTo>
                    <a:pt x="20" y="194"/>
                  </a:lnTo>
                  <a:lnTo>
                    <a:pt x="22" y="194"/>
                  </a:lnTo>
                  <a:lnTo>
                    <a:pt x="22" y="194"/>
                  </a:lnTo>
                  <a:lnTo>
                    <a:pt x="24" y="192"/>
                  </a:lnTo>
                  <a:lnTo>
                    <a:pt x="26" y="192"/>
                  </a:lnTo>
                  <a:lnTo>
                    <a:pt x="26" y="192"/>
                  </a:lnTo>
                  <a:lnTo>
                    <a:pt x="28" y="190"/>
                  </a:lnTo>
                  <a:lnTo>
                    <a:pt x="28" y="190"/>
                  </a:lnTo>
                  <a:lnTo>
                    <a:pt x="28" y="188"/>
                  </a:lnTo>
                  <a:lnTo>
                    <a:pt x="28" y="188"/>
                  </a:lnTo>
                  <a:lnTo>
                    <a:pt x="30" y="186"/>
                  </a:lnTo>
                  <a:lnTo>
                    <a:pt x="30" y="186"/>
                  </a:lnTo>
                  <a:lnTo>
                    <a:pt x="28" y="182"/>
                  </a:lnTo>
                  <a:lnTo>
                    <a:pt x="28" y="180"/>
                  </a:lnTo>
                  <a:lnTo>
                    <a:pt x="28" y="178"/>
                  </a:lnTo>
                  <a:lnTo>
                    <a:pt x="28" y="174"/>
                  </a:lnTo>
                  <a:lnTo>
                    <a:pt x="28" y="174"/>
                  </a:lnTo>
                  <a:lnTo>
                    <a:pt x="28" y="172"/>
                  </a:lnTo>
                  <a:lnTo>
                    <a:pt x="28" y="172"/>
                  </a:lnTo>
                  <a:lnTo>
                    <a:pt x="28" y="170"/>
                  </a:lnTo>
                  <a:lnTo>
                    <a:pt x="28" y="170"/>
                  </a:lnTo>
                  <a:lnTo>
                    <a:pt x="30" y="168"/>
                  </a:lnTo>
                  <a:lnTo>
                    <a:pt x="30" y="168"/>
                  </a:lnTo>
                  <a:lnTo>
                    <a:pt x="32" y="166"/>
                  </a:lnTo>
                  <a:lnTo>
                    <a:pt x="36" y="166"/>
                  </a:lnTo>
                  <a:lnTo>
                    <a:pt x="36" y="164"/>
                  </a:lnTo>
                  <a:lnTo>
                    <a:pt x="38" y="164"/>
                  </a:lnTo>
                  <a:lnTo>
                    <a:pt x="38" y="162"/>
                  </a:lnTo>
                  <a:lnTo>
                    <a:pt x="40" y="160"/>
                  </a:lnTo>
                  <a:lnTo>
                    <a:pt x="42" y="160"/>
                  </a:lnTo>
                  <a:lnTo>
                    <a:pt x="42" y="158"/>
                  </a:lnTo>
                  <a:lnTo>
                    <a:pt x="42" y="158"/>
                  </a:lnTo>
                  <a:lnTo>
                    <a:pt x="42" y="156"/>
                  </a:lnTo>
                  <a:lnTo>
                    <a:pt x="42" y="156"/>
                  </a:lnTo>
                  <a:lnTo>
                    <a:pt x="42" y="156"/>
                  </a:lnTo>
                  <a:lnTo>
                    <a:pt x="42" y="154"/>
                  </a:lnTo>
                  <a:lnTo>
                    <a:pt x="40" y="152"/>
                  </a:lnTo>
                  <a:lnTo>
                    <a:pt x="40" y="150"/>
                  </a:lnTo>
                  <a:lnTo>
                    <a:pt x="38" y="146"/>
                  </a:lnTo>
                  <a:lnTo>
                    <a:pt x="38" y="144"/>
                  </a:lnTo>
                  <a:lnTo>
                    <a:pt x="36" y="144"/>
                  </a:lnTo>
                  <a:lnTo>
                    <a:pt x="36" y="140"/>
                  </a:lnTo>
                  <a:lnTo>
                    <a:pt x="36" y="138"/>
                  </a:lnTo>
                  <a:lnTo>
                    <a:pt x="36" y="136"/>
                  </a:lnTo>
                  <a:lnTo>
                    <a:pt x="36" y="132"/>
                  </a:lnTo>
                  <a:lnTo>
                    <a:pt x="36" y="130"/>
                  </a:lnTo>
                  <a:lnTo>
                    <a:pt x="38" y="128"/>
                  </a:lnTo>
                  <a:lnTo>
                    <a:pt x="38" y="122"/>
                  </a:lnTo>
                  <a:lnTo>
                    <a:pt x="40" y="120"/>
                  </a:lnTo>
                  <a:lnTo>
                    <a:pt x="40" y="118"/>
                  </a:lnTo>
                  <a:lnTo>
                    <a:pt x="42" y="114"/>
                  </a:lnTo>
                  <a:lnTo>
                    <a:pt x="42" y="114"/>
                  </a:lnTo>
                  <a:lnTo>
                    <a:pt x="42" y="112"/>
                  </a:lnTo>
                  <a:lnTo>
                    <a:pt x="40" y="110"/>
                  </a:lnTo>
                  <a:lnTo>
                    <a:pt x="40" y="108"/>
                  </a:lnTo>
                  <a:lnTo>
                    <a:pt x="40" y="106"/>
                  </a:lnTo>
                  <a:lnTo>
                    <a:pt x="38" y="104"/>
                  </a:lnTo>
                  <a:lnTo>
                    <a:pt x="38" y="102"/>
                  </a:lnTo>
                  <a:lnTo>
                    <a:pt x="36" y="100"/>
                  </a:lnTo>
                  <a:lnTo>
                    <a:pt x="34" y="100"/>
                  </a:lnTo>
                  <a:lnTo>
                    <a:pt x="34" y="98"/>
                  </a:lnTo>
                  <a:lnTo>
                    <a:pt x="32" y="98"/>
                  </a:lnTo>
                  <a:lnTo>
                    <a:pt x="32" y="98"/>
                  </a:lnTo>
                  <a:lnTo>
                    <a:pt x="30" y="96"/>
                  </a:lnTo>
                  <a:lnTo>
                    <a:pt x="30" y="96"/>
                  </a:lnTo>
                  <a:lnTo>
                    <a:pt x="26" y="96"/>
                  </a:lnTo>
                  <a:lnTo>
                    <a:pt x="24" y="96"/>
                  </a:lnTo>
                  <a:lnTo>
                    <a:pt x="20" y="96"/>
                  </a:lnTo>
                  <a:lnTo>
                    <a:pt x="18" y="96"/>
                  </a:lnTo>
                  <a:lnTo>
                    <a:pt x="16" y="96"/>
                  </a:lnTo>
                  <a:lnTo>
                    <a:pt x="14" y="96"/>
                  </a:lnTo>
                  <a:lnTo>
                    <a:pt x="14" y="94"/>
                  </a:lnTo>
                  <a:lnTo>
                    <a:pt x="12" y="94"/>
                  </a:lnTo>
                  <a:lnTo>
                    <a:pt x="12" y="94"/>
                  </a:lnTo>
                  <a:lnTo>
                    <a:pt x="12" y="94"/>
                  </a:lnTo>
                  <a:lnTo>
                    <a:pt x="12" y="92"/>
                  </a:lnTo>
                  <a:lnTo>
                    <a:pt x="10" y="90"/>
                  </a:lnTo>
                  <a:lnTo>
                    <a:pt x="10" y="88"/>
                  </a:lnTo>
                  <a:lnTo>
                    <a:pt x="8" y="88"/>
                  </a:lnTo>
                  <a:lnTo>
                    <a:pt x="8" y="86"/>
                  </a:lnTo>
                  <a:lnTo>
                    <a:pt x="8" y="84"/>
                  </a:lnTo>
                  <a:lnTo>
                    <a:pt x="8" y="84"/>
                  </a:lnTo>
                  <a:lnTo>
                    <a:pt x="6" y="84"/>
                  </a:lnTo>
                  <a:lnTo>
                    <a:pt x="6" y="82"/>
                  </a:lnTo>
                  <a:lnTo>
                    <a:pt x="6" y="82"/>
                  </a:lnTo>
                  <a:lnTo>
                    <a:pt x="4" y="82"/>
                  </a:lnTo>
                  <a:lnTo>
                    <a:pt x="0" y="82"/>
                  </a:lnTo>
                  <a:lnTo>
                    <a:pt x="4" y="80"/>
                  </a:lnTo>
                  <a:lnTo>
                    <a:pt x="8" y="80"/>
                  </a:lnTo>
                  <a:lnTo>
                    <a:pt x="10" y="80"/>
                  </a:lnTo>
                  <a:lnTo>
                    <a:pt x="14" y="80"/>
                  </a:lnTo>
                  <a:lnTo>
                    <a:pt x="18" y="78"/>
                  </a:lnTo>
                  <a:lnTo>
                    <a:pt x="20" y="78"/>
                  </a:lnTo>
                  <a:lnTo>
                    <a:pt x="22" y="78"/>
                  </a:lnTo>
                  <a:lnTo>
                    <a:pt x="24" y="76"/>
                  </a:lnTo>
                  <a:lnTo>
                    <a:pt x="24" y="76"/>
                  </a:lnTo>
                  <a:lnTo>
                    <a:pt x="24" y="76"/>
                  </a:lnTo>
                  <a:lnTo>
                    <a:pt x="26" y="74"/>
                  </a:lnTo>
                  <a:lnTo>
                    <a:pt x="26" y="72"/>
                  </a:lnTo>
                  <a:lnTo>
                    <a:pt x="26" y="72"/>
                  </a:lnTo>
                  <a:lnTo>
                    <a:pt x="26" y="68"/>
                  </a:lnTo>
                  <a:lnTo>
                    <a:pt x="28" y="68"/>
                  </a:lnTo>
                  <a:lnTo>
                    <a:pt x="28" y="66"/>
                  </a:lnTo>
                  <a:lnTo>
                    <a:pt x="28" y="66"/>
                  </a:lnTo>
                  <a:lnTo>
                    <a:pt x="30" y="64"/>
                  </a:lnTo>
                  <a:lnTo>
                    <a:pt x="32" y="64"/>
                  </a:lnTo>
                  <a:lnTo>
                    <a:pt x="34" y="62"/>
                  </a:lnTo>
                  <a:lnTo>
                    <a:pt x="38" y="62"/>
                  </a:lnTo>
                  <a:lnTo>
                    <a:pt x="40" y="62"/>
                  </a:lnTo>
                  <a:lnTo>
                    <a:pt x="44" y="64"/>
                  </a:lnTo>
                  <a:lnTo>
                    <a:pt x="48" y="64"/>
                  </a:lnTo>
                  <a:lnTo>
                    <a:pt x="50" y="66"/>
                  </a:lnTo>
                  <a:lnTo>
                    <a:pt x="52" y="66"/>
                  </a:lnTo>
                  <a:lnTo>
                    <a:pt x="54" y="66"/>
                  </a:lnTo>
                  <a:lnTo>
                    <a:pt x="56" y="68"/>
                  </a:lnTo>
                  <a:lnTo>
                    <a:pt x="58" y="68"/>
                  </a:lnTo>
                  <a:lnTo>
                    <a:pt x="60" y="68"/>
                  </a:lnTo>
                  <a:lnTo>
                    <a:pt x="60" y="68"/>
                  </a:lnTo>
                  <a:lnTo>
                    <a:pt x="62" y="68"/>
                  </a:lnTo>
                  <a:lnTo>
                    <a:pt x="62" y="70"/>
                  </a:lnTo>
                  <a:lnTo>
                    <a:pt x="62" y="70"/>
                  </a:lnTo>
                  <a:lnTo>
                    <a:pt x="62" y="70"/>
                  </a:lnTo>
                  <a:lnTo>
                    <a:pt x="62" y="72"/>
                  </a:lnTo>
                  <a:lnTo>
                    <a:pt x="62" y="72"/>
                  </a:lnTo>
                  <a:lnTo>
                    <a:pt x="62" y="74"/>
                  </a:lnTo>
                  <a:lnTo>
                    <a:pt x="62" y="78"/>
                  </a:lnTo>
                  <a:lnTo>
                    <a:pt x="62" y="80"/>
                  </a:lnTo>
                  <a:lnTo>
                    <a:pt x="60" y="82"/>
                  </a:lnTo>
                  <a:lnTo>
                    <a:pt x="60" y="84"/>
                  </a:lnTo>
                  <a:lnTo>
                    <a:pt x="58" y="88"/>
                  </a:lnTo>
                  <a:lnTo>
                    <a:pt x="58" y="90"/>
                  </a:lnTo>
                  <a:lnTo>
                    <a:pt x="56" y="92"/>
                  </a:lnTo>
                  <a:lnTo>
                    <a:pt x="56" y="94"/>
                  </a:lnTo>
                  <a:lnTo>
                    <a:pt x="56" y="94"/>
                  </a:lnTo>
                  <a:lnTo>
                    <a:pt x="56" y="94"/>
                  </a:lnTo>
                  <a:lnTo>
                    <a:pt x="56" y="96"/>
                  </a:lnTo>
                  <a:lnTo>
                    <a:pt x="58" y="96"/>
                  </a:lnTo>
                  <a:lnTo>
                    <a:pt x="58" y="98"/>
                  </a:lnTo>
                  <a:lnTo>
                    <a:pt x="58" y="100"/>
                  </a:lnTo>
                  <a:lnTo>
                    <a:pt x="60" y="100"/>
                  </a:lnTo>
                  <a:lnTo>
                    <a:pt x="60" y="100"/>
                  </a:lnTo>
                  <a:lnTo>
                    <a:pt x="62" y="102"/>
                  </a:lnTo>
                  <a:lnTo>
                    <a:pt x="62" y="102"/>
                  </a:lnTo>
                  <a:lnTo>
                    <a:pt x="64" y="102"/>
                  </a:lnTo>
                  <a:lnTo>
                    <a:pt x="64" y="102"/>
                  </a:lnTo>
                  <a:lnTo>
                    <a:pt x="66" y="102"/>
                  </a:lnTo>
                  <a:lnTo>
                    <a:pt x="68" y="102"/>
                  </a:lnTo>
                  <a:lnTo>
                    <a:pt x="68" y="102"/>
                  </a:lnTo>
                  <a:lnTo>
                    <a:pt x="70" y="100"/>
                  </a:lnTo>
                  <a:lnTo>
                    <a:pt x="72" y="100"/>
                  </a:lnTo>
                  <a:lnTo>
                    <a:pt x="72" y="100"/>
                  </a:lnTo>
                  <a:lnTo>
                    <a:pt x="72" y="100"/>
                  </a:lnTo>
                  <a:lnTo>
                    <a:pt x="74" y="100"/>
                  </a:lnTo>
                  <a:lnTo>
                    <a:pt x="74" y="98"/>
                  </a:lnTo>
                  <a:lnTo>
                    <a:pt x="74" y="96"/>
                  </a:lnTo>
                  <a:lnTo>
                    <a:pt x="74" y="94"/>
                  </a:lnTo>
                  <a:lnTo>
                    <a:pt x="76" y="92"/>
                  </a:lnTo>
                  <a:lnTo>
                    <a:pt x="76" y="90"/>
                  </a:lnTo>
                  <a:lnTo>
                    <a:pt x="76" y="90"/>
                  </a:lnTo>
                  <a:lnTo>
                    <a:pt x="78" y="88"/>
                  </a:lnTo>
                  <a:lnTo>
                    <a:pt x="78" y="88"/>
                  </a:lnTo>
                  <a:lnTo>
                    <a:pt x="82" y="86"/>
                  </a:lnTo>
                  <a:lnTo>
                    <a:pt x="84" y="86"/>
                  </a:lnTo>
                  <a:lnTo>
                    <a:pt x="84" y="84"/>
                  </a:lnTo>
                  <a:lnTo>
                    <a:pt x="86" y="84"/>
                  </a:lnTo>
                  <a:lnTo>
                    <a:pt x="86" y="82"/>
                  </a:lnTo>
                  <a:lnTo>
                    <a:pt x="86" y="82"/>
                  </a:lnTo>
                  <a:lnTo>
                    <a:pt x="86" y="82"/>
                  </a:lnTo>
                  <a:lnTo>
                    <a:pt x="86" y="82"/>
                  </a:lnTo>
                  <a:lnTo>
                    <a:pt x="86" y="80"/>
                  </a:lnTo>
                  <a:lnTo>
                    <a:pt x="86" y="78"/>
                  </a:lnTo>
                  <a:lnTo>
                    <a:pt x="86" y="76"/>
                  </a:lnTo>
                  <a:lnTo>
                    <a:pt x="84" y="72"/>
                  </a:lnTo>
                  <a:lnTo>
                    <a:pt x="84" y="70"/>
                  </a:lnTo>
                  <a:lnTo>
                    <a:pt x="84" y="66"/>
                  </a:lnTo>
                  <a:lnTo>
                    <a:pt x="82" y="64"/>
                  </a:lnTo>
                  <a:lnTo>
                    <a:pt x="80" y="62"/>
                  </a:lnTo>
                  <a:lnTo>
                    <a:pt x="80" y="60"/>
                  </a:lnTo>
                  <a:lnTo>
                    <a:pt x="78" y="56"/>
                  </a:lnTo>
                  <a:lnTo>
                    <a:pt x="76" y="54"/>
                  </a:lnTo>
                  <a:lnTo>
                    <a:pt x="74" y="50"/>
                  </a:lnTo>
                  <a:lnTo>
                    <a:pt x="70" y="46"/>
                  </a:lnTo>
                  <a:lnTo>
                    <a:pt x="68" y="44"/>
                  </a:lnTo>
                  <a:lnTo>
                    <a:pt x="66" y="42"/>
                  </a:lnTo>
                  <a:lnTo>
                    <a:pt x="66" y="40"/>
                  </a:lnTo>
                  <a:lnTo>
                    <a:pt x="64" y="40"/>
                  </a:lnTo>
                  <a:lnTo>
                    <a:pt x="64" y="38"/>
                  </a:lnTo>
                  <a:lnTo>
                    <a:pt x="64" y="38"/>
                  </a:lnTo>
                  <a:lnTo>
                    <a:pt x="64" y="36"/>
                  </a:lnTo>
                  <a:lnTo>
                    <a:pt x="64" y="36"/>
                  </a:lnTo>
                  <a:lnTo>
                    <a:pt x="64" y="34"/>
                  </a:lnTo>
                  <a:lnTo>
                    <a:pt x="64" y="32"/>
                  </a:lnTo>
                  <a:lnTo>
                    <a:pt x="64" y="30"/>
                  </a:lnTo>
                  <a:lnTo>
                    <a:pt x="66" y="28"/>
                  </a:lnTo>
                  <a:lnTo>
                    <a:pt x="66" y="24"/>
                  </a:lnTo>
                  <a:lnTo>
                    <a:pt x="68" y="20"/>
                  </a:lnTo>
                  <a:lnTo>
                    <a:pt x="68" y="18"/>
                  </a:lnTo>
                  <a:lnTo>
                    <a:pt x="68" y="16"/>
                  </a:lnTo>
                  <a:lnTo>
                    <a:pt x="68" y="14"/>
                  </a:lnTo>
                  <a:lnTo>
                    <a:pt x="68" y="12"/>
                  </a:lnTo>
                  <a:lnTo>
                    <a:pt x="68" y="10"/>
                  </a:lnTo>
                  <a:lnTo>
                    <a:pt x="68" y="6"/>
                  </a:lnTo>
                  <a:lnTo>
                    <a:pt x="66" y="0"/>
                  </a:lnTo>
                  <a:lnTo>
                    <a:pt x="68" y="2"/>
                  </a:lnTo>
                  <a:lnTo>
                    <a:pt x="72" y="4"/>
                  </a:lnTo>
                  <a:lnTo>
                    <a:pt x="76" y="8"/>
                  </a:lnTo>
                  <a:lnTo>
                    <a:pt x="76" y="8"/>
                  </a:lnTo>
                  <a:lnTo>
                    <a:pt x="78" y="10"/>
                  </a:lnTo>
                  <a:lnTo>
                    <a:pt x="78" y="10"/>
                  </a:lnTo>
                  <a:lnTo>
                    <a:pt x="78" y="12"/>
                  </a:lnTo>
                  <a:lnTo>
                    <a:pt x="80" y="14"/>
                  </a:lnTo>
                  <a:lnTo>
                    <a:pt x="80" y="16"/>
                  </a:lnTo>
                  <a:lnTo>
                    <a:pt x="80" y="16"/>
                  </a:lnTo>
                  <a:lnTo>
                    <a:pt x="80" y="18"/>
                  </a:lnTo>
                  <a:lnTo>
                    <a:pt x="82" y="18"/>
                  </a:lnTo>
                  <a:lnTo>
                    <a:pt x="82" y="18"/>
                  </a:lnTo>
                  <a:lnTo>
                    <a:pt x="84" y="20"/>
                  </a:lnTo>
                  <a:lnTo>
                    <a:pt x="86" y="20"/>
                  </a:lnTo>
                  <a:lnTo>
                    <a:pt x="88" y="22"/>
                  </a:lnTo>
                  <a:lnTo>
                    <a:pt x="90" y="22"/>
                  </a:lnTo>
                  <a:lnTo>
                    <a:pt x="92" y="22"/>
                  </a:lnTo>
                  <a:lnTo>
                    <a:pt x="94" y="22"/>
                  </a:lnTo>
                  <a:lnTo>
                    <a:pt x="96" y="22"/>
                  </a:lnTo>
                  <a:lnTo>
                    <a:pt x="98" y="22"/>
                  </a:lnTo>
                  <a:lnTo>
                    <a:pt x="100" y="22"/>
                  </a:lnTo>
                  <a:lnTo>
                    <a:pt x="102" y="22"/>
                  </a:lnTo>
                  <a:lnTo>
                    <a:pt x="104" y="22"/>
                  </a:lnTo>
                  <a:lnTo>
                    <a:pt x="106" y="22"/>
                  </a:lnTo>
                  <a:lnTo>
                    <a:pt x="108" y="22"/>
                  </a:lnTo>
                  <a:lnTo>
                    <a:pt x="110" y="22"/>
                  </a:lnTo>
                  <a:lnTo>
                    <a:pt x="110" y="20"/>
                  </a:lnTo>
                  <a:lnTo>
                    <a:pt x="112" y="20"/>
                  </a:lnTo>
                  <a:lnTo>
                    <a:pt x="112" y="20"/>
                  </a:lnTo>
                  <a:lnTo>
                    <a:pt x="112" y="18"/>
                  </a:lnTo>
                  <a:lnTo>
                    <a:pt x="112" y="18"/>
                  </a:lnTo>
                  <a:lnTo>
                    <a:pt x="112" y="16"/>
                  </a:lnTo>
                  <a:lnTo>
                    <a:pt x="112" y="14"/>
                  </a:lnTo>
                  <a:lnTo>
                    <a:pt x="112" y="14"/>
                  </a:lnTo>
                  <a:lnTo>
                    <a:pt x="114" y="12"/>
                  </a:lnTo>
                  <a:lnTo>
                    <a:pt x="114" y="12"/>
                  </a:lnTo>
                  <a:lnTo>
                    <a:pt x="114" y="12"/>
                  </a:lnTo>
                  <a:lnTo>
                    <a:pt x="114" y="10"/>
                  </a:lnTo>
                  <a:lnTo>
                    <a:pt x="116" y="10"/>
                  </a:lnTo>
                  <a:lnTo>
                    <a:pt x="116" y="10"/>
                  </a:lnTo>
                  <a:lnTo>
                    <a:pt x="118" y="10"/>
                  </a:lnTo>
                  <a:lnTo>
                    <a:pt x="120" y="10"/>
                  </a:lnTo>
                  <a:lnTo>
                    <a:pt x="122" y="12"/>
                  </a:lnTo>
                  <a:lnTo>
                    <a:pt x="124" y="12"/>
                  </a:lnTo>
                  <a:lnTo>
                    <a:pt x="126" y="12"/>
                  </a:lnTo>
                  <a:lnTo>
                    <a:pt x="128" y="12"/>
                  </a:lnTo>
                  <a:lnTo>
                    <a:pt x="128" y="12"/>
                  </a:lnTo>
                  <a:lnTo>
                    <a:pt x="130" y="12"/>
                  </a:lnTo>
                  <a:lnTo>
                    <a:pt x="130" y="12"/>
                  </a:lnTo>
                  <a:lnTo>
                    <a:pt x="130" y="10"/>
                  </a:lnTo>
                  <a:lnTo>
                    <a:pt x="132" y="10"/>
                  </a:lnTo>
                  <a:lnTo>
                    <a:pt x="132" y="8"/>
                  </a:lnTo>
                  <a:lnTo>
                    <a:pt x="132" y="6"/>
                  </a:lnTo>
                  <a:lnTo>
                    <a:pt x="134" y="6"/>
                  </a:lnTo>
                  <a:lnTo>
                    <a:pt x="134" y="6"/>
                  </a:lnTo>
                  <a:lnTo>
                    <a:pt x="134" y="4"/>
                  </a:lnTo>
                  <a:lnTo>
                    <a:pt x="136" y="4"/>
                  </a:lnTo>
                  <a:lnTo>
                    <a:pt x="138" y="4"/>
                  </a:lnTo>
                  <a:lnTo>
                    <a:pt x="140" y="2"/>
                  </a:lnTo>
                  <a:lnTo>
                    <a:pt x="144" y="2"/>
                  </a:lnTo>
                  <a:lnTo>
                    <a:pt x="148" y="2"/>
                  </a:lnTo>
                  <a:lnTo>
                    <a:pt x="150" y="2"/>
                  </a:lnTo>
                  <a:lnTo>
                    <a:pt x="150" y="30"/>
                  </a:lnTo>
                  <a:lnTo>
                    <a:pt x="152" y="36"/>
                  </a:lnTo>
                  <a:lnTo>
                    <a:pt x="152" y="42"/>
                  </a:lnTo>
                  <a:lnTo>
                    <a:pt x="152" y="50"/>
                  </a:lnTo>
                  <a:lnTo>
                    <a:pt x="152" y="58"/>
                  </a:lnTo>
                  <a:lnTo>
                    <a:pt x="154" y="66"/>
                  </a:lnTo>
                  <a:lnTo>
                    <a:pt x="154" y="68"/>
                  </a:lnTo>
                  <a:lnTo>
                    <a:pt x="154" y="72"/>
                  </a:lnTo>
                  <a:lnTo>
                    <a:pt x="152" y="76"/>
                  </a:lnTo>
                  <a:lnTo>
                    <a:pt x="152" y="78"/>
                  </a:lnTo>
                  <a:lnTo>
                    <a:pt x="152" y="82"/>
                  </a:lnTo>
                  <a:lnTo>
                    <a:pt x="150" y="84"/>
                  </a:lnTo>
                  <a:lnTo>
                    <a:pt x="150" y="86"/>
                  </a:lnTo>
                  <a:lnTo>
                    <a:pt x="150" y="86"/>
                  </a:lnTo>
                  <a:lnTo>
                    <a:pt x="148" y="88"/>
                  </a:lnTo>
                  <a:lnTo>
                    <a:pt x="146" y="90"/>
                  </a:lnTo>
                  <a:lnTo>
                    <a:pt x="144" y="92"/>
                  </a:lnTo>
                  <a:lnTo>
                    <a:pt x="142" y="94"/>
                  </a:lnTo>
                  <a:lnTo>
                    <a:pt x="142" y="94"/>
                  </a:lnTo>
                  <a:lnTo>
                    <a:pt x="142" y="96"/>
                  </a:lnTo>
                  <a:lnTo>
                    <a:pt x="140" y="96"/>
                  </a:lnTo>
                  <a:lnTo>
                    <a:pt x="140" y="100"/>
                  </a:lnTo>
                  <a:lnTo>
                    <a:pt x="140" y="100"/>
                  </a:lnTo>
                  <a:lnTo>
                    <a:pt x="140" y="102"/>
                  </a:lnTo>
                  <a:lnTo>
                    <a:pt x="140" y="102"/>
                  </a:lnTo>
                  <a:lnTo>
                    <a:pt x="138" y="104"/>
                  </a:lnTo>
                  <a:lnTo>
                    <a:pt x="138" y="104"/>
                  </a:lnTo>
                  <a:lnTo>
                    <a:pt x="136" y="104"/>
                  </a:lnTo>
                  <a:lnTo>
                    <a:pt x="134" y="106"/>
                  </a:lnTo>
                  <a:lnTo>
                    <a:pt x="134" y="106"/>
                  </a:lnTo>
                  <a:lnTo>
                    <a:pt x="130" y="106"/>
                  </a:lnTo>
                  <a:lnTo>
                    <a:pt x="126" y="106"/>
                  </a:lnTo>
                  <a:lnTo>
                    <a:pt x="122" y="106"/>
                  </a:lnTo>
                  <a:lnTo>
                    <a:pt x="120" y="106"/>
                  </a:lnTo>
                  <a:lnTo>
                    <a:pt x="118" y="106"/>
                  </a:lnTo>
                  <a:lnTo>
                    <a:pt x="116" y="106"/>
                  </a:lnTo>
                  <a:lnTo>
                    <a:pt x="116" y="106"/>
                  </a:lnTo>
                  <a:lnTo>
                    <a:pt x="114" y="108"/>
                  </a:lnTo>
                  <a:lnTo>
                    <a:pt x="114" y="108"/>
                  </a:lnTo>
                  <a:lnTo>
                    <a:pt x="114" y="108"/>
                  </a:lnTo>
                  <a:lnTo>
                    <a:pt x="114" y="110"/>
                  </a:lnTo>
                  <a:lnTo>
                    <a:pt x="114" y="112"/>
                  </a:lnTo>
                  <a:lnTo>
                    <a:pt x="114" y="114"/>
                  </a:lnTo>
                  <a:lnTo>
                    <a:pt x="114" y="114"/>
                  </a:lnTo>
                  <a:lnTo>
                    <a:pt x="112" y="114"/>
                  </a:lnTo>
                  <a:lnTo>
                    <a:pt x="112" y="116"/>
                  </a:lnTo>
                  <a:lnTo>
                    <a:pt x="112" y="116"/>
                  </a:lnTo>
                  <a:lnTo>
                    <a:pt x="110" y="116"/>
                  </a:lnTo>
                  <a:lnTo>
                    <a:pt x="108" y="116"/>
                  </a:lnTo>
                  <a:lnTo>
                    <a:pt x="104" y="118"/>
                  </a:lnTo>
                  <a:lnTo>
                    <a:pt x="104" y="118"/>
                  </a:lnTo>
                  <a:lnTo>
                    <a:pt x="102" y="118"/>
                  </a:lnTo>
                  <a:lnTo>
                    <a:pt x="102" y="120"/>
                  </a:lnTo>
                  <a:lnTo>
                    <a:pt x="100" y="120"/>
                  </a:lnTo>
                  <a:lnTo>
                    <a:pt x="98" y="122"/>
                  </a:lnTo>
                  <a:lnTo>
                    <a:pt x="98" y="122"/>
                  </a:lnTo>
                  <a:lnTo>
                    <a:pt x="98" y="122"/>
                  </a:lnTo>
                  <a:lnTo>
                    <a:pt x="98" y="124"/>
                  </a:lnTo>
                  <a:lnTo>
                    <a:pt x="96" y="124"/>
                  </a:lnTo>
                  <a:lnTo>
                    <a:pt x="96" y="126"/>
                  </a:lnTo>
                  <a:lnTo>
                    <a:pt x="96" y="130"/>
                  </a:lnTo>
                  <a:lnTo>
                    <a:pt x="96" y="132"/>
                  </a:lnTo>
                  <a:lnTo>
                    <a:pt x="96" y="134"/>
                  </a:lnTo>
                  <a:lnTo>
                    <a:pt x="96" y="138"/>
                  </a:lnTo>
                  <a:lnTo>
                    <a:pt x="96" y="138"/>
                  </a:lnTo>
                  <a:lnTo>
                    <a:pt x="96" y="140"/>
                  </a:lnTo>
                  <a:lnTo>
                    <a:pt x="96" y="140"/>
                  </a:lnTo>
                  <a:lnTo>
                    <a:pt x="94" y="140"/>
                  </a:lnTo>
                  <a:lnTo>
                    <a:pt x="94" y="142"/>
                  </a:lnTo>
                  <a:lnTo>
                    <a:pt x="94" y="142"/>
                  </a:lnTo>
                  <a:lnTo>
                    <a:pt x="92" y="142"/>
                  </a:lnTo>
                  <a:lnTo>
                    <a:pt x="90" y="142"/>
                  </a:lnTo>
                  <a:lnTo>
                    <a:pt x="88" y="142"/>
                  </a:lnTo>
                  <a:lnTo>
                    <a:pt x="86" y="144"/>
                  </a:lnTo>
                  <a:lnTo>
                    <a:pt x="84" y="144"/>
                  </a:lnTo>
                  <a:lnTo>
                    <a:pt x="82" y="144"/>
                  </a:lnTo>
                  <a:lnTo>
                    <a:pt x="80" y="146"/>
                  </a:lnTo>
                  <a:lnTo>
                    <a:pt x="78" y="146"/>
                  </a:lnTo>
                  <a:lnTo>
                    <a:pt x="76" y="148"/>
                  </a:lnTo>
                  <a:lnTo>
                    <a:pt x="76" y="150"/>
                  </a:lnTo>
                  <a:lnTo>
                    <a:pt x="74" y="150"/>
                  </a:lnTo>
                  <a:lnTo>
                    <a:pt x="74" y="152"/>
                  </a:lnTo>
                  <a:lnTo>
                    <a:pt x="72" y="154"/>
                  </a:lnTo>
                  <a:lnTo>
                    <a:pt x="72" y="156"/>
                  </a:lnTo>
                  <a:lnTo>
                    <a:pt x="70" y="158"/>
                  </a:lnTo>
                  <a:lnTo>
                    <a:pt x="70" y="162"/>
                  </a:lnTo>
                  <a:lnTo>
                    <a:pt x="70" y="166"/>
                  </a:lnTo>
                  <a:lnTo>
                    <a:pt x="68" y="170"/>
                  </a:lnTo>
                  <a:lnTo>
                    <a:pt x="68" y="174"/>
                  </a:lnTo>
                  <a:lnTo>
                    <a:pt x="68" y="178"/>
                  </a:lnTo>
                  <a:lnTo>
                    <a:pt x="68" y="180"/>
                  </a:lnTo>
                  <a:lnTo>
                    <a:pt x="68" y="184"/>
                  </a:lnTo>
                  <a:lnTo>
                    <a:pt x="68" y="186"/>
                  </a:lnTo>
                  <a:lnTo>
                    <a:pt x="68" y="186"/>
                  </a:lnTo>
                  <a:lnTo>
                    <a:pt x="68" y="188"/>
                  </a:lnTo>
                  <a:lnTo>
                    <a:pt x="70" y="190"/>
                  </a:lnTo>
                  <a:lnTo>
                    <a:pt x="70" y="190"/>
                  </a:lnTo>
                  <a:lnTo>
                    <a:pt x="70" y="190"/>
                  </a:lnTo>
                  <a:lnTo>
                    <a:pt x="72" y="192"/>
                  </a:lnTo>
                  <a:lnTo>
                    <a:pt x="72" y="192"/>
                  </a:lnTo>
                  <a:lnTo>
                    <a:pt x="72" y="192"/>
                  </a:lnTo>
                  <a:lnTo>
                    <a:pt x="74" y="192"/>
                  </a:lnTo>
                  <a:lnTo>
                    <a:pt x="74" y="194"/>
                  </a:lnTo>
                  <a:lnTo>
                    <a:pt x="74" y="196"/>
                  </a:lnTo>
                  <a:lnTo>
                    <a:pt x="74" y="196"/>
                  </a:lnTo>
                  <a:lnTo>
                    <a:pt x="74" y="198"/>
                  </a:lnTo>
                  <a:lnTo>
                    <a:pt x="74" y="202"/>
                  </a:lnTo>
                  <a:lnTo>
                    <a:pt x="74" y="206"/>
                  </a:lnTo>
                  <a:lnTo>
                    <a:pt x="74" y="214"/>
                  </a:lnTo>
                  <a:lnTo>
                    <a:pt x="74" y="218"/>
                  </a:lnTo>
                  <a:lnTo>
                    <a:pt x="74" y="222"/>
                  </a:lnTo>
                  <a:lnTo>
                    <a:pt x="74" y="222"/>
                  </a:lnTo>
                  <a:lnTo>
                    <a:pt x="74" y="224"/>
                  </a:lnTo>
                  <a:lnTo>
                    <a:pt x="74" y="228"/>
                  </a:lnTo>
                  <a:lnTo>
                    <a:pt x="74" y="230"/>
                  </a:lnTo>
                  <a:lnTo>
                    <a:pt x="74" y="232"/>
                  </a:lnTo>
                  <a:lnTo>
                    <a:pt x="74" y="234"/>
                  </a:lnTo>
                  <a:lnTo>
                    <a:pt x="74" y="234"/>
                  </a:lnTo>
                  <a:lnTo>
                    <a:pt x="74" y="234"/>
                  </a:lnTo>
                  <a:lnTo>
                    <a:pt x="74" y="234"/>
                  </a:lnTo>
                  <a:lnTo>
                    <a:pt x="74" y="236"/>
                  </a:lnTo>
                  <a:lnTo>
                    <a:pt x="72" y="236"/>
                  </a:lnTo>
                  <a:lnTo>
                    <a:pt x="70" y="236"/>
                  </a:lnTo>
                  <a:lnTo>
                    <a:pt x="70" y="236"/>
                  </a:lnTo>
                  <a:lnTo>
                    <a:pt x="70" y="236"/>
                  </a:lnTo>
                  <a:lnTo>
                    <a:pt x="68" y="238"/>
                  </a:lnTo>
                  <a:lnTo>
                    <a:pt x="68" y="238"/>
                  </a:lnTo>
                  <a:lnTo>
                    <a:pt x="68" y="240"/>
                  </a:lnTo>
                  <a:lnTo>
                    <a:pt x="68" y="242"/>
                  </a:lnTo>
                  <a:lnTo>
                    <a:pt x="68" y="242"/>
                  </a:lnTo>
                  <a:lnTo>
                    <a:pt x="68" y="244"/>
                  </a:lnTo>
                  <a:lnTo>
                    <a:pt x="68" y="244"/>
                  </a:lnTo>
                  <a:lnTo>
                    <a:pt x="68" y="244"/>
                  </a:lnTo>
                  <a:lnTo>
                    <a:pt x="66" y="244"/>
                  </a:lnTo>
                  <a:lnTo>
                    <a:pt x="64" y="244"/>
                  </a:lnTo>
                  <a:lnTo>
                    <a:pt x="62" y="244"/>
                  </a:lnTo>
                  <a:lnTo>
                    <a:pt x="60" y="244"/>
                  </a:lnTo>
                  <a:lnTo>
                    <a:pt x="60" y="244"/>
                  </a:lnTo>
                  <a:lnTo>
                    <a:pt x="58" y="244"/>
                  </a:lnTo>
                  <a:lnTo>
                    <a:pt x="58" y="244"/>
                  </a:lnTo>
                  <a:lnTo>
                    <a:pt x="56" y="244"/>
                  </a:lnTo>
                  <a:lnTo>
                    <a:pt x="56" y="244"/>
                  </a:lnTo>
                  <a:lnTo>
                    <a:pt x="56" y="244"/>
                  </a:lnTo>
                  <a:lnTo>
                    <a:pt x="56" y="246"/>
                  </a:lnTo>
                  <a:lnTo>
                    <a:pt x="54" y="248"/>
                  </a:lnTo>
                  <a:lnTo>
                    <a:pt x="54" y="248"/>
                  </a:lnTo>
                  <a:lnTo>
                    <a:pt x="54" y="248"/>
                  </a:lnTo>
                  <a:lnTo>
                    <a:pt x="54" y="248"/>
                  </a:lnTo>
                  <a:lnTo>
                    <a:pt x="52" y="248"/>
                  </a:lnTo>
                  <a:lnTo>
                    <a:pt x="52" y="248"/>
                  </a:lnTo>
                  <a:lnTo>
                    <a:pt x="50" y="248"/>
                  </a:lnTo>
                  <a:lnTo>
                    <a:pt x="48" y="248"/>
                  </a:lnTo>
                  <a:lnTo>
                    <a:pt x="46" y="248"/>
                  </a:lnTo>
                  <a:lnTo>
                    <a:pt x="44" y="248"/>
                  </a:lnTo>
                  <a:lnTo>
                    <a:pt x="42" y="248"/>
                  </a:lnTo>
                  <a:lnTo>
                    <a:pt x="42" y="248"/>
                  </a:lnTo>
                  <a:lnTo>
                    <a:pt x="40" y="250"/>
                  </a:lnTo>
                  <a:lnTo>
                    <a:pt x="40" y="250"/>
                  </a:lnTo>
                  <a:lnTo>
                    <a:pt x="40" y="250"/>
                  </a:lnTo>
                  <a:lnTo>
                    <a:pt x="40" y="250"/>
                  </a:lnTo>
                  <a:lnTo>
                    <a:pt x="40" y="252"/>
                  </a:lnTo>
                  <a:lnTo>
                    <a:pt x="40" y="254"/>
                  </a:lnTo>
                  <a:lnTo>
                    <a:pt x="40" y="254"/>
                  </a:lnTo>
                  <a:lnTo>
                    <a:pt x="40" y="258"/>
                  </a:lnTo>
                  <a:lnTo>
                    <a:pt x="40" y="260"/>
                  </a:lnTo>
                  <a:lnTo>
                    <a:pt x="40" y="266"/>
                  </a:lnTo>
                  <a:lnTo>
                    <a:pt x="40" y="270"/>
                  </a:lnTo>
                  <a:lnTo>
                    <a:pt x="40" y="276"/>
                  </a:lnTo>
                  <a:lnTo>
                    <a:pt x="40" y="280"/>
                  </a:lnTo>
                  <a:lnTo>
                    <a:pt x="40" y="282"/>
                  </a:lnTo>
                  <a:lnTo>
                    <a:pt x="38" y="284"/>
                  </a:lnTo>
                  <a:lnTo>
                    <a:pt x="38" y="286"/>
                  </a:lnTo>
                  <a:lnTo>
                    <a:pt x="36" y="29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4" name="Freeform 432"/>
            <p:cNvSpPr>
              <a:spLocks/>
            </p:cNvSpPr>
            <p:nvPr/>
          </p:nvSpPr>
          <p:spPr bwMode="auto">
            <a:xfrm>
              <a:off x="5010540" y="4680852"/>
              <a:ext cx="270204" cy="308309"/>
            </a:xfrm>
            <a:custGeom>
              <a:avLst/>
              <a:gdLst>
                <a:gd name="T0" fmla="*/ 146 w 156"/>
                <a:gd name="T1" fmla="*/ 158 h 178"/>
                <a:gd name="T2" fmla="*/ 138 w 156"/>
                <a:gd name="T3" fmla="*/ 162 h 178"/>
                <a:gd name="T4" fmla="*/ 136 w 156"/>
                <a:gd name="T5" fmla="*/ 168 h 178"/>
                <a:gd name="T6" fmla="*/ 130 w 156"/>
                <a:gd name="T7" fmla="*/ 168 h 178"/>
                <a:gd name="T8" fmla="*/ 122 w 156"/>
                <a:gd name="T9" fmla="*/ 166 h 178"/>
                <a:gd name="T10" fmla="*/ 118 w 156"/>
                <a:gd name="T11" fmla="*/ 170 h 178"/>
                <a:gd name="T12" fmla="*/ 118 w 156"/>
                <a:gd name="T13" fmla="*/ 176 h 178"/>
                <a:gd name="T14" fmla="*/ 112 w 156"/>
                <a:gd name="T15" fmla="*/ 178 h 178"/>
                <a:gd name="T16" fmla="*/ 102 w 156"/>
                <a:gd name="T17" fmla="*/ 178 h 178"/>
                <a:gd name="T18" fmla="*/ 92 w 156"/>
                <a:gd name="T19" fmla="*/ 176 h 178"/>
                <a:gd name="T20" fmla="*/ 86 w 156"/>
                <a:gd name="T21" fmla="*/ 172 h 178"/>
                <a:gd name="T22" fmla="*/ 84 w 156"/>
                <a:gd name="T23" fmla="*/ 166 h 178"/>
                <a:gd name="T24" fmla="*/ 72 w 156"/>
                <a:gd name="T25" fmla="*/ 156 h 178"/>
                <a:gd name="T26" fmla="*/ 56 w 156"/>
                <a:gd name="T27" fmla="*/ 146 h 178"/>
                <a:gd name="T28" fmla="*/ 46 w 156"/>
                <a:gd name="T29" fmla="*/ 134 h 178"/>
                <a:gd name="T30" fmla="*/ 34 w 156"/>
                <a:gd name="T31" fmla="*/ 126 h 178"/>
                <a:gd name="T32" fmla="*/ 24 w 156"/>
                <a:gd name="T33" fmla="*/ 116 h 178"/>
                <a:gd name="T34" fmla="*/ 20 w 156"/>
                <a:gd name="T35" fmla="*/ 110 h 178"/>
                <a:gd name="T36" fmla="*/ 18 w 156"/>
                <a:gd name="T37" fmla="*/ 106 h 178"/>
                <a:gd name="T38" fmla="*/ 10 w 156"/>
                <a:gd name="T39" fmla="*/ 106 h 178"/>
                <a:gd name="T40" fmla="*/ 10 w 156"/>
                <a:gd name="T41" fmla="*/ 96 h 178"/>
                <a:gd name="T42" fmla="*/ 6 w 156"/>
                <a:gd name="T43" fmla="*/ 84 h 178"/>
                <a:gd name="T44" fmla="*/ 2 w 156"/>
                <a:gd name="T45" fmla="*/ 70 h 178"/>
                <a:gd name="T46" fmla="*/ 4 w 156"/>
                <a:gd name="T47" fmla="*/ 58 h 178"/>
                <a:gd name="T48" fmla="*/ 4 w 156"/>
                <a:gd name="T49" fmla="*/ 46 h 178"/>
                <a:gd name="T50" fmla="*/ 14 w 156"/>
                <a:gd name="T51" fmla="*/ 46 h 178"/>
                <a:gd name="T52" fmla="*/ 20 w 156"/>
                <a:gd name="T53" fmla="*/ 44 h 178"/>
                <a:gd name="T54" fmla="*/ 20 w 156"/>
                <a:gd name="T55" fmla="*/ 38 h 178"/>
                <a:gd name="T56" fmla="*/ 16 w 156"/>
                <a:gd name="T57" fmla="*/ 26 h 178"/>
                <a:gd name="T58" fmla="*/ 16 w 156"/>
                <a:gd name="T59" fmla="*/ 0 h 178"/>
                <a:gd name="T60" fmla="*/ 24 w 156"/>
                <a:gd name="T61" fmla="*/ 0 h 178"/>
                <a:gd name="T62" fmla="*/ 36 w 156"/>
                <a:gd name="T63" fmla="*/ 2 h 178"/>
                <a:gd name="T64" fmla="*/ 66 w 156"/>
                <a:gd name="T65" fmla="*/ 0 h 178"/>
                <a:gd name="T66" fmla="*/ 76 w 156"/>
                <a:gd name="T67" fmla="*/ 0 h 178"/>
                <a:gd name="T68" fmla="*/ 88 w 156"/>
                <a:gd name="T69" fmla="*/ 12 h 178"/>
                <a:gd name="T70" fmla="*/ 102 w 156"/>
                <a:gd name="T71" fmla="*/ 24 h 178"/>
                <a:gd name="T72" fmla="*/ 112 w 156"/>
                <a:gd name="T73" fmla="*/ 26 h 178"/>
                <a:gd name="T74" fmla="*/ 118 w 156"/>
                <a:gd name="T75" fmla="*/ 30 h 178"/>
                <a:gd name="T76" fmla="*/ 118 w 156"/>
                <a:gd name="T77" fmla="*/ 36 h 178"/>
                <a:gd name="T78" fmla="*/ 120 w 156"/>
                <a:gd name="T79" fmla="*/ 42 h 178"/>
                <a:gd name="T80" fmla="*/ 132 w 156"/>
                <a:gd name="T81" fmla="*/ 50 h 178"/>
                <a:gd name="T82" fmla="*/ 142 w 156"/>
                <a:gd name="T83" fmla="*/ 64 h 178"/>
                <a:gd name="T84" fmla="*/ 142 w 156"/>
                <a:gd name="T85" fmla="*/ 72 h 178"/>
                <a:gd name="T86" fmla="*/ 138 w 156"/>
                <a:gd name="T87" fmla="*/ 78 h 178"/>
                <a:gd name="T88" fmla="*/ 134 w 156"/>
                <a:gd name="T89" fmla="*/ 86 h 178"/>
                <a:gd name="T90" fmla="*/ 136 w 156"/>
                <a:gd name="T91" fmla="*/ 90 h 178"/>
                <a:gd name="T92" fmla="*/ 140 w 156"/>
                <a:gd name="T93" fmla="*/ 90 h 178"/>
                <a:gd name="T94" fmla="*/ 144 w 156"/>
                <a:gd name="T95" fmla="*/ 92 h 178"/>
                <a:gd name="T96" fmla="*/ 144 w 156"/>
                <a:gd name="T97" fmla="*/ 100 h 178"/>
                <a:gd name="T98" fmla="*/ 142 w 156"/>
                <a:gd name="T99" fmla="*/ 112 h 178"/>
                <a:gd name="T100" fmla="*/ 146 w 156"/>
                <a:gd name="T101" fmla="*/ 126 h 178"/>
                <a:gd name="T102" fmla="*/ 146 w 156"/>
                <a:gd name="T103" fmla="*/ 142 h 178"/>
                <a:gd name="T104" fmla="*/ 150 w 156"/>
                <a:gd name="T105" fmla="*/ 146 h 178"/>
                <a:gd name="T106" fmla="*/ 154 w 156"/>
                <a:gd name="T107"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78">
                  <a:moveTo>
                    <a:pt x="156" y="158"/>
                  </a:moveTo>
                  <a:lnTo>
                    <a:pt x="156" y="158"/>
                  </a:lnTo>
                  <a:lnTo>
                    <a:pt x="154" y="158"/>
                  </a:lnTo>
                  <a:lnTo>
                    <a:pt x="150" y="158"/>
                  </a:lnTo>
                  <a:lnTo>
                    <a:pt x="146" y="158"/>
                  </a:lnTo>
                  <a:lnTo>
                    <a:pt x="144" y="160"/>
                  </a:lnTo>
                  <a:lnTo>
                    <a:pt x="142" y="160"/>
                  </a:lnTo>
                  <a:lnTo>
                    <a:pt x="140" y="160"/>
                  </a:lnTo>
                  <a:lnTo>
                    <a:pt x="140" y="162"/>
                  </a:lnTo>
                  <a:lnTo>
                    <a:pt x="138" y="162"/>
                  </a:lnTo>
                  <a:lnTo>
                    <a:pt x="138" y="162"/>
                  </a:lnTo>
                  <a:lnTo>
                    <a:pt x="138" y="164"/>
                  </a:lnTo>
                  <a:lnTo>
                    <a:pt x="136" y="166"/>
                  </a:lnTo>
                  <a:lnTo>
                    <a:pt x="136" y="166"/>
                  </a:lnTo>
                  <a:lnTo>
                    <a:pt x="136" y="168"/>
                  </a:lnTo>
                  <a:lnTo>
                    <a:pt x="136" y="168"/>
                  </a:lnTo>
                  <a:lnTo>
                    <a:pt x="134" y="168"/>
                  </a:lnTo>
                  <a:lnTo>
                    <a:pt x="134" y="168"/>
                  </a:lnTo>
                  <a:lnTo>
                    <a:pt x="132" y="168"/>
                  </a:lnTo>
                  <a:lnTo>
                    <a:pt x="130" y="168"/>
                  </a:lnTo>
                  <a:lnTo>
                    <a:pt x="128" y="168"/>
                  </a:lnTo>
                  <a:lnTo>
                    <a:pt x="126" y="166"/>
                  </a:lnTo>
                  <a:lnTo>
                    <a:pt x="122" y="166"/>
                  </a:lnTo>
                  <a:lnTo>
                    <a:pt x="122" y="166"/>
                  </a:lnTo>
                  <a:lnTo>
                    <a:pt x="122" y="166"/>
                  </a:lnTo>
                  <a:lnTo>
                    <a:pt x="120" y="166"/>
                  </a:lnTo>
                  <a:lnTo>
                    <a:pt x="120" y="168"/>
                  </a:lnTo>
                  <a:lnTo>
                    <a:pt x="120" y="168"/>
                  </a:lnTo>
                  <a:lnTo>
                    <a:pt x="118" y="168"/>
                  </a:lnTo>
                  <a:lnTo>
                    <a:pt x="118" y="170"/>
                  </a:lnTo>
                  <a:lnTo>
                    <a:pt x="118" y="170"/>
                  </a:lnTo>
                  <a:lnTo>
                    <a:pt x="118" y="172"/>
                  </a:lnTo>
                  <a:lnTo>
                    <a:pt x="118" y="174"/>
                  </a:lnTo>
                  <a:lnTo>
                    <a:pt x="118" y="174"/>
                  </a:lnTo>
                  <a:lnTo>
                    <a:pt x="118" y="176"/>
                  </a:lnTo>
                  <a:lnTo>
                    <a:pt x="116" y="176"/>
                  </a:lnTo>
                  <a:lnTo>
                    <a:pt x="116" y="176"/>
                  </a:lnTo>
                  <a:lnTo>
                    <a:pt x="116" y="178"/>
                  </a:lnTo>
                  <a:lnTo>
                    <a:pt x="114" y="178"/>
                  </a:lnTo>
                  <a:lnTo>
                    <a:pt x="112" y="178"/>
                  </a:lnTo>
                  <a:lnTo>
                    <a:pt x="110" y="178"/>
                  </a:lnTo>
                  <a:lnTo>
                    <a:pt x="108" y="178"/>
                  </a:lnTo>
                  <a:lnTo>
                    <a:pt x="106" y="178"/>
                  </a:lnTo>
                  <a:lnTo>
                    <a:pt x="104" y="178"/>
                  </a:lnTo>
                  <a:lnTo>
                    <a:pt x="102" y="178"/>
                  </a:lnTo>
                  <a:lnTo>
                    <a:pt x="100" y="178"/>
                  </a:lnTo>
                  <a:lnTo>
                    <a:pt x="98" y="178"/>
                  </a:lnTo>
                  <a:lnTo>
                    <a:pt x="96" y="178"/>
                  </a:lnTo>
                  <a:lnTo>
                    <a:pt x="94" y="178"/>
                  </a:lnTo>
                  <a:lnTo>
                    <a:pt x="92" y="176"/>
                  </a:lnTo>
                  <a:lnTo>
                    <a:pt x="90" y="176"/>
                  </a:lnTo>
                  <a:lnTo>
                    <a:pt x="88" y="176"/>
                  </a:lnTo>
                  <a:lnTo>
                    <a:pt x="88" y="174"/>
                  </a:lnTo>
                  <a:lnTo>
                    <a:pt x="86" y="174"/>
                  </a:lnTo>
                  <a:lnTo>
                    <a:pt x="86" y="172"/>
                  </a:lnTo>
                  <a:lnTo>
                    <a:pt x="86" y="172"/>
                  </a:lnTo>
                  <a:lnTo>
                    <a:pt x="86" y="170"/>
                  </a:lnTo>
                  <a:lnTo>
                    <a:pt x="84" y="168"/>
                  </a:lnTo>
                  <a:lnTo>
                    <a:pt x="84" y="166"/>
                  </a:lnTo>
                  <a:lnTo>
                    <a:pt x="84" y="166"/>
                  </a:lnTo>
                  <a:lnTo>
                    <a:pt x="82" y="164"/>
                  </a:lnTo>
                  <a:lnTo>
                    <a:pt x="82" y="162"/>
                  </a:lnTo>
                  <a:lnTo>
                    <a:pt x="78" y="160"/>
                  </a:lnTo>
                  <a:lnTo>
                    <a:pt x="74" y="158"/>
                  </a:lnTo>
                  <a:lnTo>
                    <a:pt x="72" y="156"/>
                  </a:lnTo>
                  <a:lnTo>
                    <a:pt x="68" y="152"/>
                  </a:lnTo>
                  <a:lnTo>
                    <a:pt x="64" y="150"/>
                  </a:lnTo>
                  <a:lnTo>
                    <a:pt x="60" y="150"/>
                  </a:lnTo>
                  <a:lnTo>
                    <a:pt x="58" y="148"/>
                  </a:lnTo>
                  <a:lnTo>
                    <a:pt x="56" y="146"/>
                  </a:lnTo>
                  <a:lnTo>
                    <a:pt x="54" y="146"/>
                  </a:lnTo>
                  <a:lnTo>
                    <a:pt x="52" y="144"/>
                  </a:lnTo>
                  <a:lnTo>
                    <a:pt x="50" y="140"/>
                  </a:lnTo>
                  <a:lnTo>
                    <a:pt x="46" y="136"/>
                  </a:lnTo>
                  <a:lnTo>
                    <a:pt x="46" y="134"/>
                  </a:lnTo>
                  <a:lnTo>
                    <a:pt x="44" y="132"/>
                  </a:lnTo>
                  <a:lnTo>
                    <a:pt x="42" y="132"/>
                  </a:lnTo>
                  <a:lnTo>
                    <a:pt x="42" y="130"/>
                  </a:lnTo>
                  <a:lnTo>
                    <a:pt x="38" y="128"/>
                  </a:lnTo>
                  <a:lnTo>
                    <a:pt x="34" y="126"/>
                  </a:lnTo>
                  <a:lnTo>
                    <a:pt x="32" y="126"/>
                  </a:lnTo>
                  <a:lnTo>
                    <a:pt x="30" y="124"/>
                  </a:lnTo>
                  <a:lnTo>
                    <a:pt x="28" y="122"/>
                  </a:lnTo>
                  <a:lnTo>
                    <a:pt x="26" y="120"/>
                  </a:lnTo>
                  <a:lnTo>
                    <a:pt x="24" y="116"/>
                  </a:lnTo>
                  <a:lnTo>
                    <a:pt x="22" y="116"/>
                  </a:lnTo>
                  <a:lnTo>
                    <a:pt x="22" y="114"/>
                  </a:lnTo>
                  <a:lnTo>
                    <a:pt x="22" y="114"/>
                  </a:lnTo>
                  <a:lnTo>
                    <a:pt x="20" y="112"/>
                  </a:lnTo>
                  <a:lnTo>
                    <a:pt x="20" y="110"/>
                  </a:lnTo>
                  <a:lnTo>
                    <a:pt x="20" y="108"/>
                  </a:lnTo>
                  <a:lnTo>
                    <a:pt x="20" y="108"/>
                  </a:lnTo>
                  <a:lnTo>
                    <a:pt x="20" y="106"/>
                  </a:lnTo>
                  <a:lnTo>
                    <a:pt x="20" y="106"/>
                  </a:lnTo>
                  <a:lnTo>
                    <a:pt x="18" y="106"/>
                  </a:lnTo>
                  <a:lnTo>
                    <a:pt x="18" y="106"/>
                  </a:lnTo>
                  <a:lnTo>
                    <a:pt x="16" y="106"/>
                  </a:lnTo>
                  <a:lnTo>
                    <a:pt x="14" y="106"/>
                  </a:lnTo>
                  <a:lnTo>
                    <a:pt x="12" y="106"/>
                  </a:lnTo>
                  <a:lnTo>
                    <a:pt x="10" y="106"/>
                  </a:lnTo>
                  <a:lnTo>
                    <a:pt x="8" y="106"/>
                  </a:lnTo>
                  <a:lnTo>
                    <a:pt x="8" y="104"/>
                  </a:lnTo>
                  <a:lnTo>
                    <a:pt x="10" y="102"/>
                  </a:lnTo>
                  <a:lnTo>
                    <a:pt x="10" y="100"/>
                  </a:lnTo>
                  <a:lnTo>
                    <a:pt x="10" y="96"/>
                  </a:lnTo>
                  <a:lnTo>
                    <a:pt x="10" y="94"/>
                  </a:lnTo>
                  <a:lnTo>
                    <a:pt x="8" y="92"/>
                  </a:lnTo>
                  <a:lnTo>
                    <a:pt x="8" y="88"/>
                  </a:lnTo>
                  <a:lnTo>
                    <a:pt x="8" y="86"/>
                  </a:lnTo>
                  <a:lnTo>
                    <a:pt x="6" y="84"/>
                  </a:lnTo>
                  <a:lnTo>
                    <a:pt x="6" y="80"/>
                  </a:lnTo>
                  <a:lnTo>
                    <a:pt x="4" y="76"/>
                  </a:lnTo>
                  <a:lnTo>
                    <a:pt x="4" y="74"/>
                  </a:lnTo>
                  <a:lnTo>
                    <a:pt x="2" y="72"/>
                  </a:lnTo>
                  <a:lnTo>
                    <a:pt x="2" y="70"/>
                  </a:lnTo>
                  <a:lnTo>
                    <a:pt x="2" y="68"/>
                  </a:lnTo>
                  <a:lnTo>
                    <a:pt x="4" y="64"/>
                  </a:lnTo>
                  <a:lnTo>
                    <a:pt x="4" y="62"/>
                  </a:lnTo>
                  <a:lnTo>
                    <a:pt x="4" y="60"/>
                  </a:lnTo>
                  <a:lnTo>
                    <a:pt x="4" y="58"/>
                  </a:lnTo>
                  <a:lnTo>
                    <a:pt x="4" y="56"/>
                  </a:lnTo>
                  <a:lnTo>
                    <a:pt x="4" y="56"/>
                  </a:lnTo>
                  <a:lnTo>
                    <a:pt x="2" y="52"/>
                  </a:lnTo>
                  <a:lnTo>
                    <a:pt x="0" y="48"/>
                  </a:lnTo>
                  <a:lnTo>
                    <a:pt x="4" y="46"/>
                  </a:lnTo>
                  <a:lnTo>
                    <a:pt x="6" y="46"/>
                  </a:lnTo>
                  <a:lnTo>
                    <a:pt x="8" y="46"/>
                  </a:lnTo>
                  <a:lnTo>
                    <a:pt x="8" y="46"/>
                  </a:lnTo>
                  <a:lnTo>
                    <a:pt x="10" y="46"/>
                  </a:lnTo>
                  <a:lnTo>
                    <a:pt x="14" y="46"/>
                  </a:lnTo>
                  <a:lnTo>
                    <a:pt x="16" y="46"/>
                  </a:lnTo>
                  <a:lnTo>
                    <a:pt x="18" y="46"/>
                  </a:lnTo>
                  <a:lnTo>
                    <a:pt x="18" y="44"/>
                  </a:lnTo>
                  <a:lnTo>
                    <a:pt x="20" y="44"/>
                  </a:lnTo>
                  <a:lnTo>
                    <a:pt x="20" y="44"/>
                  </a:lnTo>
                  <a:lnTo>
                    <a:pt x="20" y="44"/>
                  </a:lnTo>
                  <a:lnTo>
                    <a:pt x="20" y="42"/>
                  </a:lnTo>
                  <a:lnTo>
                    <a:pt x="20" y="42"/>
                  </a:lnTo>
                  <a:lnTo>
                    <a:pt x="20" y="40"/>
                  </a:lnTo>
                  <a:lnTo>
                    <a:pt x="20" y="38"/>
                  </a:lnTo>
                  <a:lnTo>
                    <a:pt x="20" y="36"/>
                  </a:lnTo>
                  <a:lnTo>
                    <a:pt x="20" y="34"/>
                  </a:lnTo>
                  <a:lnTo>
                    <a:pt x="18" y="32"/>
                  </a:lnTo>
                  <a:lnTo>
                    <a:pt x="18" y="28"/>
                  </a:lnTo>
                  <a:lnTo>
                    <a:pt x="16" y="26"/>
                  </a:lnTo>
                  <a:lnTo>
                    <a:pt x="16" y="24"/>
                  </a:lnTo>
                  <a:lnTo>
                    <a:pt x="14" y="20"/>
                  </a:lnTo>
                  <a:lnTo>
                    <a:pt x="10" y="4"/>
                  </a:lnTo>
                  <a:lnTo>
                    <a:pt x="14" y="2"/>
                  </a:lnTo>
                  <a:lnTo>
                    <a:pt x="16" y="0"/>
                  </a:lnTo>
                  <a:lnTo>
                    <a:pt x="18" y="0"/>
                  </a:lnTo>
                  <a:lnTo>
                    <a:pt x="18" y="0"/>
                  </a:lnTo>
                  <a:lnTo>
                    <a:pt x="20" y="0"/>
                  </a:lnTo>
                  <a:lnTo>
                    <a:pt x="22" y="0"/>
                  </a:lnTo>
                  <a:lnTo>
                    <a:pt x="24" y="0"/>
                  </a:lnTo>
                  <a:lnTo>
                    <a:pt x="26" y="0"/>
                  </a:lnTo>
                  <a:lnTo>
                    <a:pt x="30" y="0"/>
                  </a:lnTo>
                  <a:lnTo>
                    <a:pt x="32" y="2"/>
                  </a:lnTo>
                  <a:lnTo>
                    <a:pt x="34" y="2"/>
                  </a:lnTo>
                  <a:lnTo>
                    <a:pt x="36" y="2"/>
                  </a:lnTo>
                  <a:lnTo>
                    <a:pt x="40" y="2"/>
                  </a:lnTo>
                  <a:lnTo>
                    <a:pt x="48" y="0"/>
                  </a:lnTo>
                  <a:lnTo>
                    <a:pt x="56" y="0"/>
                  </a:lnTo>
                  <a:lnTo>
                    <a:pt x="62" y="0"/>
                  </a:lnTo>
                  <a:lnTo>
                    <a:pt x="66" y="0"/>
                  </a:lnTo>
                  <a:lnTo>
                    <a:pt x="68" y="0"/>
                  </a:lnTo>
                  <a:lnTo>
                    <a:pt x="72" y="0"/>
                  </a:lnTo>
                  <a:lnTo>
                    <a:pt x="72" y="0"/>
                  </a:lnTo>
                  <a:lnTo>
                    <a:pt x="74" y="0"/>
                  </a:lnTo>
                  <a:lnTo>
                    <a:pt x="76" y="0"/>
                  </a:lnTo>
                  <a:lnTo>
                    <a:pt x="78" y="2"/>
                  </a:lnTo>
                  <a:lnTo>
                    <a:pt x="80" y="4"/>
                  </a:lnTo>
                  <a:lnTo>
                    <a:pt x="82" y="4"/>
                  </a:lnTo>
                  <a:lnTo>
                    <a:pt x="84" y="8"/>
                  </a:lnTo>
                  <a:lnTo>
                    <a:pt x="88" y="12"/>
                  </a:lnTo>
                  <a:lnTo>
                    <a:pt x="92" y="16"/>
                  </a:lnTo>
                  <a:lnTo>
                    <a:pt x="96" y="20"/>
                  </a:lnTo>
                  <a:lnTo>
                    <a:pt x="98" y="20"/>
                  </a:lnTo>
                  <a:lnTo>
                    <a:pt x="100" y="22"/>
                  </a:lnTo>
                  <a:lnTo>
                    <a:pt x="102" y="24"/>
                  </a:lnTo>
                  <a:lnTo>
                    <a:pt x="102" y="24"/>
                  </a:lnTo>
                  <a:lnTo>
                    <a:pt x="104" y="26"/>
                  </a:lnTo>
                  <a:lnTo>
                    <a:pt x="106" y="26"/>
                  </a:lnTo>
                  <a:lnTo>
                    <a:pt x="110" y="26"/>
                  </a:lnTo>
                  <a:lnTo>
                    <a:pt x="112" y="26"/>
                  </a:lnTo>
                  <a:lnTo>
                    <a:pt x="114" y="28"/>
                  </a:lnTo>
                  <a:lnTo>
                    <a:pt x="116" y="28"/>
                  </a:lnTo>
                  <a:lnTo>
                    <a:pt x="118" y="28"/>
                  </a:lnTo>
                  <a:lnTo>
                    <a:pt x="118" y="30"/>
                  </a:lnTo>
                  <a:lnTo>
                    <a:pt x="118" y="30"/>
                  </a:lnTo>
                  <a:lnTo>
                    <a:pt x="118" y="30"/>
                  </a:lnTo>
                  <a:lnTo>
                    <a:pt x="118" y="32"/>
                  </a:lnTo>
                  <a:lnTo>
                    <a:pt x="118" y="34"/>
                  </a:lnTo>
                  <a:lnTo>
                    <a:pt x="118" y="34"/>
                  </a:lnTo>
                  <a:lnTo>
                    <a:pt x="118" y="36"/>
                  </a:lnTo>
                  <a:lnTo>
                    <a:pt x="118" y="38"/>
                  </a:lnTo>
                  <a:lnTo>
                    <a:pt x="120" y="40"/>
                  </a:lnTo>
                  <a:lnTo>
                    <a:pt x="120" y="40"/>
                  </a:lnTo>
                  <a:lnTo>
                    <a:pt x="120" y="42"/>
                  </a:lnTo>
                  <a:lnTo>
                    <a:pt x="120" y="42"/>
                  </a:lnTo>
                  <a:lnTo>
                    <a:pt x="122" y="44"/>
                  </a:lnTo>
                  <a:lnTo>
                    <a:pt x="122" y="44"/>
                  </a:lnTo>
                  <a:lnTo>
                    <a:pt x="124" y="46"/>
                  </a:lnTo>
                  <a:lnTo>
                    <a:pt x="128" y="48"/>
                  </a:lnTo>
                  <a:lnTo>
                    <a:pt x="132" y="50"/>
                  </a:lnTo>
                  <a:lnTo>
                    <a:pt x="136" y="52"/>
                  </a:lnTo>
                  <a:lnTo>
                    <a:pt x="138" y="52"/>
                  </a:lnTo>
                  <a:lnTo>
                    <a:pt x="142" y="54"/>
                  </a:lnTo>
                  <a:lnTo>
                    <a:pt x="142" y="62"/>
                  </a:lnTo>
                  <a:lnTo>
                    <a:pt x="142" y="64"/>
                  </a:lnTo>
                  <a:lnTo>
                    <a:pt x="142" y="68"/>
                  </a:lnTo>
                  <a:lnTo>
                    <a:pt x="142" y="68"/>
                  </a:lnTo>
                  <a:lnTo>
                    <a:pt x="144" y="70"/>
                  </a:lnTo>
                  <a:lnTo>
                    <a:pt x="142" y="72"/>
                  </a:lnTo>
                  <a:lnTo>
                    <a:pt x="142" y="72"/>
                  </a:lnTo>
                  <a:lnTo>
                    <a:pt x="142" y="74"/>
                  </a:lnTo>
                  <a:lnTo>
                    <a:pt x="142" y="74"/>
                  </a:lnTo>
                  <a:lnTo>
                    <a:pt x="140" y="76"/>
                  </a:lnTo>
                  <a:lnTo>
                    <a:pt x="138" y="78"/>
                  </a:lnTo>
                  <a:lnTo>
                    <a:pt x="138" y="78"/>
                  </a:lnTo>
                  <a:lnTo>
                    <a:pt x="136" y="78"/>
                  </a:lnTo>
                  <a:lnTo>
                    <a:pt x="136" y="82"/>
                  </a:lnTo>
                  <a:lnTo>
                    <a:pt x="136" y="82"/>
                  </a:lnTo>
                  <a:lnTo>
                    <a:pt x="134" y="84"/>
                  </a:lnTo>
                  <a:lnTo>
                    <a:pt x="134" y="86"/>
                  </a:lnTo>
                  <a:lnTo>
                    <a:pt x="134" y="88"/>
                  </a:lnTo>
                  <a:lnTo>
                    <a:pt x="134" y="88"/>
                  </a:lnTo>
                  <a:lnTo>
                    <a:pt x="134" y="90"/>
                  </a:lnTo>
                  <a:lnTo>
                    <a:pt x="136" y="90"/>
                  </a:lnTo>
                  <a:lnTo>
                    <a:pt x="136" y="90"/>
                  </a:lnTo>
                  <a:lnTo>
                    <a:pt x="136" y="90"/>
                  </a:lnTo>
                  <a:lnTo>
                    <a:pt x="136" y="90"/>
                  </a:lnTo>
                  <a:lnTo>
                    <a:pt x="138" y="90"/>
                  </a:lnTo>
                  <a:lnTo>
                    <a:pt x="140" y="90"/>
                  </a:lnTo>
                  <a:lnTo>
                    <a:pt x="140" y="90"/>
                  </a:lnTo>
                  <a:lnTo>
                    <a:pt x="142" y="90"/>
                  </a:lnTo>
                  <a:lnTo>
                    <a:pt x="142" y="92"/>
                  </a:lnTo>
                  <a:lnTo>
                    <a:pt x="144" y="92"/>
                  </a:lnTo>
                  <a:lnTo>
                    <a:pt x="144" y="92"/>
                  </a:lnTo>
                  <a:lnTo>
                    <a:pt x="144" y="92"/>
                  </a:lnTo>
                  <a:lnTo>
                    <a:pt x="144" y="94"/>
                  </a:lnTo>
                  <a:lnTo>
                    <a:pt x="144" y="94"/>
                  </a:lnTo>
                  <a:lnTo>
                    <a:pt x="144" y="96"/>
                  </a:lnTo>
                  <a:lnTo>
                    <a:pt x="144" y="96"/>
                  </a:lnTo>
                  <a:lnTo>
                    <a:pt x="144" y="100"/>
                  </a:lnTo>
                  <a:lnTo>
                    <a:pt x="142" y="104"/>
                  </a:lnTo>
                  <a:lnTo>
                    <a:pt x="142" y="106"/>
                  </a:lnTo>
                  <a:lnTo>
                    <a:pt x="142" y="108"/>
                  </a:lnTo>
                  <a:lnTo>
                    <a:pt x="142" y="110"/>
                  </a:lnTo>
                  <a:lnTo>
                    <a:pt x="142" y="112"/>
                  </a:lnTo>
                  <a:lnTo>
                    <a:pt x="144" y="116"/>
                  </a:lnTo>
                  <a:lnTo>
                    <a:pt x="146" y="122"/>
                  </a:lnTo>
                  <a:lnTo>
                    <a:pt x="146" y="124"/>
                  </a:lnTo>
                  <a:lnTo>
                    <a:pt x="146" y="124"/>
                  </a:lnTo>
                  <a:lnTo>
                    <a:pt x="146" y="126"/>
                  </a:lnTo>
                  <a:lnTo>
                    <a:pt x="146" y="130"/>
                  </a:lnTo>
                  <a:lnTo>
                    <a:pt x="146" y="134"/>
                  </a:lnTo>
                  <a:lnTo>
                    <a:pt x="146" y="136"/>
                  </a:lnTo>
                  <a:lnTo>
                    <a:pt x="146" y="140"/>
                  </a:lnTo>
                  <a:lnTo>
                    <a:pt x="146" y="142"/>
                  </a:lnTo>
                  <a:lnTo>
                    <a:pt x="146" y="142"/>
                  </a:lnTo>
                  <a:lnTo>
                    <a:pt x="146" y="144"/>
                  </a:lnTo>
                  <a:lnTo>
                    <a:pt x="146" y="144"/>
                  </a:lnTo>
                  <a:lnTo>
                    <a:pt x="148" y="144"/>
                  </a:lnTo>
                  <a:lnTo>
                    <a:pt x="150" y="146"/>
                  </a:lnTo>
                  <a:lnTo>
                    <a:pt x="152" y="148"/>
                  </a:lnTo>
                  <a:lnTo>
                    <a:pt x="152" y="148"/>
                  </a:lnTo>
                  <a:lnTo>
                    <a:pt x="152" y="150"/>
                  </a:lnTo>
                  <a:lnTo>
                    <a:pt x="154" y="150"/>
                  </a:lnTo>
                  <a:lnTo>
                    <a:pt x="154" y="152"/>
                  </a:lnTo>
                  <a:lnTo>
                    <a:pt x="156" y="154"/>
                  </a:lnTo>
                  <a:lnTo>
                    <a:pt x="156" y="15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5" name="Freeform 433"/>
            <p:cNvSpPr>
              <a:spLocks/>
            </p:cNvSpPr>
            <p:nvPr/>
          </p:nvSpPr>
          <p:spPr bwMode="auto">
            <a:xfrm>
              <a:off x="5010540" y="4680852"/>
              <a:ext cx="270204" cy="308309"/>
            </a:xfrm>
            <a:custGeom>
              <a:avLst/>
              <a:gdLst>
                <a:gd name="T0" fmla="*/ 146 w 156"/>
                <a:gd name="T1" fmla="*/ 158 h 178"/>
                <a:gd name="T2" fmla="*/ 138 w 156"/>
                <a:gd name="T3" fmla="*/ 162 h 178"/>
                <a:gd name="T4" fmla="*/ 136 w 156"/>
                <a:gd name="T5" fmla="*/ 168 h 178"/>
                <a:gd name="T6" fmla="*/ 130 w 156"/>
                <a:gd name="T7" fmla="*/ 168 h 178"/>
                <a:gd name="T8" fmla="*/ 122 w 156"/>
                <a:gd name="T9" fmla="*/ 166 h 178"/>
                <a:gd name="T10" fmla="*/ 118 w 156"/>
                <a:gd name="T11" fmla="*/ 170 h 178"/>
                <a:gd name="T12" fmla="*/ 118 w 156"/>
                <a:gd name="T13" fmla="*/ 176 h 178"/>
                <a:gd name="T14" fmla="*/ 112 w 156"/>
                <a:gd name="T15" fmla="*/ 178 h 178"/>
                <a:gd name="T16" fmla="*/ 102 w 156"/>
                <a:gd name="T17" fmla="*/ 178 h 178"/>
                <a:gd name="T18" fmla="*/ 92 w 156"/>
                <a:gd name="T19" fmla="*/ 176 h 178"/>
                <a:gd name="T20" fmla="*/ 86 w 156"/>
                <a:gd name="T21" fmla="*/ 172 h 178"/>
                <a:gd name="T22" fmla="*/ 84 w 156"/>
                <a:gd name="T23" fmla="*/ 166 h 178"/>
                <a:gd name="T24" fmla="*/ 72 w 156"/>
                <a:gd name="T25" fmla="*/ 156 h 178"/>
                <a:gd name="T26" fmla="*/ 56 w 156"/>
                <a:gd name="T27" fmla="*/ 146 h 178"/>
                <a:gd name="T28" fmla="*/ 46 w 156"/>
                <a:gd name="T29" fmla="*/ 134 h 178"/>
                <a:gd name="T30" fmla="*/ 34 w 156"/>
                <a:gd name="T31" fmla="*/ 126 h 178"/>
                <a:gd name="T32" fmla="*/ 24 w 156"/>
                <a:gd name="T33" fmla="*/ 116 h 178"/>
                <a:gd name="T34" fmla="*/ 20 w 156"/>
                <a:gd name="T35" fmla="*/ 110 h 178"/>
                <a:gd name="T36" fmla="*/ 18 w 156"/>
                <a:gd name="T37" fmla="*/ 106 h 178"/>
                <a:gd name="T38" fmla="*/ 10 w 156"/>
                <a:gd name="T39" fmla="*/ 106 h 178"/>
                <a:gd name="T40" fmla="*/ 10 w 156"/>
                <a:gd name="T41" fmla="*/ 96 h 178"/>
                <a:gd name="T42" fmla="*/ 6 w 156"/>
                <a:gd name="T43" fmla="*/ 84 h 178"/>
                <a:gd name="T44" fmla="*/ 2 w 156"/>
                <a:gd name="T45" fmla="*/ 70 h 178"/>
                <a:gd name="T46" fmla="*/ 4 w 156"/>
                <a:gd name="T47" fmla="*/ 58 h 178"/>
                <a:gd name="T48" fmla="*/ 4 w 156"/>
                <a:gd name="T49" fmla="*/ 46 h 178"/>
                <a:gd name="T50" fmla="*/ 14 w 156"/>
                <a:gd name="T51" fmla="*/ 46 h 178"/>
                <a:gd name="T52" fmla="*/ 20 w 156"/>
                <a:gd name="T53" fmla="*/ 44 h 178"/>
                <a:gd name="T54" fmla="*/ 20 w 156"/>
                <a:gd name="T55" fmla="*/ 38 h 178"/>
                <a:gd name="T56" fmla="*/ 16 w 156"/>
                <a:gd name="T57" fmla="*/ 26 h 178"/>
                <a:gd name="T58" fmla="*/ 16 w 156"/>
                <a:gd name="T59" fmla="*/ 0 h 178"/>
                <a:gd name="T60" fmla="*/ 24 w 156"/>
                <a:gd name="T61" fmla="*/ 0 h 178"/>
                <a:gd name="T62" fmla="*/ 36 w 156"/>
                <a:gd name="T63" fmla="*/ 2 h 178"/>
                <a:gd name="T64" fmla="*/ 66 w 156"/>
                <a:gd name="T65" fmla="*/ 0 h 178"/>
                <a:gd name="T66" fmla="*/ 76 w 156"/>
                <a:gd name="T67" fmla="*/ 0 h 178"/>
                <a:gd name="T68" fmla="*/ 88 w 156"/>
                <a:gd name="T69" fmla="*/ 12 h 178"/>
                <a:gd name="T70" fmla="*/ 102 w 156"/>
                <a:gd name="T71" fmla="*/ 24 h 178"/>
                <a:gd name="T72" fmla="*/ 112 w 156"/>
                <a:gd name="T73" fmla="*/ 26 h 178"/>
                <a:gd name="T74" fmla="*/ 118 w 156"/>
                <a:gd name="T75" fmla="*/ 30 h 178"/>
                <a:gd name="T76" fmla="*/ 118 w 156"/>
                <a:gd name="T77" fmla="*/ 36 h 178"/>
                <a:gd name="T78" fmla="*/ 120 w 156"/>
                <a:gd name="T79" fmla="*/ 42 h 178"/>
                <a:gd name="T80" fmla="*/ 132 w 156"/>
                <a:gd name="T81" fmla="*/ 50 h 178"/>
                <a:gd name="T82" fmla="*/ 142 w 156"/>
                <a:gd name="T83" fmla="*/ 64 h 178"/>
                <a:gd name="T84" fmla="*/ 142 w 156"/>
                <a:gd name="T85" fmla="*/ 72 h 178"/>
                <a:gd name="T86" fmla="*/ 138 w 156"/>
                <a:gd name="T87" fmla="*/ 78 h 178"/>
                <a:gd name="T88" fmla="*/ 134 w 156"/>
                <a:gd name="T89" fmla="*/ 86 h 178"/>
                <a:gd name="T90" fmla="*/ 136 w 156"/>
                <a:gd name="T91" fmla="*/ 90 h 178"/>
                <a:gd name="T92" fmla="*/ 140 w 156"/>
                <a:gd name="T93" fmla="*/ 90 h 178"/>
                <a:gd name="T94" fmla="*/ 144 w 156"/>
                <a:gd name="T95" fmla="*/ 92 h 178"/>
                <a:gd name="T96" fmla="*/ 144 w 156"/>
                <a:gd name="T97" fmla="*/ 100 h 178"/>
                <a:gd name="T98" fmla="*/ 142 w 156"/>
                <a:gd name="T99" fmla="*/ 112 h 178"/>
                <a:gd name="T100" fmla="*/ 146 w 156"/>
                <a:gd name="T101" fmla="*/ 126 h 178"/>
                <a:gd name="T102" fmla="*/ 146 w 156"/>
                <a:gd name="T103" fmla="*/ 142 h 178"/>
                <a:gd name="T104" fmla="*/ 150 w 156"/>
                <a:gd name="T105" fmla="*/ 146 h 178"/>
                <a:gd name="T106" fmla="*/ 154 w 156"/>
                <a:gd name="T107"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78">
                  <a:moveTo>
                    <a:pt x="156" y="158"/>
                  </a:moveTo>
                  <a:lnTo>
                    <a:pt x="156" y="158"/>
                  </a:lnTo>
                  <a:lnTo>
                    <a:pt x="154" y="158"/>
                  </a:lnTo>
                  <a:lnTo>
                    <a:pt x="150" y="158"/>
                  </a:lnTo>
                  <a:lnTo>
                    <a:pt x="146" y="158"/>
                  </a:lnTo>
                  <a:lnTo>
                    <a:pt x="144" y="160"/>
                  </a:lnTo>
                  <a:lnTo>
                    <a:pt x="142" y="160"/>
                  </a:lnTo>
                  <a:lnTo>
                    <a:pt x="140" y="160"/>
                  </a:lnTo>
                  <a:lnTo>
                    <a:pt x="140" y="162"/>
                  </a:lnTo>
                  <a:lnTo>
                    <a:pt x="138" y="162"/>
                  </a:lnTo>
                  <a:lnTo>
                    <a:pt x="138" y="162"/>
                  </a:lnTo>
                  <a:lnTo>
                    <a:pt x="138" y="164"/>
                  </a:lnTo>
                  <a:lnTo>
                    <a:pt x="136" y="166"/>
                  </a:lnTo>
                  <a:lnTo>
                    <a:pt x="136" y="166"/>
                  </a:lnTo>
                  <a:lnTo>
                    <a:pt x="136" y="168"/>
                  </a:lnTo>
                  <a:lnTo>
                    <a:pt x="136" y="168"/>
                  </a:lnTo>
                  <a:lnTo>
                    <a:pt x="134" y="168"/>
                  </a:lnTo>
                  <a:lnTo>
                    <a:pt x="134" y="168"/>
                  </a:lnTo>
                  <a:lnTo>
                    <a:pt x="132" y="168"/>
                  </a:lnTo>
                  <a:lnTo>
                    <a:pt x="130" y="168"/>
                  </a:lnTo>
                  <a:lnTo>
                    <a:pt x="128" y="168"/>
                  </a:lnTo>
                  <a:lnTo>
                    <a:pt x="126" y="166"/>
                  </a:lnTo>
                  <a:lnTo>
                    <a:pt x="122" y="166"/>
                  </a:lnTo>
                  <a:lnTo>
                    <a:pt x="122" y="166"/>
                  </a:lnTo>
                  <a:lnTo>
                    <a:pt x="122" y="166"/>
                  </a:lnTo>
                  <a:lnTo>
                    <a:pt x="120" y="166"/>
                  </a:lnTo>
                  <a:lnTo>
                    <a:pt x="120" y="168"/>
                  </a:lnTo>
                  <a:lnTo>
                    <a:pt x="120" y="168"/>
                  </a:lnTo>
                  <a:lnTo>
                    <a:pt x="118" y="168"/>
                  </a:lnTo>
                  <a:lnTo>
                    <a:pt x="118" y="170"/>
                  </a:lnTo>
                  <a:lnTo>
                    <a:pt x="118" y="170"/>
                  </a:lnTo>
                  <a:lnTo>
                    <a:pt x="118" y="172"/>
                  </a:lnTo>
                  <a:lnTo>
                    <a:pt x="118" y="174"/>
                  </a:lnTo>
                  <a:lnTo>
                    <a:pt x="118" y="174"/>
                  </a:lnTo>
                  <a:lnTo>
                    <a:pt x="118" y="176"/>
                  </a:lnTo>
                  <a:lnTo>
                    <a:pt x="116" y="176"/>
                  </a:lnTo>
                  <a:lnTo>
                    <a:pt x="116" y="176"/>
                  </a:lnTo>
                  <a:lnTo>
                    <a:pt x="116" y="178"/>
                  </a:lnTo>
                  <a:lnTo>
                    <a:pt x="114" y="178"/>
                  </a:lnTo>
                  <a:lnTo>
                    <a:pt x="112" y="178"/>
                  </a:lnTo>
                  <a:lnTo>
                    <a:pt x="110" y="178"/>
                  </a:lnTo>
                  <a:lnTo>
                    <a:pt x="108" y="178"/>
                  </a:lnTo>
                  <a:lnTo>
                    <a:pt x="106" y="178"/>
                  </a:lnTo>
                  <a:lnTo>
                    <a:pt x="104" y="178"/>
                  </a:lnTo>
                  <a:lnTo>
                    <a:pt x="102" y="178"/>
                  </a:lnTo>
                  <a:lnTo>
                    <a:pt x="100" y="178"/>
                  </a:lnTo>
                  <a:lnTo>
                    <a:pt x="98" y="178"/>
                  </a:lnTo>
                  <a:lnTo>
                    <a:pt x="96" y="178"/>
                  </a:lnTo>
                  <a:lnTo>
                    <a:pt x="94" y="178"/>
                  </a:lnTo>
                  <a:lnTo>
                    <a:pt x="92" y="176"/>
                  </a:lnTo>
                  <a:lnTo>
                    <a:pt x="90" y="176"/>
                  </a:lnTo>
                  <a:lnTo>
                    <a:pt x="88" y="176"/>
                  </a:lnTo>
                  <a:lnTo>
                    <a:pt x="88" y="174"/>
                  </a:lnTo>
                  <a:lnTo>
                    <a:pt x="86" y="174"/>
                  </a:lnTo>
                  <a:lnTo>
                    <a:pt x="86" y="172"/>
                  </a:lnTo>
                  <a:lnTo>
                    <a:pt x="86" y="172"/>
                  </a:lnTo>
                  <a:lnTo>
                    <a:pt x="86" y="170"/>
                  </a:lnTo>
                  <a:lnTo>
                    <a:pt x="84" y="168"/>
                  </a:lnTo>
                  <a:lnTo>
                    <a:pt x="84" y="166"/>
                  </a:lnTo>
                  <a:lnTo>
                    <a:pt x="84" y="166"/>
                  </a:lnTo>
                  <a:lnTo>
                    <a:pt x="82" y="164"/>
                  </a:lnTo>
                  <a:lnTo>
                    <a:pt x="82" y="162"/>
                  </a:lnTo>
                  <a:lnTo>
                    <a:pt x="78" y="160"/>
                  </a:lnTo>
                  <a:lnTo>
                    <a:pt x="74" y="158"/>
                  </a:lnTo>
                  <a:lnTo>
                    <a:pt x="72" y="156"/>
                  </a:lnTo>
                  <a:lnTo>
                    <a:pt x="68" y="152"/>
                  </a:lnTo>
                  <a:lnTo>
                    <a:pt x="64" y="150"/>
                  </a:lnTo>
                  <a:lnTo>
                    <a:pt x="60" y="150"/>
                  </a:lnTo>
                  <a:lnTo>
                    <a:pt x="58" y="148"/>
                  </a:lnTo>
                  <a:lnTo>
                    <a:pt x="56" y="146"/>
                  </a:lnTo>
                  <a:lnTo>
                    <a:pt x="54" y="146"/>
                  </a:lnTo>
                  <a:lnTo>
                    <a:pt x="52" y="144"/>
                  </a:lnTo>
                  <a:lnTo>
                    <a:pt x="50" y="140"/>
                  </a:lnTo>
                  <a:lnTo>
                    <a:pt x="46" y="136"/>
                  </a:lnTo>
                  <a:lnTo>
                    <a:pt x="46" y="134"/>
                  </a:lnTo>
                  <a:lnTo>
                    <a:pt x="44" y="132"/>
                  </a:lnTo>
                  <a:lnTo>
                    <a:pt x="42" y="132"/>
                  </a:lnTo>
                  <a:lnTo>
                    <a:pt x="42" y="130"/>
                  </a:lnTo>
                  <a:lnTo>
                    <a:pt x="38" y="128"/>
                  </a:lnTo>
                  <a:lnTo>
                    <a:pt x="34" y="126"/>
                  </a:lnTo>
                  <a:lnTo>
                    <a:pt x="32" y="126"/>
                  </a:lnTo>
                  <a:lnTo>
                    <a:pt x="30" y="124"/>
                  </a:lnTo>
                  <a:lnTo>
                    <a:pt x="28" y="122"/>
                  </a:lnTo>
                  <a:lnTo>
                    <a:pt x="26" y="120"/>
                  </a:lnTo>
                  <a:lnTo>
                    <a:pt x="24" y="116"/>
                  </a:lnTo>
                  <a:lnTo>
                    <a:pt x="22" y="116"/>
                  </a:lnTo>
                  <a:lnTo>
                    <a:pt x="22" y="114"/>
                  </a:lnTo>
                  <a:lnTo>
                    <a:pt x="22" y="114"/>
                  </a:lnTo>
                  <a:lnTo>
                    <a:pt x="20" y="112"/>
                  </a:lnTo>
                  <a:lnTo>
                    <a:pt x="20" y="110"/>
                  </a:lnTo>
                  <a:lnTo>
                    <a:pt x="20" y="108"/>
                  </a:lnTo>
                  <a:lnTo>
                    <a:pt x="20" y="108"/>
                  </a:lnTo>
                  <a:lnTo>
                    <a:pt x="20" y="106"/>
                  </a:lnTo>
                  <a:lnTo>
                    <a:pt x="20" y="106"/>
                  </a:lnTo>
                  <a:lnTo>
                    <a:pt x="18" y="106"/>
                  </a:lnTo>
                  <a:lnTo>
                    <a:pt x="18" y="106"/>
                  </a:lnTo>
                  <a:lnTo>
                    <a:pt x="16" y="106"/>
                  </a:lnTo>
                  <a:lnTo>
                    <a:pt x="14" y="106"/>
                  </a:lnTo>
                  <a:lnTo>
                    <a:pt x="12" y="106"/>
                  </a:lnTo>
                  <a:lnTo>
                    <a:pt x="10" y="106"/>
                  </a:lnTo>
                  <a:lnTo>
                    <a:pt x="8" y="106"/>
                  </a:lnTo>
                  <a:lnTo>
                    <a:pt x="8" y="104"/>
                  </a:lnTo>
                  <a:lnTo>
                    <a:pt x="10" y="102"/>
                  </a:lnTo>
                  <a:lnTo>
                    <a:pt x="10" y="100"/>
                  </a:lnTo>
                  <a:lnTo>
                    <a:pt x="10" y="96"/>
                  </a:lnTo>
                  <a:lnTo>
                    <a:pt x="10" y="94"/>
                  </a:lnTo>
                  <a:lnTo>
                    <a:pt x="8" y="92"/>
                  </a:lnTo>
                  <a:lnTo>
                    <a:pt x="8" y="88"/>
                  </a:lnTo>
                  <a:lnTo>
                    <a:pt x="8" y="86"/>
                  </a:lnTo>
                  <a:lnTo>
                    <a:pt x="6" y="84"/>
                  </a:lnTo>
                  <a:lnTo>
                    <a:pt x="6" y="80"/>
                  </a:lnTo>
                  <a:lnTo>
                    <a:pt x="4" y="76"/>
                  </a:lnTo>
                  <a:lnTo>
                    <a:pt x="4" y="74"/>
                  </a:lnTo>
                  <a:lnTo>
                    <a:pt x="2" y="72"/>
                  </a:lnTo>
                  <a:lnTo>
                    <a:pt x="2" y="70"/>
                  </a:lnTo>
                  <a:lnTo>
                    <a:pt x="2" y="68"/>
                  </a:lnTo>
                  <a:lnTo>
                    <a:pt x="4" y="64"/>
                  </a:lnTo>
                  <a:lnTo>
                    <a:pt x="4" y="62"/>
                  </a:lnTo>
                  <a:lnTo>
                    <a:pt x="4" y="60"/>
                  </a:lnTo>
                  <a:lnTo>
                    <a:pt x="4" y="58"/>
                  </a:lnTo>
                  <a:lnTo>
                    <a:pt x="4" y="56"/>
                  </a:lnTo>
                  <a:lnTo>
                    <a:pt x="4" y="56"/>
                  </a:lnTo>
                  <a:lnTo>
                    <a:pt x="2" y="52"/>
                  </a:lnTo>
                  <a:lnTo>
                    <a:pt x="0" y="48"/>
                  </a:lnTo>
                  <a:lnTo>
                    <a:pt x="4" y="46"/>
                  </a:lnTo>
                  <a:lnTo>
                    <a:pt x="6" y="46"/>
                  </a:lnTo>
                  <a:lnTo>
                    <a:pt x="8" y="46"/>
                  </a:lnTo>
                  <a:lnTo>
                    <a:pt x="8" y="46"/>
                  </a:lnTo>
                  <a:lnTo>
                    <a:pt x="10" y="46"/>
                  </a:lnTo>
                  <a:lnTo>
                    <a:pt x="14" y="46"/>
                  </a:lnTo>
                  <a:lnTo>
                    <a:pt x="16" y="46"/>
                  </a:lnTo>
                  <a:lnTo>
                    <a:pt x="18" y="46"/>
                  </a:lnTo>
                  <a:lnTo>
                    <a:pt x="18" y="44"/>
                  </a:lnTo>
                  <a:lnTo>
                    <a:pt x="20" y="44"/>
                  </a:lnTo>
                  <a:lnTo>
                    <a:pt x="20" y="44"/>
                  </a:lnTo>
                  <a:lnTo>
                    <a:pt x="20" y="44"/>
                  </a:lnTo>
                  <a:lnTo>
                    <a:pt x="20" y="42"/>
                  </a:lnTo>
                  <a:lnTo>
                    <a:pt x="20" y="42"/>
                  </a:lnTo>
                  <a:lnTo>
                    <a:pt x="20" y="40"/>
                  </a:lnTo>
                  <a:lnTo>
                    <a:pt x="20" y="38"/>
                  </a:lnTo>
                  <a:lnTo>
                    <a:pt x="20" y="36"/>
                  </a:lnTo>
                  <a:lnTo>
                    <a:pt x="20" y="34"/>
                  </a:lnTo>
                  <a:lnTo>
                    <a:pt x="18" y="32"/>
                  </a:lnTo>
                  <a:lnTo>
                    <a:pt x="18" y="28"/>
                  </a:lnTo>
                  <a:lnTo>
                    <a:pt x="16" y="26"/>
                  </a:lnTo>
                  <a:lnTo>
                    <a:pt x="16" y="24"/>
                  </a:lnTo>
                  <a:lnTo>
                    <a:pt x="14" y="20"/>
                  </a:lnTo>
                  <a:lnTo>
                    <a:pt x="10" y="4"/>
                  </a:lnTo>
                  <a:lnTo>
                    <a:pt x="14" y="2"/>
                  </a:lnTo>
                  <a:lnTo>
                    <a:pt x="16" y="0"/>
                  </a:lnTo>
                  <a:lnTo>
                    <a:pt x="18" y="0"/>
                  </a:lnTo>
                  <a:lnTo>
                    <a:pt x="18" y="0"/>
                  </a:lnTo>
                  <a:lnTo>
                    <a:pt x="20" y="0"/>
                  </a:lnTo>
                  <a:lnTo>
                    <a:pt x="22" y="0"/>
                  </a:lnTo>
                  <a:lnTo>
                    <a:pt x="24" y="0"/>
                  </a:lnTo>
                  <a:lnTo>
                    <a:pt x="26" y="0"/>
                  </a:lnTo>
                  <a:lnTo>
                    <a:pt x="30" y="0"/>
                  </a:lnTo>
                  <a:lnTo>
                    <a:pt x="32" y="2"/>
                  </a:lnTo>
                  <a:lnTo>
                    <a:pt x="34" y="2"/>
                  </a:lnTo>
                  <a:lnTo>
                    <a:pt x="36" y="2"/>
                  </a:lnTo>
                  <a:lnTo>
                    <a:pt x="40" y="2"/>
                  </a:lnTo>
                  <a:lnTo>
                    <a:pt x="48" y="0"/>
                  </a:lnTo>
                  <a:lnTo>
                    <a:pt x="56" y="0"/>
                  </a:lnTo>
                  <a:lnTo>
                    <a:pt x="62" y="0"/>
                  </a:lnTo>
                  <a:lnTo>
                    <a:pt x="66" y="0"/>
                  </a:lnTo>
                  <a:lnTo>
                    <a:pt x="68" y="0"/>
                  </a:lnTo>
                  <a:lnTo>
                    <a:pt x="72" y="0"/>
                  </a:lnTo>
                  <a:lnTo>
                    <a:pt x="72" y="0"/>
                  </a:lnTo>
                  <a:lnTo>
                    <a:pt x="74" y="0"/>
                  </a:lnTo>
                  <a:lnTo>
                    <a:pt x="76" y="0"/>
                  </a:lnTo>
                  <a:lnTo>
                    <a:pt x="78" y="2"/>
                  </a:lnTo>
                  <a:lnTo>
                    <a:pt x="80" y="4"/>
                  </a:lnTo>
                  <a:lnTo>
                    <a:pt x="82" y="4"/>
                  </a:lnTo>
                  <a:lnTo>
                    <a:pt x="84" y="8"/>
                  </a:lnTo>
                  <a:lnTo>
                    <a:pt x="88" y="12"/>
                  </a:lnTo>
                  <a:lnTo>
                    <a:pt x="92" y="16"/>
                  </a:lnTo>
                  <a:lnTo>
                    <a:pt x="96" y="20"/>
                  </a:lnTo>
                  <a:lnTo>
                    <a:pt x="98" y="20"/>
                  </a:lnTo>
                  <a:lnTo>
                    <a:pt x="100" y="22"/>
                  </a:lnTo>
                  <a:lnTo>
                    <a:pt x="102" y="24"/>
                  </a:lnTo>
                  <a:lnTo>
                    <a:pt x="102" y="24"/>
                  </a:lnTo>
                  <a:lnTo>
                    <a:pt x="104" y="26"/>
                  </a:lnTo>
                  <a:lnTo>
                    <a:pt x="106" y="26"/>
                  </a:lnTo>
                  <a:lnTo>
                    <a:pt x="110" y="26"/>
                  </a:lnTo>
                  <a:lnTo>
                    <a:pt x="112" y="26"/>
                  </a:lnTo>
                  <a:lnTo>
                    <a:pt x="114" y="28"/>
                  </a:lnTo>
                  <a:lnTo>
                    <a:pt x="116" y="28"/>
                  </a:lnTo>
                  <a:lnTo>
                    <a:pt x="118" y="28"/>
                  </a:lnTo>
                  <a:lnTo>
                    <a:pt x="118" y="30"/>
                  </a:lnTo>
                  <a:lnTo>
                    <a:pt x="118" y="30"/>
                  </a:lnTo>
                  <a:lnTo>
                    <a:pt x="118" y="30"/>
                  </a:lnTo>
                  <a:lnTo>
                    <a:pt x="118" y="32"/>
                  </a:lnTo>
                  <a:lnTo>
                    <a:pt x="118" y="34"/>
                  </a:lnTo>
                  <a:lnTo>
                    <a:pt x="118" y="34"/>
                  </a:lnTo>
                  <a:lnTo>
                    <a:pt x="118" y="36"/>
                  </a:lnTo>
                  <a:lnTo>
                    <a:pt x="118" y="38"/>
                  </a:lnTo>
                  <a:lnTo>
                    <a:pt x="120" y="40"/>
                  </a:lnTo>
                  <a:lnTo>
                    <a:pt x="120" y="40"/>
                  </a:lnTo>
                  <a:lnTo>
                    <a:pt x="120" y="42"/>
                  </a:lnTo>
                  <a:lnTo>
                    <a:pt x="120" y="42"/>
                  </a:lnTo>
                  <a:lnTo>
                    <a:pt x="122" y="44"/>
                  </a:lnTo>
                  <a:lnTo>
                    <a:pt x="122" y="44"/>
                  </a:lnTo>
                  <a:lnTo>
                    <a:pt x="124" y="46"/>
                  </a:lnTo>
                  <a:lnTo>
                    <a:pt x="128" y="48"/>
                  </a:lnTo>
                  <a:lnTo>
                    <a:pt x="132" y="50"/>
                  </a:lnTo>
                  <a:lnTo>
                    <a:pt x="136" y="52"/>
                  </a:lnTo>
                  <a:lnTo>
                    <a:pt x="138" y="52"/>
                  </a:lnTo>
                  <a:lnTo>
                    <a:pt x="142" y="54"/>
                  </a:lnTo>
                  <a:lnTo>
                    <a:pt x="142" y="62"/>
                  </a:lnTo>
                  <a:lnTo>
                    <a:pt x="142" y="64"/>
                  </a:lnTo>
                  <a:lnTo>
                    <a:pt x="142" y="68"/>
                  </a:lnTo>
                  <a:lnTo>
                    <a:pt x="142" y="68"/>
                  </a:lnTo>
                  <a:lnTo>
                    <a:pt x="144" y="70"/>
                  </a:lnTo>
                  <a:lnTo>
                    <a:pt x="142" y="72"/>
                  </a:lnTo>
                  <a:lnTo>
                    <a:pt x="142" y="72"/>
                  </a:lnTo>
                  <a:lnTo>
                    <a:pt x="142" y="74"/>
                  </a:lnTo>
                  <a:lnTo>
                    <a:pt x="142" y="74"/>
                  </a:lnTo>
                  <a:lnTo>
                    <a:pt x="140" y="76"/>
                  </a:lnTo>
                  <a:lnTo>
                    <a:pt x="138" y="78"/>
                  </a:lnTo>
                  <a:lnTo>
                    <a:pt x="138" y="78"/>
                  </a:lnTo>
                  <a:lnTo>
                    <a:pt x="136" y="78"/>
                  </a:lnTo>
                  <a:lnTo>
                    <a:pt x="136" y="82"/>
                  </a:lnTo>
                  <a:lnTo>
                    <a:pt x="136" y="82"/>
                  </a:lnTo>
                  <a:lnTo>
                    <a:pt x="134" y="84"/>
                  </a:lnTo>
                  <a:lnTo>
                    <a:pt x="134" y="86"/>
                  </a:lnTo>
                  <a:lnTo>
                    <a:pt x="134" y="88"/>
                  </a:lnTo>
                  <a:lnTo>
                    <a:pt x="134" y="88"/>
                  </a:lnTo>
                  <a:lnTo>
                    <a:pt x="134" y="90"/>
                  </a:lnTo>
                  <a:lnTo>
                    <a:pt x="136" y="90"/>
                  </a:lnTo>
                  <a:lnTo>
                    <a:pt x="136" y="90"/>
                  </a:lnTo>
                  <a:lnTo>
                    <a:pt x="136" y="90"/>
                  </a:lnTo>
                  <a:lnTo>
                    <a:pt x="136" y="90"/>
                  </a:lnTo>
                  <a:lnTo>
                    <a:pt x="138" y="90"/>
                  </a:lnTo>
                  <a:lnTo>
                    <a:pt x="140" y="90"/>
                  </a:lnTo>
                  <a:lnTo>
                    <a:pt x="140" y="90"/>
                  </a:lnTo>
                  <a:lnTo>
                    <a:pt x="142" y="90"/>
                  </a:lnTo>
                  <a:lnTo>
                    <a:pt x="142" y="92"/>
                  </a:lnTo>
                  <a:lnTo>
                    <a:pt x="144" y="92"/>
                  </a:lnTo>
                  <a:lnTo>
                    <a:pt x="144" y="92"/>
                  </a:lnTo>
                  <a:lnTo>
                    <a:pt x="144" y="92"/>
                  </a:lnTo>
                  <a:lnTo>
                    <a:pt x="144" y="94"/>
                  </a:lnTo>
                  <a:lnTo>
                    <a:pt x="144" y="94"/>
                  </a:lnTo>
                  <a:lnTo>
                    <a:pt x="144" y="96"/>
                  </a:lnTo>
                  <a:lnTo>
                    <a:pt x="144" y="96"/>
                  </a:lnTo>
                  <a:lnTo>
                    <a:pt x="144" y="100"/>
                  </a:lnTo>
                  <a:lnTo>
                    <a:pt x="142" y="104"/>
                  </a:lnTo>
                  <a:lnTo>
                    <a:pt x="142" y="106"/>
                  </a:lnTo>
                  <a:lnTo>
                    <a:pt x="142" y="108"/>
                  </a:lnTo>
                  <a:lnTo>
                    <a:pt x="142" y="110"/>
                  </a:lnTo>
                  <a:lnTo>
                    <a:pt x="142" y="112"/>
                  </a:lnTo>
                  <a:lnTo>
                    <a:pt x="144" y="116"/>
                  </a:lnTo>
                  <a:lnTo>
                    <a:pt x="146" y="122"/>
                  </a:lnTo>
                  <a:lnTo>
                    <a:pt x="146" y="124"/>
                  </a:lnTo>
                  <a:lnTo>
                    <a:pt x="146" y="124"/>
                  </a:lnTo>
                  <a:lnTo>
                    <a:pt x="146" y="126"/>
                  </a:lnTo>
                  <a:lnTo>
                    <a:pt x="146" y="130"/>
                  </a:lnTo>
                  <a:lnTo>
                    <a:pt x="146" y="134"/>
                  </a:lnTo>
                  <a:lnTo>
                    <a:pt x="146" y="136"/>
                  </a:lnTo>
                  <a:lnTo>
                    <a:pt x="146" y="140"/>
                  </a:lnTo>
                  <a:lnTo>
                    <a:pt x="146" y="142"/>
                  </a:lnTo>
                  <a:lnTo>
                    <a:pt x="146" y="142"/>
                  </a:lnTo>
                  <a:lnTo>
                    <a:pt x="146" y="144"/>
                  </a:lnTo>
                  <a:lnTo>
                    <a:pt x="146" y="144"/>
                  </a:lnTo>
                  <a:lnTo>
                    <a:pt x="148" y="144"/>
                  </a:lnTo>
                  <a:lnTo>
                    <a:pt x="150" y="146"/>
                  </a:lnTo>
                  <a:lnTo>
                    <a:pt x="152" y="148"/>
                  </a:lnTo>
                  <a:lnTo>
                    <a:pt x="152" y="148"/>
                  </a:lnTo>
                  <a:lnTo>
                    <a:pt x="152" y="150"/>
                  </a:lnTo>
                  <a:lnTo>
                    <a:pt x="154" y="150"/>
                  </a:lnTo>
                  <a:lnTo>
                    <a:pt x="154" y="152"/>
                  </a:lnTo>
                  <a:lnTo>
                    <a:pt x="156" y="154"/>
                  </a:lnTo>
                  <a:lnTo>
                    <a:pt x="156" y="15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6" name="Freeform 434"/>
            <p:cNvSpPr>
              <a:spLocks/>
            </p:cNvSpPr>
            <p:nvPr/>
          </p:nvSpPr>
          <p:spPr bwMode="auto">
            <a:xfrm>
              <a:off x="5007076" y="4535358"/>
              <a:ext cx="128174" cy="155887"/>
            </a:xfrm>
            <a:custGeom>
              <a:avLst/>
              <a:gdLst>
                <a:gd name="T0" fmla="*/ 64 w 74"/>
                <a:gd name="T1" fmla="*/ 0 h 90"/>
                <a:gd name="T2" fmla="*/ 68 w 74"/>
                <a:gd name="T3" fmla="*/ 6 h 90"/>
                <a:gd name="T4" fmla="*/ 70 w 74"/>
                <a:gd name="T5" fmla="*/ 10 h 90"/>
                <a:gd name="T6" fmla="*/ 72 w 74"/>
                <a:gd name="T7" fmla="*/ 14 h 90"/>
                <a:gd name="T8" fmla="*/ 74 w 74"/>
                <a:gd name="T9" fmla="*/ 20 h 90"/>
                <a:gd name="T10" fmla="*/ 74 w 74"/>
                <a:gd name="T11" fmla="*/ 28 h 90"/>
                <a:gd name="T12" fmla="*/ 74 w 74"/>
                <a:gd name="T13" fmla="*/ 36 h 90"/>
                <a:gd name="T14" fmla="*/ 72 w 74"/>
                <a:gd name="T15" fmla="*/ 42 h 90"/>
                <a:gd name="T16" fmla="*/ 70 w 74"/>
                <a:gd name="T17" fmla="*/ 46 h 90"/>
                <a:gd name="T18" fmla="*/ 66 w 74"/>
                <a:gd name="T19" fmla="*/ 56 h 90"/>
                <a:gd name="T20" fmla="*/ 64 w 74"/>
                <a:gd name="T21" fmla="*/ 60 h 90"/>
                <a:gd name="T22" fmla="*/ 62 w 74"/>
                <a:gd name="T23" fmla="*/ 68 h 90"/>
                <a:gd name="T24" fmla="*/ 62 w 74"/>
                <a:gd name="T25" fmla="*/ 72 h 90"/>
                <a:gd name="T26" fmla="*/ 62 w 74"/>
                <a:gd name="T27" fmla="*/ 76 h 90"/>
                <a:gd name="T28" fmla="*/ 62 w 74"/>
                <a:gd name="T29" fmla="*/ 78 h 90"/>
                <a:gd name="T30" fmla="*/ 66 w 74"/>
                <a:gd name="T31" fmla="*/ 84 h 90"/>
                <a:gd name="T32" fmla="*/ 44 w 74"/>
                <a:gd name="T33" fmla="*/ 86 h 90"/>
                <a:gd name="T34" fmla="*/ 36 w 74"/>
                <a:gd name="T35" fmla="*/ 86 h 90"/>
                <a:gd name="T36" fmla="*/ 32 w 74"/>
                <a:gd name="T37" fmla="*/ 86 h 90"/>
                <a:gd name="T38" fmla="*/ 26 w 74"/>
                <a:gd name="T39" fmla="*/ 84 h 90"/>
                <a:gd name="T40" fmla="*/ 22 w 74"/>
                <a:gd name="T41" fmla="*/ 84 h 90"/>
                <a:gd name="T42" fmla="*/ 18 w 74"/>
                <a:gd name="T43" fmla="*/ 86 h 90"/>
                <a:gd name="T44" fmla="*/ 16 w 74"/>
                <a:gd name="T45" fmla="*/ 86 h 90"/>
                <a:gd name="T46" fmla="*/ 2 w 74"/>
                <a:gd name="T47" fmla="*/ 86 h 90"/>
                <a:gd name="T48" fmla="*/ 0 w 74"/>
                <a:gd name="T49" fmla="*/ 76 h 90"/>
                <a:gd name="T50" fmla="*/ 2 w 74"/>
                <a:gd name="T51" fmla="*/ 64 h 90"/>
                <a:gd name="T52" fmla="*/ 2 w 74"/>
                <a:gd name="T53" fmla="*/ 58 h 90"/>
                <a:gd name="T54" fmla="*/ 4 w 74"/>
                <a:gd name="T55" fmla="*/ 54 h 90"/>
                <a:gd name="T56" fmla="*/ 4 w 74"/>
                <a:gd name="T57" fmla="*/ 50 h 90"/>
                <a:gd name="T58" fmla="*/ 6 w 74"/>
                <a:gd name="T59" fmla="*/ 50 h 90"/>
                <a:gd name="T60" fmla="*/ 8 w 74"/>
                <a:gd name="T61" fmla="*/ 48 h 90"/>
                <a:gd name="T62" fmla="*/ 12 w 74"/>
                <a:gd name="T63" fmla="*/ 46 h 90"/>
                <a:gd name="T64" fmla="*/ 18 w 74"/>
                <a:gd name="T65" fmla="*/ 44 h 90"/>
                <a:gd name="T66" fmla="*/ 26 w 74"/>
                <a:gd name="T67" fmla="*/ 42 h 90"/>
                <a:gd name="T68" fmla="*/ 28 w 74"/>
                <a:gd name="T69" fmla="*/ 42 h 90"/>
                <a:gd name="T70" fmla="*/ 30 w 74"/>
                <a:gd name="T71" fmla="*/ 40 h 90"/>
                <a:gd name="T72" fmla="*/ 30 w 74"/>
                <a:gd name="T73" fmla="*/ 38 h 90"/>
                <a:gd name="T74" fmla="*/ 30 w 74"/>
                <a:gd name="T75" fmla="*/ 36 h 90"/>
                <a:gd name="T76" fmla="*/ 30 w 74"/>
                <a:gd name="T77" fmla="*/ 32 h 90"/>
                <a:gd name="T78" fmla="*/ 30 w 74"/>
                <a:gd name="T79" fmla="*/ 30 h 90"/>
                <a:gd name="T80" fmla="*/ 30 w 74"/>
                <a:gd name="T81" fmla="*/ 30 h 90"/>
                <a:gd name="T82" fmla="*/ 26 w 74"/>
                <a:gd name="T83" fmla="*/ 30 h 90"/>
                <a:gd name="T84" fmla="*/ 24 w 74"/>
                <a:gd name="T85" fmla="*/ 30 h 90"/>
                <a:gd name="T86" fmla="*/ 22 w 74"/>
                <a:gd name="T87" fmla="*/ 30 h 90"/>
                <a:gd name="T88" fmla="*/ 20 w 74"/>
                <a:gd name="T89" fmla="*/ 30 h 90"/>
                <a:gd name="T90" fmla="*/ 20 w 74"/>
                <a:gd name="T91" fmla="*/ 28 h 90"/>
                <a:gd name="T92" fmla="*/ 20 w 74"/>
                <a:gd name="T93" fmla="*/ 26 h 90"/>
                <a:gd name="T94" fmla="*/ 20 w 74"/>
                <a:gd name="T95" fmla="*/ 24 h 90"/>
                <a:gd name="T96" fmla="*/ 20 w 74"/>
                <a:gd name="T97" fmla="*/ 18 h 90"/>
                <a:gd name="T98" fmla="*/ 18 w 74"/>
                <a:gd name="T99" fmla="*/ 4 h 90"/>
                <a:gd name="T100" fmla="*/ 32 w 74"/>
                <a:gd name="T101" fmla="*/ 4 h 90"/>
                <a:gd name="T102" fmla="*/ 40 w 74"/>
                <a:gd name="T103" fmla="*/ 6 h 90"/>
                <a:gd name="T104" fmla="*/ 46 w 74"/>
                <a:gd name="T105" fmla="*/ 6 h 90"/>
                <a:gd name="T106" fmla="*/ 50 w 74"/>
                <a:gd name="T107" fmla="*/ 4 h 90"/>
                <a:gd name="T108" fmla="*/ 58 w 74"/>
                <a:gd name="T109"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90">
                  <a:moveTo>
                    <a:pt x="64" y="0"/>
                  </a:moveTo>
                  <a:lnTo>
                    <a:pt x="64" y="0"/>
                  </a:lnTo>
                  <a:lnTo>
                    <a:pt x="66" y="2"/>
                  </a:lnTo>
                  <a:lnTo>
                    <a:pt x="68" y="6"/>
                  </a:lnTo>
                  <a:lnTo>
                    <a:pt x="70" y="8"/>
                  </a:lnTo>
                  <a:lnTo>
                    <a:pt x="70" y="10"/>
                  </a:lnTo>
                  <a:lnTo>
                    <a:pt x="72" y="12"/>
                  </a:lnTo>
                  <a:lnTo>
                    <a:pt x="72" y="14"/>
                  </a:lnTo>
                  <a:lnTo>
                    <a:pt x="72" y="18"/>
                  </a:lnTo>
                  <a:lnTo>
                    <a:pt x="74" y="20"/>
                  </a:lnTo>
                  <a:lnTo>
                    <a:pt x="74" y="24"/>
                  </a:lnTo>
                  <a:lnTo>
                    <a:pt x="74" y="28"/>
                  </a:lnTo>
                  <a:lnTo>
                    <a:pt x="74" y="32"/>
                  </a:lnTo>
                  <a:lnTo>
                    <a:pt x="74" y="36"/>
                  </a:lnTo>
                  <a:lnTo>
                    <a:pt x="72" y="40"/>
                  </a:lnTo>
                  <a:lnTo>
                    <a:pt x="72" y="42"/>
                  </a:lnTo>
                  <a:lnTo>
                    <a:pt x="72" y="44"/>
                  </a:lnTo>
                  <a:lnTo>
                    <a:pt x="70" y="46"/>
                  </a:lnTo>
                  <a:lnTo>
                    <a:pt x="68" y="50"/>
                  </a:lnTo>
                  <a:lnTo>
                    <a:pt x="66" y="56"/>
                  </a:lnTo>
                  <a:lnTo>
                    <a:pt x="64" y="58"/>
                  </a:lnTo>
                  <a:lnTo>
                    <a:pt x="64" y="60"/>
                  </a:lnTo>
                  <a:lnTo>
                    <a:pt x="64" y="62"/>
                  </a:lnTo>
                  <a:lnTo>
                    <a:pt x="62" y="68"/>
                  </a:lnTo>
                  <a:lnTo>
                    <a:pt x="62" y="70"/>
                  </a:lnTo>
                  <a:lnTo>
                    <a:pt x="62" y="72"/>
                  </a:lnTo>
                  <a:lnTo>
                    <a:pt x="62" y="74"/>
                  </a:lnTo>
                  <a:lnTo>
                    <a:pt x="62" y="76"/>
                  </a:lnTo>
                  <a:lnTo>
                    <a:pt x="62" y="76"/>
                  </a:lnTo>
                  <a:lnTo>
                    <a:pt x="62" y="78"/>
                  </a:lnTo>
                  <a:lnTo>
                    <a:pt x="64" y="80"/>
                  </a:lnTo>
                  <a:lnTo>
                    <a:pt x="66" y="84"/>
                  </a:lnTo>
                  <a:lnTo>
                    <a:pt x="54" y="86"/>
                  </a:lnTo>
                  <a:lnTo>
                    <a:pt x="44" y="86"/>
                  </a:lnTo>
                  <a:lnTo>
                    <a:pt x="38" y="86"/>
                  </a:lnTo>
                  <a:lnTo>
                    <a:pt x="36" y="86"/>
                  </a:lnTo>
                  <a:lnTo>
                    <a:pt x="34" y="86"/>
                  </a:lnTo>
                  <a:lnTo>
                    <a:pt x="32" y="86"/>
                  </a:lnTo>
                  <a:lnTo>
                    <a:pt x="28" y="84"/>
                  </a:lnTo>
                  <a:lnTo>
                    <a:pt x="26" y="84"/>
                  </a:lnTo>
                  <a:lnTo>
                    <a:pt x="24" y="84"/>
                  </a:lnTo>
                  <a:lnTo>
                    <a:pt x="22" y="84"/>
                  </a:lnTo>
                  <a:lnTo>
                    <a:pt x="20" y="84"/>
                  </a:lnTo>
                  <a:lnTo>
                    <a:pt x="18" y="86"/>
                  </a:lnTo>
                  <a:lnTo>
                    <a:pt x="18" y="86"/>
                  </a:lnTo>
                  <a:lnTo>
                    <a:pt x="16" y="86"/>
                  </a:lnTo>
                  <a:lnTo>
                    <a:pt x="12" y="90"/>
                  </a:lnTo>
                  <a:lnTo>
                    <a:pt x="2" y="86"/>
                  </a:lnTo>
                  <a:lnTo>
                    <a:pt x="0" y="80"/>
                  </a:lnTo>
                  <a:lnTo>
                    <a:pt x="0" y="76"/>
                  </a:lnTo>
                  <a:lnTo>
                    <a:pt x="0" y="70"/>
                  </a:lnTo>
                  <a:lnTo>
                    <a:pt x="2" y="64"/>
                  </a:lnTo>
                  <a:lnTo>
                    <a:pt x="2" y="62"/>
                  </a:lnTo>
                  <a:lnTo>
                    <a:pt x="2" y="58"/>
                  </a:lnTo>
                  <a:lnTo>
                    <a:pt x="2" y="56"/>
                  </a:lnTo>
                  <a:lnTo>
                    <a:pt x="4" y="54"/>
                  </a:lnTo>
                  <a:lnTo>
                    <a:pt x="4" y="52"/>
                  </a:lnTo>
                  <a:lnTo>
                    <a:pt x="4" y="50"/>
                  </a:lnTo>
                  <a:lnTo>
                    <a:pt x="6" y="50"/>
                  </a:lnTo>
                  <a:lnTo>
                    <a:pt x="6" y="50"/>
                  </a:lnTo>
                  <a:lnTo>
                    <a:pt x="6" y="48"/>
                  </a:lnTo>
                  <a:lnTo>
                    <a:pt x="8" y="48"/>
                  </a:lnTo>
                  <a:lnTo>
                    <a:pt x="10" y="48"/>
                  </a:lnTo>
                  <a:lnTo>
                    <a:pt x="12" y="46"/>
                  </a:lnTo>
                  <a:lnTo>
                    <a:pt x="16" y="46"/>
                  </a:lnTo>
                  <a:lnTo>
                    <a:pt x="18" y="44"/>
                  </a:lnTo>
                  <a:lnTo>
                    <a:pt x="20" y="44"/>
                  </a:lnTo>
                  <a:lnTo>
                    <a:pt x="26" y="42"/>
                  </a:lnTo>
                  <a:lnTo>
                    <a:pt x="26" y="42"/>
                  </a:lnTo>
                  <a:lnTo>
                    <a:pt x="28" y="42"/>
                  </a:lnTo>
                  <a:lnTo>
                    <a:pt x="28" y="40"/>
                  </a:lnTo>
                  <a:lnTo>
                    <a:pt x="30" y="40"/>
                  </a:lnTo>
                  <a:lnTo>
                    <a:pt x="30" y="38"/>
                  </a:lnTo>
                  <a:lnTo>
                    <a:pt x="30" y="38"/>
                  </a:lnTo>
                  <a:lnTo>
                    <a:pt x="30" y="36"/>
                  </a:lnTo>
                  <a:lnTo>
                    <a:pt x="30" y="36"/>
                  </a:lnTo>
                  <a:lnTo>
                    <a:pt x="30" y="34"/>
                  </a:lnTo>
                  <a:lnTo>
                    <a:pt x="30" y="32"/>
                  </a:lnTo>
                  <a:lnTo>
                    <a:pt x="30" y="32"/>
                  </a:lnTo>
                  <a:lnTo>
                    <a:pt x="30" y="30"/>
                  </a:lnTo>
                  <a:lnTo>
                    <a:pt x="30" y="30"/>
                  </a:lnTo>
                  <a:lnTo>
                    <a:pt x="30" y="30"/>
                  </a:lnTo>
                  <a:lnTo>
                    <a:pt x="28" y="30"/>
                  </a:lnTo>
                  <a:lnTo>
                    <a:pt x="26" y="30"/>
                  </a:lnTo>
                  <a:lnTo>
                    <a:pt x="26" y="30"/>
                  </a:lnTo>
                  <a:lnTo>
                    <a:pt x="24" y="30"/>
                  </a:lnTo>
                  <a:lnTo>
                    <a:pt x="22" y="30"/>
                  </a:lnTo>
                  <a:lnTo>
                    <a:pt x="22" y="30"/>
                  </a:lnTo>
                  <a:lnTo>
                    <a:pt x="20" y="30"/>
                  </a:lnTo>
                  <a:lnTo>
                    <a:pt x="20" y="30"/>
                  </a:lnTo>
                  <a:lnTo>
                    <a:pt x="20" y="28"/>
                  </a:lnTo>
                  <a:lnTo>
                    <a:pt x="20" y="28"/>
                  </a:lnTo>
                  <a:lnTo>
                    <a:pt x="20" y="28"/>
                  </a:lnTo>
                  <a:lnTo>
                    <a:pt x="20" y="26"/>
                  </a:lnTo>
                  <a:lnTo>
                    <a:pt x="20" y="24"/>
                  </a:lnTo>
                  <a:lnTo>
                    <a:pt x="20" y="24"/>
                  </a:lnTo>
                  <a:lnTo>
                    <a:pt x="20" y="22"/>
                  </a:lnTo>
                  <a:lnTo>
                    <a:pt x="20" y="18"/>
                  </a:lnTo>
                  <a:lnTo>
                    <a:pt x="18" y="12"/>
                  </a:lnTo>
                  <a:lnTo>
                    <a:pt x="18" y="4"/>
                  </a:lnTo>
                  <a:lnTo>
                    <a:pt x="24" y="4"/>
                  </a:lnTo>
                  <a:lnTo>
                    <a:pt x="32" y="4"/>
                  </a:lnTo>
                  <a:lnTo>
                    <a:pt x="36" y="4"/>
                  </a:lnTo>
                  <a:lnTo>
                    <a:pt x="40" y="6"/>
                  </a:lnTo>
                  <a:lnTo>
                    <a:pt x="44" y="6"/>
                  </a:lnTo>
                  <a:lnTo>
                    <a:pt x="46" y="6"/>
                  </a:lnTo>
                  <a:lnTo>
                    <a:pt x="48" y="6"/>
                  </a:lnTo>
                  <a:lnTo>
                    <a:pt x="50" y="4"/>
                  </a:lnTo>
                  <a:lnTo>
                    <a:pt x="52" y="4"/>
                  </a:lnTo>
                  <a:lnTo>
                    <a:pt x="58" y="2"/>
                  </a:lnTo>
                  <a:lnTo>
                    <a:pt x="6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7" name="Freeform 435"/>
            <p:cNvSpPr>
              <a:spLocks/>
            </p:cNvSpPr>
            <p:nvPr/>
          </p:nvSpPr>
          <p:spPr bwMode="auto">
            <a:xfrm>
              <a:off x="5007076" y="4535358"/>
              <a:ext cx="128174" cy="155887"/>
            </a:xfrm>
            <a:custGeom>
              <a:avLst/>
              <a:gdLst>
                <a:gd name="T0" fmla="*/ 64 w 74"/>
                <a:gd name="T1" fmla="*/ 0 h 90"/>
                <a:gd name="T2" fmla="*/ 68 w 74"/>
                <a:gd name="T3" fmla="*/ 6 h 90"/>
                <a:gd name="T4" fmla="*/ 70 w 74"/>
                <a:gd name="T5" fmla="*/ 10 h 90"/>
                <a:gd name="T6" fmla="*/ 72 w 74"/>
                <a:gd name="T7" fmla="*/ 14 h 90"/>
                <a:gd name="T8" fmla="*/ 74 w 74"/>
                <a:gd name="T9" fmla="*/ 20 h 90"/>
                <a:gd name="T10" fmla="*/ 74 w 74"/>
                <a:gd name="T11" fmla="*/ 28 h 90"/>
                <a:gd name="T12" fmla="*/ 74 w 74"/>
                <a:gd name="T13" fmla="*/ 36 h 90"/>
                <a:gd name="T14" fmla="*/ 72 w 74"/>
                <a:gd name="T15" fmla="*/ 42 h 90"/>
                <a:gd name="T16" fmla="*/ 70 w 74"/>
                <a:gd name="T17" fmla="*/ 46 h 90"/>
                <a:gd name="T18" fmla="*/ 66 w 74"/>
                <a:gd name="T19" fmla="*/ 56 h 90"/>
                <a:gd name="T20" fmla="*/ 64 w 74"/>
                <a:gd name="T21" fmla="*/ 60 h 90"/>
                <a:gd name="T22" fmla="*/ 62 w 74"/>
                <a:gd name="T23" fmla="*/ 68 h 90"/>
                <a:gd name="T24" fmla="*/ 62 w 74"/>
                <a:gd name="T25" fmla="*/ 72 h 90"/>
                <a:gd name="T26" fmla="*/ 62 w 74"/>
                <a:gd name="T27" fmla="*/ 76 h 90"/>
                <a:gd name="T28" fmla="*/ 62 w 74"/>
                <a:gd name="T29" fmla="*/ 78 h 90"/>
                <a:gd name="T30" fmla="*/ 66 w 74"/>
                <a:gd name="T31" fmla="*/ 84 h 90"/>
                <a:gd name="T32" fmla="*/ 44 w 74"/>
                <a:gd name="T33" fmla="*/ 86 h 90"/>
                <a:gd name="T34" fmla="*/ 36 w 74"/>
                <a:gd name="T35" fmla="*/ 86 h 90"/>
                <a:gd name="T36" fmla="*/ 32 w 74"/>
                <a:gd name="T37" fmla="*/ 86 h 90"/>
                <a:gd name="T38" fmla="*/ 26 w 74"/>
                <a:gd name="T39" fmla="*/ 84 h 90"/>
                <a:gd name="T40" fmla="*/ 22 w 74"/>
                <a:gd name="T41" fmla="*/ 84 h 90"/>
                <a:gd name="T42" fmla="*/ 18 w 74"/>
                <a:gd name="T43" fmla="*/ 86 h 90"/>
                <a:gd name="T44" fmla="*/ 16 w 74"/>
                <a:gd name="T45" fmla="*/ 86 h 90"/>
                <a:gd name="T46" fmla="*/ 2 w 74"/>
                <a:gd name="T47" fmla="*/ 86 h 90"/>
                <a:gd name="T48" fmla="*/ 0 w 74"/>
                <a:gd name="T49" fmla="*/ 76 h 90"/>
                <a:gd name="T50" fmla="*/ 2 w 74"/>
                <a:gd name="T51" fmla="*/ 64 h 90"/>
                <a:gd name="T52" fmla="*/ 2 w 74"/>
                <a:gd name="T53" fmla="*/ 58 h 90"/>
                <a:gd name="T54" fmla="*/ 4 w 74"/>
                <a:gd name="T55" fmla="*/ 54 h 90"/>
                <a:gd name="T56" fmla="*/ 4 w 74"/>
                <a:gd name="T57" fmla="*/ 50 h 90"/>
                <a:gd name="T58" fmla="*/ 6 w 74"/>
                <a:gd name="T59" fmla="*/ 50 h 90"/>
                <a:gd name="T60" fmla="*/ 8 w 74"/>
                <a:gd name="T61" fmla="*/ 48 h 90"/>
                <a:gd name="T62" fmla="*/ 12 w 74"/>
                <a:gd name="T63" fmla="*/ 46 h 90"/>
                <a:gd name="T64" fmla="*/ 18 w 74"/>
                <a:gd name="T65" fmla="*/ 44 h 90"/>
                <a:gd name="T66" fmla="*/ 26 w 74"/>
                <a:gd name="T67" fmla="*/ 42 h 90"/>
                <a:gd name="T68" fmla="*/ 28 w 74"/>
                <a:gd name="T69" fmla="*/ 42 h 90"/>
                <a:gd name="T70" fmla="*/ 30 w 74"/>
                <a:gd name="T71" fmla="*/ 40 h 90"/>
                <a:gd name="T72" fmla="*/ 30 w 74"/>
                <a:gd name="T73" fmla="*/ 38 h 90"/>
                <a:gd name="T74" fmla="*/ 30 w 74"/>
                <a:gd name="T75" fmla="*/ 36 h 90"/>
                <a:gd name="T76" fmla="*/ 30 w 74"/>
                <a:gd name="T77" fmla="*/ 32 h 90"/>
                <a:gd name="T78" fmla="*/ 30 w 74"/>
                <a:gd name="T79" fmla="*/ 30 h 90"/>
                <a:gd name="T80" fmla="*/ 30 w 74"/>
                <a:gd name="T81" fmla="*/ 30 h 90"/>
                <a:gd name="T82" fmla="*/ 26 w 74"/>
                <a:gd name="T83" fmla="*/ 30 h 90"/>
                <a:gd name="T84" fmla="*/ 24 w 74"/>
                <a:gd name="T85" fmla="*/ 30 h 90"/>
                <a:gd name="T86" fmla="*/ 22 w 74"/>
                <a:gd name="T87" fmla="*/ 30 h 90"/>
                <a:gd name="T88" fmla="*/ 20 w 74"/>
                <a:gd name="T89" fmla="*/ 30 h 90"/>
                <a:gd name="T90" fmla="*/ 20 w 74"/>
                <a:gd name="T91" fmla="*/ 28 h 90"/>
                <a:gd name="T92" fmla="*/ 20 w 74"/>
                <a:gd name="T93" fmla="*/ 26 h 90"/>
                <a:gd name="T94" fmla="*/ 20 w 74"/>
                <a:gd name="T95" fmla="*/ 24 h 90"/>
                <a:gd name="T96" fmla="*/ 20 w 74"/>
                <a:gd name="T97" fmla="*/ 18 h 90"/>
                <a:gd name="T98" fmla="*/ 18 w 74"/>
                <a:gd name="T99" fmla="*/ 4 h 90"/>
                <a:gd name="T100" fmla="*/ 32 w 74"/>
                <a:gd name="T101" fmla="*/ 4 h 90"/>
                <a:gd name="T102" fmla="*/ 40 w 74"/>
                <a:gd name="T103" fmla="*/ 6 h 90"/>
                <a:gd name="T104" fmla="*/ 46 w 74"/>
                <a:gd name="T105" fmla="*/ 6 h 90"/>
                <a:gd name="T106" fmla="*/ 50 w 74"/>
                <a:gd name="T107" fmla="*/ 4 h 90"/>
                <a:gd name="T108" fmla="*/ 58 w 74"/>
                <a:gd name="T109"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90">
                  <a:moveTo>
                    <a:pt x="64" y="0"/>
                  </a:moveTo>
                  <a:lnTo>
                    <a:pt x="64" y="0"/>
                  </a:lnTo>
                  <a:lnTo>
                    <a:pt x="66" y="2"/>
                  </a:lnTo>
                  <a:lnTo>
                    <a:pt x="68" y="6"/>
                  </a:lnTo>
                  <a:lnTo>
                    <a:pt x="70" y="8"/>
                  </a:lnTo>
                  <a:lnTo>
                    <a:pt x="70" y="10"/>
                  </a:lnTo>
                  <a:lnTo>
                    <a:pt x="72" y="12"/>
                  </a:lnTo>
                  <a:lnTo>
                    <a:pt x="72" y="14"/>
                  </a:lnTo>
                  <a:lnTo>
                    <a:pt x="72" y="18"/>
                  </a:lnTo>
                  <a:lnTo>
                    <a:pt x="74" y="20"/>
                  </a:lnTo>
                  <a:lnTo>
                    <a:pt x="74" y="24"/>
                  </a:lnTo>
                  <a:lnTo>
                    <a:pt x="74" y="28"/>
                  </a:lnTo>
                  <a:lnTo>
                    <a:pt x="74" y="32"/>
                  </a:lnTo>
                  <a:lnTo>
                    <a:pt x="74" y="36"/>
                  </a:lnTo>
                  <a:lnTo>
                    <a:pt x="72" y="40"/>
                  </a:lnTo>
                  <a:lnTo>
                    <a:pt x="72" y="42"/>
                  </a:lnTo>
                  <a:lnTo>
                    <a:pt x="72" y="44"/>
                  </a:lnTo>
                  <a:lnTo>
                    <a:pt x="70" y="46"/>
                  </a:lnTo>
                  <a:lnTo>
                    <a:pt x="68" y="50"/>
                  </a:lnTo>
                  <a:lnTo>
                    <a:pt x="66" y="56"/>
                  </a:lnTo>
                  <a:lnTo>
                    <a:pt x="64" y="58"/>
                  </a:lnTo>
                  <a:lnTo>
                    <a:pt x="64" y="60"/>
                  </a:lnTo>
                  <a:lnTo>
                    <a:pt x="64" y="62"/>
                  </a:lnTo>
                  <a:lnTo>
                    <a:pt x="62" y="68"/>
                  </a:lnTo>
                  <a:lnTo>
                    <a:pt x="62" y="70"/>
                  </a:lnTo>
                  <a:lnTo>
                    <a:pt x="62" y="72"/>
                  </a:lnTo>
                  <a:lnTo>
                    <a:pt x="62" y="74"/>
                  </a:lnTo>
                  <a:lnTo>
                    <a:pt x="62" y="76"/>
                  </a:lnTo>
                  <a:lnTo>
                    <a:pt x="62" y="76"/>
                  </a:lnTo>
                  <a:lnTo>
                    <a:pt x="62" y="78"/>
                  </a:lnTo>
                  <a:lnTo>
                    <a:pt x="64" y="80"/>
                  </a:lnTo>
                  <a:lnTo>
                    <a:pt x="66" y="84"/>
                  </a:lnTo>
                  <a:lnTo>
                    <a:pt x="54" y="86"/>
                  </a:lnTo>
                  <a:lnTo>
                    <a:pt x="44" y="86"/>
                  </a:lnTo>
                  <a:lnTo>
                    <a:pt x="38" y="86"/>
                  </a:lnTo>
                  <a:lnTo>
                    <a:pt x="36" y="86"/>
                  </a:lnTo>
                  <a:lnTo>
                    <a:pt x="34" y="86"/>
                  </a:lnTo>
                  <a:lnTo>
                    <a:pt x="32" y="86"/>
                  </a:lnTo>
                  <a:lnTo>
                    <a:pt x="28" y="84"/>
                  </a:lnTo>
                  <a:lnTo>
                    <a:pt x="26" y="84"/>
                  </a:lnTo>
                  <a:lnTo>
                    <a:pt x="24" y="84"/>
                  </a:lnTo>
                  <a:lnTo>
                    <a:pt x="22" y="84"/>
                  </a:lnTo>
                  <a:lnTo>
                    <a:pt x="20" y="84"/>
                  </a:lnTo>
                  <a:lnTo>
                    <a:pt x="18" y="86"/>
                  </a:lnTo>
                  <a:lnTo>
                    <a:pt x="18" y="86"/>
                  </a:lnTo>
                  <a:lnTo>
                    <a:pt x="16" y="86"/>
                  </a:lnTo>
                  <a:lnTo>
                    <a:pt x="12" y="90"/>
                  </a:lnTo>
                  <a:lnTo>
                    <a:pt x="2" y="86"/>
                  </a:lnTo>
                  <a:lnTo>
                    <a:pt x="0" y="80"/>
                  </a:lnTo>
                  <a:lnTo>
                    <a:pt x="0" y="76"/>
                  </a:lnTo>
                  <a:lnTo>
                    <a:pt x="0" y="70"/>
                  </a:lnTo>
                  <a:lnTo>
                    <a:pt x="2" y="64"/>
                  </a:lnTo>
                  <a:lnTo>
                    <a:pt x="2" y="62"/>
                  </a:lnTo>
                  <a:lnTo>
                    <a:pt x="2" y="58"/>
                  </a:lnTo>
                  <a:lnTo>
                    <a:pt x="2" y="56"/>
                  </a:lnTo>
                  <a:lnTo>
                    <a:pt x="4" y="54"/>
                  </a:lnTo>
                  <a:lnTo>
                    <a:pt x="4" y="52"/>
                  </a:lnTo>
                  <a:lnTo>
                    <a:pt x="4" y="50"/>
                  </a:lnTo>
                  <a:lnTo>
                    <a:pt x="6" y="50"/>
                  </a:lnTo>
                  <a:lnTo>
                    <a:pt x="6" y="50"/>
                  </a:lnTo>
                  <a:lnTo>
                    <a:pt x="6" y="48"/>
                  </a:lnTo>
                  <a:lnTo>
                    <a:pt x="8" y="48"/>
                  </a:lnTo>
                  <a:lnTo>
                    <a:pt x="10" y="48"/>
                  </a:lnTo>
                  <a:lnTo>
                    <a:pt x="12" y="46"/>
                  </a:lnTo>
                  <a:lnTo>
                    <a:pt x="16" y="46"/>
                  </a:lnTo>
                  <a:lnTo>
                    <a:pt x="18" y="44"/>
                  </a:lnTo>
                  <a:lnTo>
                    <a:pt x="20" y="44"/>
                  </a:lnTo>
                  <a:lnTo>
                    <a:pt x="26" y="42"/>
                  </a:lnTo>
                  <a:lnTo>
                    <a:pt x="26" y="42"/>
                  </a:lnTo>
                  <a:lnTo>
                    <a:pt x="28" y="42"/>
                  </a:lnTo>
                  <a:lnTo>
                    <a:pt x="28" y="40"/>
                  </a:lnTo>
                  <a:lnTo>
                    <a:pt x="30" y="40"/>
                  </a:lnTo>
                  <a:lnTo>
                    <a:pt x="30" y="38"/>
                  </a:lnTo>
                  <a:lnTo>
                    <a:pt x="30" y="38"/>
                  </a:lnTo>
                  <a:lnTo>
                    <a:pt x="30" y="36"/>
                  </a:lnTo>
                  <a:lnTo>
                    <a:pt x="30" y="36"/>
                  </a:lnTo>
                  <a:lnTo>
                    <a:pt x="30" y="34"/>
                  </a:lnTo>
                  <a:lnTo>
                    <a:pt x="30" y="32"/>
                  </a:lnTo>
                  <a:lnTo>
                    <a:pt x="30" y="32"/>
                  </a:lnTo>
                  <a:lnTo>
                    <a:pt x="30" y="30"/>
                  </a:lnTo>
                  <a:lnTo>
                    <a:pt x="30" y="30"/>
                  </a:lnTo>
                  <a:lnTo>
                    <a:pt x="30" y="30"/>
                  </a:lnTo>
                  <a:lnTo>
                    <a:pt x="28" y="30"/>
                  </a:lnTo>
                  <a:lnTo>
                    <a:pt x="26" y="30"/>
                  </a:lnTo>
                  <a:lnTo>
                    <a:pt x="26" y="30"/>
                  </a:lnTo>
                  <a:lnTo>
                    <a:pt x="24" y="30"/>
                  </a:lnTo>
                  <a:lnTo>
                    <a:pt x="22" y="30"/>
                  </a:lnTo>
                  <a:lnTo>
                    <a:pt x="22" y="30"/>
                  </a:lnTo>
                  <a:lnTo>
                    <a:pt x="20" y="30"/>
                  </a:lnTo>
                  <a:lnTo>
                    <a:pt x="20" y="30"/>
                  </a:lnTo>
                  <a:lnTo>
                    <a:pt x="20" y="28"/>
                  </a:lnTo>
                  <a:lnTo>
                    <a:pt x="20" y="28"/>
                  </a:lnTo>
                  <a:lnTo>
                    <a:pt x="20" y="28"/>
                  </a:lnTo>
                  <a:lnTo>
                    <a:pt x="20" y="26"/>
                  </a:lnTo>
                  <a:lnTo>
                    <a:pt x="20" y="24"/>
                  </a:lnTo>
                  <a:lnTo>
                    <a:pt x="20" y="24"/>
                  </a:lnTo>
                  <a:lnTo>
                    <a:pt x="20" y="22"/>
                  </a:lnTo>
                  <a:lnTo>
                    <a:pt x="20" y="18"/>
                  </a:lnTo>
                  <a:lnTo>
                    <a:pt x="18" y="12"/>
                  </a:lnTo>
                  <a:lnTo>
                    <a:pt x="18" y="4"/>
                  </a:lnTo>
                  <a:lnTo>
                    <a:pt x="24" y="4"/>
                  </a:lnTo>
                  <a:lnTo>
                    <a:pt x="32" y="4"/>
                  </a:lnTo>
                  <a:lnTo>
                    <a:pt x="36" y="4"/>
                  </a:lnTo>
                  <a:lnTo>
                    <a:pt x="40" y="6"/>
                  </a:lnTo>
                  <a:lnTo>
                    <a:pt x="44" y="6"/>
                  </a:lnTo>
                  <a:lnTo>
                    <a:pt x="46" y="6"/>
                  </a:lnTo>
                  <a:lnTo>
                    <a:pt x="48" y="6"/>
                  </a:lnTo>
                  <a:lnTo>
                    <a:pt x="50" y="4"/>
                  </a:lnTo>
                  <a:lnTo>
                    <a:pt x="52" y="4"/>
                  </a:lnTo>
                  <a:lnTo>
                    <a:pt x="58" y="2"/>
                  </a:lnTo>
                  <a:lnTo>
                    <a:pt x="6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8" name="Freeform 436"/>
            <p:cNvSpPr>
              <a:spLocks/>
            </p:cNvSpPr>
            <p:nvPr/>
          </p:nvSpPr>
          <p:spPr bwMode="auto">
            <a:xfrm>
              <a:off x="4799227" y="4864452"/>
              <a:ext cx="308309" cy="301381"/>
            </a:xfrm>
            <a:custGeom>
              <a:avLst/>
              <a:gdLst>
                <a:gd name="T0" fmla="*/ 72 w 178"/>
                <a:gd name="T1" fmla="*/ 170 h 174"/>
                <a:gd name="T2" fmla="*/ 86 w 178"/>
                <a:gd name="T3" fmla="*/ 170 h 174"/>
                <a:gd name="T4" fmla="*/ 92 w 178"/>
                <a:gd name="T5" fmla="*/ 168 h 174"/>
                <a:gd name="T6" fmla="*/ 94 w 178"/>
                <a:gd name="T7" fmla="*/ 160 h 174"/>
                <a:gd name="T8" fmla="*/ 98 w 178"/>
                <a:gd name="T9" fmla="*/ 156 h 174"/>
                <a:gd name="T10" fmla="*/ 106 w 178"/>
                <a:gd name="T11" fmla="*/ 152 h 174"/>
                <a:gd name="T12" fmla="*/ 108 w 178"/>
                <a:gd name="T13" fmla="*/ 144 h 174"/>
                <a:gd name="T14" fmla="*/ 110 w 178"/>
                <a:gd name="T15" fmla="*/ 140 h 174"/>
                <a:gd name="T16" fmla="*/ 122 w 178"/>
                <a:gd name="T17" fmla="*/ 140 h 174"/>
                <a:gd name="T18" fmla="*/ 128 w 178"/>
                <a:gd name="T19" fmla="*/ 132 h 174"/>
                <a:gd name="T20" fmla="*/ 146 w 178"/>
                <a:gd name="T21" fmla="*/ 128 h 174"/>
                <a:gd name="T22" fmla="*/ 152 w 178"/>
                <a:gd name="T23" fmla="*/ 124 h 174"/>
                <a:gd name="T24" fmla="*/ 156 w 178"/>
                <a:gd name="T25" fmla="*/ 116 h 174"/>
                <a:gd name="T26" fmla="*/ 166 w 178"/>
                <a:gd name="T27" fmla="*/ 108 h 174"/>
                <a:gd name="T28" fmla="*/ 168 w 178"/>
                <a:gd name="T29" fmla="*/ 88 h 174"/>
                <a:gd name="T30" fmla="*/ 174 w 178"/>
                <a:gd name="T31" fmla="*/ 80 h 174"/>
                <a:gd name="T32" fmla="*/ 178 w 178"/>
                <a:gd name="T33" fmla="*/ 76 h 174"/>
                <a:gd name="T34" fmla="*/ 174 w 178"/>
                <a:gd name="T35" fmla="*/ 62 h 174"/>
                <a:gd name="T36" fmla="*/ 174 w 178"/>
                <a:gd name="T37" fmla="*/ 38 h 174"/>
                <a:gd name="T38" fmla="*/ 162 w 178"/>
                <a:gd name="T39" fmla="*/ 24 h 174"/>
                <a:gd name="T40" fmla="*/ 146 w 178"/>
                <a:gd name="T41" fmla="*/ 14 h 174"/>
                <a:gd name="T42" fmla="*/ 142 w 178"/>
                <a:gd name="T43" fmla="*/ 4 h 174"/>
                <a:gd name="T44" fmla="*/ 138 w 178"/>
                <a:gd name="T45" fmla="*/ 0 h 174"/>
                <a:gd name="T46" fmla="*/ 130 w 178"/>
                <a:gd name="T47" fmla="*/ 2 h 174"/>
                <a:gd name="T48" fmla="*/ 126 w 178"/>
                <a:gd name="T49" fmla="*/ 10 h 174"/>
                <a:gd name="T50" fmla="*/ 116 w 178"/>
                <a:gd name="T51" fmla="*/ 16 h 174"/>
                <a:gd name="T52" fmla="*/ 108 w 178"/>
                <a:gd name="T53" fmla="*/ 30 h 174"/>
                <a:gd name="T54" fmla="*/ 104 w 178"/>
                <a:gd name="T55" fmla="*/ 56 h 174"/>
                <a:gd name="T56" fmla="*/ 106 w 178"/>
                <a:gd name="T57" fmla="*/ 70 h 174"/>
                <a:gd name="T58" fmla="*/ 114 w 178"/>
                <a:gd name="T59" fmla="*/ 76 h 174"/>
                <a:gd name="T60" fmla="*/ 122 w 178"/>
                <a:gd name="T61" fmla="*/ 76 h 174"/>
                <a:gd name="T62" fmla="*/ 124 w 178"/>
                <a:gd name="T63" fmla="*/ 82 h 174"/>
                <a:gd name="T64" fmla="*/ 124 w 178"/>
                <a:gd name="T65" fmla="*/ 96 h 174"/>
                <a:gd name="T66" fmla="*/ 120 w 178"/>
                <a:gd name="T67" fmla="*/ 104 h 174"/>
                <a:gd name="T68" fmla="*/ 108 w 178"/>
                <a:gd name="T69" fmla="*/ 106 h 174"/>
                <a:gd name="T70" fmla="*/ 102 w 178"/>
                <a:gd name="T71" fmla="*/ 100 h 174"/>
                <a:gd name="T72" fmla="*/ 98 w 178"/>
                <a:gd name="T73" fmla="*/ 86 h 174"/>
                <a:gd name="T74" fmla="*/ 96 w 178"/>
                <a:gd name="T75" fmla="*/ 80 h 174"/>
                <a:gd name="T76" fmla="*/ 86 w 178"/>
                <a:gd name="T77" fmla="*/ 76 h 174"/>
                <a:gd name="T78" fmla="*/ 84 w 178"/>
                <a:gd name="T79" fmla="*/ 70 h 174"/>
                <a:gd name="T80" fmla="*/ 78 w 178"/>
                <a:gd name="T81" fmla="*/ 68 h 174"/>
                <a:gd name="T82" fmla="*/ 70 w 178"/>
                <a:gd name="T83" fmla="*/ 72 h 174"/>
                <a:gd name="T84" fmla="*/ 68 w 178"/>
                <a:gd name="T85" fmla="*/ 80 h 174"/>
                <a:gd name="T86" fmla="*/ 64 w 178"/>
                <a:gd name="T87" fmla="*/ 80 h 174"/>
                <a:gd name="T88" fmla="*/ 58 w 178"/>
                <a:gd name="T89" fmla="*/ 74 h 174"/>
                <a:gd name="T90" fmla="*/ 56 w 178"/>
                <a:gd name="T91" fmla="*/ 64 h 174"/>
                <a:gd name="T92" fmla="*/ 50 w 178"/>
                <a:gd name="T93" fmla="*/ 62 h 174"/>
                <a:gd name="T94" fmla="*/ 42 w 178"/>
                <a:gd name="T95" fmla="*/ 76 h 174"/>
                <a:gd name="T96" fmla="*/ 40 w 178"/>
                <a:gd name="T97" fmla="*/ 92 h 174"/>
                <a:gd name="T98" fmla="*/ 36 w 178"/>
                <a:gd name="T99" fmla="*/ 96 h 174"/>
                <a:gd name="T100" fmla="*/ 24 w 178"/>
                <a:gd name="T101" fmla="*/ 94 h 174"/>
                <a:gd name="T102" fmla="*/ 22 w 178"/>
                <a:gd name="T103" fmla="*/ 90 h 174"/>
                <a:gd name="T104" fmla="*/ 18 w 178"/>
                <a:gd name="T105" fmla="*/ 86 h 174"/>
                <a:gd name="T106" fmla="*/ 14 w 178"/>
                <a:gd name="T107" fmla="*/ 88 h 174"/>
                <a:gd name="T108" fmla="*/ 14 w 178"/>
                <a:gd name="T109" fmla="*/ 94 h 174"/>
                <a:gd name="T110" fmla="*/ 10 w 178"/>
                <a:gd name="T111" fmla="*/ 96 h 174"/>
                <a:gd name="T112" fmla="*/ 4 w 178"/>
                <a:gd name="T113" fmla="*/ 96 h 174"/>
                <a:gd name="T114" fmla="*/ 0 w 178"/>
                <a:gd name="T115" fmla="*/ 106 h 174"/>
                <a:gd name="T116" fmla="*/ 4 w 178"/>
                <a:gd name="T117" fmla="*/ 130 h 174"/>
                <a:gd name="T118" fmla="*/ 6 w 178"/>
                <a:gd name="T119" fmla="*/ 148 h 174"/>
                <a:gd name="T120" fmla="*/ 14 w 178"/>
                <a:gd name="T121" fmla="*/ 158 h 174"/>
                <a:gd name="T122" fmla="*/ 16 w 178"/>
                <a:gd name="T123" fmla="*/ 166 h 174"/>
                <a:gd name="T124" fmla="*/ 34 w 178"/>
                <a:gd name="T125" fmla="*/ 1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74">
                  <a:moveTo>
                    <a:pt x="62" y="174"/>
                  </a:moveTo>
                  <a:lnTo>
                    <a:pt x="62" y="174"/>
                  </a:lnTo>
                  <a:lnTo>
                    <a:pt x="66" y="172"/>
                  </a:lnTo>
                  <a:lnTo>
                    <a:pt x="70" y="172"/>
                  </a:lnTo>
                  <a:lnTo>
                    <a:pt x="72" y="170"/>
                  </a:lnTo>
                  <a:lnTo>
                    <a:pt x="72" y="170"/>
                  </a:lnTo>
                  <a:lnTo>
                    <a:pt x="74" y="170"/>
                  </a:lnTo>
                  <a:lnTo>
                    <a:pt x="78" y="170"/>
                  </a:lnTo>
                  <a:lnTo>
                    <a:pt x="82" y="172"/>
                  </a:lnTo>
                  <a:lnTo>
                    <a:pt x="84" y="170"/>
                  </a:lnTo>
                  <a:lnTo>
                    <a:pt x="84" y="170"/>
                  </a:lnTo>
                  <a:lnTo>
                    <a:pt x="86" y="170"/>
                  </a:lnTo>
                  <a:lnTo>
                    <a:pt x="88" y="170"/>
                  </a:lnTo>
                  <a:lnTo>
                    <a:pt x="90" y="170"/>
                  </a:lnTo>
                  <a:lnTo>
                    <a:pt x="92" y="168"/>
                  </a:lnTo>
                  <a:lnTo>
                    <a:pt x="92" y="168"/>
                  </a:lnTo>
                  <a:lnTo>
                    <a:pt x="92" y="168"/>
                  </a:lnTo>
                  <a:lnTo>
                    <a:pt x="92" y="168"/>
                  </a:lnTo>
                  <a:lnTo>
                    <a:pt x="94" y="166"/>
                  </a:lnTo>
                  <a:lnTo>
                    <a:pt x="94" y="166"/>
                  </a:lnTo>
                  <a:lnTo>
                    <a:pt x="94" y="164"/>
                  </a:lnTo>
                  <a:lnTo>
                    <a:pt x="94" y="162"/>
                  </a:lnTo>
                  <a:lnTo>
                    <a:pt x="94" y="160"/>
                  </a:lnTo>
                  <a:lnTo>
                    <a:pt x="94" y="160"/>
                  </a:lnTo>
                  <a:lnTo>
                    <a:pt x="94" y="158"/>
                  </a:lnTo>
                  <a:lnTo>
                    <a:pt x="94" y="158"/>
                  </a:lnTo>
                  <a:lnTo>
                    <a:pt x="94" y="156"/>
                  </a:lnTo>
                  <a:lnTo>
                    <a:pt x="96" y="156"/>
                  </a:lnTo>
                  <a:lnTo>
                    <a:pt x="96" y="156"/>
                  </a:lnTo>
                  <a:lnTo>
                    <a:pt x="98" y="156"/>
                  </a:lnTo>
                  <a:lnTo>
                    <a:pt x="100" y="156"/>
                  </a:lnTo>
                  <a:lnTo>
                    <a:pt x="102" y="156"/>
                  </a:lnTo>
                  <a:lnTo>
                    <a:pt x="102" y="156"/>
                  </a:lnTo>
                  <a:lnTo>
                    <a:pt x="104" y="154"/>
                  </a:lnTo>
                  <a:lnTo>
                    <a:pt x="106" y="154"/>
                  </a:lnTo>
                  <a:lnTo>
                    <a:pt x="106" y="152"/>
                  </a:lnTo>
                  <a:lnTo>
                    <a:pt x="108" y="152"/>
                  </a:lnTo>
                  <a:lnTo>
                    <a:pt x="108" y="152"/>
                  </a:lnTo>
                  <a:lnTo>
                    <a:pt x="108" y="150"/>
                  </a:lnTo>
                  <a:lnTo>
                    <a:pt x="108" y="150"/>
                  </a:lnTo>
                  <a:lnTo>
                    <a:pt x="108" y="146"/>
                  </a:lnTo>
                  <a:lnTo>
                    <a:pt x="108" y="144"/>
                  </a:lnTo>
                  <a:lnTo>
                    <a:pt x="108" y="144"/>
                  </a:lnTo>
                  <a:lnTo>
                    <a:pt x="108" y="142"/>
                  </a:lnTo>
                  <a:lnTo>
                    <a:pt x="108" y="142"/>
                  </a:lnTo>
                  <a:lnTo>
                    <a:pt x="110" y="142"/>
                  </a:lnTo>
                  <a:lnTo>
                    <a:pt x="110" y="140"/>
                  </a:lnTo>
                  <a:lnTo>
                    <a:pt x="110" y="140"/>
                  </a:lnTo>
                  <a:lnTo>
                    <a:pt x="112" y="140"/>
                  </a:lnTo>
                  <a:lnTo>
                    <a:pt x="114" y="140"/>
                  </a:lnTo>
                  <a:lnTo>
                    <a:pt x="116" y="140"/>
                  </a:lnTo>
                  <a:lnTo>
                    <a:pt x="118" y="140"/>
                  </a:lnTo>
                  <a:lnTo>
                    <a:pt x="120" y="140"/>
                  </a:lnTo>
                  <a:lnTo>
                    <a:pt x="122" y="140"/>
                  </a:lnTo>
                  <a:lnTo>
                    <a:pt x="122" y="140"/>
                  </a:lnTo>
                  <a:lnTo>
                    <a:pt x="122" y="140"/>
                  </a:lnTo>
                  <a:lnTo>
                    <a:pt x="124" y="138"/>
                  </a:lnTo>
                  <a:lnTo>
                    <a:pt x="124" y="138"/>
                  </a:lnTo>
                  <a:lnTo>
                    <a:pt x="126" y="134"/>
                  </a:lnTo>
                  <a:lnTo>
                    <a:pt x="128" y="132"/>
                  </a:lnTo>
                  <a:lnTo>
                    <a:pt x="128" y="132"/>
                  </a:lnTo>
                  <a:lnTo>
                    <a:pt x="132" y="132"/>
                  </a:lnTo>
                  <a:lnTo>
                    <a:pt x="134" y="130"/>
                  </a:lnTo>
                  <a:lnTo>
                    <a:pt x="138" y="130"/>
                  </a:lnTo>
                  <a:lnTo>
                    <a:pt x="142" y="130"/>
                  </a:lnTo>
                  <a:lnTo>
                    <a:pt x="146" y="128"/>
                  </a:lnTo>
                  <a:lnTo>
                    <a:pt x="148" y="128"/>
                  </a:lnTo>
                  <a:lnTo>
                    <a:pt x="148" y="128"/>
                  </a:lnTo>
                  <a:lnTo>
                    <a:pt x="150" y="126"/>
                  </a:lnTo>
                  <a:lnTo>
                    <a:pt x="152" y="126"/>
                  </a:lnTo>
                  <a:lnTo>
                    <a:pt x="152" y="126"/>
                  </a:lnTo>
                  <a:lnTo>
                    <a:pt x="152" y="124"/>
                  </a:lnTo>
                  <a:lnTo>
                    <a:pt x="152" y="124"/>
                  </a:lnTo>
                  <a:lnTo>
                    <a:pt x="154" y="122"/>
                  </a:lnTo>
                  <a:lnTo>
                    <a:pt x="154" y="118"/>
                  </a:lnTo>
                  <a:lnTo>
                    <a:pt x="154" y="118"/>
                  </a:lnTo>
                  <a:lnTo>
                    <a:pt x="154" y="116"/>
                  </a:lnTo>
                  <a:lnTo>
                    <a:pt x="156" y="116"/>
                  </a:lnTo>
                  <a:lnTo>
                    <a:pt x="158" y="114"/>
                  </a:lnTo>
                  <a:lnTo>
                    <a:pt x="160" y="114"/>
                  </a:lnTo>
                  <a:lnTo>
                    <a:pt x="162" y="114"/>
                  </a:lnTo>
                  <a:lnTo>
                    <a:pt x="166" y="112"/>
                  </a:lnTo>
                  <a:lnTo>
                    <a:pt x="166" y="112"/>
                  </a:lnTo>
                  <a:lnTo>
                    <a:pt x="166" y="108"/>
                  </a:lnTo>
                  <a:lnTo>
                    <a:pt x="166" y="104"/>
                  </a:lnTo>
                  <a:lnTo>
                    <a:pt x="166" y="100"/>
                  </a:lnTo>
                  <a:lnTo>
                    <a:pt x="166" y="96"/>
                  </a:lnTo>
                  <a:lnTo>
                    <a:pt x="168" y="90"/>
                  </a:lnTo>
                  <a:lnTo>
                    <a:pt x="168" y="88"/>
                  </a:lnTo>
                  <a:lnTo>
                    <a:pt x="168" y="88"/>
                  </a:lnTo>
                  <a:lnTo>
                    <a:pt x="168" y="86"/>
                  </a:lnTo>
                  <a:lnTo>
                    <a:pt x="168" y="84"/>
                  </a:lnTo>
                  <a:lnTo>
                    <a:pt x="170" y="84"/>
                  </a:lnTo>
                  <a:lnTo>
                    <a:pt x="170" y="82"/>
                  </a:lnTo>
                  <a:lnTo>
                    <a:pt x="174" y="80"/>
                  </a:lnTo>
                  <a:lnTo>
                    <a:pt x="174" y="80"/>
                  </a:lnTo>
                  <a:lnTo>
                    <a:pt x="176" y="78"/>
                  </a:lnTo>
                  <a:lnTo>
                    <a:pt x="176" y="78"/>
                  </a:lnTo>
                  <a:lnTo>
                    <a:pt x="176" y="78"/>
                  </a:lnTo>
                  <a:lnTo>
                    <a:pt x="176" y="78"/>
                  </a:lnTo>
                  <a:lnTo>
                    <a:pt x="178" y="76"/>
                  </a:lnTo>
                  <a:lnTo>
                    <a:pt x="178" y="76"/>
                  </a:lnTo>
                  <a:lnTo>
                    <a:pt x="178" y="74"/>
                  </a:lnTo>
                  <a:lnTo>
                    <a:pt x="176" y="74"/>
                  </a:lnTo>
                  <a:lnTo>
                    <a:pt x="176" y="72"/>
                  </a:lnTo>
                  <a:lnTo>
                    <a:pt x="176" y="68"/>
                  </a:lnTo>
                  <a:lnTo>
                    <a:pt x="174" y="64"/>
                  </a:lnTo>
                  <a:lnTo>
                    <a:pt x="174" y="62"/>
                  </a:lnTo>
                  <a:lnTo>
                    <a:pt x="174" y="60"/>
                  </a:lnTo>
                  <a:lnTo>
                    <a:pt x="174" y="58"/>
                  </a:lnTo>
                  <a:lnTo>
                    <a:pt x="174" y="56"/>
                  </a:lnTo>
                  <a:lnTo>
                    <a:pt x="174" y="48"/>
                  </a:lnTo>
                  <a:lnTo>
                    <a:pt x="174" y="40"/>
                  </a:lnTo>
                  <a:lnTo>
                    <a:pt x="174" y="38"/>
                  </a:lnTo>
                  <a:lnTo>
                    <a:pt x="172" y="34"/>
                  </a:lnTo>
                  <a:lnTo>
                    <a:pt x="168" y="30"/>
                  </a:lnTo>
                  <a:lnTo>
                    <a:pt x="166" y="28"/>
                  </a:lnTo>
                  <a:lnTo>
                    <a:pt x="166" y="26"/>
                  </a:lnTo>
                  <a:lnTo>
                    <a:pt x="164" y="26"/>
                  </a:lnTo>
                  <a:lnTo>
                    <a:pt x="162" y="24"/>
                  </a:lnTo>
                  <a:lnTo>
                    <a:pt x="158" y="22"/>
                  </a:lnTo>
                  <a:lnTo>
                    <a:pt x="154" y="22"/>
                  </a:lnTo>
                  <a:lnTo>
                    <a:pt x="154" y="20"/>
                  </a:lnTo>
                  <a:lnTo>
                    <a:pt x="152" y="20"/>
                  </a:lnTo>
                  <a:lnTo>
                    <a:pt x="150" y="18"/>
                  </a:lnTo>
                  <a:lnTo>
                    <a:pt x="146" y="14"/>
                  </a:lnTo>
                  <a:lnTo>
                    <a:pt x="144" y="12"/>
                  </a:lnTo>
                  <a:lnTo>
                    <a:pt x="144" y="10"/>
                  </a:lnTo>
                  <a:lnTo>
                    <a:pt x="142" y="8"/>
                  </a:lnTo>
                  <a:lnTo>
                    <a:pt x="142" y="8"/>
                  </a:lnTo>
                  <a:lnTo>
                    <a:pt x="142" y="6"/>
                  </a:lnTo>
                  <a:lnTo>
                    <a:pt x="142" y="4"/>
                  </a:lnTo>
                  <a:lnTo>
                    <a:pt x="142" y="4"/>
                  </a:lnTo>
                  <a:lnTo>
                    <a:pt x="140" y="2"/>
                  </a:lnTo>
                  <a:lnTo>
                    <a:pt x="140" y="2"/>
                  </a:lnTo>
                  <a:lnTo>
                    <a:pt x="140" y="0"/>
                  </a:lnTo>
                  <a:lnTo>
                    <a:pt x="140" y="0"/>
                  </a:lnTo>
                  <a:lnTo>
                    <a:pt x="138" y="0"/>
                  </a:lnTo>
                  <a:lnTo>
                    <a:pt x="138" y="0"/>
                  </a:lnTo>
                  <a:lnTo>
                    <a:pt x="136" y="0"/>
                  </a:lnTo>
                  <a:lnTo>
                    <a:pt x="134" y="0"/>
                  </a:lnTo>
                  <a:lnTo>
                    <a:pt x="130" y="0"/>
                  </a:lnTo>
                  <a:lnTo>
                    <a:pt x="130" y="2"/>
                  </a:lnTo>
                  <a:lnTo>
                    <a:pt x="130" y="2"/>
                  </a:lnTo>
                  <a:lnTo>
                    <a:pt x="128" y="6"/>
                  </a:lnTo>
                  <a:lnTo>
                    <a:pt x="128" y="8"/>
                  </a:lnTo>
                  <a:lnTo>
                    <a:pt x="128" y="10"/>
                  </a:lnTo>
                  <a:lnTo>
                    <a:pt x="126" y="10"/>
                  </a:lnTo>
                  <a:lnTo>
                    <a:pt x="126" y="10"/>
                  </a:lnTo>
                  <a:lnTo>
                    <a:pt x="126" y="10"/>
                  </a:lnTo>
                  <a:lnTo>
                    <a:pt x="124" y="12"/>
                  </a:lnTo>
                  <a:lnTo>
                    <a:pt x="122" y="12"/>
                  </a:lnTo>
                  <a:lnTo>
                    <a:pt x="122" y="12"/>
                  </a:lnTo>
                  <a:lnTo>
                    <a:pt x="118" y="14"/>
                  </a:lnTo>
                  <a:lnTo>
                    <a:pt x="116" y="14"/>
                  </a:lnTo>
                  <a:lnTo>
                    <a:pt x="116" y="16"/>
                  </a:lnTo>
                  <a:lnTo>
                    <a:pt x="114" y="16"/>
                  </a:lnTo>
                  <a:lnTo>
                    <a:pt x="114" y="18"/>
                  </a:lnTo>
                  <a:lnTo>
                    <a:pt x="112" y="20"/>
                  </a:lnTo>
                  <a:lnTo>
                    <a:pt x="110" y="22"/>
                  </a:lnTo>
                  <a:lnTo>
                    <a:pt x="110" y="26"/>
                  </a:lnTo>
                  <a:lnTo>
                    <a:pt x="108" y="30"/>
                  </a:lnTo>
                  <a:lnTo>
                    <a:pt x="108" y="34"/>
                  </a:lnTo>
                  <a:lnTo>
                    <a:pt x="106" y="40"/>
                  </a:lnTo>
                  <a:lnTo>
                    <a:pt x="106" y="48"/>
                  </a:lnTo>
                  <a:lnTo>
                    <a:pt x="104" y="50"/>
                  </a:lnTo>
                  <a:lnTo>
                    <a:pt x="104" y="54"/>
                  </a:lnTo>
                  <a:lnTo>
                    <a:pt x="104" y="56"/>
                  </a:lnTo>
                  <a:lnTo>
                    <a:pt x="104" y="60"/>
                  </a:lnTo>
                  <a:lnTo>
                    <a:pt x="104" y="62"/>
                  </a:lnTo>
                  <a:lnTo>
                    <a:pt x="104" y="64"/>
                  </a:lnTo>
                  <a:lnTo>
                    <a:pt x="106" y="66"/>
                  </a:lnTo>
                  <a:lnTo>
                    <a:pt x="106" y="70"/>
                  </a:lnTo>
                  <a:lnTo>
                    <a:pt x="106" y="70"/>
                  </a:lnTo>
                  <a:lnTo>
                    <a:pt x="106" y="70"/>
                  </a:lnTo>
                  <a:lnTo>
                    <a:pt x="108" y="72"/>
                  </a:lnTo>
                  <a:lnTo>
                    <a:pt x="110" y="74"/>
                  </a:lnTo>
                  <a:lnTo>
                    <a:pt x="112" y="74"/>
                  </a:lnTo>
                  <a:lnTo>
                    <a:pt x="112" y="76"/>
                  </a:lnTo>
                  <a:lnTo>
                    <a:pt x="114" y="76"/>
                  </a:lnTo>
                  <a:lnTo>
                    <a:pt x="114" y="76"/>
                  </a:lnTo>
                  <a:lnTo>
                    <a:pt x="118" y="76"/>
                  </a:lnTo>
                  <a:lnTo>
                    <a:pt x="118" y="76"/>
                  </a:lnTo>
                  <a:lnTo>
                    <a:pt x="120" y="76"/>
                  </a:lnTo>
                  <a:lnTo>
                    <a:pt x="122" y="76"/>
                  </a:lnTo>
                  <a:lnTo>
                    <a:pt x="122" y="76"/>
                  </a:lnTo>
                  <a:lnTo>
                    <a:pt x="122" y="76"/>
                  </a:lnTo>
                  <a:lnTo>
                    <a:pt x="122" y="78"/>
                  </a:lnTo>
                  <a:lnTo>
                    <a:pt x="124" y="78"/>
                  </a:lnTo>
                  <a:lnTo>
                    <a:pt x="124" y="78"/>
                  </a:lnTo>
                  <a:lnTo>
                    <a:pt x="124" y="80"/>
                  </a:lnTo>
                  <a:lnTo>
                    <a:pt x="124" y="82"/>
                  </a:lnTo>
                  <a:lnTo>
                    <a:pt x="126" y="84"/>
                  </a:lnTo>
                  <a:lnTo>
                    <a:pt x="126" y="88"/>
                  </a:lnTo>
                  <a:lnTo>
                    <a:pt x="126" y="90"/>
                  </a:lnTo>
                  <a:lnTo>
                    <a:pt x="126" y="92"/>
                  </a:lnTo>
                  <a:lnTo>
                    <a:pt x="124" y="94"/>
                  </a:lnTo>
                  <a:lnTo>
                    <a:pt x="124" y="96"/>
                  </a:lnTo>
                  <a:lnTo>
                    <a:pt x="124" y="100"/>
                  </a:lnTo>
                  <a:lnTo>
                    <a:pt x="124" y="100"/>
                  </a:lnTo>
                  <a:lnTo>
                    <a:pt x="122" y="102"/>
                  </a:lnTo>
                  <a:lnTo>
                    <a:pt x="122" y="102"/>
                  </a:lnTo>
                  <a:lnTo>
                    <a:pt x="122" y="104"/>
                  </a:lnTo>
                  <a:lnTo>
                    <a:pt x="120" y="104"/>
                  </a:lnTo>
                  <a:lnTo>
                    <a:pt x="120" y="104"/>
                  </a:lnTo>
                  <a:lnTo>
                    <a:pt x="118" y="104"/>
                  </a:lnTo>
                  <a:lnTo>
                    <a:pt x="116" y="106"/>
                  </a:lnTo>
                  <a:lnTo>
                    <a:pt x="114" y="106"/>
                  </a:lnTo>
                  <a:lnTo>
                    <a:pt x="112" y="106"/>
                  </a:lnTo>
                  <a:lnTo>
                    <a:pt x="108" y="106"/>
                  </a:lnTo>
                  <a:lnTo>
                    <a:pt x="106" y="104"/>
                  </a:lnTo>
                  <a:lnTo>
                    <a:pt x="106" y="104"/>
                  </a:lnTo>
                  <a:lnTo>
                    <a:pt x="104" y="104"/>
                  </a:lnTo>
                  <a:lnTo>
                    <a:pt x="104" y="104"/>
                  </a:lnTo>
                  <a:lnTo>
                    <a:pt x="102" y="102"/>
                  </a:lnTo>
                  <a:lnTo>
                    <a:pt x="102" y="100"/>
                  </a:lnTo>
                  <a:lnTo>
                    <a:pt x="100" y="98"/>
                  </a:lnTo>
                  <a:lnTo>
                    <a:pt x="100" y="96"/>
                  </a:lnTo>
                  <a:lnTo>
                    <a:pt x="98" y="96"/>
                  </a:lnTo>
                  <a:lnTo>
                    <a:pt x="98" y="94"/>
                  </a:lnTo>
                  <a:lnTo>
                    <a:pt x="98" y="88"/>
                  </a:lnTo>
                  <a:lnTo>
                    <a:pt x="98" y="86"/>
                  </a:lnTo>
                  <a:lnTo>
                    <a:pt x="98" y="84"/>
                  </a:lnTo>
                  <a:lnTo>
                    <a:pt x="96" y="82"/>
                  </a:lnTo>
                  <a:lnTo>
                    <a:pt x="96" y="82"/>
                  </a:lnTo>
                  <a:lnTo>
                    <a:pt x="96" y="82"/>
                  </a:lnTo>
                  <a:lnTo>
                    <a:pt x="96" y="80"/>
                  </a:lnTo>
                  <a:lnTo>
                    <a:pt x="96" y="80"/>
                  </a:lnTo>
                  <a:lnTo>
                    <a:pt x="94" y="80"/>
                  </a:lnTo>
                  <a:lnTo>
                    <a:pt x="92" y="78"/>
                  </a:lnTo>
                  <a:lnTo>
                    <a:pt x="90" y="78"/>
                  </a:lnTo>
                  <a:lnTo>
                    <a:pt x="88" y="78"/>
                  </a:lnTo>
                  <a:lnTo>
                    <a:pt x="86" y="76"/>
                  </a:lnTo>
                  <a:lnTo>
                    <a:pt x="86" y="76"/>
                  </a:lnTo>
                  <a:lnTo>
                    <a:pt x="84" y="76"/>
                  </a:lnTo>
                  <a:lnTo>
                    <a:pt x="84" y="74"/>
                  </a:lnTo>
                  <a:lnTo>
                    <a:pt x="84" y="74"/>
                  </a:lnTo>
                  <a:lnTo>
                    <a:pt x="84" y="74"/>
                  </a:lnTo>
                  <a:lnTo>
                    <a:pt x="84" y="72"/>
                  </a:lnTo>
                  <a:lnTo>
                    <a:pt x="84" y="70"/>
                  </a:lnTo>
                  <a:lnTo>
                    <a:pt x="84" y="70"/>
                  </a:lnTo>
                  <a:lnTo>
                    <a:pt x="82" y="70"/>
                  </a:lnTo>
                  <a:lnTo>
                    <a:pt x="82" y="68"/>
                  </a:lnTo>
                  <a:lnTo>
                    <a:pt x="82" y="68"/>
                  </a:lnTo>
                  <a:lnTo>
                    <a:pt x="80" y="68"/>
                  </a:lnTo>
                  <a:lnTo>
                    <a:pt x="78" y="68"/>
                  </a:lnTo>
                  <a:lnTo>
                    <a:pt x="76" y="70"/>
                  </a:lnTo>
                  <a:lnTo>
                    <a:pt x="76" y="70"/>
                  </a:lnTo>
                  <a:lnTo>
                    <a:pt x="74" y="70"/>
                  </a:lnTo>
                  <a:lnTo>
                    <a:pt x="72" y="70"/>
                  </a:lnTo>
                  <a:lnTo>
                    <a:pt x="72" y="72"/>
                  </a:lnTo>
                  <a:lnTo>
                    <a:pt x="70" y="72"/>
                  </a:lnTo>
                  <a:lnTo>
                    <a:pt x="70" y="72"/>
                  </a:lnTo>
                  <a:lnTo>
                    <a:pt x="70" y="74"/>
                  </a:lnTo>
                  <a:lnTo>
                    <a:pt x="70" y="76"/>
                  </a:lnTo>
                  <a:lnTo>
                    <a:pt x="68" y="78"/>
                  </a:lnTo>
                  <a:lnTo>
                    <a:pt x="68" y="78"/>
                  </a:lnTo>
                  <a:lnTo>
                    <a:pt x="68" y="80"/>
                  </a:lnTo>
                  <a:lnTo>
                    <a:pt x="68" y="80"/>
                  </a:lnTo>
                  <a:lnTo>
                    <a:pt x="66" y="80"/>
                  </a:lnTo>
                  <a:lnTo>
                    <a:pt x="66" y="80"/>
                  </a:lnTo>
                  <a:lnTo>
                    <a:pt x="66" y="80"/>
                  </a:lnTo>
                  <a:lnTo>
                    <a:pt x="64" y="80"/>
                  </a:lnTo>
                  <a:lnTo>
                    <a:pt x="64" y="80"/>
                  </a:lnTo>
                  <a:lnTo>
                    <a:pt x="62" y="78"/>
                  </a:lnTo>
                  <a:lnTo>
                    <a:pt x="60" y="78"/>
                  </a:lnTo>
                  <a:lnTo>
                    <a:pt x="60" y="78"/>
                  </a:lnTo>
                  <a:lnTo>
                    <a:pt x="60" y="78"/>
                  </a:lnTo>
                  <a:lnTo>
                    <a:pt x="60" y="76"/>
                  </a:lnTo>
                  <a:lnTo>
                    <a:pt x="58" y="74"/>
                  </a:lnTo>
                  <a:lnTo>
                    <a:pt x="58" y="72"/>
                  </a:lnTo>
                  <a:lnTo>
                    <a:pt x="58" y="70"/>
                  </a:lnTo>
                  <a:lnTo>
                    <a:pt x="58" y="68"/>
                  </a:lnTo>
                  <a:lnTo>
                    <a:pt x="58" y="66"/>
                  </a:lnTo>
                  <a:lnTo>
                    <a:pt x="58" y="64"/>
                  </a:lnTo>
                  <a:lnTo>
                    <a:pt x="56" y="64"/>
                  </a:lnTo>
                  <a:lnTo>
                    <a:pt x="56" y="64"/>
                  </a:lnTo>
                  <a:lnTo>
                    <a:pt x="56" y="62"/>
                  </a:lnTo>
                  <a:lnTo>
                    <a:pt x="54" y="62"/>
                  </a:lnTo>
                  <a:lnTo>
                    <a:pt x="54" y="62"/>
                  </a:lnTo>
                  <a:lnTo>
                    <a:pt x="52" y="62"/>
                  </a:lnTo>
                  <a:lnTo>
                    <a:pt x="50" y="62"/>
                  </a:lnTo>
                  <a:lnTo>
                    <a:pt x="46" y="62"/>
                  </a:lnTo>
                  <a:lnTo>
                    <a:pt x="42" y="60"/>
                  </a:lnTo>
                  <a:lnTo>
                    <a:pt x="40" y="62"/>
                  </a:lnTo>
                  <a:lnTo>
                    <a:pt x="40" y="66"/>
                  </a:lnTo>
                  <a:lnTo>
                    <a:pt x="42" y="70"/>
                  </a:lnTo>
                  <a:lnTo>
                    <a:pt x="42" y="76"/>
                  </a:lnTo>
                  <a:lnTo>
                    <a:pt x="42" y="78"/>
                  </a:lnTo>
                  <a:lnTo>
                    <a:pt x="42" y="82"/>
                  </a:lnTo>
                  <a:lnTo>
                    <a:pt x="42" y="84"/>
                  </a:lnTo>
                  <a:lnTo>
                    <a:pt x="42" y="88"/>
                  </a:lnTo>
                  <a:lnTo>
                    <a:pt x="40" y="90"/>
                  </a:lnTo>
                  <a:lnTo>
                    <a:pt x="40" y="92"/>
                  </a:lnTo>
                  <a:lnTo>
                    <a:pt x="40" y="94"/>
                  </a:lnTo>
                  <a:lnTo>
                    <a:pt x="38" y="94"/>
                  </a:lnTo>
                  <a:lnTo>
                    <a:pt x="38" y="94"/>
                  </a:lnTo>
                  <a:lnTo>
                    <a:pt x="38" y="96"/>
                  </a:lnTo>
                  <a:lnTo>
                    <a:pt x="36" y="96"/>
                  </a:lnTo>
                  <a:lnTo>
                    <a:pt x="36" y="96"/>
                  </a:lnTo>
                  <a:lnTo>
                    <a:pt x="34" y="96"/>
                  </a:lnTo>
                  <a:lnTo>
                    <a:pt x="32" y="96"/>
                  </a:lnTo>
                  <a:lnTo>
                    <a:pt x="30" y="96"/>
                  </a:lnTo>
                  <a:lnTo>
                    <a:pt x="28" y="96"/>
                  </a:lnTo>
                  <a:lnTo>
                    <a:pt x="26" y="96"/>
                  </a:lnTo>
                  <a:lnTo>
                    <a:pt x="24" y="94"/>
                  </a:lnTo>
                  <a:lnTo>
                    <a:pt x="24" y="94"/>
                  </a:lnTo>
                  <a:lnTo>
                    <a:pt x="24" y="94"/>
                  </a:lnTo>
                  <a:lnTo>
                    <a:pt x="24" y="94"/>
                  </a:lnTo>
                  <a:lnTo>
                    <a:pt x="22" y="92"/>
                  </a:lnTo>
                  <a:lnTo>
                    <a:pt x="22" y="90"/>
                  </a:lnTo>
                  <a:lnTo>
                    <a:pt x="22" y="90"/>
                  </a:lnTo>
                  <a:lnTo>
                    <a:pt x="22" y="88"/>
                  </a:lnTo>
                  <a:lnTo>
                    <a:pt x="20" y="86"/>
                  </a:lnTo>
                  <a:lnTo>
                    <a:pt x="20" y="86"/>
                  </a:lnTo>
                  <a:lnTo>
                    <a:pt x="20" y="86"/>
                  </a:lnTo>
                  <a:lnTo>
                    <a:pt x="20" y="86"/>
                  </a:lnTo>
                  <a:lnTo>
                    <a:pt x="18" y="86"/>
                  </a:lnTo>
                  <a:lnTo>
                    <a:pt x="16" y="86"/>
                  </a:lnTo>
                  <a:lnTo>
                    <a:pt x="16" y="86"/>
                  </a:lnTo>
                  <a:lnTo>
                    <a:pt x="14" y="86"/>
                  </a:lnTo>
                  <a:lnTo>
                    <a:pt x="14" y="86"/>
                  </a:lnTo>
                  <a:lnTo>
                    <a:pt x="14" y="88"/>
                  </a:lnTo>
                  <a:lnTo>
                    <a:pt x="14" y="88"/>
                  </a:lnTo>
                  <a:lnTo>
                    <a:pt x="14" y="88"/>
                  </a:lnTo>
                  <a:lnTo>
                    <a:pt x="14" y="90"/>
                  </a:lnTo>
                  <a:lnTo>
                    <a:pt x="14" y="90"/>
                  </a:lnTo>
                  <a:lnTo>
                    <a:pt x="14" y="92"/>
                  </a:lnTo>
                  <a:lnTo>
                    <a:pt x="14" y="94"/>
                  </a:lnTo>
                  <a:lnTo>
                    <a:pt x="14" y="94"/>
                  </a:lnTo>
                  <a:lnTo>
                    <a:pt x="14" y="94"/>
                  </a:lnTo>
                  <a:lnTo>
                    <a:pt x="14" y="94"/>
                  </a:lnTo>
                  <a:lnTo>
                    <a:pt x="14" y="96"/>
                  </a:lnTo>
                  <a:lnTo>
                    <a:pt x="12" y="96"/>
                  </a:lnTo>
                  <a:lnTo>
                    <a:pt x="12" y="96"/>
                  </a:lnTo>
                  <a:lnTo>
                    <a:pt x="10" y="96"/>
                  </a:lnTo>
                  <a:lnTo>
                    <a:pt x="8" y="96"/>
                  </a:lnTo>
                  <a:lnTo>
                    <a:pt x="8" y="96"/>
                  </a:lnTo>
                  <a:lnTo>
                    <a:pt x="6" y="96"/>
                  </a:lnTo>
                  <a:lnTo>
                    <a:pt x="4" y="96"/>
                  </a:lnTo>
                  <a:lnTo>
                    <a:pt x="4" y="96"/>
                  </a:lnTo>
                  <a:lnTo>
                    <a:pt x="4" y="96"/>
                  </a:lnTo>
                  <a:lnTo>
                    <a:pt x="4" y="96"/>
                  </a:lnTo>
                  <a:lnTo>
                    <a:pt x="2" y="98"/>
                  </a:lnTo>
                  <a:lnTo>
                    <a:pt x="2" y="100"/>
                  </a:lnTo>
                  <a:lnTo>
                    <a:pt x="2" y="102"/>
                  </a:lnTo>
                  <a:lnTo>
                    <a:pt x="2" y="104"/>
                  </a:lnTo>
                  <a:lnTo>
                    <a:pt x="0" y="106"/>
                  </a:lnTo>
                  <a:lnTo>
                    <a:pt x="0" y="110"/>
                  </a:lnTo>
                  <a:lnTo>
                    <a:pt x="2" y="112"/>
                  </a:lnTo>
                  <a:lnTo>
                    <a:pt x="2" y="114"/>
                  </a:lnTo>
                  <a:lnTo>
                    <a:pt x="2" y="120"/>
                  </a:lnTo>
                  <a:lnTo>
                    <a:pt x="2" y="126"/>
                  </a:lnTo>
                  <a:lnTo>
                    <a:pt x="4" y="130"/>
                  </a:lnTo>
                  <a:lnTo>
                    <a:pt x="4" y="134"/>
                  </a:lnTo>
                  <a:lnTo>
                    <a:pt x="4" y="142"/>
                  </a:lnTo>
                  <a:lnTo>
                    <a:pt x="4" y="144"/>
                  </a:lnTo>
                  <a:lnTo>
                    <a:pt x="4" y="146"/>
                  </a:lnTo>
                  <a:lnTo>
                    <a:pt x="4" y="148"/>
                  </a:lnTo>
                  <a:lnTo>
                    <a:pt x="6" y="148"/>
                  </a:lnTo>
                  <a:lnTo>
                    <a:pt x="6" y="150"/>
                  </a:lnTo>
                  <a:lnTo>
                    <a:pt x="6" y="150"/>
                  </a:lnTo>
                  <a:lnTo>
                    <a:pt x="8" y="152"/>
                  </a:lnTo>
                  <a:lnTo>
                    <a:pt x="10" y="154"/>
                  </a:lnTo>
                  <a:lnTo>
                    <a:pt x="12" y="156"/>
                  </a:lnTo>
                  <a:lnTo>
                    <a:pt x="14" y="158"/>
                  </a:lnTo>
                  <a:lnTo>
                    <a:pt x="14" y="160"/>
                  </a:lnTo>
                  <a:lnTo>
                    <a:pt x="16" y="162"/>
                  </a:lnTo>
                  <a:lnTo>
                    <a:pt x="16" y="162"/>
                  </a:lnTo>
                  <a:lnTo>
                    <a:pt x="16" y="162"/>
                  </a:lnTo>
                  <a:lnTo>
                    <a:pt x="16" y="164"/>
                  </a:lnTo>
                  <a:lnTo>
                    <a:pt x="16" y="166"/>
                  </a:lnTo>
                  <a:lnTo>
                    <a:pt x="16" y="170"/>
                  </a:lnTo>
                  <a:lnTo>
                    <a:pt x="20" y="170"/>
                  </a:lnTo>
                  <a:lnTo>
                    <a:pt x="22" y="172"/>
                  </a:lnTo>
                  <a:lnTo>
                    <a:pt x="24" y="172"/>
                  </a:lnTo>
                  <a:lnTo>
                    <a:pt x="28" y="172"/>
                  </a:lnTo>
                  <a:lnTo>
                    <a:pt x="34" y="172"/>
                  </a:lnTo>
                  <a:lnTo>
                    <a:pt x="46" y="174"/>
                  </a:lnTo>
                  <a:lnTo>
                    <a:pt x="58" y="174"/>
                  </a:lnTo>
                  <a:lnTo>
                    <a:pt x="62" y="1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59" name="Freeform 437"/>
            <p:cNvSpPr>
              <a:spLocks/>
            </p:cNvSpPr>
            <p:nvPr/>
          </p:nvSpPr>
          <p:spPr bwMode="auto">
            <a:xfrm>
              <a:off x="4799227" y="4864452"/>
              <a:ext cx="308309" cy="301381"/>
            </a:xfrm>
            <a:custGeom>
              <a:avLst/>
              <a:gdLst>
                <a:gd name="T0" fmla="*/ 72 w 178"/>
                <a:gd name="T1" fmla="*/ 170 h 174"/>
                <a:gd name="T2" fmla="*/ 86 w 178"/>
                <a:gd name="T3" fmla="*/ 170 h 174"/>
                <a:gd name="T4" fmla="*/ 92 w 178"/>
                <a:gd name="T5" fmla="*/ 168 h 174"/>
                <a:gd name="T6" fmla="*/ 94 w 178"/>
                <a:gd name="T7" fmla="*/ 160 h 174"/>
                <a:gd name="T8" fmla="*/ 98 w 178"/>
                <a:gd name="T9" fmla="*/ 156 h 174"/>
                <a:gd name="T10" fmla="*/ 106 w 178"/>
                <a:gd name="T11" fmla="*/ 152 h 174"/>
                <a:gd name="T12" fmla="*/ 108 w 178"/>
                <a:gd name="T13" fmla="*/ 144 h 174"/>
                <a:gd name="T14" fmla="*/ 110 w 178"/>
                <a:gd name="T15" fmla="*/ 140 h 174"/>
                <a:gd name="T16" fmla="*/ 122 w 178"/>
                <a:gd name="T17" fmla="*/ 140 h 174"/>
                <a:gd name="T18" fmla="*/ 128 w 178"/>
                <a:gd name="T19" fmla="*/ 132 h 174"/>
                <a:gd name="T20" fmla="*/ 146 w 178"/>
                <a:gd name="T21" fmla="*/ 128 h 174"/>
                <a:gd name="T22" fmla="*/ 152 w 178"/>
                <a:gd name="T23" fmla="*/ 124 h 174"/>
                <a:gd name="T24" fmla="*/ 156 w 178"/>
                <a:gd name="T25" fmla="*/ 116 h 174"/>
                <a:gd name="T26" fmla="*/ 166 w 178"/>
                <a:gd name="T27" fmla="*/ 108 h 174"/>
                <a:gd name="T28" fmla="*/ 168 w 178"/>
                <a:gd name="T29" fmla="*/ 88 h 174"/>
                <a:gd name="T30" fmla="*/ 174 w 178"/>
                <a:gd name="T31" fmla="*/ 80 h 174"/>
                <a:gd name="T32" fmla="*/ 178 w 178"/>
                <a:gd name="T33" fmla="*/ 76 h 174"/>
                <a:gd name="T34" fmla="*/ 174 w 178"/>
                <a:gd name="T35" fmla="*/ 62 h 174"/>
                <a:gd name="T36" fmla="*/ 174 w 178"/>
                <a:gd name="T37" fmla="*/ 38 h 174"/>
                <a:gd name="T38" fmla="*/ 162 w 178"/>
                <a:gd name="T39" fmla="*/ 24 h 174"/>
                <a:gd name="T40" fmla="*/ 146 w 178"/>
                <a:gd name="T41" fmla="*/ 14 h 174"/>
                <a:gd name="T42" fmla="*/ 142 w 178"/>
                <a:gd name="T43" fmla="*/ 4 h 174"/>
                <a:gd name="T44" fmla="*/ 138 w 178"/>
                <a:gd name="T45" fmla="*/ 0 h 174"/>
                <a:gd name="T46" fmla="*/ 130 w 178"/>
                <a:gd name="T47" fmla="*/ 2 h 174"/>
                <a:gd name="T48" fmla="*/ 126 w 178"/>
                <a:gd name="T49" fmla="*/ 10 h 174"/>
                <a:gd name="T50" fmla="*/ 116 w 178"/>
                <a:gd name="T51" fmla="*/ 16 h 174"/>
                <a:gd name="T52" fmla="*/ 108 w 178"/>
                <a:gd name="T53" fmla="*/ 30 h 174"/>
                <a:gd name="T54" fmla="*/ 104 w 178"/>
                <a:gd name="T55" fmla="*/ 56 h 174"/>
                <a:gd name="T56" fmla="*/ 106 w 178"/>
                <a:gd name="T57" fmla="*/ 70 h 174"/>
                <a:gd name="T58" fmla="*/ 114 w 178"/>
                <a:gd name="T59" fmla="*/ 76 h 174"/>
                <a:gd name="T60" fmla="*/ 122 w 178"/>
                <a:gd name="T61" fmla="*/ 76 h 174"/>
                <a:gd name="T62" fmla="*/ 124 w 178"/>
                <a:gd name="T63" fmla="*/ 82 h 174"/>
                <a:gd name="T64" fmla="*/ 124 w 178"/>
                <a:gd name="T65" fmla="*/ 96 h 174"/>
                <a:gd name="T66" fmla="*/ 120 w 178"/>
                <a:gd name="T67" fmla="*/ 104 h 174"/>
                <a:gd name="T68" fmla="*/ 108 w 178"/>
                <a:gd name="T69" fmla="*/ 106 h 174"/>
                <a:gd name="T70" fmla="*/ 102 w 178"/>
                <a:gd name="T71" fmla="*/ 100 h 174"/>
                <a:gd name="T72" fmla="*/ 98 w 178"/>
                <a:gd name="T73" fmla="*/ 86 h 174"/>
                <a:gd name="T74" fmla="*/ 96 w 178"/>
                <a:gd name="T75" fmla="*/ 80 h 174"/>
                <a:gd name="T76" fmla="*/ 86 w 178"/>
                <a:gd name="T77" fmla="*/ 76 h 174"/>
                <a:gd name="T78" fmla="*/ 84 w 178"/>
                <a:gd name="T79" fmla="*/ 70 h 174"/>
                <a:gd name="T80" fmla="*/ 78 w 178"/>
                <a:gd name="T81" fmla="*/ 68 h 174"/>
                <a:gd name="T82" fmla="*/ 70 w 178"/>
                <a:gd name="T83" fmla="*/ 72 h 174"/>
                <a:gd name="T84" fmla="*/ 68 w 178"/>
                <a:gd name="T85" fmla="*/ 80 h 174"/>
                <a:gd name="T86" fmla="*/ 64 w 178"/>
                <a:gd name="T87" fmla="*/ 80 h 174"/>
                <a:gd name="T88" fmla="*/ 58 w 178"/>
                <a:gd name="T89" fmla="*/ 74 h 174"/>
                <a:gd name="T90" fmla="*/ 56 w 178"/>
                <a:gd name="T91" fmla="*/ 64 h 174"/>
                <a:gd name="T92" fmla="*/ 50 w 178"/>
                <a:gd name="T93" fmla="*/ 62 h 174"/>
                <a:gd name="T94" fmla="*/ 42 w 178"/>
                <a:gd name="T95" fmla="*/ 76 h 174"/>
                <a:gd name="T96" fmla="*/ 40 w 178"/>
                <a:gd name="T97" fmla="*/ 92 h 174"/>
                <a:gd name="T98" fmla="*/ 36 w 178"/>
                <a:gd name="T99" fmla="*/ 96 h 174"/>
                <a:gd name="T100" fmla="*/ 24 w 178"/>
                <a:gd name="T101" fmla="*/ 94 h 174"/>
                <a:gd name="T102" fmla="*/ 22 w 178"/>
                <a:gd name="T103" fmla="*/ 90 h 174"/>
                <a:gd name="T104" fmla="*/ 18 w 178"/>
                <a:gd name="T105" fmla="*/ 86 h 174"/>
                <a:gd name="T106" fmla="*/ 14 w 178"/>
                <a:gd name="T107" fmla="*/ 88 h 174"/>
                <a:gd name="T108" fmla="*/ 14 w 178"/>
                <a:gd name="T109" fmla="*/ 94 h 174"/>
                <a:gd name="T110" fmla="*/ 10 w 178"/>
                <a:gd name="T111" fmla="*/ 96 h 174"/>
                <a:gd name="T112" fmla="*/ 4 w 178"/>
                <a:gd name="T113" fmla="*/ 96 h 174"/>
                <a:gd name="T114" fmla="*/ 0 w 178"/>
                <a:gd name="T115" fmla="*/ 106 h 174"/>
                <a:gd name="T116" fmla="*/ 4 w 178"/>
                <a:gd name="T117" fmla="*/ 130 h 174"/>
                <a:gd name="T118" fmla="*/ 6 w 178"/>
                <a:gd name="T119" fmla="*/ 148 h 174"/>
                <a:gd name="T120" fmla="*/ 14 w 178"/>
                <a:gd name="T121" fmla="*/ 158 h 174"/>
                <a:gd name="T122" fmla="*/ 16 w 178"/>
                <a:gd name="T123" fmla="*/ 166 h 174"/>
                <a:gd name="T124" fmla="*/ 34 w 178"/>
                <a:gd name="T125" fmla="*/ 1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74">
                  <a:moveTo>
                    <a:pt x="62" y="174"/>
                  </a:moveTo>
                  <a:lnTo>
                    <a:pt x="62" y="174"/>
                  </a:lnTo>
                  <a:lnTo>
                    <a:pt x="66" y="172"/>
                  </a:lnTo>
                  <a:lnTo>
                    <a:pt x="70" y="172"/>
                  </a:lnTo>
                  <a:lnTo>
                    <a:pt x="72" y="170"/>
                  </a:lnTo>
                  <a:lnTo>
                    <a:pt x="72" y="170"/>
                  </a:lnTo>
                  <a:lnTo>
                    <a:pt x="74" y="170"/>
                  </a:lnTo>
                  <a:lnTo>
                    <a:pt x="78" y="170"/>
                  </a:lnTo>
                  <a:lnTo>
                    <a:pt x="82" y="172"/>
                  </a:lnTo>
                  <a:lnTo>
                    <a:pt x="84" y="170"/>
                  </a:lnTo>
                  <a:lnTo>
                    <a:pt x="84" y="170"/>
                  </a:lnTo>
                  <a:lnTo>
                    <a:pt x="86" y="170"/>
                  </a:lnTo>
                  <a:lnTo>
                    <a:pt x="88" y="170"/>
                  </a:lnTo>
                  <a:lnTo>
                    <a:pt x="90" y="170"/>
                  </a:lnTo>
                  <a:lnTo>
                    <a:pt x="92" y="168"/>
                  </a:lnTo>
                  <a:lnTo>
                    <a:pt x="92" y="168"/>
                  </a:lnTo>
                  <a:lnTo>
                    <a:pt x="92" y="168"/>
                  </a:lnTo>
                  <a:lnTo>
                    <a:pt x="92" y="168"/>
                  </a:lnTo>
                  <a:lnTo>
                    <a:pt x="94" y="166"/>
                  </a:lnTo>
                  <a:lnTo>
                    <a:pt x="94" y="166"/>
                  </a:lnTo>
                  <a:lnTo>
                    <a:pt x="94" y="164"/>
                  </a:lnTo>
                  <a:lnTo>
                    <a:pt x="94" y="162"/>
                  </a:lnTo>
                  <a:lnTo>
                    <a:pt x="94" y="160"/>
                  </a:lnTo>
                  <a:lnTo>
                    <a:pt x="94" y="160"/>
                  </a:lnTo>
                  <a:lnTo>
                    <a:pt x="94" y="158"/>
                  </a:lnTo>
                  <a:lnTo>
                    <a:pt x="94" y="158"/>
                  </a:lnTo>
                  <a:lnTo>
                    <a:pt x="94" y="156"/>
                  </a:lnTo>
                  <a:lnTo>
                    <a:pt x="96" y="156"/>
                  </a:lnTo>
                  <a:lnTo>
                    <a:pt x="96" y="156"/>
                  </a:lnTo>
                  <a:lnTo>
                    <a:pt x="98" y="156"/>
                  </a:lnTo>
                  <a:lnTo>
                    <a:pt x="100" y="156"/>
                  </a:lnTo>
                  <a:lnTo>
                    <a:pt x="102" y="156"/>
                  </a:lnTo>
                  <a:lnTo>
                    <a:pt x="102" y="156"/>
                  </a:lnTo>
                  <a:lnTo>
                    <a:pt x="104" y="154"/>
                  </a:lnTo>
                  <a:lnTo>
                    <a:pt x="106" y="154"/>
                  </a:lnTo>
                  <a:lnTo>
                    <a:pt x="106" y="152"/>
                  </a:lnTo>
                  <a:lnTo>
                    <a:pt x="108" y="152"/>
                  </a:lnTo>
                  <a:lnTo>
                    <a:pt x="108" y="152"/>
                  </a:lnTo>
                  <a:lnTo>
                    <a:pt x="108" y="150"/>
                  </a:lnTo>
                  <a:lnTo>
                    <a:pt x="108" y="150"/>
                  </a:lnTo>
                  <a:lnTo>
                    <a:pt x="108" y="146"/>
                  </a:lnTo>
                  <a:lnTo>
                    <a:pt x="108" y="144"/>
                  </a:lnTo>
                  <a:lnTo>
                    <a:pt x="108" y="144"/>
                  </a:lnTo>
                  <a:lnTo>
                    <a:pt x="108" y="142"/>
                  </a:lnTo>
                  <a:lnTo>
                    <a:pt x="108" y="142"/>
                  </a:lnTo>
                  <a:lnTo>
                    <a:pt x="110" y="142"/>
                  </a:lnTo>
                  <a:lnTo>
                    <a:pt x="110" y="140"/>
                  </a:lnTo>
                  <a:lnTo>
                    <a:pt x="110" y="140"/>
                  </a:lnTo>
                  <a:lnTo>
                    <a:pt x="112" y="140"/>
                  </a:lnTo>
                  <a:lnTo>
                    <a:pt x="114" y="140"/>
                  </a:lnTo>
                  <a:lnTo>
                    <a:pt x="116" y="140"/>
                  </a:lnTo>
                  <a:lnTo>
                    <a:pt x="118" y="140"/>
                  </a:lnTo>
                  <a:lnTo>
                    <a:pt x="120" y="140"/>
                  </a:lnTo>
                  <a:lnTo>
                    <a:pt x="122" y="140"/>
                  </a:lnTo>
                  <a:lnTo>
                    <a:pt x="122" y="140"/>
                  </a:lnTo>
                  <a:lnTo>
                    <a:pt x="122" y="140"/>
                  </a:lnTo>
                  <a:lnTo>
                    <a:pt x="124" y="138"/>
                  </a:lnTo>
                  <a:lnTo>
                    <a:pt x="124" y="138"/>
                  </a:lnTo>
                  <a:lnTo>
                    <a:pt x="126" y="134"/>
                  </a:lnTo>
                  <a:lnTo>
                    <a:pt x="128" y="132"/>
                  </a:lnTo>
                  <a:lnTo>
                    <a:pt x="128" y="132"/>
                  </a:lnTo>
                  <a:lnTo>
                    <a:pt x="132" y="132"/>
                  </a:lnTo>
                  <a:lnTo>
                    <a:pt x="134" y="130"/>
                  </a:lnTo>
                  <a:lnTo>
                    <a:pt x="138" y="130"/>
                  </a:lnTo>
                  <a:lnTo>
                    <a:pt x="142" y="130"/>
                  </a:lnTo>
                  <a:lnTo>
                    <a:pt x="146" y="128"/>
                  </a:lnTo>
                  <a:lnTo>
                    <a:pt x="148" y="128"/>
                  </a:lnTo>
                  <a:lnTo>
                    <a:pt x="148" y="128"/>
                  </a:lnTo>
                  <a:lnTo>
                    <a:pt x="150" y="126"/>
                  </a:lnTo>
                  <a:lnTo>
                    <a:pt x="152" y="126"/>
                  </a:lnTo>
                  <a:lnTo>
                    <a:pt x="152" y="126"/>
                  </a:lnTo>
                  <a:lnTo>
                    <a:pt x="152" y="124"/>
                  </a:lnTo>
                  <a:lnTo>
                    <a:pt x="152" y="124"/>
                  </a:lnTo>
                  <a:lnTo>
                    <a:pt x="154" y="122"/>
                  </a:lnTo>
                  <a:lnTo>
                    <a:pt x="154" y="118"/>
                  </a:lnTo>
                  <a:lnTo>
                    <a:pt x="154" y="118"/>
                  </a:lnTo>
                  <a:lnTo>
                    <a:pt x="154" y="116"/>
                  </a:lnTo>
                  <a:lnTo>
                    <a:pt x="156" y="116"/>
                  </a:lnTo>
                  <a:lnTo>
                    <a:pt x="158" y="114"/>
                  </a:lnTo>
                  <a:lnTo>
                    <a:pt x="160" y="114"/>
                  </a:lnTo>
                  <a:lnTo>
                    <a:pt x="162" y="114"/>
                  </a:lnTo>
                  <a:lnTo>
                    <a:pt x="166" y="112"/>
                  </a:lnTo>
                  <a:lnTo>
                    <a:pt x="166" y="112"/>
                  </a:lnTo>
                  <a:lnTo>
                    <a:pt x="166" y="108"/>
                  </a:lnTo>
                  <a:lnTo>
                    <a:pt x="166" y="104"/>
                  </a:lnTo>
                  <a:lnTo>
                    <a:pt x="166" y="100"/>
                  </a:lnTo>
                  <a:lnTo>
                    <a:pt x="166" y="96"/>
                  </a:lnTo>
                  <a:lnTo>
                    <a:pt x="168" y="90"/>
                  </a:lnTo>
                  <a:lnTo>
                    <a:pt x="168" y="88"/>
                  </a:lnTo>
                  <a:lnTo>
                    <a:pt x="168" y="88"/>
                  </a:lnTo>
                  <a:lnTo>
                    <a:pt x="168" y="86"/>
                  </a:lnTo>
                  <a:lnTo>
                    <a:pt x="168" y="84"/>
                  </a:lnTo>
                  <a:lnTo>
                    <a:pt x="170" y="84"/>
                  </a:lnTo>
                  <a:lnTo>
                    <a:pt x="170" y="82"/>
                  </a:lnTo>
                  <a:lnTo>
                    <a:pt x="174" y="80"/>
                  </a:lnTo>
                  <a:lnTo>
                    <a:pt x="174" y="80"/>
                  </a:lnTo>
                  <a:lnTo>
                    <a:pt x="176" y="78"/>
                  </a:lnTo>
                  <a:lnTo>
                    <a:pt x="176" y="78"/>
                  </a:lnTo>
                  <a:lnTo>
                    <a:pt x="176" y="78"/>
                  </a:lnTo>
                  <a:lnTo>
                    <a:pt x="176" y="78"/>
                  </a:lnTo>
                  <a:lnTo>
                    <a:pt x="178" y="76"/>
                  </a:lnTo>
                  <a:lnTo>
                    <a:pt x="178" y="76"/>
                  </a:lnTo>
                  <a:lnTo>
                    <a:pt x="178" y="74"/>
                  </a:lnTo>
                  <a:lnTo>
                    <a:pt x="176" y="74"/>
                  </a:lnTo>
                  <a:lnTo>
                    <a:pt x="176" y="72"/>
                  </a:lnTo>
                  <a:lnTo>
                    <a:pt x="176" y="68"/>
                  </a:lnTo>
                  <a:lnTo>
                    <a:pt x="174" y="64"/>
                  </a:lnTo>
                  <a:lnTo>
                    <a:pt x="174" y="62"/>
                  </a:lnTo>
                  <a:lnTo>
                    <a:pt x="174" y="60"/>
                  </a:lnTo>
                  <a:lnTo>
                    <a:pt x="174" y="58"/>
                  </a:lnTo>
                  <a:lnTo>
                    <a:pt x="174" y="56"/>
                  </a:lnTo>
                  <a:lnTo>
                    <a:pt x="174" y="48"/>
                  </a:lnTo>
                  <a:lnTo>
                    <a:pt x="174" y="40"/>
                  </a:lnTo>
                  <a:lnTo>
                    <a:pt x="174" y="38"/>
                  </a:lnTo>
                  <a:lnTo>
                    <a:pt x="172" y="34"/>
                  </a:lnTo>
                  <a:lnTo>
                    <a:pt x="168" y="30"/>
                  </a:lnTo>
                  <a:lnTo>
                    <a:pt x="166" y="28"/>
                  </a:lnTo>
                  <a:lnTo>
                    <a:pt x="166" y="26"/>
                  </a:lnTo>
                  <a:lnTo>
                    <a:pt x="164" y="26"/>
                  </a:lnTo>
                  <a:lnTo>
                    <a:pt x="162" y="24"/>
                  </a:lnTo>
                  <a:lnTo>
                    <a:pt x="158" y="22"/>
                  </a:lnTo>
                  <a:lnTo>
                    <a:pt x="154" y="22"/>
                  </a:lnTo>
                  <a:lnTo>
                    <a:pt x="154" y="20"/>
                  </a:lnTo>
                  <a:lnTo>
                    <a:pt x="152" y="20"/>
                  </a:lnTo>
                  <a:lnTo>
                    <a:pt x="150" y="18"/>
                  </a:lnTo>
                  <a:lnTo>
                    <a:pt x="146" y="14"/>
                  </a:lnTo>
                  <a:lnTo>
                    <a:pt x="144" y="12"/>
                  </a:lnTo>
                  <a:lnTo>
                    <a:pt x="144" y="10"/>
                  </a:lnTo>
                  <a:lnTo>
                    <a:pt x="142" y="8"/>
                  </a:lnTo>
                  <a:lnTo>
                    <a:pt x="142" y="8"/>
                  </a:lnTo>
                  <a:lnTo>
                    <a:pt x="142" y="6"/>
                  </a:lnTo>
                  <a:lnTo>
                    <a:pt x="142" y="4"/>
                  </a:lnTo>
                  <a:lnTo>
                    <a:pt x="142" y="4"/>
                  </a:lnTo>
                  <a:lnTo>
                    <a:pt x="140" y="2"/>
                  </a:lnTo>
                  <a:lnTo>
                    <a:pt x="140" y="2"/>
                  </a:lnTo>
                  <a:lnTo>
                    <a:pt x="140" y="0"/>
                  </a:lnTo>
                  <a:lnTo>
                    <a:pt x="140" y="0"/>
                  </a:lnTo>
                  <a:lnTo>
                    <a:pt x="138" y="0"/>
                  </a:lnTo>
                  <a:lnTo>
                    <a:pt x="138" y="0"/>
                  </a:lnTo>
                  <a:lnTo>
                    <a:pt x="136" y="0"/>
                  </a:lnTo>
                  <a:lnTo>
                    <a:pt x="134" y="0"/>
                  </a:lnTo>
                  <a:lnTo>
                    <a:pt x="130" y="0"/>
                  </a:lnTo>
                  <a:lnTo>
                    <a:pt x="130" y="2"/>
                  </a:lnTo>
                  <a:lnTo>
                    <a:pt x="130" y="2"/>
                  </a:lnTo>
                  <a:lnTo>
                    <a:pt x="128" y="6"/>
                  </a:lnTo>
                  <a:lnTo>
                    <a:pt x="128" y="8"/>
                  </a:lnTo>
                  <a:lnTo>
                    <a:pt x="128" y="10"/>
                  </a:lnTo>
                  <a:lnTo>
                    <a:pt x="126" y="10"/>
                  </a:lnTo>
                  <a:lnTo>
                    <a:pt x="126" y="10"/>
                  </a:lnTo>
                  <a:lnTo>
                    <a:pt x="126" y="10"/>
                  </a:lnTo>
                  <a:lnTo>
                    <a:pt x="124" y="12"/>
                  </a:lnTo>
                  <a:lnTo>
                    <a:pt x="122" y="12"/>
                  </a:lnTo>
                  <a:lnTo>
                    <a:pt x="122" y="12"/>
                  </a:lnTo>
                  <a:lnTo>
                    <a:pt x="118" y="14"/>
                  </a:lnTo>
                  <a:lnTo>
                    <a:pt x="116" y="14"/>
                  </a:lnTo>
                  <a:lnTo>
                    <a:pt x="116" y="16"/>
                  </a:lnTo>
                  <a:lnTo>
                    <a:pt x="114" y="16"/>
                  </a:lnTo>
                  <a:lnTo>
                    <a:pt x="114" y="18"/>
                  </a:lnTo>
                  <a:lnTo>
                    <a:pt x="112" y="20"/>
                  </a:lnTo>
                  <a:lnTo>
                    <a:pt x="110" y="22"/>
                  </a:lnTo>
                  <a:lnTo>
                    <a:pt x="110" y="26"/>
                  </a:lnTo>
                  <a:lnTo>
                    <a:pt x="108" y="30"/>
                  </a:lnTo>
                  <a:lnTo>
                    <a:pt x="108" y="34"/>
                  </a:lnTo>
                  <a:lnTo>
                    <a:pt x="106" y="40"/>
                  </a:lnTo>
                  <a:lnTo>
                    <a:pt x="106" y="48"/>
                  </a:lnTo>
                  <a:lnTo>
                    <a:pt x="104" y="50"/>
                  </a:lnTo>
                  <a:lnTo>
                    <a:pt x="104" y="54"/>
                  </a:lnTo>
                  <a:lnTo>
                    <a:pt x="104" y="56"/>
                  </a:lnTo>
                  <a:lnTo>
                    <a:pt x="104" y="60"/>
                  </a:lnTo>
                  <a:lnTo>
                    <a:pt x="104" y="62"/>
                  </a:lnTo>
                  <a:lnTo>
                    <a:pt x="104" y="64"/>
                  </a:lnTo>
                  <a:lnTo>
                    <a:pt x="106" y="66"/>
                  </a:lnTo>
                  <a:lnTo>
                    <a:pt x="106" y="70"/>
                  </a:lnTo>
                  <a:lnTo>
                    <a:pt x="106" y="70"/>
                  </a:lnTo>
                  <a:lnTo>
                    <a:pt x="106" y="70"/>
                  </a:lnTo>
                  <a:lnTo>
                    <a:pt x="108" y="72"/>
                  </a:lnTo>
                  <a:lnTo>
                    <a:pt x="110" y="74"/>
                  </a:lnTo>
                  <a:lnTo>
                    <a:pt x="112" y="74"/>
                  </a:lnTo>
                  <a:lnTo>
                    <a:pt x="112" y="76"/>
                  </a:lnTo>
                  <a:lnTo>
                    <a:pt x="114" y="76"/>
                  </a:lnTo>
                  <a:lnTo>
                    <a:pt x="114" y="76"/>
                  </a:lnTo>
                  <a:lnTo>
                    <a:pt x="118" y="76"/>
                  </a:lnTo>
                  <a:lnTo>
                    <a:pt x="118" y="76"/>
                  </a:lnTo>
                  <a:lnTo>
                    <a:pt x="120" y="76"/>
                  </a:lnTo>
                  <a:lnTo>
                    <a:pt x="122" y="76"/>
                  </a:lnTo>
                  <a:lnTo>
                    <a:pt x="122" y="76"/>
                  </a:lnTo>
                  <a:lnTo>
                    <a:pt x="122" y="76"/>
                  </a:lnTo>
                  <a:lnTo>
                    <a:pt x="122" y="78"/>
                  </a:lnTo>
                  <a:lnTo>
                    <a:pt x="124" y="78"/>
                  </a:lnTo>
                  <a:lnTo>
                    <a:pt x="124" y="78"/>
                  </a:lnTo>
                  <a:lnTo>
                    <a:pt x="124" y="80"/>
                  </a:lnTo>
                  <a:lnTo>
                    <a:pt x="124" y="82"/>
                  </a:lnTo>
                  <a:lnTo>
                    <a:pt x="126" y="84"/>
                  </a:lnTo>
                  <a:lnTo>
                    <a:pt x="126" y="88"/>
                  </a:lnTo>
                  <a:lnTo>
                    <a:pt x="126" y="90"/>
                  </a:lnTo>
                  <a:lnTo>
                    <a:pt x="126" y="92"/>
                  </a:lnTo>
                  <a:lnTo>
                    <a:pt x="124" y="94"/>
                  </a:lnTo>
                  <a:lnTo>
                    <a:pt x="124" y="96"/>
                  </a:lnTo>
                  <a:lnTo>
                    <a:pt x="124" y="100"/>
                  </a:lnTo>
                  <a:lnTo>
                    <a:pt x="124" y="100"/>
                  </a:lnTo>
                  <a:lnTo>
                    <a:pt x="122" y="102"/>
                  </a:lnTo>
                  <a:lnTo>
                    <a:pt x="122" y="102"/>
                  </a:lnTo>
                  <a:lnTo>
                    <a:pt x="122" y="104"/>
                  </a:lnTo>
                  <a:lnTo>
                    <a:pt x="120" y="104"/>
                  </a:lnTo>
                  <a:lnTo>
                    <a:pt x="120" y="104"/>
                  </a:lnTo>
                  <a:lnTo>
                    <a:pt x="118" y="104"/>
                  </a:lnTo>
                  <a:lnTo>
                    <a:pt x="116" y="106"/>
                  </a:lnTo>
                  <a:lnTo>
                    <a:pt x="114" y="106"/>
                  </a:lnTo>
                  <a:lnTo>
                    <a:pt x="112" y="106"/>
                  </a:lnTo>
                  <a:lnTo>
                    <a:pt x="108" y="106"/>
                  </a:lnTo>
                  <a:lnTo>
                    <a:pt x="106" y="104"/>
                  </a:lnTo>
                  <a:lnTo>
                    <a:pt x="106" y="104"/>
                  </a:lnTo>
                  <a:lnTo>
                    <a:pt x="104" y="104"/>
                  </a:lnTo>
                  <a:lnTo>
                    <a:pt x="104" y="104"/>
                  </a:lnTo>
                  <a:lnTo>
                    <a:pt x="102" y="102"/>
                  </a:lnTo>
                  <a:lnTo>
                    <a:pt x="102" y="100"/>
                  </a:lnTo>
                  <a:lnTo>
                    <a:pt x="100" y="98"/>
                  </a:lnTo>
                  <a:lnTo>
                    <a:pt x="100" y="96"/>
                  </a:lnTo>
                  <a:lnTo>
                    <a:pt x="98" y="96"/>
                  </a:lnTo>
                  <a:lnTo>
                    <a:pt x="98" y="94"/>
                  </a:lnTo>
                  <a:lnTo>
                    <a:pt x="98" y="88"/>
                  </a:lnTo>
                  <a:lnTo>
                    <a:pt x="98" y="86"/>
                  </a:lnTo>
                  <a:lnTo>
                    <a:pt x="98" y="84"/>
                  </a:lnTo>
                  <a:lnTo>
                    <a:pt x="96" y="82"/>
                  </a:lnTo>
                  <a:lnTo>
                    <a:pt x="96" y="82"/>
                  </a:lnTo>
                  <a:lnTo>
                    <a:pt x="96" y="82"/>
                  </a:lnTo>
                  <a:lnTo>
                    <a:pt x="96" y="80"/>
                  </a:lnTo>
                  <a:lnTo>
                    <a:pt x="96" y="80"/>
                  </a:lnTo>
                  <a:lnTo>
                    <a:pt x="94" y="80"/>
                  </a:lnTo>
                  <a:lnTo>
                    <a:pt x="92" y="78"/>
                  </a:lnTo>
                  <a:lnTo>
                    <a:pt x="90" y="78"/>
                  </a:lnTo>
                  <a:lnTo>
                    <a:pt x="88" y="78"/>
                  </a:lnTo>
                  <a:lnTo>
                    <a:pt x="86" y="76"/>
                  </a:lnTo>
                  <a:lnTo>
                    <a:pt x="86" y="76"/>
                  </a:lnTo>
                  <a:lnTo>
                    <a:pt x="84" y="76"/>
                  </a:lnTo>
                  <a:lnTo>
                    <a:pt x="84" y="74"/>
                  </a:lnTo>
                  <a:lnTo>
                    <a:pt x="84" y="74"/>
                  </a:lnTo>
                  <a:lnTo>
                    <a:pt x="84" y="74"/>
                  </a:lnTo>
                  <a:lnTo>
                    <a:pt x="84" y="72"/>
                  </a:lnTo>
                  <a:lnTo>
                    <a:pt x="84" y="70"/>
                  </a:lnTo>
                  <a:lnTo>
                    <a:pt x="84" y="70"/>
                  </a:lnTo>
                  <a:lnTo>
                    <a:pt x="82" y="70"/>
                  </a:lnTo>
                  <a:lnTo>
                    <a:pt x="82" y="68"/>
                  </a:lnTo>
                  <a:lnTo>
                    <a:pt x="82" y="68"/>
                  </a:lnTo>
                  <a:lnTo>
                    <a:pt x="80" y="68"/>
                  </a:lnTo>
                  <a:lnTo>
                    <a:pt x="78" y="68"/>
                  </a:lnTo>
                  <a:lnTo>
                    <a:pt x="76" y="70"/>
                  </a:lnTo>
                  <a:lnTo>
                    <a:pt x="76" y="70"/>
                  </a:lnTo>
                  <a:lnTo>
                    <a:pt x="74" y="70"/>
                  </a:lnTo>
                  <a:lnTo>
                    <a:pt x="72" y="70"/>
                  </a:lnTo>
                  <a:lnTo>
                    <a:pt x="72" y="72"/>
                  </a:lnTo>
                  <a:lnTo>
                    <a:pt x="70" y="72"/>
                  </a:lnTo>
                  <a:lnTo>
                    <a:pt x="70" y="72"/>
                  </a:lnTo>
                  <a:lnTo>
                    <a:pt x="70" y="74"/>
                  </a:lnTo>
                  <a:lnTo>
                    <a:pt x="70" y="76"/>
                  </a:lnTo>
                  <a:lnTo>
                    <a:pt x="68" y="78"/>
                  </a:lnTo>
                  <a:lnTo>
                    <a:pt x="68" y="78"/>
                  </a:lnTo>
                  <a:lnTo>
                    <a:pt x="68" y="80"/>
                  </a:lnTo>
                  <a:lnTo>
                    <a:pt x="68" y="80"/>
                  </a:lnTo>
                  <a:lnTo>
                    <a:pt x="66" y="80"/>
                  </a:lnTo>
                  <a:lnTo>
                    <a:pt x="66" y="80"/>
                  </a:lnTo>
                  <a:lnTo>
                    <a:pt x="66" y="80"/>
                  </a:lnTo>
                  <a:lnTo>
                    <a:pt x="64" y="80"/>
                  </a:lnTo>
                  <a:lnTo>
                    <a:pt x="64" y="80"/>
                  </a:lnTo>
                  <a:lnTo>
                    <a:pt x="62" y="78"/>
                  </a:lnTo>
                  <a:lnTo>
                    <a:pt x="60" y="78"/>
                  </a:lnTo>
                  <a:lnTo>
                    <a:pt x="60" y="78"/>
                  </a:lnTo>
                  <a:lnTo>
                    <a:pt x="60" y="78"/>
                  </a:lnTo>
                  <a:lnTo>
                    <a:pt x="60" y="76"/>
                  </a:lnTo>
                  <a:lnTo>
                    <a:pt x="58" y="74"/>
                  </a:lnTo>
                  <a:lnTo>
                    <a:pt x="58" y="72"/>
                  </a:lnTo>
                  <a:lnTo>
                    <a:pt x="58" y="70"/>
                  </a:lnTo>
                  <a:lnTo>
                    <a:pt x="58" y="68"/>
                  </a:lnTo>
                  <a:lnTo>
                    <a:pt x="58" y="66"/>
                  </a:lnTo>
                  <a:lnTo>
                    <a:pt x="58" y="64"/>
                  </a:lnTo>
                  <a:lnTo>
                    <a:pt x="56" y="64"/>
                  </a:lnTo>
                  <a:lnTo>
                    <a:pt x="56" y="64"/>
                  </a:lnTo>
                  <a:lnTo>
                    <a:pt x="56" y="62"/>
                  </a:lnTo>
                  <a:lnTo>
                    <a:pt x="54" y="62"/>
                  </a:lnTo>
                  <a:lnTo>
                    <a:pt x="54" y="62"/>
                  </a:lnTo>
                  <a:lnTo>
                    <a:pt x="52" y="62"/>
                  </a:lnTo>
                  <a:lnTo>
                    <a:pt x="50" y="62"/>
                  </a:lnTo>
                  <a:lnTo>
                    <a:pt x="46" y="62"/>
                  </a:lnTo>
                  <a:lnTo>
                    <a:pt x="42" y="60"/>
                  </a:lnTo>
                  <a:lnTo>
                    <a:pt x="40" y="62"/>
                  </a:lnTo>
                  <a:lnTo>
                    <a:pt x="40" y="66"/>
                  </a:lnTo>
                  <a:lnTo>
                    <a:pt x="42" y="70"/>
                  </a:lnTo>
                  <a:lnTo>
                    <a:pt x="42" y="76"/>
                  </a:lnTo>
                  <a:lnTo>
                    <a:pt x="42" y="78"/>
                  </a:lnTo>
                  <a:lnTo>
                    <a:pt x="42" y="82"/>
                  </a:lnTo>
                  <a:lnTo>
                    <a:pt x="42" y="84"/>
                  </a:lnTo>
                  <a:lnTo>
                    <a:pt x="42" y="88"/>
                  </a:lnTo>
                  <a:lnTo>
                    <a:pt x="40" y="90"/>
                  </a:lnTo>
                  <a:lnTo>
                    <a:pt x="40" y="92"/>
                  </a:lnTo>
                  <a:lnTo>
                    <a:pt x="40" y="94"/>
                  </a:lnTo>
                  <a:lnTo>
                    <a:pt x="38" y="94"/>
                  </a:lnTo>
                  <a:lnTo>
                    <a:pt x="38" y="94"/>
                  </a:lnTo>
                  <a:lnTo>
                    <a:pt x="38" y="96"/>
                  </a:lnTo>
                  <a:lnTo>
                    <a:pt x="36" y="96"/>
                  </a:lnTo>
                  <a:lnTo>
                    <a:pt x="36" y="96"/>
                  </a:lnTo>
                  <a:lnTo>
                    <a:pt x="34" y="96"/>
                  </a:lnTo>
                  <a:lnTo>
                    <a:pt x="32" y="96"/>
                  </a:lnTo>
                  <a:lnTo>
                    <a:pt x="30" y="96"/>
                  </a:lnTo>
                  <a:lnTo>
                    <a:pt x="28" y="96"/>
                  </a:lnTo>
                  <a:lnTo>
                    <a:pt x="26" y="96"/>
                  </a:lnTo>
                  <a:lnTo>
                    <a:pt x="24" y="94"/>
                  </a:lnTo>
                  <a:lnTo>
                    <a:pt x="24" y="94"/>
                  </a:lnTo>
                  <a:lnTo>
                    <a:pt x="24" y="94"/>
                  </a:lnTo>
                  <a:lnTo>
                    <a:pt x="24" y="94"/>
                  </a:lnTo>
                  <a:lnTo>
                    <a:pt x="22" y="92"/>
                  </a:lnTo>
                  <a:lnTo>
                    <a:pt x="22" y="90"/>
                  </a:lnTo>
                  <a:lnTo>
                    <a:pt x="22" y="90"/>
                  </a:lnTo>
                  <a:lnTo>
                    <a:pt x="22" y="88"/>
                  </a:lnTo>
                  <a:lnTo>
                    <a:pt x="20" y="86"/>
                  </a:lnTo>
                  <a:lnTo>
                    <a:pt x="20" y="86"/>
                  </a:lnTo>
                  <a:lnTo>
                    <a:pt x="20" y="86"/>
                  </a:lnTo>
                  <a:lnTo>
                    <a:pt x="20" y="86"/>
                  </a:lnTo>
                  <a:lnTo>
                    <a:pt x="18" y="86"/>
                  </a:lnTo>
                  <a:lnTo>
                    <a:pt x="16" y="86"/>
                  </a:lnTo>
                  <a:lnTo>
                    <a:pt x="16" y="86"/>
                  </a:lnTo>
                  <a:lnTo>
                    <a:pt x="14" y="86"/>
                  </a:lnTo>
                  <a:lnTo>
                    <a:pt x="14" y="86"/>
                  </a:lnTo>
                  <a:lnTo>
                    <a:pt x="14" y="88"/>
                  </a:lnTo>
                  <a:lnTo>
                    <a:pt x="14" y="88"/>
                  </a:lnTo>
                  <a:lnTo>
                    <a:pt x="14" y="88"/>
                  </a:lnTo>
                  <a:lnTo>
                    <a:pt x="14" y="90"/>
                  </a:lnTo>
                  <a:lnTo>
                    <a:pt x="14" y="90"/>
                  </a:lnTo>
                  <a:lnTo>
                    <a:pt x="14" y="92"/>
                  </a:lnTo>
                  <a:lnTo>
                    <a:pt x="14" y="94"/>
                  </a:lnTo>
                  <a:lnTo>
                    <a:pt x="14" y="94"/>
                  </a:lnTo>
                  <a:lnTo>
                    <a:pt x="14" y="94"/>
                  </a:lnTo>
                  <a:lnTo>
                    <a:pt x="14" y="94"/>
                  </a:lnTo>
                  <a:lnTo>
                    <a:pt x="14" y="96"/>
                  </a:lnTo>
                  <a:lnTo>
                    <a:pt x="12" y="96"/>
                  </a:lnTo>
                  <a:lnTo>
                    <a:pt x="12" y="96"/>
                  </a:lnTo>
                  <a:lnTo>
                    <a:pt x="10" y="96"/>
                  </a:lnTo>
                  <a:lnTo>
                    <a:pt x="8" y="96"/>
                  </a:lnTo>
                  <a:lnTo>
                    <a:pt x="8" y="96"/>
                  </a:lnTo>
                  <a:lnTo>
                    <a:pt x="6" y="96"/>
                  </a:lnTo>
                  <a:lnTo>
                    <a:pt x="4" y="96"/>
                  </a:lnTo>
                  <a:lnTo>
                    <a:pt x="4" y="96"/>
                  </a:lnTo>
                  <a:lnTo>
                    <a:pt x="4" y="96"/>
                  </a:lnTo>
                  <a:lnTo>
                    <a:pt x="4" y="96"/>
                  </a:lnTo>
                  <a:lnTo>
                    <a:pt x="2" y="98"/>
                  </a:lnTo>
                  <a:lnTo>
                    <a:pt x="2" y="100"/>
                  </a:lnTo>
                  <a:lnTo>
                    <a:pt x="2" y="102"/>
                  </a:lnTo>
                  <a:lnTo>
                    <a:pt x="2" y="104"/>
                  </a:lnTo>
                  <a:lnTo>
                    <a:pt x="0" y="106"/>
                  </a:lnTo>
                  <a:lnTo>
                    <a:pt x="0" y="110"/>
                  </a:lnTo>
                  <a:lnTo>
                    <a:pt x="2" y="112"/>
                  </a:lnTo>
                  <a:lnTo>
                    <a:pt x="2" y="114"/>
                  </a:lnTo>
                  <a:lnTo>
                    <a:pt x="2" y="120"/>
                  </a:lnTo>
                  <a:lnTo>
                    <a:pt x="2" y="126"/>
                  </a:lnTo>
                  <a:lnTo>
                    <a:pt x="4" y="130"/>
                  </a:lnTo>
                  <a:lnTo>
                    <a:pt x="4" y="134"/>
                  </a:lnTo>
                  <a:lnTo>
                    <a:pt x="4" y="142"/>
                  </a:lnTo>
                  <a:lnTo>
                    <a:pt x="4" y="144"/>
                  </a:lnTo>
                  <a:lnTo>
                    <a:pt x="4" y="146"/>
                  </a:lnTo>
                  <a:lnTo>
                    <a:pt x="4" y="148"/>
                  </a:lnTo>
                  <a:lnTo>
                    <a:pt x="6" y="148"/>
                  </a:lnTo>
                  <a:lnTo>
                    <a:pt x="6" y="150"/>
                  </a:lnTo>
                  <a:lnTo>
                    <a:pt x="6" y="150"/>
                  </a:lnTo>
                  <a:lnTo>
                    <a:pt x="8" y="152"/>
                  </a:lnTo>
                  <a:lnTo>
                    <a:pt x="10" y="154"/>
                  </a:lnTo>
                  <a:lnTo>
                    <a:pt x="12" y="156"/>
                  </a:lnTo>
                  <a:lnTo>
                    <a:pt x="14" y="158"/>
                  </a:lnTo>
                  <a:lnTo>
                    <a:pt x="14" y="160"/>
                  </a:lnTo>
                  <a:lnTo>
                    <a:pt x="16" y="162"/>
                  </a:lnTo>
                  <a:lnTo>
                    <a:pt x="16" y="162"/>
                  </a:lnTo>
                  <a:lnTo>
                    <a:pt x="16" y="162"/>
                  </a:lnTo>
                  <a:lnTo>
                    <a:pt x="16" y="164"/>
                  </a:lnTo>
                  <a:lnTo>
                    <a:pt x="16" y="166"/>
                  </a:lnTo>
                  <a:lnTo>
                    <a:pt x="16" y="170"/>
                  </a:lnTo>
                  <a:lnTo>
                    <a:pt x="20" y="170"/>
                  </a:lnTo>
                  <a:lnTo>
                    <a:pt x="22" y="172"/>
                  </a:lnTo>
                  <a:lnTo>
                    <a:pt x="24" y="172"/>
                  </a:lnTo>
                  <a:lnTo>
                    <a:pt x="28" y="172"/>
                  </a:lnTo>
                  <a:lnTo>
                    <a:pt x="34" y="172"/>
                  </a:lnTo>
                  <a:lnTo>
                    <a:pt x="46" y="174"/>
                  </a:lnTo>
                  <a:lnTo>
                    <a:pt x="58" y="174"/>
                  </a:lnTo>
                  <a:lnTo>
                    <a:pt x="62" y="17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0" name="Freeform 438"/>
            <p:cNvSpPr>
              <a:spLocks/>
            </p:cNvSpPr>
            <p:nvPr/>
          </p:nvSpPr>
          <p:spPr bwMode="auto">
            <a:xfrm>
              <a:off x="4594842" y="3991487"/>
              <a:ext cx="277132" cy="453804"/>
            </a:xfrm>
            <a:custGeom>
              <a:avLst/>
              <a:gdLst>
                <a:gd name="T0" fmla="*/ 28 w 160"/>
                <a:gd name="T1" fmla="*/ 12 h 262"/>
                <a:gd name="T2" fmla="*/ 40 w 160"/>
                <a:gd name="T3" fmla="*/ 50 h 262"/>
                <a:gd name="T4" fmla="*/ 40 w 160"/>
                <a:gd name="T5" fmla="*/ 88 h 262"/>
                <a:gd name="T6" fmla="*/ 34 w 160"/>
                <a:gd name="T7" fmla="*/ 108 h 262"/>
                <a:gd name="T8" fmla="*/ 26 w 160"/>
                <a:gd name="T9" fmla="*/ 112 h 262"/>
                <a:gd name="T10" fmla="*/ 18 w 160"/>
                <a:gd name="T11" fmla="*/ 120 h 262"/>
                <a:gd name="T12" fmla="*/ 8 w 160"/>
                <a:gd name="T13" fmla="*/ 128 h 262"/>
                <a:gd name="T14" fmla="*/ 0 w 160"/>
                <a:gd name="T15" fmla="*/ 138 h 262"/>
                <a:gd name="T16" fmla="*/ 4 w 160"/>
                <a:gd name="T17" fmla="*/ 150 h 262"/>
                <a:gd name="T18" fmla="*/ 8 w 160"/>
                <a:gd name="T19" fmla="*/ 154 h 262"/>
                <a:gd name="T20" fmla="*/ 14 w 160"/>
                <a:gd name="T21" fmla="*/ 168 h 262"/>
                <a:gd name="T22" fmla="*/ 22 w 160"/>
                <a:gd name="T23" fmla="*/ 186 h 262"/>
                <a:gd name="T24" fmla="*/ 16 w 160"/>
                <a:gd name="T25" fmla="*/ 192 h 262"/>
                <a:gd name="T26" fmla="*/ 16 w 160"/>
                <a:gd name="T27" fmla="*/ 194 h 262"/>
                <a:gd name="T28" fmla="*/ 20 w 160"/>
                <a:gd name="T29" fmla="*/ 202 h 262"/>
                <a:gd name="T30" fmla="*/ 26 w 160"/>
                <a:gd name="T31" fmla="*/ 212 h 262"/>
                <a:gd name="T32" fmla="*/ 26 w 160"/>
                <a:gd name="T33" fmla="*/ 220 h 262"/>
                <a:gd name="T34" fmla="*/ 18 w 160"/>
                <a:gd name="T35" fmla="*/ 224 h 262"/>
                <a:gd name="T36" fmla="*/ 22 w 160"/>
                <a:gd name="T37" fmla="*/ 236 h 262"/>
                <a:gd name="T38" fmla="*/ 32 w 160"/>
                <a:gd name="T39" fmla="*/ 250 h 262"/>
                <a:gd name="T40" fmla="*/ 46 w 160"/>
                <a:gd name="T41" fmla="*/ 258 h 262"/>
                <a:gd name="T42" fmla="*/ 60 w 160"/>
                <a:gd name="T43" fmla="*/ 258 h 262"/>
                <a:gd name="T44" fmla="*/ 62 w 160"/>
                <a:gd name="T45" fmla="*/ 252 h 262"/>
                <a:gd name="T46" fmla="*/ 68 w 160"/>
                <a:gd name="T47" fmla="*/ 248 h 262"/>
                <a:gd name="T48" fmla="*/ 80 w 160"/>
                <a:gd name="T49" fmla="*/ 248 h 262"/>
                <a:gd name="T50" fmla="*/ 86 w 160"/>
                <a:gd name="T51" fmla="*/ 238 h 262"/>
                <a:gd name="T52" fmla="*/ 96 w 160"/>
                <a:gd name="T53" fmla="*/ 236 h 262"/>
                <a:gd name="T54" fmla="*/ 104 w 160"/>
                <a:gd name="T55" fmla="*/ 232 h 262"/>
                <a:gd name="T56" fmla="*/ 108 w 160"/>
                <a:gd name="T57" fmla="*/ 222 h 262"/>
                <a:gd name="T58" fmla="*/ 118 w 160"/>
                <a:gd name="T59" fmla="*/ 216 h 262"/>
                <a:gd name="T60" fmla="*/ 130 w 160"/>
                <a:gd name="T61" fmla="*/ 200 h 262"/>
                <a:gd name="T62" fmla="*/ 138 w 160"/>
                <a:gd name="T63" fmla="*/ 196 h 262"/>
                <a:gd name="T64" fmla="*/ 142 w 160"/>
                <a:gd name="T65" fmla="*/ 188 h 262"/>
                <a:gd name="T66" fmla="*/ 136 w 160"/>
                <a:gd name="T67" fmla="*/ 182 h 262"/>
                <a:gd name="T68" fmla="*/ 134 w 160"/>
                <a:gd name="T69" fmla="*/ 176 h 262"/>
                <a:gd name="T70" fmla="*/ 132 w 160"/>
                <a:gd name="T71" fmla="*/ 168 h 262"/>
                <a:gd name="T72" fmla="*/ 122 w 160"/>
                <a:gd name="T73" fmla="*/ 166 h 262"/>
                <a:gd name="T74" fmla="*/ 122 w 160"/>
                <a:gd name="T75" fmla="*/ 158 h 262"/>
                <a:gd name="T76" fmla="*/ 128 w 160"/>
                <a:gd name="T77" fmla="*/ 156 h 262"/>
                <a:gd name="T78" fmla="*/ 134 w 160"/>
                <a:gd name="T79" fmla="*/ 154 h 262"/>
                <a:gd name="T80" fmla="*/ 138 w 160"/>
                <a:gd name="T81" fmla="*/ 140 h 262"/>
                <a:gd name="T82" fmla="*/ 148 w 160"/>
                <a:gd name="T83" fmla="*/ 124 h 262"/>
                <a:gd name="T84" fmla="*/ 156 w 160"/>
                <a:gd name="T85" fmla="*/ 120 h 262"/>
                <a:gd name="T86" fmla="*/ 160 w 160"/>
                <a:gd name="T87" fmla="*/ 106 h 262"/>
                <a:gd name="T88" fmla="*/ 154 w 160"/>
                <a:gd name="T89" fmla="*/ 78 h 262"/>
                <a:gd name="T90" fmla="*/ 138 w 160"/>
                <a:gd name="T91" fmla="*/ 70 h 262"/>
                <a:gd name="T92" fmla="*/ 114 w 160"/>
                <a:gd name="T93" fmla="*/ 52 h 262"/>
                <a:gd name="T94" fmla="*/ 92 w 160"/>
                <a:gd name="T95" fmla="*/ 42 h 262"/>
                <a:gd name="T96" fmla="*/ 86 w 160"/>
                <a:gd name="T97" fmla="*/ 30 h 262"/>
                <a:gd name="T98" fmla="*/ 78 w 160"/>
                <a:gd name="T99" fmla="*/ 26 h 262"/>
                <a:gd name="T100" fmla="*/ 60 w 160"/>
                <a:gd name="T101" fmla="*/ 26 h 262"/>
                <a:gd name="T102" fmla="*/ 54 w 160"/>
                <a:gd name="T103" fmla="*/ 16 h 262"/>
                <a:gd name="T104" fmla="*/ 50 w 160"/>
                <a:gd name="T105" fmla="*/ 10 h 262"/>
                <a:gd name="T106" fmla="*/ 40 w 160"/>
                <a:gd name="T107" fmla="*/ 8 h 262"/>
                <a:gd name="T108" fmla="*/ 38 w 160"/>
                <a:gd name="T10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62">
                  <a:moveTo>
                    <a:pt x="26" y="0"/>
                  </a:moveTo>
                  <a:lnTo>
                    <a:pt x="26" y="0"/>
                  </a:lnTo>
                  <a:lnTo>
                    <a:pt x="26" y="4"/>
                  </a:lnTo>
                  <a:lnTo>
                    <a:pt x="26" y="6"/>
                  </a:lnTo>
                  <a:lnTo>
                    <a:pt x="28" y="8"/>
                  </a:lnTo>
                  <a:lnTo>
                    <a:pt x="28" y="10"/>
                  </a:lnTo>
                  <a:lnTo>
                    <a:pt x="28" y="12"/>
                  </a:lnTo>
                  <a:lnTo>
                    <a:pt x="30" y="16"/>
                  </a:lnTo>
                  <a:lnTo>
                    <a:pt x="34" y="22"/>
                  </a:lnTo>
                  <a:lnTo>
                    <a:pt x="36" y="28"/>
                  </a:lnTo>
                  <a:lnTo>
                    <a:pt x="36" y="30"/>
                  </a:lnTo>
                  <a:lnTo>
                    <a:pt x="36" y="32"/>
                  </a:lnTo>
                  <a:lnTo>
                    <a:pt x="38" y="40"/>
                  </a:lnTo>
                  <a:lnTo>
                    <a:pt x="40" y="50"/>
                  </a:lnTo>
                  <a:lnTo>
                    <a:pt x="40" y="54"/>
                  </a:lnTo>
                  <a:lnTo>
                    <a:pt x="40" y="60"/>
                  </a:lnTo>
                  <a:lnTo>
                    <a:pt x="40" y="66"/>
                  </a:lnTo>
                  <a:lnTo>
                    <a:pt x="40" y="72"/>
                  </a:lnTo>
                  <a:lnTo>
                    <a:pt x="40" y="78"/>
                  </a:lnTo>
                  <a:lnTo>
                    <a:pt x="40" y="84"/>
                  </a:lnTo>
                  <a:lnTo>
                    <a:pt x="40" y="88"/>
                  </a:lnTo>
                  <a:lnTo>
                    <a:pt x="38" y="94"/>
                  </a:lnTo>
                  <a:lnTo>
                    <a:pt x="38" y="96"/>
                  </a:lnTo>
                  <a:lnTo>
                    <a:pt x="38" y="98"/>
                  </a:lnTo>
                  <a:lnTo>
                    <a:pt x="36" y="102"/>
                  </a:lnTo>
                  <a:lnTo>
                    <a:pt x="36" y="104"/>
                  </a:lnTo>
                  <a:lnTo>
                    <a:pt x="34" y="106"/>
                  </a:lnTo>
                  <a:lnTo>
                    <a:pt x="34" y="108"/>
                  </a:lnTo>
                  <a:lnTo>
                    <a:pt x="32" y="108"/>
                  </a:lnTo>
                  <a:lnTo>
                    <a:pt x="32" y="110"/>
                  </a:lnTo>
                  <a:lnTo>
                    <a:pt x="32" y="110"/>
                  </a:lnTo>
                  <a:lnTo>
                    <a:pt x="32" y="110"/>
                  </a:lnTo>
                  <a:lnTo>
                    <a:pt x="30" y="112"/>
                  </a:lnTo>
                  <a:lnTo>
                    <a:pt x="28" y="112"/>
                  </a:lnTo>
                  <a:lnTo>
                    <a:pt x="26" y="112"/>
                  </a:lnTo>
                  <a:lnTo>
                    <a:pt x="24" y="112"/>
                  </a:lnTo>
                  <a:lnTo>
                    <a:pt x="22" y="112"/>
                  </a:lnTo>
                  <a:lnTo>
                    <a:pt x="22" y="112"/>
                  </a:lnTo>
                  <a:lnTo>
                    <a:pt x="20" y="114"/>
                  </a:lnTo>
                  <a:lnTo>
                    <a:pt x="20" y="114"/>
                  </a:lnTo>
                  <a:lnTo>
                    <a:pt x="18" y="118"/>
                  </a:lnTo>
                  <a:lnTo>
                    <a:pt x="18" y="120"/>
                  </a:lnTo>
                  <a:lnTo>
                    <a:pt x="16" y="122"/>
                  </a:lnTo>
                  <a:lnTo>
                    <a:pt x="16" y="122"/>
                  </a:lnTo>
                  <a:lnTo>
                    <a:pt x="14" y="122"/>
                  </a:lnTo>
                  <a:lnTo>
                    <a:pt x="14" y="124"/>
                  </a:lnTo>
                  <a:lnTo>
                    <a:pt x="12" y="126"/>
                  </a:lnTo>
                  <a:lnTo>
                    <a:pt x="8" y="126"/>
                  </a:lnTo>
                  <a:lnTo>
                    <a:pt x="8" y="128"/>
                  </a:lnTo>
                  <a:lnTo>
                    <a:pt x="6" y="128"/>
                  </a:lnTo>
                  <a:lnTo>
                    <a:pt x="4" y="130"/>
                  </a:lnTo>
                  <a:lnTo>
                    <a:pt x="4" y="132"/>
                  </a:lnTo>
                  <a:lnTo>
                    <a:pt x="2" y="134"/>
                  </a:lnTo>
                  <a:lnTo>
                    <a:pt x="2" y="136"/>
                  </a:lnTo>
                  <a:lnTo>
                    <a:pt x="0" y="136"/>
                  </a:lnTo>
                  <a:lnTo>
                    <a:pt x="0" y="138"/>
                  </a:lnTo>
                  <a:lnTo>
                    <a:pt x="0" y="140"/>
                  </a:lnTo>
                  <a:lnTo>
                    <a:pt x="0" y="142"/>
                  </a:lnTo>
                  <a:lnTo>
                    <a:pt x="0" y="144"/>
                  </a:lnTo>
                  <a:lnTo>
                    <a:pt x="0" y="148"/>
                  </a:lnTo>
                  <a:lnTo>
                    <a:pt x="2" y="150"/>
                  </a:lnTo>
                  <a:lnTo>
                    <a:pt x="2" y="150"/>
                  </a:lnTo>
                  <a:lnTo>
                    <a:pt x="4" y="150"/>
                  </a:lnTo>
                  <a:lnTo>
                    <a:pt x="6" y="150"/>
                  </a:lnTo>
                  <a:lnTo>
                    <a:pt x="6" y="150"/>
                  </a:lnTo>
                  <a:lnTo>
                    <a:pt x="8" y="150"/>
                  </a:lnTo>
                  <a:lnTo>
                    <a:pt x="8" y="150"/>
                  </a:lnTo>
                  <a:lnTo>
                    <a:pt x="8" y="150"/>
                  </a:lnTo>
                  <a:lnTo>
                    <a:pt x="8" y="152"/>
                  </a:lnTo>
                  <a:lnTo>
                    <a:pt x="8" y="154"/>
                  </a:lnTo>
                  <a:lnTo>
                    <a:pt x="10" y="154"/>
                  </a:lnTo>
                  <a:lnTo>
                    <a:pt x="10" y="158"/>
                  </a:lnTo>
                  <a:lnTo>
                    <a:pt x="10" y="158"/>
                  </a:lnTo>
                  <a:lnTo>
                    <a:pt x="10" y="160"/>
                  </a:lnTo>
                  <a:lnTo>
                    <a:pt x="10" y="162"/>
                  </a:lnTo>
                  <a:lnTo>
                    <a:pt x="12" y="164"/>
                  </a:lnTo>
                  <a:lnTo>
                    <a:pt x="14" y="168"/>
                  </a:lnTo>
                  <a:lnTo>
                    <a:pt x="18" y="174"/>
                  </a:lnTo>
                  <a:lnTo>
                    <a:pt x="20" y="178"/>
                  </a:lnTo>
                  <a:lnTo>
                    <a:pt x="20" y="180"/>
                  </a:lnTo>
                  <a:lnTo>
                    <a:pt x="22" y="182"/>
                  </a:lnTo>
                  <a:lnTo>
                    <a:pt x="22" y="184"/>
                  </a:lnTo>
                  <a:lnTo>
                    <a:pt x="22" y="186"/>
                  </a:lnTo>
                  <a:lnTo>
                    <a:pt x="22" y="186"/>
                  </a:lnTo>
                  <a:lnTo>
                    <a:pt x="22" y="188"/>
                  </a:lnTo>
                  <a:lnTo>
                    <a:pt x="22" y="190"/>
                  </a:lnTo>
                  <a:lnTo>
                    <a:pt x="22" y="190"/>
                  </a:lnTo>
                  <a:lnTo>
                    <a:pt x="20" y="190"/>
                  </a:lnTo>
                  <a:lnTo>
                    <a:pt x="20" y="190"/>
                  </a:lnTo>
                  <a:lnTo>
                    <a:pt x="18" y="192"/>
                  </a:lnTo>
                  <a:lnTo>
                    <a:pt x="16" y="192"/>
                  </a:lnTo>
                  <a:lnTo>
                    <a:pt x="16" y="192"/>
                  </a:lnTo>
                  <a:lnTo>
                    <a:pt x="16" y="192"/>
                  </a:lnTo>
                  <a:lnTo>
                    <a:pt x="14" y="192"/>
                  </a:lnTo>
                  <a:lnTo>
                    <a:pt x="14" y="192"/>
                  </a:lnTo>
                  <a:lnTo>
                    <a:pt x="14" y="194"/>
                  </a:lnTo>
                  <a:lnTo>
                    <a:pt x="16" y="194"/>
                  </a:lnTo>
                  <a:lnTo>
                    <a:pt x="16" y="194"/>
                  </a:lnTo>
                  <a:lnTo>
                    <a:pt x="18" y="194"/>
                  </a:lnTo>
                  <a:lnTo>
                    <a:pt x="18" y="196"/>
                  </a:lnTo>
                  <a:lnTo>
                    <a:pt x="18" y="196"/>
                  </a:lnTo>
                  <a:lnTo>
                    <a:pt x="18" y="196"/>
                  </a:lnTo>
                  <a:lnTo>
                    <a:pt x="20" y="198"/>
                  </a:lnTo>
                  <a:lnTo>
                    <a:pt x="20" y="200"/>
                  </a:lnTo>
                  <a:lnTo>
                    <a:pt x="20" y="202"/>
                  </a:lnTo>
                  <a:lnTo>
                    <a:pt x="20" y="204"/>
                  </a:lnTo>
                  <a:lnTo>
                    <a:pt x="22" y="204"/>
                  </a:lnTo>
                  <a:lnTo>
                    <a:pt x="22" y="206"/>
                  </a:lnTo>
                  <a:lnTo>
                    <a:pt x="22" y="206"/>
                  </a:lnTo>
                  <a:lnTo>
                    <a:pt x="24" y="208"/>
                  </a:lnTo>
                  <a:lnTo>
                    <a:pt x="26" y="210"/>
                  </a:lnTo>
                  <a:lnTo>
                    <a:pt x="26" y="212"/>
                  </a:lnTo>
                  <a:lnTo>
                    <a:pt x="26" y="212"/>
                  </a:lnTo>
                  <a:lnTo>
                    <a:pt x="26" y="212"/>
                  </a:lnTo>
                  <a:lnTo>
                    <a:pt x="26" y="214"/>
                  </a:lnTo>
                  <a:lnTo>
                    <a:pt x="26" y="216"/>
                  </a:lnTo>
                  <a:lnTo>
                    <a:pt x="26" y="218"/>
                  </a:lnTo>
                  <a:lnTo>
                    <a:pt x="26" y="218"/>
                  </a:lnTo>
                  <a:lnTo>
                    <a:pt x="26" y="220"/>
                  </a:lnTo>
                  <a:lnTo>
                    <a:pt x="24" y="220"/>
                  </a:lnTo>
                  <a:lnTo>
                    <a:pt x="24" y="220"/>
                  </a:lnTo>
                  <a:lnTo>
                    <a:pt x="22" y="222"/>
                  </a:lnTo>
                  <a:lnTo>
                    <a:pt x="20" y="222"/>
                  </a:lnTo>
                  <a:lnTo>
                    <a:pt x="18" y="224"/>
                  </a:lnTo>
                  <a:lnTo>
                    <a:pt x="18" y="224"/>
                  </a:lnTo>
                  <a:lnTo>
                    <a:pt x="18" y="224"/>
                  </a:lnTo>
                  <a:lnTo>
                    <a:pt x="18" y="226"/>
                  </a:lnTo>
                  <a:lnTo>
                    <a:pt x="18" y="226"/>
                  </a:lnTo>
                  <a:lnTo>
                    <a:pt x="18" y="228"/>
                  </a:lnTo>
                  <a:lnTo>
                    <a:pt x="18" y="230"/>
                  </a:lnTo>
                  <a:lnTo>
                    <a:pt x="20" y="232"/>
                  </a:lnTo>
                  <a:lnTo>
                    <a:pt x="20" y="234"/>
                  </a:lnTo>
                  <a:lnTo>
                    <a:pt x="22" y="236"/>
                  </a:lnTo>
                  <a:lnTo>
                    <a:pt x="22" y="238"/>
                  </a:lnTo>
                  <a:lnTo>
                    <a:pt x="24" y="240"/>
                  </a:lnTo>
                  <a:lnTo>
                    <a:pt x="28" y="242"/>
                  </a:lnTo>
                  <a:lnTo>
                    <a:pt x="30" y="244"/>
                  </a:lnTo>
                  <a:lnTo>
                    <a:pt x="30" y="246"/>
                  </a:lnTo>
                  <a:lnTo>
                    <a:pt x="32" y="248"/>
                  </a:lnTo>
                  <a:lnTo>
                    <a:pt x="32" y="250"/>
                  </a:lnTo>
                  <a:lnTo>
                    <a:pt x="34" y="256"/>
                  </a:lnTo>
                  <a:lnTo>
                    <a:pt x="38" y="262"/>
                  </a:lnTo>
                  <a:lnTo>
                    <a:pt x="40" y="260"/>
                  </a:lnTo>
                  <a:lnTo>
                    <a:pt x="44" y="258"/>
                  </a:lnTo>
                  <a:lnTo>
                    <a:pt x="44" y="258"/>
                  </a:lnTo>
                  <a:lnTo>
                    <a:pt x="46" y="258"/>
                  </a:lnTo>
                  <a:lnTo>
                    <a:pt x="46" y="258"/>
                  </a:lnTo>
                  <a:lnTo>
                    <a:pt x="48" y="258"/>
                  </a:lnTo>
                  <a:lnTo>
                    <a:pt x="50" y="258"/>
                  </a:lnTo>
                  <a:lnTo>
                    <a:pt x="54" y="258"/>
                  </a:lnTo>
                  <a:lnTo>
                    <a:pt x="54" y="258"/>
                  </a:lnTo>
                  <a:lnTo>
                    <a:pt x="56" y="258"/>
                  </a:lnTo>
                  <a:lnTo>
                    <a:pt x="58" y="258"/>
                  </a:lnTo>
                  <a:lnTo>
                    <a:pt x="60" y="258"/>
                  </a:lnTo>
                  <a:lnTo>
                    <a:pt x="60" y="258"/>
                  </a:lnTo>
                  <a:lnTo>
                    <a:pt x="60" y="258"/>
                  </a:lnTo>
                  <a:lnTo>
                    <a:pt x="60" y="258"/>
                  </a:lnTo>
                  <a:lnTo>
                    <a:pt x="62" y="256"/>
                  </a:lnTo>
                  <a:lnTo>
                    <a:pt x="62" y="256"/>
                  </a:lnTo>
                  <a:lnTo>
                    <a:pt x="62" y="254"/>
                  </a:lnTo>
                  <a:lnTo>
                    <a:pt x="62" y="252"/>
                  </a:lnTo>
                  <a:lnTo>
                    <a:pt x="64" y="250"/>
                  </a:lnTo>
                  <a:lnTo>
                    <a:pt x="64" y="250"/>
                  </a:lnTo>
                  <a:lnTo>
                    <a:pt x="64" y="250"/>
                  </a:lnTo>
                  <a:lnTo>
                    <a:pt x="64" y="250"/>
                  </a:lnTo>
                  <a:lnTo>
                    <a:pt x="64" y="248"/>
                  </a:lnTo>
                  <a:lnTo>
                    <a:pt x="66" y="248"/>
                  </a:lnTo>
                  <a:lnTo>
                    <a:pt x="68" y="248"/>
                  </a:lnTo>
                  <a:lnTo>
                    <a:pt x="70" y="248"/>
                  </a:lnTo>
                  <a:lnTo>
                    <a:pt x="72" y="248"/>
                  </a:lnTo>
                  <a:lnTo>
                    <a:pt x="74" y="248"/>
                  </a:lnTo>
                  <a:lnTo>
                    <a:pt x="76" y="248"/>
                  </a:lnTo>
                  <a:lnTo>
                    <a:pt x="78" y="248"/>
                  </a:lnTo>
                  <a:lnTo>
                    <a:pt x="80" y="248"/>
                  </a:lnTo>
                  <a:lnTo>
                    <a:pt x="80" y="248"/>
                  </a:lnTo>
                  <a:lnTo>
                    <a:pt x="80" y="248"/>
                  </a:lnTo>
                  <a:lnTo>
                    <a:pt x="82" y="246"/>
                  </a:lnTo>
                  <a:lnTo>
                    <a:pt x="82" y="246"/>
                  </a:lnTo>
                  <a:lnTo>
                    <a:pt x="84" y="244"/>
                  </a:lnTo>
                  <a:lnTo>
                    <a:pt x="84" y="242"/>
                  </a:lnTo>
                  <a:lnTo>
                    <a:pt x="86" y="240"/>
                  </a:lnTo>
                  <a:lnTo>
                    <a:pt x="86" y="238"/>
                  </a:lnTo>
                  <a:lnTo>
                    <a:pt x="88" y="238"/>
                  </a:lnTo>
                  <a:lnTo>
                    <a:pt x="88" y="238"/>
                  </a:lnTo>
                  <a:lnTo>
                    <a:pt x="90" y="238"/>
                  </a:lnTo>
                  <a:lnTo>
                    <a:pt x="90" y="236"/>
                  </a:lnTo>
                  <a:lnTo>
                    <a:pt x="92" y="236"/>
                  </a:lnTo>
                  <a:lnTo>
                    <a:pt x="94" y="236"/>
                  </a:lnTo>
                  <a:lnTo>
                    <a:pt x="96" y="236"/>
                  </a:lnTo>
                  <a:lnTo>
                    <a:pt x="98" y="236"/>
                  </a:lnTo>
                  <a:lnTo>
                    <a:pt x="100" y="236"/>
                  </a:lnTo>
                  <a:lnTo>
                    <a:pt x="100" y="234"/>
                  </a:lnTo>
                  <a:lnTo>
                    <a:pt x="102" y="234"/>
                  </a:lnTo>
                  <a:lnTo>
                    <a:pt x="102" y="234"/>
                  </a:lnTo>
                  <a:lnTo>
                    <a:pt x="102" y="234"/>
                  </a:lnTo>
                  <a:lnTo>
                    <a:pt x="104" y="232"/>
                  </a:lnTo>
                  <a:lnTo>
                    <a:pt x="104" y="230"/>
                  </a:lnTo>
                  <a:lnTo>
                    <a:pt x="104" y="230"/>
                  </a:lnTo>
                  <a:lnTo>
                    <a:pt x="106" y="226"/>
                  </a:lnTo>
                  <a:lnTo>
                    <a:pt x="106" y="224"/>
                  </a:lnTo>
                  <a:lnTo>
                    <a:pt x="106" y="224"/>
                  </a:lnTo>
                  <a:lnTo>
                    <a:pt x="108" y="224"/>
                  </a:lnTo>
                  <a:lnTo>
                    <a:pt x="108" y="222"/>
                  </a:lnTo>
                  <a:lnTo>
                    <a:pt x="112" y="222"/>
                  </a:lnTo>
                  <a:lnTo>
                    <a:pt x="114" y="220"/>
                  </a:lnTo>
                  <a:lnTo>
                    <a:pt x="116" y="220"/>
                  </a:lnTo>
                  <a:lnTo>
                    <a:pt x="116" y="220"/>
                  </a:lnTo>
                  <a:lnTo>
                    <a:pt x="118" y="218"/>
                  </a:lnTo>
                  <a:lnTo>
                    <a:pt x="118" y="218"/>
                  </a:lnTo>
                  <a:lnTo>
                    <a:pt x="118" y="216"/>
                  </a:lnTo>
                  <a:lnTo>
                    <a:pt x="120" y="214"/>
                  </a:lnTo>
                  <a:lnTo>
                    <a:pt x="120" y="210"/>
                  </a:lnTo>
                  <a:lnTo>
                    <a:pt x="122" y="208"/>
                  </a:lnTo>
                  <a:lnTo>
                    <a:pt x="122" y="208"/>
                  </a:lnTo>
                  <a:lnTo>
                    <a:pt x="124" y="206"/>
                  </a:lnTo>
                  <a:lnTo>
                    <a:pt x="126" y="202"/>
                  </a:lnTo>
                  <a:lnTo>
                    <a:pt x="130" y="200"/>
                  </a:lnTo>
                  <a:lnTo>
                    <a:pt x="130" y="200"/>
                  </a:lnTo>
                  <a:lnTo>
                    <a:pt x="132" y="198"/>
                  </a:lnTo>
                  <a:lnTo>
                    <a:pt x="132" y="198"/>
                  </a:lnTo>
                  <a:lnTo>
                    <a:pt x="134" y="198"/>
                  </a:lnTo>
                  <a:lnTo>
                    <a:pt x="136" y="198"/>
                  </a:lnTo>
                  <a:lnTo>
                    <a:pt x="138" y="196"/>
                  </a:lnTo>
                  <a:lnTo>
                    <a:pt x="138" y="196"/>
                  </a:lnTo>
                  <a:lnTo>
                    <a:pt x="138" y="196"/>
                  </a:lnTo>
                  <a:lnTo>
                    <a:pt x="140" y="196"/>
                  </a:lnTo>
                  <a:lnTo>
                    <a:pt x="140" y="194"/>
                  </a:lnTo>
                  <a:lnTo>
                    <a:pt x="142" y="192"/>
                  </a:lnTo>
                  <a:lnTo>
                    <a:pt x="142" y="192"/>
                  </a:lnTo>
                  <a:lnTo>
                    <a:pt x="142" y="190"/>
                  </a:lnTo>
                  <a:lnTo>
                    <a:pt x="142" y="188"/>
                  </a:lnTo>
                  <a:lnTo>
                    <a:pt x="142" y="186"/>
                  </a:lnTo>
                  <a:lnTo>
                    <a:pt x="142" y="184"/>
                  </a:lnTo>
                  <a:lnTo>
                    <a:pt x="142" y="184"/>
                  </a:lnTo>
                  <a:lnTo>
                    <a:pt x="140" y="184"/>
                  </a:lnTo>
                  <a:lnTo>
                    <a:pt x="140" y="184"/>
                  </a:lnTo>
                  <a:lnTo>
                    <a:pt x="138" y="182"/>
                  </a:lnTo>
                  <a:lnTo>
                    <a:pt x="136" y="182"/>
                  </a:lnTo>
                  <a:lnTo>
                    <a:pt x="136" y="182"/>
                  </a:lnTo>
                  <a:lnTo>
                    <a:pt x="136" y="180"/>
                  </a:lnTo>
                  <a:lnTo>
                    <a:pt x="134" y="180"/>
                  </a:lnTo>
                  <a:lnTo>
                    <a:pt x="134" y="180"/>
                  </a:lnTo>
                  <a:lnTo>
                    <a:pt x="134" y="178"/>
                  </a:lnTo>
                  <a:lnTo>
                    <a:pt x="134" y="178"/>
                  </a:lnTo>
                  <a:lnTo>
                    <a:pt x="134" y="176"/>
                  </a:lnTo>
                  <a:lnTo>
                    <a:pt x="134" y="174"/>
                  </a:lnTo>
                  <a:lnTo>
                    <a:pt x="134" y="172"/>
                  </a:lnTo>
                  <a:lnTo>
                    <a:pt x="134" y="170"/>
                  </a:lnTo>
                  <a:lnTo>
                    <a:pt x="132" y="170"/>
                  </a:lnTo>
                  <a:lnTo>
                    <a:pt x="132" y="170"/>
                  </a:lnTo>
                  <a:lnTo>
                    <a:pt x="132" y="170"/>
                  </a:lnTo>
                  <a:lnTo>
                    <a:pt x="132" y="168"/>
                  </a:lnTo>
                  <a:lnTo>
                    <a:pt x="130" y="168"/>
                  </a:lnTo>
                  <a:lnTo>
                    <a:pt x="128" y="168"/>
                  </a:lnTo>
                  <a:lnTo>
                    <a:pt x="126" y="168"/>
                  </a:lnTo>
                  <a:lnTo>
                    <a:pt x="126" y="168"/>
                  </a:lnTo>
                  <a:lnTo>
                    <a:pt x="124" y="166"/>
                  </a:lnTo>
                  <a:lnTo>
                    <a:pt x="122" y="166"/>
                  </a:lnTo>
                  <a:lnTo>
                    <a:pt x="122" y="166"/>
                  </a:lnTo>
                  <a:lnTo>
                    <a:pt x="122" y="166"/>
                  </a:lnTo>
                  <a:lnTo>
                    <a:pt x="122" y="164"/>
                  </a:lnTo>
                  <a:lnTo>
                    <a:pt x="122" y="164"/>
                  </a:lnTo>
                  <a:lnTo>
                    <a:pt x="122" y="162"/>
                  </a:lnTo>
                  <a:lnTo>
                    <a:pt x="122" y="160"/>
                  </a:lnTo>
                  <a:lnTo>
                    <a:pt x="122" y="158"/>
                  </a:lnTo>
                  <a:lnTo>
                    <a:pt x="122" y="158"/>
                  </a:lnTo>
                  <a:lnTo>
                    <a:pt x="122" y="156"/>
                  </a:lnTo>
                  <a:lnTo>
                    <a:pt x="124" y="156"/>
                  </a:lnTo>
                  <a:lnTo>
                    <a:pt x="124" y="156"/>
                  </a:lnTo>
                  <a:lnTo>
                    <a:pt x="124" y="156"/>
                  </a:lnTo>
                  <a:lnTo>
                    <a:pt x="126" y="156"/>
                  </a:lnTo>
                  <a:lnTo>
                    <a:pt x="126" y="156"/>
                  </a:lnTo>
                  <a:lnTo>
                    <a:pt x="128" y="156"/>
                  </a:lnTo>
                  <a:lnTo>
                    <a:pt x="130" y="156"/>
                  </a:lnTo>
                  <a:lnTo>
                    <a:pt x="132" y="156"/>
                  </a:lnTo>
                  <a:lnTo>
                    <a:pt x="132" y="156"/>
                  </a:lnTo>
                  <a:lnTo>
                    <a:pt x="134" y="156"/>
                  </a:lnTo>
                  <a:lnTo>
                    <a:pt x="134" y="156"/>
                  </a:lnTo>
                  <a:lnTo>
                    <a:pt x="134" y="154"/>
                  </a:lnTo>
                  <a:lnTo>
                    <a:pt x="134" y="154"/>
                  </a:lnTo>
                  <a:lnTo>
                    <a:pt x="136" y="154"/>
                  </a:lnTo>
                  <a:lnTo>
                    <a:pt x="136" y="152"/>
                  </a:lnTo>
                  <a:lnTo>
                    <a:pt x="136" y="150"/>
                  </a:lnTo>
                  <a:lnTo>
                    <a:pt x="136" y="148"/>
                  </a:lnTo>
                  <a:lnTo>
                    <a:pt x="136" y="144"/>
                  </a:lnTo>
                  <a:lnTo>
                    <a:pt x="138" y="142"/>
                  </a:lnTo>
                  <a:lnTo>
                    <a:pt x="138" y="140"/>
                  </a:lnTo>
                  <a:lnTo>
                    <a:pt x="140" y="136"/>
                  </a:lnTo>
                  <a:lnTo>
                    <a:pt x="142" y="132"/>
                  </a:lnTo>
                  <a:lnTo>
                    <a:pt x="142" y="130"/>
                  </a:lnTo>
                  <a:lnTo>
                    <a:pt x="144" y="126"/>
                  </a:lnTo>
                  <a:lnTo>
                    <a:pt x="146" y="126"/>
                  </a:lnTo>
                  <a:lnTo>
                    <a:pt x="146" y="124"/>
                  </a:lnTo>
                  <a:lnTo>
                    <a:pt x="148" y="124"/>
                  </a:lnTo>
                  <a:lnTo>
                    <a:pt x="148" y="122"/>
                  </a:lnTo>
                  <a:lnTo>
                    <a:pt x="152" y="122"/>
                  </a:lnTo>
                  <a:lnTo>
                    <a:pt x="152" y="122"/>
                  </a:lnTo>
                  <a:lnTo>
                    <a:pt x="154" y="122"/>
                  </a:lnTo>
                  <a:lnTo>
                    <a:pt x="156" y="122"/>
                  </a:lnTo>
                  <a:lnTo>
                    <a:pt x="156" y="120"/>
                  </a:lnTo>
                  <a:lnTo>
                    <a:pt x="156" y="120"/>
                  </a:lnTo>
                  <a:lnTo>
                    <a:pt x="156" y="120"/>
                  </a:lnTo>
                  <a:lnTo>
                    <a:pt x="158" y="118"/>
                  </a:lnTo>
                  <a:lnTo>
                    <a:pt x="158" y="118"/>
                  </a:lnTo>
                  <a:lnTo>
                    <a:pt x="158" y="116"/>
                  </a:lnTo>
                  <a:lnTo>
                    <a:pt x="158" y="114"/>
                  </a:lnTo>
                  <a:lnTo>
                    <a:pt x="158" y="110"/>
                  </a:lnTo>
                  <a:lnTo>
                    <a:pt x="160" y="106"/>
                  </a:lnTo>
                  <a:lnTo>
                    <a:pt x="160" y="104"/>
                  </a:lnTo>
                  <a:lnTo>
                    <a:pt x="160" y="100"/>
                  </a:lnTo>
                  <a:lnTo>
                    <a:pt x="160" y="96"/>
                  </a:lnTo>
                  <a:lnTo>
                    <a:pt x="158" y="90"/>
                  </a:lnTo>
                  <a:lnTo>
                    <a:pt x="158" y="84"/>
                  </a:lnTo>
                  <a:lnTo>
                    <a:pt x="158" y="78"/>
                  </a:lnTo>
                  <a:lnTo>
                    <a:pt x="154" y="78"/>
                  </a:lnTo>
                  <a:lnTo>
                    <a:pt x="150" y="78"/>
                  </a:lnTo>
                  <a:lnTo>
                    <a:pt x="148" y="76"/>
                  </a:lnTo>
                  <a:lnTo>
                    <a:pt x="148" y="76"/>
                  </a:lnTo>
                  <a:lnTo>
                    <a:pt x="146" y="76"/>
                  </a:lnTo>
                  <a:lnTo>
                    <a:pt x="144" y="76"/>
                  </a:lnTo>
                  <a:lnTo>
                    <a:pt x="142" y="74"/>
                  </a:lnTo>
                  <a:lnTo>
                    <a:pt x="138" y="70"/>
                  </a:lnTo>
                  <a:lnTo>
                    <a:pt x="134" y="68"/>
                  </a:lnTo>
                  <a:lnTo>
                    <a:pt x="128" y="62"/>
                  </a:lnTo>
                  <a:lnTo>
                    <a:pt x="126" y="60"/>
                  </a:lnTo>
                  <a:lnTo>
                    <a:pt x="124" y="58"/>
                  </a:lnTo>
                  <a:lnTo>
                    <a:pt x="120" y="56"/>
                  </a:lnTo>
                  <a:lnTo>
                    <a:pt x="118" y="54"/>
                  </a:lnTo>
                  <a:lnTo>
                    <a:pt x="114" y="52"/>
                  </a:lnTo>
                  <a:lnTo>
                    <a:pt x="110" y="50"/>
                  </a:lnTo>
                  <a:lnTo>
                    <a:pt x="108" y="50"/>
                  </a:lnTo>
                  <a:lnTo>
                    <a:pt x="102" y="48"/>
                  </a:lnTo>
                  <a:lnTo>
                    <a:pt x="98" y="46"/>
                  </a:lnTo>
                  <a:lnTo>
                    <a:pt x="96" y="44"/>
                  </a:lnTo>
                  <a:lnTo>
                    <a:pt x="92" y="42"/>
                  </a:lnTo>
                  <a:lnTo>
                    <a:pt x="92" y="42"/>
                  </a:lnTo>
                  <a:lnTo>
                    <a:pt x="90" y="42"/>
                  </a:lnTo>
                  <a:lnTo>
                    <a:pt x="90" y="40"/>
                  </a:lnTo>
                  <a:lnTo>
                    <a:pt x="90" y="40"/>
                  </a:lnTo>
                  <a:lnTo>
                    <a:pt x="88" y="38"/>
                  </a:lnTo>
                  <a:lnTo>
                    <a:pt x="88" y="34"/>
                  </a:lnTo>
                  <a:lnTo>
                    <a:pt x="86" y="32"/>
                  </a:lnTo>
                  <a:lnTo>
                    <a:pt x="86" y="30"/>
                  </a:lnTo>
                  <a:lnTo>
                    <a:pt x="84" y="30"/>
                  </a:lnTo>
                  <a:lnTo>
                    <a:pt x="84" y="28"/>
                  </a:lnTo>
                  <a:lnTo>
                    <a:pt x="84" y="28"/>
                  </a:lnTo>
                  <a:lnTo>
                    <a:pt x="82" y="28"/>
                  </a:lnTo>
                  <a:lnTo>
                    <a:pt x="80" y="28"/>
                  </a:lnTo>
                  <a:lnTo>
                    <a:pt x="80" y="26"/>
                  </a:lnTo>
                  <a:lnTo>
                    <a:pt x="78" y="26"/>
                  </a:lnTo>
                  <a:lnTo>
                    <a:pt x="74" y="26"/>
                  </a:lnTo>
                  <a:lnTo>
                    <a:pt x="70" y="26"/>
                  </a:lnTo>
                  <a:lnTo>
                    <a:pt x="66" y="26"/>
                  </a:lnTo>
                  <a:lnTo>
                    <a:pt x="64" y="26"/>
                  </a:lnTo>
                  <a:lnTo>
                    <a:pt x="62" y="26"/>
                  </a:lnTo>
                  <a:lnTo>
                    <a:pt x="60" y="26"/>
                  </a:lnTo>
                  <a:lnTo>
                    <a:pt x="60" y="26"/>
                  </a:lnTo>
                  <a:lnTo>
                    <a:pt x="58" y="24"/>
                  </a:lnTo>
                  <a:lnTo>
                    <a:pt x="58" y="24"/>
                  </a:lnTo>
                  <a:lnTo>
                    <a:pt x="58" y="24"/>
                  </a:lnTo>
                  <a:lnTo>
                    <a:pt x="56" y="22"/>
                  </a:lnTo>
                  <a:lnTo>
                    <a:pt x="56" y="20"/>
                  </a:lnTo>
                  <a:lnTo>
                    <a:pt x="56" y="18"/>
                  </a:lnTo>
                  <a:lnTo>
                    <a:pt x="54" y="16"/>
                  </a:lnTo>
                  <a:lnTo>
                    <a:pt x="54" y="14"/>
                  </a:lnTo>
                  <a:lnTo>
                    <a:pt x="54" y="12"/>
                  </a:lnTo>
                  <a:lnTo>
                    <a:pt x="54" y="12"/>
                  </a:lnTo>
                  <a:lnTo>
                    <a:pt x="52" y="12"/>
                  </a:lnTo>
                  <a:lnTo>
                    <a:pt x="52" y="12"/>
                  </a:lnTo>
                  <a:lnTo>
                    <a:pt x="52" y="10"/>
                  </a:lnTo>
                  <a:lnTo>
                    <a:pt x="50" y="10"/>
                  </a:lnTo>
                  <a:lnTo>
                    <a:pt x="48" y="10"/>
                  </a:lnTo>
                  <a:lnTo>
                    <a:pt x="46" y="10"/>
                  </a:lnTo>
                  <a:lnTo>
                    <a:pt x="44" y="10"/>
                  </a:lnTo>
                  <a:lnTo>
                    <a:pt x="42" y="8"/>
                  </a:lnTo>
                  <a:lnTo>
                    <a:pt x="42" y="8"/>
                  </a:lnTo>
                  <a:lnTo>
                    <a:pt x="40" y="8"/>
                  </a:lnTo>
                  <a:lnTo>
                    <a:pt x="40" y="8"/>
                  </a:lnTo>
                  <a:lnTo>
                    <a:pt x="40" y="6"/>
                  </a:lnTo>
                  <a:lnTo>
                    <a:pt x="40" y="6"/>
                  </a:lnTo>
                  <a:lnTo>
                    <a:pt x="40" y="4"/>
                  </a:lnTo>
                  <a:lnTo>
                    <a:pt x="40" y="2"/>
                  </a:lnTo>
                  <a:lnTo>
                    <a:pt x="40" y="2"/>
                  </a:lnTo>
                  <a:lnTo>
                    <a:pt x="38" y="2"/>
                  </a:lnTo>
                  <a:lnTo>
                    <a:pt x="38" y="2"/>
                  </a:lnTo>
                  <a:lnTo>
                    <a:pt x="38" y="0"/>
                  </a:lnTo>
                  <a:lnTo>
                    <a:pt x="36" y="0"/>
                  </a:lnTo>
                  <a:lnTo>
                    <a:pt x="34" y="0"/>
                  </a:lnTo>
                  <a:lnTo>
                    <a:pt x="32" y="0"/>
                  </a:lnTo>
                  <a:lnTo>
                    <a:pt x="28" y="0"/>
                  </a:lnTo>
                  <a:lnTo>
                    <a:pt x="2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1" name="Freeform 439"/>
            <p:cNvSpPr>
              <a:spLocks/>
            </p:cNvSpPr>
            <p:nvPr/>
          </p:nvSpPr>
          <p:spPr bwMode="auto">
            <a:xfrm>
              <a:off x="4594842" y="3991487"/>
              <a:ext cx="277132" cy="453804"/>
            </a:xfrm>
            <a:custGeom>
              <a:avLst/>
              <a:gdLst>
                <a:gd name="T0" fmla="*/ 28 w 160"/>
                <a:gd name="T1" fmla="*/ 12 h 262"/>
                <a:gd name="T2" fmla="*/ 40 w 160"/>
                <a:gd name="T3" fmla="*/ 50 h 262"/>
                <a:gd name="T4" fmla="*/ 40 w 160"/>
                <a:gd name="T5" fmla="*/ 88 h 262"/>
                <a:gd name="T6" fmla="*/ 34 w 160"/>
                <a:gd name="T7" fmla="*/ 108 h 262"/>
                <a:gd name="T8" fmla="*/ 26 w 160"/>
                <a:gd name="T9" fmla="*/ 112 h 262"/>
                <a:gd name="T10" fmla="*/ 18 w 160"/>
                <a:gd name="T11" fmla="*/ 120 h 262"/>
                <a:gd name="T12" fmla="*/ 8 w 160"/>
                <a:gd name="T13" fmla="*/ 128 h 262"/>
                <a:gd name="T14" fmla="*/ 0 w 160"/>
                <a:gd name="T15" fmla="*/ 138 h 262"/>
                <a:gd name="T16" fmla="*/ 4 w 160"/>
                <a:gd name="T17" fmla="*/ 150 h 262"/>
                <a:gd name="T18" fmla="*/ 8 w 160"/>
                <a:gd name="T19" fmla="*/ 154 h 262"/>
                <a:gd name="T20" fmla="*/ 14 w 160"/>
                <a:gd name="T21" fmla="*/ 168 h 262"/>
                <a:gd name="T22" fmla="*/ 22 w 160"/>
                <a:gd name="T23" fmla="*/ 186 h 262"/>
                <a:gd name="T24" fmla="*/ 16 w 160"/>
                <a:gd name="T25" fmla="*/ 192 h 262"/>
                <a:gd name="T26" fmla="*/ 16 w 160"/>
                <a:gd name="T27" fmla="*/ 194 h 262"/>
                <a:gd name="T28" fmla="*/ 20 w 160"/>
                <a:gd name="T29" fmla="*/ 202 h 262"/>
                <a:gd name="T30" fmla="*/ 26 w 160"/>
                <a:gd name="T31" fmla="*/ 212 h 262"/>
                <a:gd name="T32" fmla="*/ 26 w 160"/>
                <a:gd name="T33" fmla="*/ 220 h 262"/>
                <a:gd name="T34" fmla="*/ 18 w 160"/>
                <a:gd name="T35" fmla="*/ 224 h 262"/>
                <a:gd name="T36" fmla="*/ 22 w 160"/>
                <a:gd name="T37" fmla="*/ 236 h 262"/>
                <a:gd name="T38" fmla="*/ 32 w 160"/>
                <a:gd name="T39" fmla="*/ 250 h 262"/>
                <a:gd name="T40" fmla="*/ 46 w 160"/>
                <a:gd name="T41" fmla="*/ 258 h 262"/>
                <a:gd name="T42" fmla="*/ 60 w 160"/>
                <a:gd name="T43" fmla="*/ 258 h 262"/>
                <a:gd name="T44" fmla="*/ 62 w 160"/>
                <a:gd name="T45" fmla="*/ 252 h 262"/>
                <a:gd name="T46" fmla="*/ 68 w 160"/>
                <a:gd name="T47" fmla="*/ 248 h 262"/>
                <a:gd name="T48" fmla="*/ 80 w 160"/>
                <a:gd name="T49" fmla="*/ 248 h 262"/>
                <a:gd name="T50" fmla="*/ 86 w 160"/>
                <a:gd name="T51" fmla="*/ 238 h 262"/>
                <a:gd name="T52" fmla="*/ 96 w 160"/>
                <a:gd name="T53" fmla="*/ 236 h 262"/>
                <a:gd name="T54" fmla="*/ 104 w 160"/>
                <a:gd name="T55" fmla="*/ 232 h 262"/>
                <a:gd name="T56" fmla="*/ 108 w 160"/>
                <a:gd name="T57" fmla="*/ 222 h 262"/>
                <a:gd name="T58" fmla="*/ 118 w 160"/>
                <a:gd name="T59" fmla="*/ 216 h 262"/>
                <a:gd name="T60" fmla="*/ 130 w 160"/>
                <a:gd name="T61" fmla="*/ 200 h 262"/>
                <a:gd name="T62" fmla="*/ 138 w 160"/>
                <a:gd name="T63" fmla="*/ 196 h 262"/>
                <a:gd name="T64" fmla="*/ 142 w 160"/>
                <a:gd name="T65" fmla="*/ 188 h 262"/>
                <a:gd name="T66" fmla="*/ 136 w 160"/>
                <a:gd name="T67" fmla="*/ 182 h 262"/>
                <a:gd name="T68" fmla="*/ 134 w 160"/>
                <a:gd name="T69" fmla="*/ 176 h 262"/>
                <a:gd name="T70" fmla="*/ 132 w 160"/>
                <a:gd name="T71" fmla="*/ 168 h 262"/>
                <a:gd name="T72" fmla="*/ 122 w 160"/>
                <a:gd name="T73" fmla="*/ 166 h 262"/>
                <a:gd name="T74" fmla="*/ 122 w 160"/>
                <a:gd name="T75" fmla="*/ 158 h 262"/>
                <a:gd name="T76" fmla="*/ 128 w 160"/>
                <a:gd name="T77" fmla="*/ 156 h 262"/>
                <a:gd name="T78" fmla="*/ 134 w 160"/>
                <a:gd name="T79" fmla="*/ 154 h 262"/>
                <a:gd name="T80" fmla="*/ 138 w 160"/>
                <a:gd name="T81" fmla="*/ 140 h 262"/>
                <a:gd name="T82" fmla="*/ 148 w 160"/>
                <a:gd name="T83" fmla="*/ 124 h 262"/>
                <a:gd name="T84" fmla="*/ 156 w 160"/>
                <a:gd name="T85" fmla="*/ 120 h 262"/>
                <a:gd name="T86" fmla="*/ 160 w 160"/>
                <a:gd name="T87" fmla="*/ 106 h 262"/>
                <a:gd name="T88" fmla="*/ 154 w 160"/>
                <a:gd name="T89" fmla="*/ 78 h 262"/>
                <a:gd name="T90" fmla="*/ 138 w 160"/>
                <a:gd name="T91" fmla="*/ 70 h 262"/>
                <a:gd name="T92" fmla="*/ 114 w 160"/>
                <a:gd name="T93" fmla="*/ 52 h 262"/>
                <a:gd name="T94" fmla="*/ 92 w 160"/>
                <a:gd name="T95" fmla="*/ 42 h 262"/>
                <a:gd name="T96" fmla="*/ 86 w 160"/>
                <a:gd name="T97" fmla="*/ 30 h 262"/>
                <a:gd name="T98" fmla="*/ 78 w 160"/>
                <a:gd name="T99" fmla="*/ 26 h 262"/>
                <a:gd name="T100" fmla="*/ 60 w 160"/>
                <a:gd name="T101" fmla="*/ 26 h 262"/>
                <a:gd name="T102" fmla="*/ 54 w 160"/>
                <a:gd name="T103" fmla="*/ 16 h 262"/>
                <a:gd name="T104" fmla="*/ 50 w 160"/>
                <a:gd name="T105" fmla="*/ 10 h 262"/>
                <a:gd name="T106" fmla="*/ 40 w 160"/>
                <a:gd name="T107" fmla="*/ 8 h 262"/>
                <a:gd name="T108" fmla="*/ 38 w 160"/>
                <a:gd name="T10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62">
                  <a:moveTo>
                    <a:pt x="26" y="0"/>
                  </a:moveTo>
                  <a:lnTo>
                    <a:pt x="26" y="0"/>
                  </a:lnTo>
                  <a:lnTo>
                    <a:pt x="26" y="4"/>
                  </a:lnTo>
                  <a:lnTo>
                    <a:pt x="26" y="6"/>
                  </a:lnTo>
                  <a:lnTo>
                    <a:pt x="28" y="8"/>
                  </a:lnTo>
                  <a:lnTo>
                    <a:pt x="28" y="10"/>
                  </a:lnTo>
                  <a:lnTo>
                    <a:pt x="28" y="12"/>
                  </a:lnTo>
                  <a:lnTo>
                    <a:pt x="30" y="16"/>
                  </a:lnTo>
                  <a:lnTo>
                    <a:pt x="34" y="22"/>
                  </a:lnTo>
                  <a:lnTo>
                    <a:pt x="36" y="28"/>
                  </a:lnTo>
                  <a:lnTo>
                    <a:pt x="36" y="30"/>
                  </a:lnTo>
                  <a:lnTo>
                    <a:pt x="36" y="32"/>
                  </a:lnTo>
                  <a:lnTo>
                    <a:pt x="38" y="40"/>
                  </a:lnTo>
                  <a:lnTo>
                    <a:pt x="40" y="50"/>
                  </a:lnTo>
                  <a:lnTo>
                    <a:pt x="40" y="54"/>
                  </a:lnTo>
                  <a:lnTo>
                    <a:pt x="40" y="60"/>
                  </a:lnTo>
                  <a:lnTo>
                    <a:pt x="40" y="66"/>
                  </a:lnTo>
                  <a:lnTo>
                    <a:pt x="40" y="72"/>
                  </a:lnTo>
                  <a:lnTo>
                    <a:pt x="40" y="78"/>
                  </a:lnTo>
                  <a:lnTo>
                    <a:pt x="40" y="84"/>
                  </a:lnTo>
                  <a:lnTo>
                    <a:pt x="40" y="88"/>
                  </a:lnTo>
                  <a:lnTo>
                    <a:pt x="38" y="94"/>
                  </a:lnTo>
                  <a:lnTo>
                    <a:pt x="38" y="96"/>
                  </a:lnTo>
                  <a:lnTo>
                    <a:pt x="38" y="98"/>
                  </a:lnTo>
                  <a:lnTo>
                    <a:pt x="36" y="102"/>
                  </a:lnTo>
                  <a:lnTo>
                    <a:pt x="36" y="104"/>
                  </a:lnTo>
                  <a:lnTo>
                    <a:pt x="34" y="106"/>
                  </a:lnTo>
                  <a:lnTo>
                    <a:pt x="34" y="108"/>
                  </a:lnTo>
                  <a:lnTo>
                    <a:pt x="32" y="108"/>
                  </a:lnTo>
                  <a:lnTo>
                    <a:pt x="32" y="110"/>
                  </a:lnTo>
                  <a:lnTo>
                    <a:pt x="32" y="110"/>
                  </a:lnTo>
                  <a:lnTo>
                    <a:pt x="32" y="110"/>
                  </a:lnTo>
                  <a:lnTo>
                    <a:pt x="30" y="112"/>
                  </a:lnTo>
                  <a:lnTo>
                    <a:pt x="28" y="112"/>
                  </a:lnTo>
                  <a:lnTo>
                    <a:pt x="26" y="112"/>
                  </a:lnTo>
                  <a:lnTo>
                    <a:pt x="24" y="112"/>
                  </a:lnTo>
                  <a:lnTo>
                    <a:pt x="22" y="112"/>
                  </a:lnTo>
                  <a:lnTo>
                    <a:pt x="22" y="112"/>
                  </a:lnTo>
                  <a:lnTo>
                    <a:pt x="20" y="114"/>
                  </a:lnTo>
                  <a:lnTo>
                    <a:pt x="20" y="114"/>
                  </a:lnTo>
                  <a:lnTo>
                    <a:pt x="18" y="118"/>
                  </a:lnTo>
                  <a:lnTo>
                    <a:pt x="18" y="120"/>
                  </a:lnTo>
                  <a:lnTo>
                    <a:pt x="16" y="122"/>
                  </a:lnTo>
                  <a:lnTo>
                    <a:pt x="16" y="122"/>
                  </a:lnTo>
                  <a:lnTo>
                    <a:pt x="14" y="122"/>
                  </a:lnTo>
                  <a:lnTo>
                    <a:pt x="14" y="124"/>
                  </a:lnTo>
                  <a:lnTo>
                    <a:pt x="12" y="126"/>
                  </a:lnTo>
                  <a:lnTo>
                    <a:pt x="8" y="126"/>
                  </a:lnTo>
                  <a:lnTo>
                    <a:pt x="8" y="128"/>
                  </a:lnTo>
                  <a:lnTo>
                    <a:pt x="6" y="128"/>
                  </a:lnTo>
                  <a:lnTo>
                    <a:pt x="4" y="130"/>
                  </a:lnTo>
                  <a:lnTo>
                    <a:pt x="4" y="132"/>
                  </a:lnTo>
                  <a:lnTo>
                    <a:pt x="2" y="134"/>
                  </a:lnTo>
                  <a:lnTo>
                    <a:pt x="2" y="136"/>
                  </a:lnTo>
                  <a:lnTo>
                    <a:pt x="0" y="136"/>
                  </a:lnTo>
                  <a:lnTo>
                    <a:pt x="0" y="138"/>
                  </a:lnTo>
                  <a:lnTo>
                    <a:pt x="0" y="140"/>
                  </a:lnTo>
                  <a:lnTo>
                    <a:pt x="0" y="142"/>
                  </a:lnTo>
                  <a:lnTo>
                    <a:pt x="0" y="144"/>
                  </a:lnTo>
                  <a:lnTo>
                    <a:pt x="0" y="148"/>
                  </a:lnTo>
                  <a:lnTo>
                    <a:pt x="2" y="150"/>
                  </a:lnTo>
                  <a:lnTo>
                    <a:pt x="2" y="150"/>
                  </a:lnTo>
                  <a:lnTo>
                    <a:pt x="4" y="150"/>
                  </a:lnTo>
                  <a:lnTo>
                    <a:pt x="6" y="150"/>
                  </a:lnTo>
                  <a:lnTo>
                    <a:pt x="6" y="150"/>
                  </a:lnTo>
                  <a:lnTo>
                    <a:pt x="8" y="150"/>
                  </a:lnTo>
                  <a:lnTo>
                    <a:pt x="8" y="150"/>
                  </a:lnTo>
                  <a:lnTo>
                    <a:pt x="8" y="150"/>
                  </a:lnTo>
                  <a:lnTo>
                    <a:pt x="8" y="152"/>
                  </a:lnTo>
                  <a:lnTo>
                    <a:pt x="8" y="154"/>
                  </a:lnTo>
                  <a:lnTo>
                    <a:pt x="10" y="154"/>
                  </a:lnTo>
                  <a:lnTo>
                    <a:pt x="10" y="158"/>
                  </a:lnTo>
                  <a:lnTo>
                    <a:pt x="10" y="158"/>
                  </a:lnTo>
                  <a:lnTo>
                    <a:pt x="10" y="160"/>
                  </a:lnTo>
                  <a:lnTo>
                    <a:pt x="10" y="162"/>
                  </a:lnTo>
                  <a:lnTo>
                    <a:pt x="12" y="164"/>
                  </a:lnTo>
                  <a:lnTo>
                    <a:pt x="14" y="168"/>
                  </a:lnTo>
                  <a:lnTo>
                    <a:pt x="18" y="174"/>
                  </a:lnTo>
                  <a:lnTo>
                    <a:pt x="20" y="178"/>
                  </a:lnTo>
                  <a:lnTo>
                    <a:pt x="20" y="180"/>
                  </a:lnTo>
                  <a:lnTo>
                    <a:pt x="22" y="182"/>
                  </a:lnTo>
                  <a:lnTo>
                    <a:pt x="22" y="184"/>
                  </a:lnTo>
                  <a:lnTo>
                    <a:pt x="22" y="186"/>
                  </a:lnTo>
                  <a:lnTo>
                    <a:pt x="22" y="186"/>
                  </a:lnTo>
                  <a:lnTo>
                    <a:pt x="22" y="188"/>
                  </a:lnTo>
                  <a:lnTo>
                    <a:pt x="22" y="190"/>
                  </a:lnTo>
                  <a:lnTo>
                    <a:pt x="22" y="190"/>
                  </a:lnTo>
                  <a:lnTo>
                    <a:pt x="20" y="190"/>
                  </a:lnTo>
                  <a:lnTo>
                    <a:pt x="20" y="190"/>
                  </a:lnTo>
                  <a:lnTo>
                    <a:pt x="18" y="192"/>
                  </a:lnTo>
                  <a:lnTo>
                    <a:pt x="16" y="192"/>
                  </a:lnTo>
                  <a:lnTo>
                    <a:pt x="16" y="192"/>
                  </a:lnTo>
                  <a:lnTo>
                    <a:pt x="16" y="192"/>
                  </a:lnTo>
                  <a:lnTo>
                    <a:pt x="14" y="192"/>
                  </a:lnTo>
                  <a:lnTo>
                    <a:pt x="14" y="192"/>
                  </a:lnTo>
                  <a:lnTo>
                    <a:pt x="14" y="194"/>
                  </a:lnTo>
                  <a:lnTo>
                    <a:pt x="16" y="194"/>
                  </a:lnTo>
                  <a:lnTo>
                    <a:pt x="16" y="194"/>
                  </a:lnTo>
                  <a:lnTo>
                    <a:pt x="18" y="194"/>
                  </a:lnTo>
                  <a:lnTo>
                    <a:pt x="18" y="196"/>
                  </a:lnTo>
                  <a:lnTo>
                    <a:pt x="18" y="196"/>
                  </a:lnTo>
                  <a:lnTo>
                    <a:pt x="18" y="196"/>
                  </a:lnTo>
                  <a:lnTo>
                    <a:pt x="20" y="198"/>
                  </a:lnTo>
                  <a:lnTo>
                    <a:pt x="20" y="200"/>
                  </a:lnTo>
                  <a:lnTo>
                    <a:pt x="20" y="202"/>
                  </a:lnTo>
                  <a:lnTo>
                    <a:pt x="20" y="204"/>
                  </a:lnTo>
                  <a:lnTo>
                    <a:pt x="22" y="204"/>
                  </a:lnTo>
                  <a:lnTo>
                    <a:pt x="22" y="206"/>
                  </a:lnTo>
                  <a:lnTo>
                    <a:pt x="22" y="206"/>
                  </a:lnTo>
                  <a:lnTo>
                    <a:pt x="24" y="208"/>
                  </a:lnTo>
                  <a:lnTo>
                    <a:pt x="26" y="210"/>
                  </a:lnTo>
                  <a:lnTo>
                    <a:pt x="26" y="212"/>
                  </a:lnTo>
                  <a:lnTo>
                    <a:pt x="26" y="212"/>
                  </a:lnTo>
                  <a:lnTo>
                    <a:pt x="26" y="212"/>
                  </a:lnTo>
                  <a:lnTo>
                    <a:pt x="26" y="214"/>
                  </a:lnTo>
                  <a:lnTo>
                    <a:pt x="26" y="216"/>
                  </a:lnTo>
                  <a:lnTo>
                    <a:pt x="26" y="218"/>
                  </a:lnTo>
                  <a:lnTo>
                    <a:pt x="26" y="218"/>
                  </a:lnTo>
                  <a:lnTo>
                    <a:pt x="26" y="220"/>
                  </a:lnTo>
                  <a:lnTo>
                    <a:pt x="24" y="220"/>
                  </a:lnTo>
                  <a:lnTo>
                    <a:pt x="24" y="220"/>
                  </a:lnTo>
                  <a:lnTo>
                    <a:pt x="22" y="222"/>
                  </a:lnTo>
                  <a:lnTo>
                    <a:pt x="20" y="222"/>
                  </a:lnTo>
                  <a:lnTo>
                    <a:pt x="18" y="224"/>
                  </a:lnTo>
                  <a:lnTo>
                    <a:pt x="18" y="224"/>
                  </a:lnTo>
                  <a:lnTo>
                    <a:pt x="18" y="224"/>
                  </a:lnTo>
                  <a:lnTo>
                    <a:pt x="18" y="226"/>
                  </a:lnTo>
                  <a:lnTo>
                    <a:pt x="18" y="226"/>
                  </a:lnTo>
                  <a:lnTo>
                    <a:pt x="18" y="228"/>
                  </a:lnTo>
                  <a:lnTo>
                    <a:pt x="18" y="230"/>
                  </a:lnTo>
                  <a:lnTo>
                    <a:pt x="20" y="232"/>
                  </a:lnTo>
                  <a:lnTo>
                    <a:pt x="20" y="234"/>
                  </a:lnTo>
                  <a:lnTo>
                    <a:pt x="22" y="236"/>
                  </a:lnTo>
                  <a:lnTo>
                    <a:pt x="22" y="238"/>
                  </a:lnTo>
                  <a:lnTo>
                    <a:pt x="24" y="240"/>
                  </a:lnTo>
                  <a:lnTo>
                    <a:pt x="28" y="242"/>
                  </a:lnTo>
                  <a:lnTo>
                    <a:pt x="30" y="244"/>
                  </a:lnTo>
                  <a:lnTo>
                    <a:pt x="30" y="246"/>
                  </a:lnTo>
                  <a:lnTo>
                    <a:pt x="32" y="248"/>
                  </a:lnTo>
                  <a:lnTo>
                    <a:pt x="32" y="250"/>
                  </a:lnTo>
                  <a:lnTo>
                    <a:pt x="34" y="256"/>
                  </a:lnTo>
                  <a:lnTo>
                    <a:pt x="38" y="262"/>
                  </a:lnTo>
                  <a:lnTo>
                    <a:pt x="40" y="260"/>
                  </a:lnTo>
                  <a:lnTo>
                    <a:pt x="44" y="258"/>
                  </a:lnTo>
                  <a:lnTo>
                    <a:pt x="44" y="258"/>
                  </a:lnTo>
                  <a:lnTo>
                    <a:pt x="46" y="258"/>
                  </a:lnTo>
                  <a:lnTo>
                    <a:pt x="46" y="258"/>
                  </a:lnTo>
                  <a:lnTo>
                    <a:pt x="48" y="258"/>
                  </a:lnTo>
                  <a:lnTo>
                    <a:pt x="50" y="258"/>
                  </a:lnTo>
                  <a:lnTo>
                    <a:pt x="54" y="258"/>
                  </a:lnTo>
                  <a:lnTo>
                    <a:pt x="54" y="258"/>
                  </a:lnTo>
                  <a:lnTo>
                    <a:pt x="56" y="258"/>
                  </a:lnTo>
                  <a:lnTo>
                    <a:pt x="58" y="258"/>
                  </a:lnTo>
                  <a:lnTo>
                    <a:pt x="60" y="258"/>
                  </a:lnTo>
                  <a:lnTo>
                    <a:pt x="60" y="258"/>
                  </a:lnTo>
                  <a:lnTo>
                    <a:pt x="60" y="258"/>
                  </a:lnTo>
                  <a:lnTo>
                    <a:pt x="60" y="258"/>
                  </a:lnTo>
                  <a:lnTo>
                    <a:pt x="62" y="256"/>
                  </a:lnTo>
                  <a:lnTo>
                    <a:pt x="62" y="256"/>
                  </a:lnTo>
                  <a:lnTo>
                    <a:pt x="62" y="254"/>
                  </a:lnTo>
                  <a:lnTo>
                    <a:pt x="62" y="252"/>
                  </a:lnTo>
                  <a:lnTo>
                    <a:pt x="64" y="250"/>
                  </a:lnTo>
                  <a:lnTo>
                    <a:pt x="64" y="250"/>
                  </a:lnTo>
                  <a:lnTo>
                    <a:pt x="64" y="250"/>
                  </a:lnTo>
                  <a:lnTo>
                    <a:pt x="64" y="250"/>
                  </a:lnTo>
                  <a:lnTo>
                    <a:pt x="64" y="248"/>
                  </a:lnTo>
                  <a:lnTo>
                    <a:pt x="66" y="248"/>
                  </a:lnTo>
                  <a:lnTo>
                    <a:pt x="68" y="248"/>
                  </a:lnTo>
                  <a:lnTo>
                    <a:pt x="70" y="248"/>
                  </a:lnTo>
                  <a:lnTo>
                    <a:pt x="72" y="248"/>
                  </a:lnTo>
                  <a:lnTo>
                    <a:pt x="74" y="248"/>
                  </a:lnTo>
                  <a:lnTo>
                    <a:pt x="76" y="248"/>
                  </a:lnTo>
                  <a:lnTo>
                    <a:pt x="78" y="248"/>
                  </a:lnTo>
                  <a:lnTo>
                    <a:pt x="80" y="248"/>
                  </a:lnTo>
                  <a:lnTo>
                    <a:pt x="80" y="248"/>
                  </a:lnTo>
                  <a:lnTo>
                    <a:pt x="80" y="248"/>
                  </a:lnTo>
                  <a:lnTo>
                    <a:pt x="82" y="246"/>
                  </a:lnTo>
                  <a:lnTo>
                    <a:pt x="82" y="246"/>
                  </a:lnTo>
                  <a:lnTo>
                    <a:pt x="84" y="244"/>
                  </a:lnTo>
                  <a:lnTo>
                    <a:pt x="84" y="242"/>
                  </a:lnTo>
                  <a:lnTo>
                    <a:pt x="86" y="240"/>
                  </a:lnTo>
                  <a:lnTo>
                    <a:pt x="86" y="238"/>
                  </a:lnTo>
                  <a:lnTo>
                    <a:pt x="88" y="238"/>
                  </a:lnTo>
                  <a:lnTo>
                    <a:pt x="88" y="238"/>
                  </a:lnTo>
                  <a:lnTo>
                    <a:pt x="90" y="238"/>
                  </a:lnTo>
                  <a:lnTo>
                    <a:pt x="90" y="236"/>
                  </a:lnTo>
                  <a:lnTo>
                    <a:pt x="92" y="236"/>
                  </a:lnTo>
                  <a:lnTo>
                    <a:pt x="94" y="236"/>
                  </a:lnTo>
                  <a:lnTo>
                    <a:pt x="96" y="236"/>
                  </a:lnTo>
                  <a:lnTo>
                    <a:pt x="98" y="236"/>
                  </a:lnTo>
                  <a:lnTo>
                    <a:pt x="100" y="236"/>
                  </a:lnTo>
                  <a:lnTo>
                    <a:pt x="100" y="234"/>
                  </a:lnTo>
                  <a:lnTo>
                    <a:pt x="102" y="234"/>
                  </a:lnTo>
                  <a:lnTo>
                    <a:pt x="102" y="234"/>
                  </a:lnTo>
                  <a:lnTo>
                    <a:pt x="102" y="234"/>
                  </a:lnTo>
                  <a:lnTo>
                    <a:pt x="104" y="232"/>
                  </a:lnTo>
                  <a:lnTo>
                    <a:pt x="104" y="230"/>
                  </a:lnTo>
                  <a:lnTo>
                    <a:pt x="104" y="230"/>
                  </a:lnTo>
                  <a:lnTo>
                    <a:pt x="106" y="226"/>
                  </a:lnTo>
                  <a:lnTo>
                    <a:pt x="106" y="224"/>
                  </a:lnTo>
                  <a:lnTo>
                    <a:pt x="106" y="224"/>
                  </a:lnTo>
                  <a:lnTo>
                    <a:pt x="108" y="224"/>
                  </a:lnTo>
                  <a:lnTo>
                    <a:pt x="108" y="222"/>
                  </a:lnTo>
                  <a:lnTo>
                    <a:pt x="112" y="222"/>
                  </a:lnTo>
                  <a:lnTo>
                    <a:pt x="114" y="220"/>
                  </a:lnTo>
                  <a:lnTo>
                    <a:pt x="116" y="220"/>
                  </a:lnTo>
                  <a:lnTo>
                    <a:pt x="116" y="220"/>
                  </a:lnTo>
                  <a:lnTo>
                    <a:pt x="118" y="218"/>
                  </a:lnTo>
                  <a:lnTo>
                    <a:pt x="118" y="218"/>
                  </a:lnTo>
                  <a:lnTo>
                    <a:pt x="118" y="216"/>
                  </a:lnTo>
                  <a:lnTo>
                    <a:pt x="120" y="214"/>
                  </a:lnTo>
                  <a:lnTo>
                    <a:pt x="120" y="210"/>
                  </a:lnTo>
                  <a:lnTo>
                    <a:pt x="122" y="208"/>
                  </a:lnTo>
                  <a:lnTo>
                    <a:pt x="122" y="208"/>
                  </a:lnTo>
                  <a:lnTo>
                    <a:pt x="124" y="206"/>
                  </a:lnTo>
                  <a:lnTo>
                    <a:pt x="126" y="202"/>
                  </a:lnTo>
                  <a:lnTo>
                    <a:pt x="130" y="200"/>
                  </a:lnTo>
                  <a:lnTo>
                    <a:pt x="130" y="200"/>
                  </a:lnTo>
                  <a:lnTo>
                    <a:pt x="132" y="198"/>
                  </a:lnTo>
                  <a:lnTo>
                    <a:pt x="132" y="198"/>
                  </a:lnTo>
                  <a:lnTo>
                    <a:pt x="134" y="198"/>
                  </a:lnTo>
                  <a:lnTo>
                    <a:pt x="136" y="198"/>
                  </a:lnTo>
                  <a:lnTo>
                    <a:pt x="138" y="196"/>
                  </a:lnTo>
                  <a:lnTo>
                    <a:pt x="138" y="196"/>
                  </a:lnTo>
                  <a:lnTo>
                    <a:pt x="138" y="196"/>
                  </a:lnTo>
                  <a:lnTo>
                    <a:pt x="140" y="196"/>
                  </a:lnTo>
                  <a:lnTo>
                    <a:pt x="140" y="194"/>
                  </a:lnTo>
                  <a:lnTo>
                    <a:pt x="142" y="192"/>
                  </a:lnTo>
                  <a:lnTo>
                    <a:pt x="142" y="192"/>
                  </a:lnTo>
                  <a:lnTo>
                    <a:pt x="142" y="190"/>
                  </a:lnTo>
                  <a:lnTo>
                    <a:pt x="142" y="188"/>
                  </a:lnTo>
                  <a:lnTo>
                    <a:pt x="142" y="186"/>
                  </a:lnTo>
                  <a:lnTo>
                    <a:pt x="142" y="184"/>
                  </a:lnTo>
                  <a:lnTo>
                    <a:pt x="142" y="184"/>
                  </a:lnTo>
                  <a:lnTo>
                    <a:pt x="140" y="184"/>
                  </a:lnTo>
                  <a:lnTo>
                    <a:pt x="140" y="184"/>
                  </a:lnTo>
                  <a:lnTo>
                    <a:pt x="138" y="182"/>
                  </a:lnTo>
                  <a:lnTo>
                    <a:pt x="136" y="182"/>
                  </a:lnTo>
                  <a:lnTo>
                    <a:pt x="136" y="182"/>
                  </a:lnTo>
                  <a:lnTo>
                    <a:pt x="136" y="180"/>
                  </a:lnTo>
                  <a:lnTo>
                    <a:pt x="134" y="180"/>
                  </a:lnTo>
                  <a:lnTo>
                    <a:pt x="134" y="180"/>
                  </a:lnTo>
                  <a:lnTo>
                    <a:pt x="134" y="178"/>
                  </a:lnTo>
                  <a:lnTo>
                    <a:pt x="134" y="178"/>
                  </a:lnTo>
                  <a:lnTo>
                    <a:pt x="134" y="176"/>
                  </a:lnTo>
                  <a:lnTo>
                    <a:pt x="134" y="174"/>
                  </a:lnTo>
                  <a:lnTo>
                    <a:pt x="134" y="172"/>
                  </a:lnTo>
                  <a:lnTo>
                    <a:pt x="134" y="170"/>
                  </a:lnTo>
                  <a:lnTo>
                    <a:pt x="132" y="170"/>
                  </a:lnTo>
                  <a:lnTo>
                    <a:pt x="132" y="170"/>
                  </a:lnTo>
                  <a:lnTo>
                    <a:pt x="132" y="170"/>
                  </a:lnTo>
                  <a:lnTo>
                    <a:pt x="132" y="168"/>
                  </a:lnTo>
                  <a:lnTo>
                    <a:pt x="130" y="168"/>
                  </a:lnTo>
                  <a:lnTo>
                    <a:pt x="128" y="168"/>
                  </a:lnTo>
                  <a:lnTo>
                    <a:pt x="126" y="168"/>
                  </a:lnTo>
                  <a:lnTo>
                    <a:pt x="126" y="168"/>
                  </a:lnTo>
                  <a:lnTo>
                    <a:pt x="124" y="166"/>
                  </a:lnTo>
                  <a:lnTo>
                    <a:pt x="122" y="166"/>
                  </a:lnTo>
                  <a:lnTo>
                    <a:pt x="122" y="166"/>
                  </a:lnTo>
                  <a:lnTo>
                    <a:pt x="122" y="166"/>
                  </a:lnTo>
                  <a:lnTo>
                    <a:pt x="122" y="164"/>
                  </a:lnTo>
                  <a:lnTo>
                    <a:pt x="122" y="164"/>
                  </a:lnTo>
                  <a:lnTo>
                    <a:pt x="122" y="162"/>
                  </a:lnTo>
                  <a:lnTo>
                    <a:pt x="122" y="160"/>
                  </a:lnTo>
                  <a:lnTo>
                    <a:pt x="122" y="158"/>
                  </a:lnTo>
                  <a:lnTo>
                    <a:pt x="122" y="158"/>
                  </a:lnTo>
                  <a:lnTo>
                    <a:pt x="122" y="156"/>
                  </a:lnTo>
                  <a:lnTo>
                    <a:pt x="124" y="156"/>
                  </a:lnTo>
                  <a:lnTo>
                    <a:pt x="124" y="156"/>
                  </a:lnTo>
                  <a:lnTo>
                    <a:pt x="124" y="156"/>
                  </a:lnTo>
                  <a:lnTo>
                    <a:pt x="126" y="156"/>
                  </a:lnTo>
                  <a:lnTo>
                    <a:pt x="126" y="156"/>
                  </a:lnTo>
                  <a:lnTo>
                    <a:pt x="128" y="156"/>
                  </a:lnTo>
                  <a:lnTo>
                    <a:pt x="130" y="156"/>
                  </a:lnTo>
                  <a:lnTo>
                    <a:pt x="132" y="156"/>
                  </a:lnTo>
                  <a:lnTo>
                    <a:pt x="132" y="156"/>
                  </a:lnTo>
                  <a:lnTo>
                    <a:pt x="134" y="156"/>
                  </a:lnTo>
                  <a:lnTo>
                    <a:pt x="134" y="156"/>
                  </a:lnTo>
                  <a:lnTo>
                    <a:pt x="134" y="154"/>
                  </a:lnTo>
                  <a:lnTo>
                    <a:pt x="134" y="154"/>
                  </a:lnTo>
                  <a:lnTo>
                    <a:pt x="136" y="154"/>
                  </a:lnTo>
                  <a:lnTo>
                    <a:pt x="136" y="152"/>
                  </a:lnTo>
                  <a:lnTo>
                    <a:pt x="136" y="150"/>
                  </a:lnTo>
                  <a:lnTo>
                    <a:pt x="136" y="148"/>
                  </a:lnTo>
                  <a:lnTo>
                    <a:pt x="136" y="144"/>
                  </a:lnTo>
                  <a:lnTo>
                    <a:pt x="138" y="142"/>
                  </a:lnTo>
                  <a:lnTo>
                    <a:pt x="138" y="140"/>
                  </a:lnTo>
                  <a:lnTo>
                    <a:pt x="140" y="136"/>
                  </a:lnTo>
                  <a:lnTo>
                    <a:pt x="142" y="132"/>
                  </a:lnTo>
                  <a:lnTo>
                    <a:pt x="142" y="130"/>
                  </a:lnTo>
                  <a:lnTo>
                    <a:pt x="144" y="126"/>
                  </a:lnTo>
                  <a:lnTo>
                    <a:pt x="146" y="126"/>
                  </a:lnTo>
                  <a:lnTo>
                    <a:pt x="146" y="124"/>
                  </a:lnTo>
                  <a:lnTo>
                    <a:pt x="148" y="124"/>
                  </a:lnTo>
                  <a:lnTo>
                    <a:pt x="148" y="122"/>
                  </a:lnTo>
                  <a:lnTo>
                    <a:pt x="152" y="122"/>
                  </a:lnTo>
                  <a:lnTo>
                    <a:pt x="152" y="122"/>
                  </a:lnTo>
                  <a:lnTo>
                    <a:pt x="154" y="122"/>
                  </a:lnTo>
                  <a:lnTo>
                    <a:pt x="156" y="122"/>
                  </a:lnTo>
                  <a:lnTo>
                    <a:pt x="156" y="120"/>
                  </a:lnTo>
                  <a:lnTo>
                    <a:pt x="156" y="120"/>
                  </a:lnTo>
                  <a:lnTo>
                    <a:pt x="156" y="120"/>
                  </a:lnTo>
                  <a:lnTo>
                    <a:pt x="158" y="118"/>
                  </a:lnTo>
                  <a:lnTo>
                    <a:pt x="158" y="118"/>
                  </a:lnTo>
                  <a:lnTo>
                    <a:pt x="158" y="116"/>
                  </a:lnTo>
                  <a:lnTo>
                    <a:pt x="158" y="114"/>
                  </a:lnTo>
                  <a:lnTo>
                    <a:pt x="158" y="110"/>
                  </a:lnTo>
                  <a:lnTo>
                    <a:pt x="160" y="106"/>
                  </a:lnTo>
                  <a:lnTo>
                    <a:pt x="160" y="104"/>
                  </a:lnTo>
                  <a:lnTo>
                    <a:pt x="160" y="100"/>
                  </a:lnTo>
                  <a:lnTo>
                    <a:pt x="160" y="96"/>
                  </a:lnTo>
                  <a:lnTo>
                    <a:pt x="158" y="90"/>
                  </a:lnTo>
                  <a:lnTo>
                    <a:pt x="158" y="84"/>
                  </a:lnTo>
                  <a:lnTo>
                    <a:pt x="158" y="78"/>
                  </a:lnTo>
                  <a:lnTo>
                    <a:pt x="154" y="78"/>
                  </a:lnTo>
                  <a:lnTo>
                    <a:pt x="150" y="78"/>
                  </a:lnTo>
                  <a:lnTo>
                    <a:pt x="148" y="76"/>
                  </a:lnTo>
                  <a:lnTo>
                    <a:pt x="148" y="76"/>
                  </a:lnTo>
                  <a:lnTo>
                    <a:pt x="146" y="76"/>
                  </a:lnTo>
                  <a:lnTo>
                    <a:pt x="144" y="76"/>
                  </a:lnTo>
                  <a:lnTo>
                    <a:pt x="142" y="74"/>
                  </a:lnTo>
                  <a:lnTo>
                    <a:pt x="138" y="70"/>
                  </a:lnTo>
                  <a:lnTo>
                    <a:pt x="134" y="68"/>
                  </a:lnTo>
                  <a:lnTo>
                    <a:pt x="128" y="62"/>
                  </a:lnTo>
                  <a:lnTo>
                    <a:pt x="126" y="60"/>
                  </a:lnTo>
                  <a:lnTo>
                    <a:pt x="124" y="58"/>
                  </a:lnTo>
                  <a:lnTo>
                    <a:pt x="120" y="56"/>
                  </a:lnTo>
                  <a:lnTo>
                    <a:pt x="118" y="54"/>
                  </a:lnTo>
                  <a:lnTo>
                    <a:pt x="114" y="52"/>
                  </a:lnTo>
                  <a:lnTo>
                    <a:pt x="110" y="50"/>
                  </a:lnTo>
                  <a:lnTo>
                    <a:pt x="108" y="50"/>
                  </a:lnTo>
                  <a:lnTo>
                    <a:pt x="102" y="48"/>
                  </a:lnTo>
                  <a:lnTo>
                    <a:pt x="98" y="46"/>
                  </a:lnTo>
                  <a:lnTo>
                    <a:pt x="96" y="44"/>
                  </a:lnTo>
                  <a:lnTo>
                    <a:pt x="92" y="42"/>
                  </a:lnTo>
                  <a:lnTo>
                    <a:pt x="92" y="42"/>
                  </a:lnTo>
                  <a:lnTo>
                    <a:pt x="90" y="42"/>
                  </a:lnTo>
                  <a:lnTo>
                    <a:pt x="90" y="40"/>
                  </a:lnTo>
                  <a:lnTo>
                    <a:pt x="90" y="40"/>
                  </a:lnTo>
                  <a:lnTo>
                    <a:pt x="88" y="38"/>
                  </a:lnTo>
                  <a:lnTo>
                    <a:pt x="88" y="34"/>
                  </a:lnTo>
                  <a:lnTo>
                    <a:pt x="86" y="32"/>
                  </a:lnTo>
                  <a:lnTo>
                    <a:pt x="86" y="30"/>
                  </a:lnTo>
                  <a:lnTo>
                    <a:pt x="84" y="30"/>
                  </a:lnTo>
                  <a:lnTo>
                    <a:pt x="84" y="28"/>
                  </a:lnTo>
                  <a:lnTo>
                    <a:pt x="84" y="28"/>
                  </a:lnTo>
                  <a:lnTo>
                    <a:pt x="82" y="28"/>
                  </a:lnTo>
                  <a:lnTo>
                    <a:pt x="80" y="28"/>
                  </a:lnTo>
                  <a:lnTo>
                    <a:pt x="80" y="26"/>
                  </a:lnTo>
                  <a:lnTo>
                    <a:pt x="78" y="26"/>
                  </a:lnTo>
                  <a:lnTo>
                    <a:pt x="74" y="26"/>
                  </a:lnTo>
                  <a:lnTo>
                    <a:pt x="70" y="26"/>
                  </a:lnTo>
                  <a:lnTo>
                    <a:pt x="66" y="26"/>
                  </a:lnTo>
                  <a:lnTo>
                    <a:pt x="64" y="26"/>
                  </a:lnTo>
                  <a:lnTo>
                    <a:pt x="62" y="26"/>
                  </a:lnTo>
                  <a:lnTo>
                    <a:pt x="60" y="26"/>
                  </a:lnTo>
                  <a:lnTo>
                    <a:pt x="60" y="26"/>
                  </a:lnTo>
                  <a:lnTo>
                    <a:pt x="58" y="24"/>
                  </a:lnTo>
                  <a:lnTo>
                    <a:pt x="58" y="24"/>
                  </a:lnTo>
                  <a:lnTo>
                    <a:pt x="58" y="24"/>
                  </a:lnTo>
                  <a:lnTo>
                    <a:pt x="56" y="22"/>
                  </a:lnTo>
                  <a:lnTo>
                    <a:pt x="56" y="20"/>
                  </a:lnTo>
                  <a:lnTo>
                    <a:pt x="56" y="18"/>
                  </a:lnTo>
                  <a:lnTo>
                    <a:pt x="54" y="16"/>
                  </a:lnTo>
                  <a:lnTo>
                    <a:pt x="54" y="14"/>
                  </a:lnTo>
                  <a:lnTo>
                    <a:pt x="54" y="12"/>
                  </a:lnTo>
                  <a:lnTo>
                    <a:pt x="54" y="12"/>
                  </a:lnTo>
                  <a:lnTo>
                    <a:pt x="52" y="12"/>
                  </a:lnTo>
                  <a:lnTo>
                    <a:pt x="52" y="12"/>
                  </a:lnTo>
                  <a:lnTo>
                    <a:pt x="52" y="10"/>
                  </a:lnTo>
                  <a:lnTo>
                    <a:pt x="50" y="10"/>
                  </a:lnTo>
                  <a:lnTo>
                    <a:pt x="48" y="10"/>
                  </a:lnTo>
                  <a:lnTo>
                    <a:pt x="46" y="10"/>
                  </a:lnTo>
                  <a:lnTo>
                    <a:pt x="44" y="10"/>
                  </a:lnTo>
                  <a:lnTo>
                    <a:pt x="42" y="8"/>
                  </a:lnTo>
                  <a:lnTo>
                    <a:pt x="42" y="8"/>
                  </a:lnTo>
                  <a:lnTo>
                    <a:pt x="40" y="8"/>
                  </a:lnTo>
                  <a:lnTo>
                    <a:pt x="40" y="8"/>
                  </a:lnTo>
                  <a:lnTo>
                    <a:pt x="40" y="6"/>
                  </a:lnTo>
                  <a:lnTo>
                    <a:pt x="40" y="6"/>
                  </a:lnTo>
                  <a:lnTo>
                    <a:pt x="40" y="4"/>
                  </a:lnTo>
                  <a:lnTo>
                    <a:pt x="40" y="2"/>
                  </a:lnTo>
                  <a:lnTo>
                    <a:pt x="40" y="2"/>
                  </a:lnTo>
                  <a:lnTo>
                    <a:pt x="38" y="2"/>
                  </a:lnTo>
                  <a:lnTo>
                    <a:pt x="38" y="2"/>
                  </a:lnTo>
                  <a:lnTo>
                    <a:pt x="38" y="0"/>
                  </a:lnTo>
                  <a:lnTo>
                    <a:pt x="36" y="0"/>
                  </a:lnTo>
                  <a:lnTo>
                    <a:pt x="34" y="0"/>
                  </a:lnTo>
                  <a:lnTo>
                    <a:pt x="32" y="0"/>
                  </a:lnTo>
                  <a:lnTo>
                    <a:pt x="28" y="0"/>
                  </a:lnTo>
                  <a:lnTo>
                    <a:pt x="2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2" name="Freeform 440"/>
            <p:cNvSpPr>
              <a:spLocks/>
            </p:cNvSpPr>
            <p:nvPr/>
          </p:nvSpPr>
          <p:spPr bwMode="auto">
            <a:xfrm>
              <a:off x="4269212" y="3967238"/>
              <a:ext cx="394913" cy="329094"/>
            </a:xfrm>
            <a:custGeom>
              <a:avLst/>
              <a:gdLst>
                <a:gd name="T0" fmla="*/ 54 w 228"/>
                <a:gd name="T1" fmla="*/ 184 h 190"/>
                <a:gd name="T2" fmla="*/ 60 w 228"/>
                <a:gd name="T3" fmla="*/ 172 h 190"/>
                <a:gd name="T4" fmla="*/ 68 w 228"/>
                <a:gd name="T5" fmla="*/ 168 h 190"/>
                <a:gd name="T6" fmla="*/ 84 w 228"/>
                <a:gd name="T7" fmla="*/ 168 h 190"/>
                <a:gd name="T8" fmla="*/ 90 w 228"/>
                <a:gd name="T9" fmla="*/ 174 h 190"/>
                <a:gd name="T10" fmla="*/ 92 w 228"/>
                <a:gd name="T11" fmla="*/ 178 h 190"/>
                <a:gd name="T12" fmla="*/ 94 w 228"/>
                <a:gd name="T13" fmla="*/ 174 h 190"/>
                <a:gd name="T14" fmla="*/ 98 w 228"/>
                <a:gd name="T15" fmla="*/ 170 h 190"/>
                <a:gd name="T16" fmla="*/ 114 w 228"/>
                <a:gd name="T17" fmla="*/ 170 h 190"/>
                <a:gd name="T18" fmla="*/ 124 w 228"/>
                <a:gd name="T19" fmla="*/ 170 h 190"/>
                <a:gd name="T20" fmla="*/ 132 w 228"/>
                <a:gd name="T21" fmla="*/ 176 h 190"/>
                <a:gd name="T22" fmla="*/ 142 w 228"/>
                <a:gd name="T23" fmla="*/ 178 h 190"/>
                <a:gd name="T24" fmla="*/ 144 w 228"/>
                <a:gd name="T25" fmla="*/ 176 h 190"/>
                <a:gd name="T26" fmla="*/ 146 w 228"/>
                <a:gd name="T27" fmla="*/ 170 h 190"/>
                <a:gd name="T28" fmla="*/ 152 w 228"/>
                <a:gd name="T29" fmla="*/ 168 h 190"/>
                <a:gd name="T30" fmla="*/ 166 w 228"/>
                <a:gd name="T31" fmla="*/ 170 h 190"/>
                <a:gd name="T32" fmla="*/ 170 w 228"/>
                <a:gd name="T33" fmla="*/ 178 h 190"/>
                <a:gd name="T34" fmla="*/ 174 w 228"/>
                <a:gd name="T35" fmla="*/ 178 h 190"/>
                <a:gd name="T36" fmla="*/ 180 w 228"/>
                <a:gd name="T37" fmla="*/ 170 h 190"/>
                <a:gd name="T38" fmla="*/ 188 w 228"/>
                <a:gd name="T39" fmla="*/ 156 h 190"/>
                <a:gd name="T40" fmla="*/ 192 w 228"/>
                <a:gd name="T41" fmla="*/ 146 h 190"/>
                <a:gd name="T42" fmla="*/ 202 w 228"/>
                <a:gd name="T43" fmla="*/ 138 h 190"/>
                <a:gd name="T44" fmla="*/ 208 w 228"/>
                <a:gd name="T45" fmla="*/ 128 h 190"/>
                <a:gd name="T46" fmla="*/ 216 w 228"/>
                <a:gd name="T47" fmla="*/ 126 h 190"/>
                <a:gd name="T48" fmla="*/ 222 w 228"/>
                <a:gd name="T49" fmla="*/ 120 h 190"/>
                <a:gd name="T50" fmla="*/ 226 w 228"/>
                <a:gd name="T51" fmla="*/ 108 h 190"/>
                <a:gd name="T52" fmla="*/ 228 w 228"/>
                <a:gd name="T53" fmla="*/ 74 h 190"/>
                <a:gd name="T54" fmla="*/ 224 w 228"/>
                <a:gd name="T55" fmla="*/ 40 h 190"/>
                <a:gd name="T56" fmla="*/ 216 w 228"/>
                <a:gd name="T57" fmla="*/ 20 h 190"/>
                <a:gd name="T58" fmla="*/ 202 w 228"/>
                <a:gd name="T59" fmla="*/ 10 h 190"/>
                <a:gd name="T60" fmla="*/ 188 w 228"/>
                <a:gd name="T61" fmla="*/ 10 h 190"/>
                <a:gd name="T62" fmla="*/ 186 w 228"/>
                <a:gd name="T63" fmla="*/ 4 h 190"/>
                <a:gd name="T64" fmla="*/ 180 w 228"/>
                <a:gd name="T65" fmla="*/ 0 h 190"/>
                <a:gd name="T66" fmla="*/ 164 w 228"/>
                <a:gd name="T67" fmla="*/ 4 h 190"/>
                <a:gd name="T68" fmla="*/ 154 w 228"/>
                <a:gd name="T69" fmla="*/ 12 h 190"/>
                <a:gd name="T70" fmla="*/ 136 w 228"/>
                <a:gd name="T71" fmla="*/ 22 h 190"/>
                <a:gd name="T72" fmla="*/ 130 w 228"/>
                <a:gd name="T73" fmla="*/ 32 h 190"/>
                <a:gd name="T74" fmla="*/ 122 w 228"/>
                <a:gd name="T75" fmla="*/ 36 h 190"/>
                <a:gd name="T76" fmla="*/ 106 w 228"/>
                <a:gd name="T77" fmla="*/ 40 h 190"/>
                <a:gd name="T78" fmla="*/ 102 w 228"/>
                <a:gd name="T79" fmla="*/ 46 h 190"/>
                <a:gd name="T80" fmla="*/ 100 w 228"/>
                <a:gd name="T81" fmla="*/ 54 h 190"/>
                <a:gd name="T82" fmla="*/ 90 w 228"/>
                <a:gd name="T83" fmla="*/ 60 h 190"/>
                <a:gd name="T84" fmla="*/ 82 w 228"/>
                <a:gd name="T85" fmla="*/ 68 h 190"/>
                <a:gd name="T86" fmla="*/ 70 w 228"/>
                <a:gd name="T87" fmla="*/ 68 h 190"/>
                <a:gd name="T88" fmla="*/ 60 w 228"/>
                <a:gd name="T89" fmla="*/ 68 h 190"/>
                <a:gd name="T90" fmla="*/ 56 w 228"/>
                <a:gd name="T91" fmla="*/ 76 h 190"/>
                <a:gd name="T92" fmla="*/ 62 w 228"/>
                <a:gd name="T93" fmla="*/ 106 h 190"/>
                <a:gd name="T94" fmla="*/ 60 w 228"/>
                <a:gd name="T95" fmla="*/ 122 h 190"/>
                <a:gd name="T96" fmla="*/ 58 w 228"/>
                <a:gd name="T97" fmla="*/ 126 h 190"/>
                <a:gd name="T98" fmla="*/ 50 w 228"/>
                <a:gd name="T99" fmla="*/ 126 h 190"/>
                <a:gd name="T100" fmla="*/ 50 w 228"/>
                <a:gd name="T101" fmla="*/ 130 h 190"/>
                <a:gd name="T102" fmla="*/ 48 w 228"/>
                <a:gd name="T103" fmla="*/ 136 h 190"/>
                <a:gd name="T104" fmla="*/ 40 w 228"/>
                <a:gd name="T105" fmla="*/ 138 h 190"/>
                <a:gd name="T106" fmla="*/ 16 w 228"/>
                <a:gd name="T107" fmla="*/ 140 h 190"/>
                <a:gd name="T108" fmla="*/ 0 w 228"/>
                <a:gd name="T109" fmla="*/ 148 h 190"/>
                <a:gd name="T110" fmla="*/ 6 w 228"/>
                <a:gd name="T111" fmla="*/ 158 h 190"/>
                <a:gd name="T112" fmla="*/ 14 w 228"/>
                <a:gd name="T113" fmla="*/ 162 h 190"/>
                <a:gd name="T114" fmla="*/ 14 w 228"/>
                <a:gd name="T115" fmla="*/ 174 h 190"/>
                <a:gd name="T116" fmla="*/ 16 w 228"/>
                <a:gd name="T117" fmla="*/ 178 h 190"/>
                <a:gd name="T118" fmla="*/ 26 w 228"/>
                <a:gd name="T119" fmla="*/ 178 h 190"/>
                <a:gd name="T120" fmla="*/ 32 w 228"/>
                <a:gd name="T121" fmla="*/ 188 h 190"/>
                <a:gd name="T122" fmla="*/ 52 w 228"/>
                <a:gd name="T123" fmla="*/ 18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0">
                  <a:moveTo>
                    <a:pt x="52" y="188"/>
                  </a:moveTo>
                  <a:lnTo>
                    <a:pt x="52" y="188"/>
                  </a:lnTo>
                  <a:lnTo>
                    <a:pt x="52" y="188"/>
                  </a:lnTo>
                  <a:lnTo>
                    <a:pt x="52" y="186"/>
                  </a:lnTo>
                  <a:lnTo>
                    <a:pt x="52" y="186"/>
                  </a:lnTo>
                  <a:lnTo>
                    <a:pt x="54" y="184"/>
                  </a:lnTo>
                  <a:lnTo>
                    <a:pt x="54" y="182"/>
                  </a:lnTo>
                  <a:lnTo>
                    <a:pt x="56" y="180"/>
                  </a:lnTo>
                  <a:lnTo>
                    <a:pt x="56" y="178"/>
                  </a:lnTo>
                  <a:lnTo>
                    <a:pt x="58" y="174"/>
                  </a:lnTo>
                  <a:lnTo>
                    <a:pt x="58" y="174"/>
                  </a:lnTo>
                  <a:lnTo>
                    <a:pt x="60" y="172"/>
                  </a:lnTo>
                  <a:lnTo>
                    <a:pt x="60" y="170"/>
                  </a:lnTo>
                  <a:lnTo>
                    <a:pt x="62" y="170"/>
                  </a:lnTo>
                  <a:lnTo>
                    <a:pt x="62" y="170"/>
                  </a:lnTo>
                  <a:lnTo>
                    <a:pt x="64" y="168"/>
                  </a:lnTo>
                  <a:lnTo>
                    <a:pt x="66" y="168"/>
                  </a:lnTo>
                  <a:lnTo>
                    <a:pt x="68" y="168"/>
                  </a:lnTo>
                  <a:lnTo>
                    <a:pt x="72" y="166"/>
                  </a:lnTo>
                  <a:lnTo>
                    <a:pt x="74" y="166"/>
                  </a:lnTo>
                  <a:lnTo>
                    <a:pt x="78" y="166"/>
                  </a:lnTo>
                  <a:lnTo>
                    <a:pt x="80" y="166"/>
                  </a:lnTo>
                  <a:lnTo>
                    <a:pt x="82" y="166"/>
                  </a:lnTo>
                  <a:lnTo>
                    <a:pt x="84" y="168"/>
                  </a:lnTo>
                  <a:lnTo>
                    <a:pt x="86" y="168"/>
                  </a:lnTo>
                  <a:lnTo>
                    <a:pt x="86" y="168"/>
                  </a:lnTo>
                  <a:lnTo>
                    <a:pt x="86" y="168"/>
                  </a:lnTo>
                  <a:lnTo>
                    <a:pt x="88" y="168"/>
                  </a:lnTo>
                  <a:lnTo>
                    <a:pt x="88" y="170"/>
                  </a:lnTo>
                  <a:lnTo>
                    <a:pt x="90" y="174"/>
                  </a:lnTo>
                  <a:lnTo>
                    <a:pt x="90" y="176"/>
                  </a:lnTo>
                  <a:lnTo>
                    <a:pt x="90" y="176"/>
                  </a:lnTo>
                  <a:lnTo>
                    <a:pt x="92" y="178"/>
                  </a:lnTo>
                  <a:lnTo>
                    <a:pt x="92" y="178"/>
                  </a:lnTo>
                  <a:lnTo>
                    <a:pt x="92" y="178"/>
                  </a:lnTo>
                  <a:lnTo>
                    <a:pt x="92" y="178"/>
                  </a:lnTo>
                  <a:lnTo>
                    <a:pt x="92" y="178"/>
                  </a:lnTo>
                  <a:lnTo>
                    <a:pt x="94" y="178"/>
                  </a:lnTo>
                  <a:lnTo>
                    <a:pt x="94" y="178"/>
                  </a:lnTo>
                  <a:lnTo>
                    <a:pt x="94" y="176"/>
                  </a:lnTo>
                  <a:lnTo>
                    <a:pt x="94" y="176"/>
                  </a:lnTo>
                  <a:lnTo>
                    <a:pt x="94" y="174"/>
                  </a:lnTo>
                  <a:lnTo>
                    <a:pt x="94" y="172"/>
                  </a:lnTo>
                  <a:lnTo>
                    <a:pt x="94" y="172"/>
                  </a:lnTo>
                  <a:lnTo>
                    <a:pt x="94" y="172"/>
                  </a:lnTo>
                  <a:lnTo>
                    <a:pt x="96" y="170"/>
                  </a:lnTo>
                  <a:lnTo>
                    <a:pt x="96" y="170"/>
                  </a:lnTo>
                  <a:lnTo>
                    <a:pt x="98" y="170"/>
                  </a:lnTo>
                  <a:lnTo>
                    <a:pt x="100" y="170"/>
                  </a:lnTo>
                  <a:lnTo>
                    <a:pt x="102" y="170"/>
                  </a:lnTo>
                  <a:lnTo>
                    <a:pt x="108" y="170"/>
                  </a:lnTo>
                  <a:lnTo>
                    <a:pt x="110" y="170"/>
                  </a:lnTo>
                  <a:lnTo>
                    <a:pt x="112" y="170"/>
                  </a:lnTo>
                  <a:lnTo>
                    <a:pt x="114" y="170"/>
                  </a:lnTo>
                  <a:lnTo>
                    <a:pt x="118" y="168"/>
                  </a:lnTo>
                  <a:lnTo>
                    <a:pt x="120" y="168"/>
                  </a:lnTo>
                  <a:lnTo>
                    <a:pt x="120" y="168"/>
                  </a:lnTo>
                  <a:lnTo>
                    <a:pt x="122" y="168"/>
                  </a:lnTo>
                  <a:lnTo>
                    <a:pt x="124" y="168"/>
                  </a:lnTo>
                  <a:lnTo>
                    <a:pt x="124" y="170"/>
                  </a:lnTo>
                  <a:lnTo>
                    <a:pt x="126" y="170"/>
                  </a:lnTo>
                  <a:lnTo>
                    <a:pt x="126" y="172"/>
                  </a:lnTo>
                  <a:lnTo>
                    <a:pt x="128" y="172"/>
                  </a:lnTo>
                  <a:lnTo>
                    <a:pt x="130" y="176"/>
                  </a:lnTo>
                  <a:lnTo>
                    <a:pt x="130" y="176"/>
                  </a:lnTo>
                  <a:lnTo>
                    <a:pt x="132" y="176"/>
                  </a:lnTo>
                  <a:lnTo>
                    <a:pt x="132" y="178"/>
                  </a:lnTo>
                  <a:lnTo>
                    <a:pt x="134" y="178"/>
                  </a:lnTo>
                  <a:lnTo>
                    <a:pt x="136" y="178"/>
                  </a:lnTo>
                  <a:lnTo>
                    <a:pt x="138" y="178"/>
                  </a:lnTo>
                  <a:lnTo>
                    <a:pt x="140" y="178"/>
                  </a:lnTo>
                  <a:lnTo>
                    <a:pt x="142" y="178"/>
                  </a:lnTo>
                  <a:lnTo>
                    <a:pt x="142" y="178"/>
                  </a:lnTo>
                  <a:lnTo>
                    <a:pt x="144" y="178"/>
                  </a:lnTo>
                  <a:lnTo>
                    <a:pt x="144" y="178"/>
                  </a:lnTo>
                  <a:lnTo>
                    <a:pt x="144" y="178"/>
                  </a:lnTo>
                  <a:lnTo>
                    <a:pt x="144" y="178"/>
                  </a:lnTo>
                  <a:lnTo>
                    <a:pt x="144" y="176"/>
                  </a:lnTo>
                  <a:lnTo>
                    <a:pt x="144" y="176"/>
                  </a:lnTo>
                  <a:lnTo>
                    <a:pt x="144" y="174"/>
                  </a:lnTo>
                  <a:lnTo>
                    <a:pt x="144" y="172"/>
                  </a:lnTo>
                  <a:lnTo>
                    <a:pt x="144" y="172"/>
                  </a:lnTo>
                  <a:lnTo>
                    <a:pt x="146" y="170"/>
                  </a:lnTo>
                  <a:lnTo>
                    <a:pt x="146" y="170"/>
                  </a:lnTo>
                  <a:lnTo>
                    <a:pt x="146" y="170"/>
                  </a:lnTo>
                  <a:lnTo>
                    <a:pt x="146" y="170"/>
                  </a:lnTo>
                  <a:lnTo>
                    <a:pt x="148" y="170"/>
                  </a:lnTo>
                  <a:lnTo>
                    <a:pt x="148" y="168"/>
                  </a:lnTo>
                  <a:lnTo>
                    <a:pt x="150" y="168"/>
                  </a:lnTo>
                  <a:lnTo>
                    <a:pt x="152" y="168"/>
                  </a:lnTo>
                  <a:lnTo>
                    <a:pt x="156" y="168"/>
                  </a:lnTo>
                  <a:lnTo>
                    <a:pt x="158" y="168"/>
                  </a:lnTo>
                  <a:lnTo>
                    <a:pt x="160" y="170"/>
                  </a:lnTo>
                  <a:lnTo>
                    <a:pt x="164" y="170"/>
                  </a:lnTo>
                  <a:lnTo>
                    <a:pt x="166" y="170"/>
                  </a:lnTo>
                  <a:lnTo>
                    <a:pt x="166" y="170"/>
                  </a:lnTo>
                  <a:lnTo>
                    <a:pt x="166" y="172"/>
                  </a:lnTo>
                  <a:lnTo>
                    <a:pt x="168" y="172"/>
                  </a:lnTo>
                  <a:lnTo>
                    <a:pt x="168" y="174"/>
                  </a:lnTo>
                  <a:lnTo>
                    <a:pt x="170" y="176"/>
                  </a:lnTo>
                  <a:lnTo>
                    <a:pt x="170" y="178"/>
                  </a:lnTo>
                  <a:lnTo>
                    <a:pt x="170" y="178"/>
                  </a:lnTo>
                  <a:lnTo>
                    <a:pt x="172" y="178"/>
                  </a:lnTo>
                  <a:lnTo>
                    <a:pt x="172" y="178"/>
                  </a:lnTo>
                  <a:lnTo>
                    <a:pt x="172" y="178"/>
                  </a:lnTo>
                  <a:lnTo>
                    <a:pt x="172" y="178"/>
                  </a:lnTo>
                  <a:lnTo>
                    <a:pt x="174" y="178"/>
                  </a:lnTo>
                  <a:lnTo>
                    <a:pt x="174" y="178"/>
                  </a:lnTo>
                  <a:lnTo>
                    <a:pt x="176" y="176"/>
                  </a:lnTo>
                  <a:lnTo>
                    <a:pt x="176" y="176"/>
                  </a:lnTo>
                  <a:lnTo>
                    <a:pt x="178" y="172"/>
                  </a:lnTo>
                  <a:lnTo>
                    <a:pt x="178" y="172"/>
                  </a:lnTo>
                  <a:lnTo>
                    <a:pt x="180" y="170"/>
                  </a:lnTo>
                  <a:lnTo>
                    <a:pt x="180" y="170"/>
                  </a:lnTo>
                  <a:lnTo>
                    <a:pt x="182" y="168"/>
                  </a:lnTo>
                  <a:lnTo>
                    <a:pt x="186" y="166"/>
                  </a:lnTo>
                  <a:lnTo>
                    <a:pt x="190" y="164"/>
                  </a:lnTo>
                  <a:lnTo>
                    <a:pt x="190" y="162"/>
                  </a:lnTo>
                  <a:lnTo>
                    <a:pt x="188" y="158"/>
                  </a:lnTo>
                  <a:lnTo>
                    <a:pt x="188" y="156"/>
                  </a:lnTo>
                  <a:lnTo>
                    <a:pt x="188" y="154"/>
                  </a:lnTo>
                  <a:lnTo>
                    <a:pt x="188" y="152"/>
                  </a:lnTo>
                  <a:lnTo>
                    <a:pt x="190" y="150"/>
                  </a:lnTo>
                  <a:lnTo>
                    <a:pt x="190" y="148"/>
                  </a:lnTo>
                  <a:lnTo>
                    <a:pt x="190" y="148"/>
                  </a:lnTo>
                  <a:lnTo>
                    <a:pt x="192" y="146"/>
                  </a:lnTo>
                  <a:lnTo>
                    <a:pt x="194" y="144"/>
                  </a:lnTo>
                  <a:lnTo>
                    <a:pt x="194" y="142"/>
                  </a:lnTo>
                  <a:lnTo>
                    <a:pt x="196" y="142"/>
                  </a:lnTo>
                  <a:lnTo>
                    <a:pt x="196" y="140"/>
                  </a:lnTo>
                  <a:lnTo>
                    <a:pt x="200" y="140"/>
                  </a:lnTo>
                  <a:lnTo>
                    <a:pt x="202" y="138"/>
                  </a:lnTo>
                  <a:lnTo>
                    <a:pt x="204" y="136"/>
                  </a:lnTo>
                  <a:lnTo>
                    <a:pt x="204" y="136"/>
                  </a:lnTo>
                  <a:lnTo>
                    <a:pt x="206" y="134"/>
                  </a:lnTo>
                  <a:lnTo>
                    <a:pt x="206" y="134"/>
                  </a:lnTo>
                  <a:lnTo>
                    <a:pt x="208" y="132"/>
                  </a:lnTo>
                  <a:lnTo>
                    <a:pt x="208" y="128"/>
                  </a:lnTo>
                  <a:lnTo>
                    <a:pt x="210" y="128"/>
                  </a:lnTo>
                  <a:lnTo>
                    <a:pt x="210" y="126"/>
                  </a:lnTo>
                  <a:lnTo>
                    <a:pt x="212" y="126"/>
                  </a:lnTo>
                  <a:lnTo>
                    <a:pt x="212" y="126"/>
                  </a:lnTo>
                  <a:lnTo>
                    <a:pt x="216" y="126"/>
                  </a:lnTo>
                  <a:lnTo>
                    <a:pt x="216" y="126"/>
                  </a:lnTo>
                  <a:lnTo>
                    <a:pt x="218" y="126"/>
                  </a:lnTo>
                  <a:lnTo>
                    <a:pt x="220" y="124"/>
                  </a:lnTo>
                  <a:lnTo>
                    <a:pt x="220" y="124"/>
                  </a:lnTo>
                  <a:lnTo>
                    <a:pt x="220" y="124"/>
                  </a:lnTo>
                  <a:lnTo>
                    <a:pt x="222" y="122"/>
                  </a:lnTo>
                  <a:lnTo>
                    <a:pt x="222" y="120"/>
                  </a:lnTo>
                  <a:lnTo>
                    <a:pt x="224" y="118"/>
                  </a:lnTo>
                  <a:lnTo>
                    <a:pt x="224" y="118"/>
                  </a:lnTo>
                  <a:lnTo>
                    <a:pt x="224" y="114"/>
                  </a:lnTo>
                  <a:lnTo>
                    <a:pt x="226" y="112"/>
                  </a:lnTo>
                  <a:lnTo>
                    <a:pt x="226" y="110"/>
                  </a:lnTo>
                  <a:lnTo>
                    <a:pt x="226" y="108"/>
                  </a:lnTo>
                  <a:lnTo>
                    <a:pt x="228" y="102"/>
                  </a:lnTo>
                  <a:lnTo>
                    <a:pt x="228" y="98"/>
                  </a:lnTo>
                  <a:lnTo>
                    <a:pt x="228" y="92"/>
                  </a:lnTo>
                  <a:lnTo>
                    <a:pt x="228" y="86"/>
                  </a:lnTo>
                  <a:lnTo>
                    <a:pt x="228" y="80"/>
                  </a:lnTo>
                  <a:lnTo>
                    <a:pt x="228" y="74"/>
                  </a:lnTo>
                  <a:lnTo>
                    <a:pt x="228" y="68"/>
                  </a:lnTo>
                  <a:lnTo>
                    <a:pt x="228" y="64"/>
                  </a:lnTo>
                  <a:lnTo>
                    <a:pt x="226" y="54"/>
                  </a:lnTo>
                  <a:lnTo>
                    <a:pt x="226" y="44"/>
                  </a:lnTo>
                  <a:lnTo>
                    <a:pt x="224" y="44"/>
                  </a:lnTo>
                  <a:lnTo>
                    <a:pt x="224" y="40"/>
                  </a:lnTo>
                  <a:lnTo>
                    <a:pt x="222" y="36"/>
                  </a:lnTo>
                  <a:lnTo>
                    <a:pt x="218" y="30"/>
                  </a:lnTo>
                  <a:lnTo>
                    <a:pt x="218" y="26"/>
                  </a:lnTo>
                  <a:lnTo>
                    <a:pt x="216" y="24"/>
                  </a:lnTo>
                  <a:lnTo>
                    <a:pt x="216" y="22"/>
                  </a:lnTo>
                  <a:lnTo>
                    <a:pt x="216" y="20"/>
                  </a:lnTo>
                  <a:lnTo>
                    <a:pt x="214" y="18"/>
                  </a:lnTo>
                  <a:lnTo>
                    <a:pt x="214" y="14"/>
                  </a:lnTo>
                  <a:lnTo>
                    <a:pt x="210" y="12"/>
                  </a:lnTo>
                  <a:lnTo>
                    <a:pt x="206" y="12"/>
                  </a:lnTo>
                  <a:lnTo>
                    <a:pt x="204" y="10"/>
                  </a:lnTo>
                  <a:lnTo>
                    <a:pt x="202" y="10"/>
                  </a:lnTo>
                  <a:lnTo>
                    <a:pt x="200" y="10"/>
                  </a:lnTo>
                  <a:lnTo>
                    <a:pt x="196" y="10"/>
                  </a:lnTo>
                  <a:lnTo>
                    <a:pt x="194" y="10"/>
                  </a:lnTo>
                  <a:lnTo>
                    <a:pt x="190" y="10"/>
                  </a:lnTo>
                  <a:lnTo>
                    <a:pt x="190" y="10"/>
                  </a:lnTo>
                  <a:lnTo>
                    <a:pt x="188" y="10"/>
                  </a:lnTo>
                  <a:lnTo>
                    <a:pt x="188" y="10"/>
                  </a:lnTo>
                  <a:lnTo>
                    <a:pt x="188" y="8"/>
                  </a:lnTo>
                  <a:lnTo>
                    <a:pt x="186" y="8"/>
                  </a:lnTo>
                  <a:lnTo>
                    <a:pt x="186" y="8"/>
                  </a:lnTo>
                  <a:lnTo>
                    <a:pt x="186" y="6"/>
                  </a:lnTo>
                  <a:lnTo>
                    <a:pt x="186" y="4"/>
                  </a:lnTo>
                  <a:lnTo>
                    <a:pt x="186" y="2"/>
                  </a:lnTo>
                  <a:lnTo>
                    <a:pt x="186" y="2"/>
                  </a:lnTo>
                  <a:lnTo>
                    <a:pt x="184" y="2"/>
                  </a:lnTo>
                  <a:lnTo>
                    <a:pt x="184" y="2"/>
                  </a:lnTo>
                  <a:lnTo>
                    <a:pt x="182" y="2"/>
                  </a:lnTo>
                  <a:lnTo>
                    <a:pt x="180" y="0"/>
                  </a:lnTo>
                  <a:lnTo>
                    <a:pt x="178" y="0"/>
                  </a:lnTo>
                  <a:lnTo>
                    <a:pt x="174" y="0"/>
                  </a:lnTo>
                  <a:lnTo>
                    <a:pt x="172" y="2"/>
                  </a:lnTo>
                  <a:lnTo>
                    <a:pt x="170" y="2"/>
                  </a:lnTo>
                  <a:lnTo>
                    <a:pt x="166" y="2"/>
                  </a:lnTo>
                  <a:lnTo>
                    <a:pt x="164" y="4"/>
                  </a:lnTo>
                  <a:lnTo>
                    <a:pt x="164" y="6"/>
                  </a:lnTo>
                  <a:lnTo>
                    <a:pt x="162" y="8"/>
                  </a:lnTo>
                  <a:lnTo>
                    <a:pt x="162" y="8"/>
                  </a:lnTo>
                  <a:lnTo>
                    <a:pt x="160" y="8"/>
                  </a:lnTo>
                  <a:lnTo>
                    <a:pt x="158" y="10"/>
                  </a:lnTo>
                  <a:lnTo>
                    <a:pt x="154" y="12"/>
                  </a:lnTo>
                  <a:lnTo>
                    <a:pt x="150" y="12"/>
                  </a:lnTo>
                  <a:lnTo>
                    <a:pt x="148" y="14"/>
                  </a:lnTo>
                  <a:lnTo>
                    <a:pt x="146" y="14"/>
                  </a:lnTo>
                  <a:lnTo>
                    <a:pt x="144" y="16"/>
                  </a:lnTo>
                  <a:lnTo>
                    <a:pt x="140" y="18"/>
                  </a:lnTo>
                  <a:lnTo>
                    <a:pt x="136" y="22"/>
                  </a:lnTo>
                  <a:lnTo>
                    <a:pt x="136" y="24"/>
                  </a:lnTo>
                  <a:lnTo>
                    <a:pt x="134" y="24"/>
                  </a:lnTo>
                  <a:lnTo>
                    <a:pt x="134" y="26"/>
                  </a:lnTo>
                  <a:lnTo>
                    <a:pt x="132" y="26"/>
                  </a:lnTo>
                  <a:lnTo>
                    <a:pt x="132" y="30"/>
                  </a:lnTo>
                  <a:lnTo>
                    <a:pt x="130" y="32"/>
                  </a:lnTo>
                  <a:lnTo>
                    <a:pt x="128" y="34"/>
                  </a:lnTo>
                  <a:lnTo>
                    <a:pt x="128" y="34"/>
                  </a:lnTo>
                  <a:lnTo>
                    <a:pt x="126" y="34"/>
                  </a:lnTo>
                  <a:lnTo>
                    <a:pt x="126" y="36"/>
                  </a:lnTo>
                  <a:lnTo>
                    <a:pt x="124" y="36"/>
                  </a:lnTo>
                  <a:lnTo>
                    <a:pt x="122" y="36"/>
                  </a:lnTo>
                  <a:lnTo>
                    <a:pt x="120" y="38"/>
                  </a:lnTo>
                  <a:lnTo>
                    <a:pt x="116" y="38"/>
                  </a:lnTo>
                  <a:lnTo>
                    <a:pt x="112" y="38"/>
                  </a:lnTo>
                  <a:lnTo>
                    <a:pt x="108" y="40"/>
                  </a:lnTo>
                  <a:lnTo>
                    <a:pt x="108" y="40"/>
                  </a:lnTo>
                  <a:lnTo>
                    <a:pt x="106" y="40"/>
                  </a:lnTo>
                  <a:lnTo>
                    <a:pt x="104" y="40"/>
                  </a:lnTo>
                  <a:lnTo>
                    <a:pt x="104" y="42"/>
                  </a:lnTo>
                  <a:lnTo>
                    <a:pt x="104" y="42"/>
                  </a:lnTo>
                  <a:lnTo>
                    <a:pt x="104" y="42"/>
                  </a:lnTo>
                  <a:lnTo>
                    <a:pt x="102" y="44"/>
                  </a:lnTo>
                  <a:lnTo>
                    <a:pt x="102" y="46"/>
                  </a:lnTo>
                  <a:lnTo>
                    <a:pt x="102" y="46"/>
                  </a:lnTo>
                  <a:lnTo>
                    <a:pt x="102" y="50"/>
                  </a:lnTo>
                  <a:lnTo>
                    <a:pt x="102" y="50"/>
                  </a:lnTo>
                  <a:lnTo>
                    <a:pt x="102" y="52"/>
                  </a:lnTo>
                  <a:lnTo>
                    <a:pt x="100" y="52"/>
                  </a:lnTo>
                  <a:lnTo>
                    <a:pt x="100" y="54"/>
                  </a:lnTo>
                  <a:lnTo>
                    <a:pt x="96" y="54"/>
                  </a:lnTo>
                  <a:lnTo>
                    <a:pt x="94" y="56"/>
                  </a:lnTo>
                  <a:lnTo>
                    <a:pt x="94" y="56"/>
                  </a:lnTo>
                  <a:lnTo>
                    <a:pt x="92" y="56"/>
                  </a:lnTo>
                  <a:lnTo>
                    <a:pt x="92" y="58"/>
                  </a:lnTo>
                  <a:lnTo>
                    <a:pt x="90" y="60"/>
                  </a:lnTo>
                  <a:lnTo>
                    <a:pt x="88" y="62"/>
                  </a:lnTo>
                  <a:lnTo>
                    <a:pt x="86" y="64"/>
                  </a:lnTo>
                  <a:lnTo>
                    <a:pt x="84" y="66"/>
                  </a:lnTo>
                  <a:lnTo>
                    <a:pt x="84" y="68"/>
                  </a:lnTo>
                  <a:lnTo>
                    <a:pt x="84" y="68"/>
                  </a:lnTo>
                  <a:lnTo>
                    <a:pt x="82" y="68"/>
                  </a:lnTo>
                  <a:lnTo>
                    <a:pt x="82" y="68"/>
                  </a:lnTo>
                  <a:lnTo>
                    <a:pt x="80" y="68"/>
                  </a:lnTo>
                  <a:lnTo>
                    <a:pt x="78" y="68"/>
                  </a:lnTo>
                  <a:lnTo>
                    <a:pt x="76" y="68"/>
                  </a:lnTo>
                  <a:lnTo>
                    <a:pt x="74" y="68"/>
                  </a:lnTo>
                  <a:lnTo>
                    <a:pt x="70" y="68"/>
                  </a:lnTo>
                  <a:lnTo>
                    <a:pt x="66" y="68"/>
                  </a:lnTo>
                  <a:lnTo>
                    <a:pt x="64" y="68"/>
                  </a:lnTo>
                  <a:lnTo>
                    <a:pt x="64" y="68"/>
                  </a:lnTo>
                  <a:lnTo>
                    <a:pt x="62" y="68"/>
                  </a:lnTo>
                  <a:lnTo>
                    <a:pt x="60" y="68"/>
                  </a:lnTo>
                  <a:lnTo>
                    <a:pt x="60" y="68"/>
                  </a:lnTo>
                  <a:lnTo>
                    <a:pt x="58" y="70"/>
                  </a:lnTo>
                  <a:lnTo>
                    <a:pt x="58" y="70"/>
                  </a:lnTo>
                  <a:lnTo>
                    <a:pt x="58" y="72"/>
                  </a:lnTo>
                  <a:lnTo>
                    <a:pt x="58" y="72"/>
                  </a:lnTo>
                  <a:lnTo>
                    <a:pt x="58" y="74"/>
                  </a:lnTo>
                  <a:lnTo>
                    <a:pt x="56" y="76"/>
                  </a:lnTo>
                  <a:lnTo>
                    <a:pt x="56" y="78"/>
                  </a:lnTo>
                  <a:lnTo>
                    <a:pt x="58" y="84"/>
                  </a:lnTo>
                  <a:lnTo>
                    <a:pt x="60" y="90"/>
                  </a:lnTo>
                  <a:lnTo>
                    <a:pt x="60" y="98"/>
                  </a:lnTo>
                  <a:lnTo>
                    <a:pt x="62" y="102"/>
                  </a:lnTo>
                  <a:lnTo>
                    <a:pt x="62" y="106"/>
                  </a:lnTo>
                  <a:lnTo>
                    <a:pt x="62" y="110"/>
                  </a:lnTo>
                  <a:lnTo>
                    <a:pt x="62" y="114"/>
                  </a:lnTo>
                  <a:lnTo>
                    <a:pt x="62" y="118"/>
                  </a:lnTo>
                  <a:lnTo>
                    <a:pt x="62" y="118"/>
                  </a:lnTo>
                  <a:lnTo>
                    <a:pt x="62" y="120"/>
                  </a:lnTo>
                  <a:lnTo>
                    <a:pt x="60" y="122"/>
                  </a:lnTo>
                  <a:lnTo>
                    <a:pt x="60" y="124"/>
                  </a:lnTo>
                  <a:lnTo>
                    <a:pt x="60" y="124"/>
                  </a:lnTo>
                  <a:lnTo>
                    <a:pt x="60" y="126"/>
                  </a:lnTo>
                  <a:lnTo>
                    <a:pt x="58" y="126"/>
                  </a:lnTo>
                  <a:lnTo>
                    <a:pt x="58" y="126"/>
                  </a:lnTo>
                  <a:lnTo>
                    <a:pt x="58" y="126"/>
                  </a:lnTo>
                  <a:lnTo>
                    <a:pt x="56" y="126"/>
                  </a:lnTo>
                  <a:lnTo>
                    <a:pt x="54" y="126"/>
                  </a:lnTo>
                  <a:lnTo>
                    <a:pt x="52" y="126"/>
                  </a:lnTo>
                  <a:lnTo>
                    <a:pt x="52" y="126"/>
                  </a:lnTo>
                  <a:lnTo>
                    <a:pt x="50" y="126"/>
                  </a:lnTo>
                  <a:lnTo>
                    <a:pt x="50" y="126"/>
                  </a:lnTo>
                  <a:lnTo>
                    <a:pt x="50" y="126"/>
                  </a:lnTo>
                  <a:lnTo>
                    <a:pt x="48" y="126"/>
                  </a:lnTo>
                  <a:lnTo>
                    <a:pt x="48" y="128"/>
                  </a:lnTo>
                  <a:lnTo>
                    <a:pt x="48" y="128"/>
                  </a:lnTo>
                  <a:lnTo>
                    <a:pt x="48" y="130"/>
                  </a:lnTo>
                  <a:lnTo>
                    <a:pt x="50" y="130"/>
                  </a:lnTo>
                  <a:lnTo>
                    <a:pt x="50" y="132"/>
                  </a:lnTo>
                  <a:lnTo>
                    <a:pt x="50" y="134"/>
                  </a:lnTo>
                  <a:lnTo>
                    <a:pt x="50" y="134"/>
                  </a:lnTo>
                  <a:lnTo>
                    <a:pt x="50" y="134"/>
                  </a:lnTo>
                  <a:lnTo>
                    <a:pt x="50" y="136"/>
                  </a:lnTo>
                  <a:lnTo>
                    <a:pt x="48" y="136"/>
                  </a:lnTo>
                  <a:lnTo>
                    <a:pt x="48" y="136"/>
                  </a:lnTo>
                  <a:lnTo>
                    <a:pt x="46" y="136"/>
                  </a:lnTo>
                  <a:lnTo>
                    <a:pt x="46" y="138"/>
                  </a:lnTo>
                  <a:lnTo>
                    <a:pt x="44" y="138"/>
                  </a:lnTo>
                  <a:lnTo>
                    <a:pt x="42" y="138"/>
                  </a:lnTo>
                  <a:lnTo>
                    <a:pt x="40" y="138"/>
                  </a:lnTo>
                  <a:lnTo>
                    <a:pt x="36" y="140"/>
                  </a:lnTo>
                  <a:lnTo>
                    <a:pt x="32" y="140"/>
                  </a:lnTo>
                  <a:lnTo>
                    <a:pt x="26" y="140"/>
                  </a:lnTo>
                  <a:lnTo>
                    <a:pt x="20" y="140"/>
                  </a:lnTo>
                  <a:lnTo>
                    <a:pt x="18" y="140"/>
                  </a:lnTo>
                  <a:lnTo>
                    <a:pt x="16" y="140"/>
                  </a:lnTo>
                  <a:lnTo>
                    <a:pt x="14" y="140"/>
                  </a:lnTo>
                  <a:lnTo>
                    <a:pt x="12" y="140"/>
                  </a:lnTo>
                  <a:lnTo>
                    <a:pt x="10" y="142"/>
                  </a:lnTo>
                  <a:lnTo>
                    <a:pt x="8" y="142"/>
                  </a:lnTo>
                  <a:lnTo>
                    <a:pt x="4" y="144"/>
                  </a:lnTo>
                  <a:lnTo>
                    <a:pt x="0" y="148"/>
                  </a:lnTo>
                  <a:lnTo>
                    <a:pt x="2" y="152"/>
                  </a:lnTo>
                  <a:lnTo>
                    <a:pt x="4" y="154"/>
                  </a:lnTo>
                  <a:lnTo>
                    <a:pt x="4" y="156"/>
                  </a:lnTo>
                  <a:lnTo>
                    <a:pt x="4" y="156"/>
                  </a:lnTo>
                  <a:lnTo>
                    <a:pt x="6" y="158"/>
                  </a:lnTo>
                  <a:lnTo>
                    <a:pt x="6" y="158"/>
                  </a:lnTo>
                  <a:lnTo>
                    <a:pt x="10" y="160"/>
                  </a:lnTo>
                  <a:lnTo>
                    <a:pt x="10" y="160"/>
                  </a:lnTo>
                  <a:lnTo>
                    <a:pt x="12" y="160"/>
                  </a:lnTo>
                  <a:lnTo>
                    <a:pt x="14" y="162"/>
                  </a:lnTo>
                  <a:lnTo>
                    <a:pt x="14" y="162"/>
                  </a:lnTo>
                  <a:lnTo>
                    <a:pt x="14" y="162"/>
                  </a:lnTo>
                  <a:lnTo>
                    <a:pt x="14" y="164"/>
                  </a:lnTo>
                  <a:lnTo>
                    <a:pt x="14" y="166"/>
                  </a:lnTo>
                  <a:lnTo>
                    <a:pt x="14" y="168"/>
                  </a:lnTo>
                  <a:lnTo>
                    <a:pt x="14" y="170"/>
                  </a:lnTo>
                  <a:lnTo>
                    <a:pt x="14" y="172"/>
                  </a:lnTo>
                  <a:lnTo>
                    <a:pt x="14" y="174"/>
                  </a:lnTo>
                  <a:lnTo>
                    <a:pt x="14" y="174"/>
                  </a:lnTo>
                  <a:lnTo>
                    <a:pt x="14" y="176"/>
                  </a:lnTo>
                  <a:lnTo>
                    <a:pt x="14" y="176"/>
                  </a:lnTo>
                  <a:lnTo>
                    <a:pt x="16" y="176"/>
                  </a:lnTo>
                  <a:lnTo>
                    <a:pt x="16" y="178"/>
                  </a:lnTo>
                  <a:lnTo>
                    <a:pt x="16" y="178"/>
                  </a:lnTo>
                  <a:lnTo>
                    <a:pt x="18" y="178"/>
                  </a:lnTo>
                  <a:lnTo>
                    <a:pt x="18" y="178"/>
                  </a:lnTo>
                  <a:lnTo>
                    <a:pt x="20" y="178"/>
                  </a:lnTo>
                  <a:lnTo>
                    <a:pt x="22" y="178"/>
                  </a:lnTo>
                  <a:lnTo>
                    <a:pt x="24" y="178"/>
                  </a:lnTo>
                  <a:lnTo>
                    <a:pt x="26" y="178"/>
                  </a:lnTo>
                  <a:lnTo>
                    <a:pt x="26" y="178"/>
                  </a:lnTo>
                  <a:lnTo>
                    <a:pt x="26" y="180"/>
                  </a:lnTo>
                  <a:lnTo>
                    <a:pt x="28" y="180"/>
                  </a:lnTo>
                  <a:lnTo>
                    <a:pt x="28" y="182"/>
                  </a:lnTo>
                  <a:lnTo>
                    <a:pt x="30" y="184"/>
                  </a:lnTo>
                  <a:lnTo>
                    <a:pt x="32" y="188"/>
                  </a:lnTo>
                  <a:lnTo>
                    <a:pt x="32" y="190"/>
                  </a:lnTo>
                  <a:lnTo>
                    <a:pt x="46" y="188"/>
                  </a:lnTo>
                  <a:lnTo>
                    <a:pt x="48" y="188"/>
                  </a:lnTo>
                  <a:lnTo>
                    <a:pt x="50" y="188"/>
                  </a:lnTo>
                  <a:lnTo>
                    <a:pt x="50" y="188"/>
                  </a:lnTo>
                  <a:lnTo>
                    <a:pt x="52" y="18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3" name="Freeform 441"/>
            <p:cNvSpPr>
              <a:spLocks/>
            </p:cNvSpPr>
            <p:nvPr/>
          </p:nvSpPr>
          <p:spPr bwMode="auto">
            <a:xfrm>
              <a:off x="4269212" y="3967238"/>
              <a:ext cx="394913" cy="329094"/>
            </a:xfrm>
            <a:custGeom>
              <a:avLst/>
              <a:gdLst>
                <a:gd name="T0" fmla="*/ 54 w 228"/>
                <a:gd name="T1" fmla="*/ 184 h 190"/>
                <a:gd name="T2" fmla="*/ 60 w 228"/>
                <a:gd name="T3" fmla="*/ 172 h 190"/>
                <a:gd name="T4" fmla="*/ 68 w 228"/>
                <a:gd name="T5" fmla="*/ 168 h 190"/>
                <a:gd name="T6" fmla="*/ 84 w 228"/>
                <a:gd name="T7" fmla="*/ 168 h 190"/>
                <a:gd name="T8" fmla="*/ 90 w 228"/>
                <a:gd name="T9" fmla="*/ 174 h 190"/>
                <a:gd name="T10" fmla="*/ 92 w 228"/>
                <a:gd name="T11" fmla="*/ 178 h 190"/>
                <a:gd name="T12" fmla="*/ 94 w 228"/>
                <a:gd name="T13" fmla="*/ 174 h 190"/>
                <a:gd name="T14" fmla="*/ 98 w 228"/>
                <a:gd name="T15" fmla="*/ 170 h 190"/>
                <a:gd name="T16" fmla="*/ 114 w 228"/>
                <a:gd name="T17" fmla="*/ 170 h 190"/>
                <a:gd name="T18" fmla="*/ 124 w 228"/>
                <a:gd name="T19" fmla="*/ 170 h 190"/>
                <a:gd name="T20" fmla="*/ 132 w 228"/>
                <a:gd name="T21" fmla="*/ 176 h 190"/>
                <a:gd name="T22" fmla="*/ 142 w 228"/>
                <a:gd name="T23" fmla="*/ 178 h 190"/>
                <a:gd name="T24" fmla="*/ 144 w 228"/>
                <a:gd name="T25" fmla="*/ 176 h 190"/>
                <a:gd name="T26" fmla="*/ 146 w 228"/>
                <a:gd name="T27" fmla="*/ 170 h 190"/>
                <a:gd name="T28" fmla="*/ 152 w 228"/>
                <a:gd name="T29" fmla="*/ 168 h 190"/>
                <a:gd name="T30" fmla="*/ 166 w 228"/>
                <a:gd name="T31" fmla="*/ 170 h 190"/>
                <a:gd name="T32" fmla="*/ 170 w 228"/>
                <a:gd name="T33" fmla="*/ 178 h 190"/>
                <a:gd name="T34" fmla="*/ 174 w 228"/>
                <a:gd name="T35" fmla="*/ 178 h 190"/>
                <a:gd name="T36" fmla="*/ 180 w 228"/>
                <a:gd name="T37" fmla="*/ 170 h 190"/>
                <a:gd name="T38" fmla="*/ 188 w 228"/>
                <a:gd name="T39" fmla="*/ 156 h 190"/>
                <a:gd name="T40" fmla="*/ 192 w 228"/>
                <a:gd name="T41" fmla="*/ 146 h 190"/>
                <a:gd name="T42" fmla="*/ 202 w 228"/>
                <a:gd name="T43" fmla="*/ 138 h 190"/>
                <a:gd name="T44" fmla="*/ 208 w 228"/>
                <a:gd name="T45" fmla="*/ 128 h 190"/>
                <a:gd name="T46" fmla="*/ 216 w 228"/>
                <a:gd name="T47" fmla="*/ 126 h 190"/>
                <a:gd name="T48" fmla="*/ 222 w 228"/>
                <a:gd name="T49" fmla="*/ 120 h 190"/>
                <a:gd name="T50" fmla="*/ 226 w 228"/>
                <a:gd name="T51" fmla="*/ 108 h 190"/>
                <a:gd name="T52" fmla="*/ 228 w 228"/>
                <a:gd name="T53" fmla="*/ 74 h 190"/>
                <a:gd name="T54" fmla="*/ 224 w 228"/>
                <a:gd name="T55" fmla="*/ 40 h 190"/>
                <a:gd name="T56" fmla="*/ 216 w 228"/>
                <a:gd name="T57" fmla="*/ 20 h 190"/>
                <a:gd name="T58" fmla="*/ 202 w 228"/>
                <a:gd name="T59" fmla="*/ 10 h 190"/>
                <a:gd name="T60" fmla="*/ 188 w 228"/>
                <a:gd name="T61" fmla="*/ 10 h 190"/>
                <a:gd name="T62" fmla="*/ 186 w 228"/>
                <a:gd name="T63" fmla="*/ 4 h 190"/>
                <a:gd name="T64" fmla="*/ 180 w 228"/>
                <a:gd name="T65" fmla="*/ 0 h 190"/>
                <a:gd name="T66" fmla="*/ 164 w 228"/>
                <a:gd name="T67" fmla="*/ 4 h 190"/>
                <a:gd name="T68" fmla="*/ 154 w 228"/>
                <a:gd name="T69" fmla="*/ 12 h 190"/>
                <a:gd name="T70" fmla="*/ 136 w 228"/>
                <a:gd name="T71" fmla="*/ 22 h 190"/>
                <a:gd name="T72" fmla="*/ 130 w 228"/>
                <a:gd name="T73" fmla="*/ 32 h 190"/>
                <a:gd name="T74" fmla="*/ 122 w 228"/>
                <a:gd name="T75" fmla="*/ 36 h 190"/>
                <a:gd name="T76" fmla="*/ 106 w 228"/>
                <a:gd name="T77" fmla="*/ 40 h 190"/>
                <a:gd name="T78" fmla="*/ 102 w 228"/>
                <a:gd name="T79" fmla="*/ 46 h 190"/>
                <a:gd name="T80" fmla="*/ 100 w 228"/>
                <a:gd name="T81" fmla="*/ 54 h 190"/>
                <a:gd name="T82" fmla="*/ 90 w 228"/>
                <a:gd name="T83" fmla="*/ 60 h 190"/>
                <a:gd name="T84" fmla="*/ 82 w 228"/>
                <a:gd name="T85" fmla="*/ 68 h 190"/>
                <a:gd name="T86" fmla="*/ 70 w 228"/>
                <a:gd name="T87" fmla="*/ 68 h 190"/>
                <a:gd name="T88" fmla="*/ 60 w 228"/>
                <a:gd name="T89" fmla="*/ 68 h 190"/>
                <a:gd name="T90" fmla="*/ 56 w 228"/>
                <a:gd name="T91" fmla="*/ 76 h 190"/>
                <a:gd name="T92" fmla="*/ 62 w 228"/>
                <a:gd name="T93" fmla="*/ 106 h 190"/>
                <a:gd name="T94" fmla="*/ 60 w 228"/>
                <a:gd name="T95" fmla="*/ 122 h 190"/>
                <a:gd name="T96" fmla="*/ 58 w 228"/>
                <a:gd name="T97" fmla="*/ 126 h 190"/>
                <a:gd name="T98" fmla="*/ 50 w 228"/>
                <a:gd name="T99" fmla="*/ 126 h 190"/>
                <a:gd name="T100" fmla="*/ 50 w 228"/>
                <a:gd name="T101" fmla="*/ 130 h 190"/>
                <a:gd name="T102" fmla="*/ 48 w 228"/>
                <a:gd name="T103" fmla="*/ 136 h 190"/>
                <a:gd name="T104" fmla="*/ 40 w 228"/>
                <a:gd name="T105" fmla="*/ 138 h 190"/>
                <a:gd name="T106" fmla="*/ 16 w 228"/>
                <a:gd name="T107" fmla="*/ 140 h 190"/>
                <a:gd name="T108" fmla="*/ 0 w 228"/>
                <a:gd name="T109" fmla="*/ 148 h 190"/>
                <a:gd name="T110" fmla="*/ 6 w 228"/>
                <a:gd name="T111" fmla="*/ 158 h 190"/>
                <a:gd name="T112" fmla="*/ 14 w 228"/>
                <a:gd name="T113" fmla="*/ 162 h 190"/>
                <a:gd name="T114" fmla="*/ 14 w 228"/>
                <a:gd name="T115" fmla="*/ 174 h 190"/>
                <a:gd name="T116" fmla="*/ 16 w 228"/>
                <a:gd name="T117" fmla="*/ 178 h 190"/>
                <a:gd name="T118" fmla="*/ 26 w 228"/>
                <a:gd name="T119" fmla="*/ 178 h 190"/>
                <a:gd name="T120" fmla="*/ 32 w 228"/>
                <a:gd name="T121" fmla="*/ 188 h 190"/>
                <a:gd name="T122" fmla="*/ 52 w 228"/>
                <a:gd name="T123" fmla="*/ 18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0">
                  <a:moveTo>
                    <a:pt x="52" y="188"/>
                  </a:moveTo>
                  <a:lnTo>
                    <a:pt x="52" y="188"/>
                  </a:lnTo>
                  <a:lnTo>
                    <a:pt x="52" y="188"/>
                  </a:lnTo>
                  <a:lnTo>
                    <a:pt x="52" y="186"/>
                  </a:lnTo>
                  <a:lnTo>
                    <a:pt x="52" y="186"/>
                  </a:lnTo>
                  <a:lnTo>
                    <a:pt x="54" y="184"/>
                  </a:lnTo>
                  <a:lnTo>
                    <a:pt x="54" y="182"/>
                  </a:lnTo>
                  <a:lnTo>
                    <a:pt x="56" y="180"/>
                  </a:lnTo>
                  <a:lnTo>
                    <a:pt x="56" y="178"/>
                  </a:lnTo>
                  <a:lnTo>
                    <a:pt x="58" y="174"/>
                  </a:lnTo>
                  <a:lnTo>
                    <a:pt x="58" y="174"/>
                  </a:lnTo>
                  <a:lnTo>
                    <a:pt x="60" y="172"/>
                  </a:lnTo>
                  <a:lnTo>
                    <a:pt x="60" y="170"/>
                  </a:lnTo>
                  <a:lnTo>
                    <a:pt x="62" y="170"/>
                  </a:lnTo>
                  <a:lnTo>
                    <a:pt x="62" y="170"/>
                  </a:lnTo>
                  <a:lnTo>
                    <a:pt x="64" y="168"/>
                  </a:lnTo>
                  <a:lnTo>
                    <a:pt x="66" y="168"/>
                  </a:lnTo>
                  <a:lnTo>
                    <a:pt x="68" y="168"/>
                  </a:lnTo>
                  <a:lnTo>
                    <a:pt x="72" y="166"/>
                  </a:lnTo>
                  <a:lnTo>
                    <a:pt x="74" y="166"/>
                  </a:lnTo>
                  <a:lnTo>
                    <a:pt x="78" y="166"/>
                  </a:lnTo>
                  <a:lnTo>
                    <a:pt x="80" y="166"/>
                  </a:lnTo>
                  <a:lnTo>
                    <a:pt x="82" y="166"/>
                  </a:lnTo>
                  <a:lnTo>
                    <a:pt x="84" y="168"/>
                  </a:lnTo>
                  <a:lnTo>
                    <a:pt x="86" y="168"/>
                  </a:lnTo>
                  <a:lnTo>
                    <a:pt x="86" y="168"/>
                  </a:lnTo>
                  <a:lnTo>
                    <a:pt x="86" y="168"/>
                  </a:lnTo>
                  <a:lnTo>
                    <a:pt x="88" y="168"/>
                  </a:lnTo>
                  <a:lnTo>
                    <a:pt x="88" y="170"/>
                  </a:lnTo>
                  <a:lnTo>
                    <a:pt x="90" y="174"/>
                  </a:lnTo>
                  <a:lnTo>
                    <a:pt x="90" y="176"/>
                  </a:lnTo>
                  <a:lnTo>
                    <a:pt x="90" y="176"/>
                  </a:lnTo>
                  <a:lnTo>
                    <a:pt x="92" y="178"/>
                  </a:lnTo>
                  <a:lnTo>
                    <a:pt x="92" y="178"/>
                  </a:lnTo>
                  <a:lnTo>
                    <a:pt x="92" y="178"/>
                  </a:lnTo>
                  <a:lnTo>
                    <a:pt x="92" y="178"/>
                  </a:lnTo>
                  <a:lnTo>
                    <a:pt x="92" y="178"/>
                  </a:lnTo>
                  <a:lnTo>
                    <a:pt x="94" y="178"/>
                  </a:lnTo>
                  <a:lnTo>
                    <a:pt x="94" y="178"/>
                  </a:lnTo>
                  <a:lnTo>
                    <a:pt x="94" y="176"/>
                  </a:lnTo>
                  <a:lnTo>
                    <a:pt x="94" y="176"/>
                  </a:lnTo>
                  <a:lnTo>
                    <a:pt x="94" y="174"/>
                  </a:lnTo>
                  <a:lnTo>
                    <a:pt x="94" y="172"/>
                  </a:lnTo>
                  <a:lnTo>
                    <a:pt x="94" y="172"/>
                  </a:lnTo>
                  <a:lnTo>
                    <a:pt x="94" y="172"/>
                  </a:lnTo>
                  <a:lnTo>
                    <a:pt x="96" y="170"/>
                  </a:lnTo>
                  <a:lnTo>
                    <a:pt x="96" y="170"/>
                  </a:lnTo>
                  <a:lnTo>
                    <a:pt x="98" y="170"/>
                  </a:lnTo>
                  <a:lnTo>
                    <a:pt x="100" y="170"/>
                  </a:lnTo>
                  <a:lnTo>
                    <a:pt x="102" y="170"/>
                  </a:lnTo>
                  <a:lnTo>
                    <a:pt x="108" y="170"/>
                  </a:lnTo>
                  <a:lnTo>
                    <a:pt x="110" y="170"/>
                  </a:lnTo>
                  <a:lnTo>
                    <a:pt x="112" y="170"/>
                  </a:lnTo>
                  <a:lnTo>
                    <a:pt x="114" y="170"/>
                  </a:lnTo>
                  <a:lnTo>
                    <a:pt x="118" y="168"/>
                  </a:lnTo>
                  <a:lnTo>
                    <a:pt x="120" y="168"/>
                  </a:lnTo>
                  <a:lnTo>
                    <a:pt x="120" y="168"/>
                  </a:lnTo>
                  <a:lnTo>
                    <a:pt x="122" y="168"/>
                  </a:lnTo>
                  <a:lnTo>
                    <a:pt x="124" y="168"/>
                  </a:lnTo>
                  <a:lnTo>
                    <a:pt x="124" y="170"/>
                  </a:lnTo>
                  <a:lnTo>
                    <a:pt x="126" y="170"/>
                  </a:lnTo>
                  <a:lnTo>
                    <a:pt x="126" y="172"/>
                  </a:lnTo>
                  <a:lnTo>
                    <a:pt x="128" y="172"/>
                  </a:lnTo>
                  <a:lnTo>
                    <a:pt x="130" y="176"/>
                  </a:lnTo>
                  <a:lnTo>
                    <a:pt x="130" y="176"/>
                  </a:lnTo>
                  <a:lnTo>
                    <a:pt x="132" y="176"/>
                  </a:lnTo>
                  <a:lnTo>
                    <a:pt x="132" y="178"/>
                  </a:lnTo>
                  <a:lnTo>
                    <a:pt x="134" y="178"/>
                  </a:lnTo>
                  <a:lnTo>
                    <a:pt x="136" y="178"/>
                  </a:lnTo>
                  <a:lnTo>
                    <a:pt x="138" y="178"/>
                  </a:lnTo>
                  <a:lnTo>
                    <a:pt x="140" y="178"/>
                  </a:lnTo>
                  <a:lnTo>
                    <a:pt x="142" y="178"/>
                  </a:lnTo>
                  <a:lnTo>
                    <a:pt x="142" y="178"/>
                  </a:lnTo>
                  <a:lnTo>
                    <a:pt x="144" y="178"/>
                  </a:lnTo>
                  <a:lnTo>
                    <a:pt x="144" y="178"/>
                  </a:lnTo>
                  <a:lnTo>
                    <a:pt x="144" y="178"/>
                  </a:lnTo>
                  <a:lnTo>
                    <a:pt x="144" y="178"/>
                  </a:lnTo>
                  <a:lnTo>
                    <a:pt x="144" y="176"/>
                  </a:lnTo>
                  <a:lnTo>
                    <a:pt x="144" y="176"/>
                  </a:lnTo>
                  <a:lnTo>
                    <a:pt x="144" y="174"/>
                  </a:lnTo>
                  <a:lnTo>
                    <a:pt x="144" y="172"/>
                  </a:lnTo>
                  <a:lnTo>
                    <a:pt x="144" y="172"/>
                  </a:lnTo>
                  <a:lnTo>
                    <a:pt x="146" y="170"/>
                  </a:lnTo>
                  <a:lnTo>
                    <a:pt x="146" y="170"/>
                  </a:lnTo>
                  <a:lnTo>
                    <a:pt x="146" y="170"/>
                  </a:lnTo>
                  <a:lnTo>
                    <a:pt x="146" y="170"/>
                  </a:lnTo>
                  <a:lnTo>
                    <a:pt x="148" y="170"/>
                  </a:lnTo>
                  <a:lnTo>
                    <a:pt x="148" y="168"/>
                  </a:lnTo>
                  <a:lnTo>
                    <a:pt x="150" y="168"/>
                  </a:lnTo>
                  <a:lnTo>
                    <a:pt x="152" y="168"/>
                  </a:lnTo>
                  <a:lnTo>
                    <a:pt x="156" y="168"/>
                  </a:lnTo>
                  <a:lnTo>
                    <a:pt x="158" y="168"/>
                  </a:lnTo>
                  <a:lnTo>
                    <a:pt x="160" y="170"/>
                  </a:lnTo>
                  <a:lnTo>
                    <a:pt x="164" y="170"/>
                  </a:lnTo>
                  <a:lnTo>
                    <a:pt x="166" y="170"/>
                  </a:lnTo>
                  <a:lnTo>
                    <a:pt x="166" y="170"/>
                  </a:lnTo>
                  <a:lnTo>
                    <a:pt x="166" y="172"/>
                  </a:lnTo>
                  <a:lnTo>
                    <a:pt x="168" y="172"/>
                  </a:lnTo>
                  <a:lnTo>
                    <a:pt x="168" y="174"/>
                  </a:lnTo>
                  <a:lnTo>
                    <a:pt x="170" y="176"/>
                  </a:lnTo>
                  <a:lnTo>
                    <a:pt x="170" y="178"/>
                  </a:lnTo>
                  <a:lnTo>
                    <a:pt x="170" y="178"/>
                  </a:lnTo>
                  <a:lnTo>
                    <a:pt x="172" y="178"/>
                  </a:lnTo>
                  <a:lnTo>
                    <a:pt x="172" y="178"/>
                  </a:lnTo>
                  <a:lnTo>
                    <a:pt x="172" y="178"/>
                  </a:lnTo>
                  <a:lnTo>
                    <a:pt x="172" y="178"/>
                  </a:lnTo>
                  <a:lnTo>
                    <a:pt x="174" y="178"/>
                  </a:lnTo>
                  <a:lnTo>
                    <a:pt x="174" y="178"/>
                  </a:lnTo>
                  <a:lnTo>
                    <a:pt x="176" y="176"/>
                  </a:lnTo>
                  <a:lnTo>
                    <a:pt x="176" y="176"/>
                  </a:lnTo>
                  <a:lnTo>
                    <a:pt x="178" y="172"/>
                  </a:lnTo>
                  <a:lnTo>
                    <a:pt x="178" y="172"/>
                  </a:lnTo>
                  <a:lnTo>
                    <a:pt x="180" y="170"/>
                  </a:lnTo>
                  <a:lnTo>
                    <a:pt x="180" y="170"/>
                  </a:lnTo>
                  <a:lnTo>
                    <a:pt x="182" y="168"/>
                  </a:lnTo>
                  <a:lnTo>
                    <a:pt x="186" y="166"/>
                  </a:lnTo>
                  <a:lnTo>
                    <a:pt x="190" y="164"/>
                  </a:lnTo>
                  <a:lnTo>
                    <a:pt x="190" y="162"/>
                  </a:lnTo>
                  <a:lnTo>
                    <a:pt x="188" y="158"/>
                  </a:lnTo>
                  <a:lnTo>
                    <a:pt x="188" y="156"/>
                  </a:lnTo>
                  <a:lnTo>
                    <a:pt x="188" y="154"/>
                  </a:lnTo>
                  <a:lnTo>
                    <a:pt x="188" y="152"/>
                  </a:lnTo>
                  <a:lnTo>
                    <a:pt x="190" y="150"/>
                  </a:lnTo>
                  <a:lnTo>
                    <a:pt x="190" y="148"/>
                  </a:lnTo>
                  <a:lnTo>
                    <a:pt x="190" y="148"/>
                  </a:lnTo>
                  <a:lnTo>
                    <a:pt x="192" y="146"/>
                  </a:lnTo>
                  <a:lnTo>
                    <a:pt x="194" y="144"/>
                  </a:lnTo>
                  <a:lnTo>
                    <a:pt x="194" y="142"/>
                  </a:lnTo>
                  <a:lnTo>
                    <a:pt x="196" y="142"/>
                  </a:lnTo>
                  <a:lnTo>
                    <a:pt x="196" y="140"/>
                  </a:lnTo>
                  <a:lnTo>
                    <a:pt x="200" y="140"/>
                  </a:lnTo>
                  <a:lnTo>
                    <a:pt x="202" y="138"/>
                  </a:lnTo>
                  <a:lnTo>
                    <a:pt x="204" y="136"/>
                  </a:lnTo>
                  <a:lnTo>
                    <a:pt x="204" y="136"/>
                  </a:lnTo>
                  <a:lnTo>
                    <a:pt x="206" y="134"/>
                  </a:lnTo>
                  <a:lnTo>
                    <a:pt x="206" y="134"/>
                  </a:lnTo>
                  <a:lnTo>
                    <a:pt x="208" y="132"/>
                  </a:lnTo>
                  <a:lnTo>
                    <a:pt x="208" y="128"/>
                  </a:lnTo>
                  <a:lnTo>
                    <a:pt x="210" y="128"/>
                  </a:lnTo>
                  <a:lnTo>
                    <a:pt x="210" y="126"/>
                  </a:lnTo>
                  <a:lnTo>
                    <a:pt x="212" y="126"/>
                  </a:lnTo>
                  <a:lnTo>
                    <a:pt x="212" y="126"/>
                  </a:lnTo>
                  <a:lnTo>
                    <a:pt x="216" y="126"/>
                  </a:lnTo>
                  <a:lnTo>
                    <a:pt x="216" y="126"/>
                  </a:lnTo>
                  <a:lnTo>
                    <a:pt x="218" y="126"/>
                  </a:lnTo>
                  <a:lnTo>
                    <a:pt x="220" y="124"/>
                  </a:lnTo>
                  <a:lnTo>
                    <a:pt x="220" y="124"/>
                  </a:lnTo>
                  <a:lnTo>
                    <a:pt x="220" y="124"/>
                  </a:lnTo>
                  <a:lnTo>
                    <a:pt x="222" y="122"/>
                  </a:lnTo>
                  <a:lnTo>
                    <a:pt x="222" y="120"/>
                  </a:lnTo>
                  <a:lnTo>
                    <a:pt x="224" y="118"/>
                  </a:lnTo>
                  <a:lnTo>
                    <a:pt x="224" y="118"/>
                  </a:lnTo>
                  <a:lnTo>
                    <a:pt x="224" y="114"/>
                  </a:lnTo>
                  <a:lnTo>
                    <a:pt x="226" y="112"/>
                  </a:lnTo>
                  <a:lnTo>
                    <a:pt x="226" y="110"/>
                  </a:lnTo>
                  <a:lnTo>
                    <a:pt x="226" y="108"/>
                  </a:lnTo>
                  <a:lnTo>
                    <a:pt x="228" y="102"/>
                  </a:lnTo>
                  <a:lnTo>
                    <a:pt x="228" y="98"/>
                  </a:lnTo>
                  <a:lnTo>
                    <a:pt x="228" y="92"/>
                  </a:lnTo>
                  <a:lnTo>
                    <a:pt x="228" y="86"/>
                  </a:lnTo>
                  <a:lnTo>
                    <a:pt x="228" y="80"/>
                  </a:lnTo>
                  <a:lnTo>
                    <a:pt x="228" y="74"/>
                  </a:lnTo>
                  <a:lnTo>
                    <a:pt x="228" y="68"/>
                  </a:lnTo>
                  <a:lnTo>
                    <a:pt x="228" y="64"/>
                  </a:lnTo>
                  <a:lnTo>
                    <a:pt x="226" y="54"/>
                  </a:lnTo>
                  <a:lnTo>
                    <a:pt x="226" y="44"/>
                  </a:lnTo>
                  <a:lnTo>
                    <a:pt x="224" y="44"/>
                  </a:lnTo>
                  <a:lnTo>
                    <a:pt x="224" y="40"/>
                  </a:lnTo>
                  <a:lnTo>
                    <a:pt x="222" y="36"/>
                  </a:lnTo>
                  <a:lnTo>
                    <a:pt x="218" y="30"/>
                  </a:lnTo>
                  <a:lnTo>
                    <a:pt x="218" y="26"/>
                  </a:lnTo>
                  <a:lnTo>
                    <a:pt x="216" y="24"/>
                  </a:lnTo>
                  <a:lnTo>
                    <a:pt x="216" y="22"/>
                  </a:lnTo>
                  <a:lnTo>
                    <a:pt x="216" y="20"/>
                  </a:lnTo>
                  <a:lnTo>
                    <a:pt x="214" y="18"/>
                  </a:lnTo>
                  <a:lnTo>
                    <a:pt x="214" y="14"/>
                  </a:lnTo>
                  <a:lnTo>
                    <a:pt x="210" y="12"/>
                  </a:lnTo>
                  <a:lnTo>
                    <a:pt x="206" y="12"/>
                  </a:lnTo>
                  <a:lnTo>
                    <a:pt x="204" y="10"/>
                  </a:lnTo>
                  <a:lnTo>
                    <a:pt x="202" y="10"/>
                  </a:lnTo>
                  <a:lnTo>
                    <a:pt x="200" y="10"/>
                  </a:lnTo>
                  <a:lnTo>
                    <a:pt x="196" y="10"/>
                  </a:lnTo>
                  <a:lnTo>
                    <a:pt x="194" y="10"/>
                  </a:lnTo>
                  <a:lnTo>
                    <a:pt x="190" y="10"/>
                  </a:lnTo>
                  <a:lnTo>
                    <a:pt x="190" y="10"/>
                  </a:lnTo>
                  <a:lnTo>
                    <a:pt x="188" y="10"/>
                  </a:lnTo>
                  <a:lnTo>
                    <a:pt x="188" y="10"/>
                  </a:lnTo>
                  <a:lnTo>
                    <a:pt x="188" y="8"/>
                  </a:lnTo>
                  <a:lnTo>
                    <a:pt x="186" y="8"/>
                  </a:lnTo>
                  <a:lnTo>
                    <a:pt x="186" y="8"/>
                  </a:lnTo>
                  <a:lnTo>
                    <a:pt x="186" y="6"/>
                  </a:lnTo>
                  <a:lnTo>
                    <a:pt x="186" y="4"/>
                  </a:lnTo>
                  <a:lnTo>
                    <a:pt x="186" y="2"/>
                  </a:lnTo>
                  <a:lnTo>
                    <a:pt x="186" y="2"/>
                  </a:lnTo>
                  <a:lnTo>
                    <a:pt x="184" y="2"/>
                  </a:lnTo>
                  <a:lnTo>
                    <a:pt x="184" y="2"/>
                  </a:lnTo>
                  <a:lnTo>
                    <a:pt x="182" y="2"/>
                  </a:lnTo>
                  <a:lnTo>
                    <a:pt x="180" y="0"/>
                  </a:lnTo>
                  <a:lnTo>
                    <a:pt x="178" y="0"/>
                  </a:lnTo>
                  <a:lnTo>
                    <a:pt x="174" y="0"/>
                  </a:lnTo>
                  <a:lnTo>
                    <a:pt x="172" y="2"/>
                  </a:lnTo>
                  <a:lnTo>
                    <a:pt x="170" y="2"/>
                  </a:lnTo>
                  <a:lnTo>
                    <a:pt x="166" y="2"/>
                  </a:lnTo>
                  <a:lnTo>
                    <a:pt x="164" y="4"/>
                  </a:lnTo>
                  <a:lnTo>
                    <a:pt x="164" y="6"/>
                  </a:lnTo>
                  <a:lnTo>
                    <a:pt x="162" y="8"/>
                  </a:lnTo>
                  <a:lnTo>
                    <a:pt x="162" y="8"/>
                  </a:lnTo>
                  <a:lnTo>
                    <a:pt x="160" y="8"/>
                  </a:lnTo>
                  <a:lnTo>
                    <a:pt x="158" y="10"/>
                  </a:lnTo>
                  <a:lnTo>
                    <a:pt x="154" y="12"/>
                  </a:lnTo>
                  <a:lnTo>
                    <a:pt x="150" y="12"/>
                  </a:lnTo>
                  <a:lnTo>
                    <a:pt x="148" y="14"/>
                  </a:lnTo>
                  <a:lnTo>
                    <a:pt x="146" y="14"/>
                  </a:lnTo>
                  <a:lnTo>
                    <a:pt x="144" y="16"/>
                  </a:lnTo>
                  <a:lnTo>
                    <a:pt x="140" y="18"/>
                  </a:lnTo>
                  <a:lnTo>
                    <a:pt x="136" y="22"/>
                  </a:lnTo>
                  <a:lnTo>
                    <a:pt x="136" y="24"/>
                  </a:lnTo>
                  <a:lnTo>
                    <a:pt x="134" y="24"/>
                  </a:lnTo>
                  <a:lnTo>
                    <a:pt x="134" y="26"/>
                  </a:lnTo>
                  <a:lnTo>
                    <a:pt x="132" y="26"/>
                  </a:lnTo>
                  <a:lnTo>
                    <a:pt x="132" y="30"/>
                  </a:lnTo>
                  <a:lnTo>
                    <a:pt x="130" y="32"/>
                  </a:lnTo>
                  <a:lnTo>
                    <a:pt x="128" y="34"/>
                  </a:lnTo>
                  <a:lnTo>
                    <a:pt x="128" y="34"/>
                  </a:lnTo>
                  <a:lnTo>
                    <a:pt x="126" y="34"/>
                  </a:lnTo>
                  <a:lnTo>
                    <a:pt x="126" y="36"/>
                  </a:lnTo>
                  <a:lnTo>
                    <a:pt x="124" y="36"/>
                  </a:lnTo>
                  <a:lnTo>
                    <a:pt x="122" y="36"/>
                  </a:lnTo>
                  <a:lnTo>
                    <a:pt x="120" y="38"/>
                  </a:lnTo>
                  <a:lnTo>
                    <a:pt x="116" y="38"/>
                  </a:lnTo>
                  <a:lnTo>
                    <a:pt x="112" y="38"/>
                  </a:lnTo>
                  <a:lnTo>
                    <a:pt x="108" y="40"/>
                  </a:lnTo>
                  <a:lnTo>
                    <a:pt x="108" y="40"/>
                  </a:lnTo>
                  <a:lnTo>
                    <a:pt x="106" y="40"/>
                  </a:lnTo>
                  <a:lnTo>
                    <a:pt x="104" y="40"/>
                  </a:lnTo>
                  <a:lnTo>
                    <a:pt x="104" y="42"/>
                  </a:lnTo>
                  <a:lnTo>
                    <a:pt x="104" y="42"/>
                  </a:lnTo>
                  <a:lnTo>
                    <a:pt x="104" y="42"/>
                  </a:lnTo>
                  <a:lnTo>
                    <a:pt x="102" y="44"/>
                  </a:lnTo>
                  <a:lnTo>
                    <a:pt x="102" y="46"/>
                  </a:lnTo>
                  <a:lnTo>
                    <a:pt x="102" y="46"/>
                  </a:lnTo>
                  <a:lnTo>
                    <a:pt x="102" y="50"/>
                  </a:lnTo>
                  <a:lnTo>
                    <a:pt x="102" y="50"/>
                  </a:lnTo>
                  <a:lnTo>
                    <a:pt x="102" y="52"/>
                  </a:lnTo>
                  <a:lnTo>
                    <a:pt x="100" y="52"/>
                  </a:lnTo>
                  <a:lnTo>
                    <a:pt x="100" y="54"/>
                  </a:lnTo>
                  <a:lnTo>
                    <a:pt x="96" y="54"/>
                  </a:lnTo>
                  <a:lnTo>
                    <a:pt x="94" y="56"/>
                  </a:lnTo>
                  <a:lnTo>
                    <a:pt x="94" y="56"/>
                  </a:lnTo>
                  <a:lnTo>
                    <a:pt x="92" y="56"/>
                  </a:lnTo>
                  <a:lnTo>
                    <a:pt x="92" y="58"/>
                  </a:lnTo>
                  <a:lnTo>
                    <a:pt x="90" y="60"/>
                  </a:lnTo>
                  <a:lnTo>
                    <a:pt x="88" y="62"/>
                  </a:lnTo>
                  <a:lnTo>
                    <a:pt x="86" y="64"/>
                  </a:lnTo>
                  <a:lnTo>
                    <a:pt x="84" y="66"/>
                  </a:lnTo>
                  <a:lnTo>
                    <a:pt x="84" y="68"/>
                  </a:lnTo>
                  <a:lnTo>
                    <a:pt x="84" y="68"/>
                  </a:lnTo>
                  <a:lnTo>
                    <a:pt x="82" y="68"/>
                  </a:lnTo>
                  <a:lnTo>
                    <a:pt x="82" y="68"/>
                  </a:lnTo>
                  <a:lnTo>
                    <a:pt x="80" y="68"/>
                  </a:lnTo>
                  <a:lnTo>
                    <a:pt x="78" y="68"/>
                  </a:lnTo>
                  <a:lnTo>
                    <a:pt x="76" y="68"/>
                  </a:lnTo>
                  <a:lnTo>
                    <a:pt x="74" y="68"/>
                  </a:lnTo>
                  <a:lnTo>
                    <a:pt x="70" y="68"/>
                  </a:lnTo>
                  <a:lnTo>
                    <a:pt x="66" y="68"/>
                  </a:lnTo>
                  <a:lnTo>
                    <a:pt x="64" y="68"/>
                  </a:lnTo>
                  <a:lnTo>
                    <a:pt x="64" y="68"/>
                  </a:lnTo>
                  <a:lnTo>
                    <a:pt x="62" y="68"/>
                  </a:lnTo>
                  <a:lnTo>
                    <a:pt x="60" y="68"/>
                  </a:lnTo>
                  <a:lnTo>
                    <a:pt x="60" y="68"/>
                  </a:lnTo>
                  <a:lnTo>
                    <a:pt x="58" y="70"/>
                  </a:lnTo>
                  <a:lnTo>
                    <a:pt x="58" y="70"/>
                  </a:lnTo>
                  <a:lnTo>
                    <a:pt x="58" y="72"/>
                  </a:lnTo>
                  <a:lnTo>
                    <a:pt x="58" y="72"/>
                  </a:lnTo>
                  <a:lnTo>
                    <a:pt x="58" y="74"/>
                  </a:lnTo>
                  <a:lnTo>
                    <a:pt x="56" y="76"/>
                  </a:lnTo>
                  <a:lnTo>
                    <a:pt x="56" y="78"/>
                  </a:lnTo>
                  <a:lnTo>
                    <a:pt x="58" y="84"/>
                  </a:lnTo>
                  <a:lnTo>
                    <a:pt x="60" y="90"/>
                  </a:lnTo>
                  <a:lnTo>
                    <a:pt x="60" y="98"/>
                  </a:lnTo>
                  <a:lnTo>
                    <a:pt x="62" y="102"/>
                  </a:lnTo>
                  <a:lnTo>
                    <a:pt x="62" y="106"/>
                  </a:lnTo>
                  <a:lnTo>
                    <a:pt x="62" y="110"/>
                  </a:lnTo>
                  <a:lnTo>
                    <a:pt x="62" y="114"/>
                  </a:lnTo>
                  <a:lnTo>
                    <a:pt x="62" y="118"/>
                  </a:lnTo>
                  <a:lnTo>
                    <a:pt x="62" y="118"/>
                  </a:lnTo>
                  <a:lnTo>
                    <a:pt x="62" y="120"/>
                  </a:lnTo>
                  <a:lnTo>
                    <a:pt x="60" y="122"/>
                  </a:lnTo>
                  <a:lnTo>
                    <a:pt x="60" y="124"/>
                  </a:lnTo>
                  <a:lnTo>
                    <a:pt x="60" y="124"/>
                  </a:lnTo>
                  <a:lnTo>
                    <a:pt x="60" y="126"/>
                  </a:lnTo>
                  <a:lnTo>
                    <a:pt x="58" y="126"/>
                  </a:lnTo>
                  <a:lnTo>
                    <a:pt x="58" y="126"/>
                  </a:lnTo>
                  <a:lnTo>
                    <a:pt x="58" y="126"/>
                  </a:lnTo>
                  <a:lnTo>
                    <a:pt x="56" y="126"/>
                  </a:lnTo>
                  <a:lnTo>
                    <a:pt x="54" y="126"/>
                  </a:lnTo>
                  <a:lnTo>
                    <a:pt x="52" y="126"/>
                  </a:lnTo>
                  <a:lnTo>
                    <a:pt x="52" y="126"/>
                  </a:lnTo>
                  <a:lnTo>
                    <a:pt x="50" y="126"/>
                  </a:lnTo>
                  <a:lnTo>
                    <a:pt x="50" y="126"/>
                  </a:lnTo>
                  <a:lnTo>
                    <a:pt x="50" y="126"/>
                  </a:lnTo>
                  <a:lnTo>
                    <a:pt x="48" y="126"/>
                  </a:lnTo>
                  <a:lnTo>
                    <a:pt x="48" y="128"/>
                  </a:lnTo>
                  <a:lnTo>
                    <a:pt x="48" y="128"/>
                  </a:lnTo>
                  <a:lnTo>
                    <a:pt x="48" y="130"/>
                  </a:lnTo>
                  <a:lnTo>
                    <a:pt x="50" y="130"/>
                  </a:lnTo>
                  <a:lnTo>
                    <a:pt x="50" y="132"/>
                  </a:lnTo>
                  <a:lnTo>
                    <a:pt x="50" y="134"/>
                  </a:lnTo>
                  <a:lnTo>
                    <a:pt x="50" y="134"/>
                  </a:lnTo>
                  <a:lnTo>
                    <a:pt x="50" y="134"/>
                  </a:lnTo>
                  <a:lnTo>
                    <a:pt x="50" y="136"/>
                  </a:lnTo>
                  <a:lnTo>
                    <a:pt x="48" y="136"/>
                  </a:lnTo>
                  <a:lnTo>
                    <a:pt x="48" y="136"/>
                  </a:lnTo>
                  <a:lnTo>
                    <a:pt x="46" y="136"/>
                  </a:lnTo>
                  <a:lnTo>
                    <a:pt x="46" y="138"/>
                  </a:lnTo>
                  <a:lnTo>
                    <a:pt x="44" y="138"/>
                  </a:lnTo>
                  <a:lnTo>
                    <a:pt x="42" y="138"/>
                  </a:lnTo>
                  <a:lnTo>
                    <a:pt x="40" y="138"/>
                  </a:lnTo>
                  <a:lnTo>
                    <a:pt x="36" y="140"/>
                  </a:lnTo>
                  <a:lnTo>
                    <a:pt x="32" y="140"/>
                  </a:lnTo>
                  <a:lnTo>
                    <a:pt x="26" y="140"/>
                  </a:lnTo>
                  <a:lnTo>
                    <a:pt x="20" y="140"/>
                  </a:lnTo>
                  <a:lnTo>
                    <a:pt x="18" y="140"/>
                  </a:lnTo>
                  <a:lnTo>
                    <a:pt x="16" y="140"/>
                  </a:lnTo>
                  <a:lnTo>
                    <a:pt x="14" y="140"/>
                  </a:lnTo>
                  <a:lnTo>
                    <a:pt x="12" y="140"/>
                  </a:lnTo>
                  <a:lnTo>
                    <a:pt x="10" y="142"/>
                  </a:lnTo>
                  <a:lnTo>
                    <a:pt x="8" y="142"/>
                  </a:lnTo>
                  <a:lnTo>
                    <a:pt x="4" y="144"/>
                  </a:lnTo>
                  <a:lnTo>
                    <a:pt x="0" y="148"/>
                  </a:lnTo>
                  <a:lnTo>
                    <a:pt x="2" y="152"/>
                  </a:lnTo>
                  <a:lnTo>
                    <a:pt x="4" y="154"/>
                  </a:lnTo>
                  <a:lnTo>
                    <a:pt x="4" y="156"/>
                  </a:lnTo>
                  <a:lnTo>
                    <a:pt x="4" y="156"/>
                  </a:lnTo>
                  <a:lnTo>
                    <a:pt x="6" y="158"/>
                  </a:lnTo>
                  <a:lnTo>
                    <a:pt x="6" y="158"/>
                  </a:lnTo>
                  <a:lnTo>
                    <a:pt x="10" y="160"/>
                  </a:lnTo>
                  <a:lnTo>
                    <a:pt x="10" y="160"/>
                  </a:lnTo>
                  <a:lnTo>
                    <a:pt x="12" y="160"/>
                  </a:lnTo>
                  <a:lnTo>
                    <a:pt x="14" y="162"/>
                  </a:lnTo>
                  <a:lnTo>
                    <a:pt x="14" y="162"/>
                  </a:lnTo>
                  <a:lnTo>
                    <a:pt x="14" y="162"/>
                  </a:lnTo>
                  <a:lnTo>
                    <a:pt x="14" y="164"/>
                  </a:lnTo>
                  <a:lnTo>
                    <a:pt x="14" y="166"/>
                  </a:lnTo>
                  <a:lnTo>
                    <a:pt x="14" y="168"/>
                  </a:lnTo>
                  <a:lnTo>
                    <a:pt x="14" y="170"/>
                  </a:lnTo>
                  <a:lnTo>
                    <a:pt x="14" y="172"/>
                  </a:lnTo>
                  <a:lnTo>
                    <a:pt x="14" y="174"/>
                  </a:lnTo>
                  <a:lnTo>
                    <a:pt x="14" y="174"/>
                  </a:lnTo>
                  <a:lnTo>
                    <a:pt x="14" y="176"/>
                  </a:lnTo>
                  <a:lnTo>
                    <a:pt x="14" y="176"/>
                  </a:lnTo>
                  <a:lnTo>
                    <a:pt x="16" y="176"/>
                  </a:lnTo>
                  <a:lnTo>
                    <a:pt x="16" y="178"/>
                  </a:lnTo>
                  <a:lnTo>
                    <a:pt x="16" y="178"/>
                  </a:lnTo>
                  <a:lnTo>
                    <a:pt x="18" y="178"/>
                  </a:lnTo>
                  <a:lnTo>
                    <a:pt x="18" y="178"/>
                  </a:lnTo>
                  <a:lnTo>
                    <a:pt x="20" y="178"/>
                  </a:lnTo>
                  <a:lnTo>
                    <a:pt x="22" y="178"/>
                  </a:lnTo>
                  <a:lnTo>
                    <a:pt x="24" y="178"/>
                  </a:lnTo>
                  <a:lnTo>
                    <a:pt x="26" y="178"/>
                  </a:lnTo>
                  <a:lnTo>
                    <a:pt x="26" y="178"/>
                  </a:lnTo>
                  <a:lnTo>
                    <a:pt x="26" y="180"/>
                  </a:lnTo>
                  <a:lnTo>
                    <a:pt x="28" y="180"/>
                  </a:lnTo>
                  <a:lnTo>
                    <a:pt x="28" y="182"/>
                  </a:lnTo>
                  <a:lnTo>
                    <a:pt x="30" y="184"/>
                  </a:lnTo>
                  <a:lnTo>
                    <a:pt x="32" y="188"/>
                  </a:lnTo>
                  <a:lnTo>
                    <a:pt x="32" y="190"/>
                  </a:lnTo>
                  <a:lnTo>
                    <a:pt x="46" y="188"/>
                  </a:lnTo>
                  <a:lnTo>
                    <a:pt x="48" y="188"/>
                  </a:lnTo>
                  <a:lnTo>
                    <a:pt x="50" y="188"/>
                  </a:lnTo>
                  <a:lnTo>
                    <a:pt x="50" y="188"/>
                  </a:lnTo>
                  <a:lnTo>
                    <a:pt x="52" y="18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4" name="Freeform 442"/>
            <p:cNvSpPr>
              <a:spLocks/>
            </p:cNvSpPr>
            <p:nvPr/>
          </p:nvSpPr>
          <p:spPr bwMode="auto">
            <a:xfrm>
              <a:off x="3856978" y="4240905"/>
              <a:ext cx="86604" cy="31177"/>
            </a:xfrm>
            <a:custGeom>
              <a:avLst/>
              <a:gdLst>
                <a:gd name="T0" fmla="*/ 4 w 50"/>
                <a:gd name="T1" fmla="*/ 2 h 18"/>
                <a:gd name="T2" fmla="*/ 18 w 50"/>
                <a:gd name="T3" fmla="*/ 4 h 18"/>
                <a:gd name="T4" fmla="*/ 22 w 50"/>
                <a:gd name="T5" fmla="*/ 4 h 18"/>
                <a:gd name="T6" fmla="*/ 26 w 50"/>
                <a:gd name="T7" fmla="*/ 2 h 18"/>
                <a:gd name="T8" fmla="*/ 30 w 50"/>
                <a:gd name="T9" fmla="*/ 0 h 18"/>
                <a:gd name="T10" fmla="*/ 34 w 50"/>
                <a:gd name="T11" fmla="*/ 0 h 18"/>
                <a:gd name="T12" fmla="*/ 40 w 50"/>
                <a:gd name="T13" fmla="*/ 0 h 18"/>
                <a:gd name="T14" fmla="*/ 44 w 50"/>
                <a:gd name="T15" fmla="*/ 2 h 18"/>
                <a:gd name="T16" fmla="*/ 46 w 50"/>
                <a:gd name="T17" fmla="*/ 2 h 18"/>
                <a:gd name="T18" fmla="*/ 48 w 50"/>
                <a:gd name="T19" fmla="*/ 4 h 18"/>
                <a:gd name="T20" fmla="*/ 48 w 50"/>
                <a:gd name="T21" fmla="*/ 6 h 18"/>
                <a:gd name="T22" fmla="*/ 50 w 50"/>
                <a:gd name="T23" fmla="*/ 8 h 18"/>
                <a:gd name="T24" fmla="*/ 48 w 50"/>
                <a:gd name="T25" fmla="*/ 10 h 18"/>
                <a:gd name="T26" fmla="*/ 48 w 50"/>
                <a:gd name="T27" fmla="*/ 12 h 18"/>
                <a:gd name="T28" fmla="*/ 46 w 50"/>
                <a:gd name="T29" fmla="*/ 14 h 18"/>
                <a:gd name="T30" fmla="*/ 44 w 50"/>
                <a:gd name="T31" fmla="*/ 14 h 18"/>
                <a:gd name="T32" fmla="*/ 40 w 50"/>
                <a:gd name="T33" fmla="*/ 12 h 18"/>
                <a:gd name="T34" fmla="*/ 38 w 50"/>
                <a:gd name="T35" fmla="*/ 10 h 18"/>
                <a:gd name="T36" fmla="*/ 32 w 50"/>
                <a:gd name="T37" fmla="*/ 10 h 18"/>
                <a:gd name="T38" fmla="*/ 30 w 50"/>
                <a:gd name="T39" fmla="*/ 10 h 18"/>
                <a:gd name="T40" fmla="*/ 28 w 50"/>
                <a:gd name="T41" fmla="*/ 10 h 18"/>
                <a:gd name="T42" fmla="*/ 26 w 50"/>
                <a:gd name="T43" fmla="*/ 12 h 18"/>
                <a:gd name="T44" fmla="*/ 22 w 50"/>
                <a:gd name="T45" fmla="*/ 14 h 18"/>
                <a:gd name="T46" fmla="*/ 18 w 50"/>
                <a:gd name="T47" fmla="*/ 16 h 18"/>
                <a:gd name="T48" fmla="*/ 16 w 50"/>
                <a:gd name="T49" fmla="*/ 18 h 18"/>
                <a:gd name="T50" fmla="*/ 12 w 50"/>
                <a:gd name="T51" fmla="*/ 18 h 18"/>
                <a:gd name="T52" fmla="*/ 6 w 50"/>
                <a:gd name="T53" fmla="*/ 18 h 18"/>
                <a:gd name="T54" fmla="*/ 4 w 50"/>
                <a:gd name="T55" fmla="*/ 18 h 18"/>
                <a:gd name="T56" fmla="*/ 2 w 50"/>
                <a:gd name="T57" fmla="*/ 16 h 18"/>
                <a:gd name="T58" fmla="*/ 0 w 50"/>
                <a:gd name="T59" fmla="*/ 16 h 18"/>
                <a:gd name="T60" fmla="*/ 0 w 50"/>
                <a:gd name="T61" fmla="*/ 14 h 18"/>
                <a:gd name="T62" fmla="*/ 2 w 50"/>
                <a:gd name="T63" fmla="*/ 14 h 18"/>
                <a:gd name="T64" fmla="*/ 6 w 50"/>
                <a:gd name="T65" fmla="*/ 12 h 18"/>
                <a:gd name="T66" fmla="*/ 8 w 50"/>
                <a:gd name="T67" fmla="*/ 10 h 18"/>
                <a:gd name="T68" fmla="*/ 10 w 50"/>
                <a:gd name="T69" fmla="*/ 8 h 18"/>
                <a:gd name="T70" fmla="*/ 8 w 50"/>
                <a:gd name="T71" fmla="*/ 8 h 18"/>
                <a:gd name="T72" fmla="*/ 8 w 50"/>
                <a:gd name="T73" fmla="*/ 6 h 18"/>
                <a:gd name="T74" fmla="*/ 4 w 50"/>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18">
                  <a:moveTo>
                    <a:pt x="4" y="2"/>
                  </a:moveTo>
                  <a:lnTo>
                    <a:pt x="4" y="2"/>
                  </a:lnTo>
                  <a:lnTo>
                    <a:pt x="10" y="4"/>
                  </a:lnTo>
                  <a:lnTo>
                    <a:pt x="18" y="4"/>
                  </a:lnTo>
                  <a:lnTo>
                    <a:pt x="20" y="4"/>
                  </a:lnTo>
                  <a:lnTo>
                    <a:pt x="22" y="4"/>
                  </a:lnTo>
                  <a:lnTo>
                    <a:pt x="24" y="2"/>
                  </a:lnTo>
                  <a:lnTo>
                    <a:pt x="26" y="2"/>
                  </a:lnTo>
                  <a:lnTo>
                    <a:pt x="28" y="2"/>
                  </a:lnTo>
                  <a:lnTo>
                    <a:pt x="30" y="0"/>
                  </a:lnTo>
                  <a:lnTo>
                    <a:pt x="30" y="0"/>
                  </a:lnTo>
                  <a:lnTo>
                    <a:pt x="34" y="0"/>
                  </a:lnTo>
                  <a:lnTo>
                    <a:pt x="38" y="0"/>
                  </a:lnTo>
                  <a:lnTo>
                    <a:pt x="40" y="0"/>
                  </a:lnTo>
                  <a:lnTo>
                    <a:pt x="42" y="0"/>
                  </a:lnTo>
                  <a:lnTo>
                    <a:pt x="44" y="2"/>
                  </a:lnTo>
                  <a:lnTo>
                    <a:pt x="46" y="2"/>
                  </a:lnTo>
                  <a:lnTo>
                    <a:pt x="46" y="2"/>
                  </a:lnTo>
                  <a:lnTo>
                    <a:pt x="48" y="2"/>
                  </a:lnTo>
                  <a:lnTo>
                    <a:pt x="48" y="4"/>
                  </a:lnTo>
                  <a:lnTo>
                    <a:pt x="48" y="4"/>
                  </a:lnTo>
                  <a:lnTo>
                    <a:pt x="48" y="6"/>
                  </a:lnTo>
                  <a:lnTo>
                    <a:pt x="50" y="6"/>
                  </a:lnTo>
                  <a:lnTo>
                    <a:pt x="50" y="8"/>
                  </a:lnTo>
                  <a:lnTo>
                    <a:pt x="48" y="10"/>
                  </a:lnTo>
                  <a:lnTo>
                    <a:pt x="48" y="10"/>
                  </a:lnTo>
                  <a:lnTo>
                    <a:pt x="48" y="12"/>
                  </a:lnTo>
                  <a:lnTo>
                    <a:pt x="48" y="12"/>
                  </a:lnTo>
                  <a:lnTo>
                    <a:pt x="48" y="14"/>
                  </a:lnTo>
                  <a:lnTo>
                    <a:pt x="46" y="14"/>
                  </a:lnTo>
                  <a:lnTo>
                    <a:pt x="46" y="14"/>
                  </a:lnTo>
                  <a:lnTo>
                    <a:pt x="44" y="14"/>
                  </a:lnTo>
                  <a:lnTo>
                    <a:pt x="44" y="12"/>
                  </a:lnTo>
                  <a:lnTo>
                    <a:pt x="40" y="12"/>
                  </a:lnTo>
                  <a:lnTo>
                    <a:pt x="38" y="12"/>
                  </a:lnTo>
                  <a:lnTo>
                    <a:pt x="38" y="10"/>
                  </a:lnTo>
                  <a:lnTo>
                    <a:pt x="34" y="10"/>
                  </a:lnTo>
                  <a:lnTo>
                    <a:pt x="32" y="10"/>
                  </a:lnTo>
                  <a:lnTo>
                    <a:pt x="32" y="10"/>
                  </a:lnTo>
                  <a:lnTo>
                    <a:pt x="30" y="10"/>
                  </a:lnTo>
                  <a:lnTo>
                    <a:pt x="30" y="10"/>
                  </a:lnTo>
                  <a:lnTo>
                    <a:pt x="28" y="10"/>
                  </a:lnTo>
                  <a:lnTo>
                    <a:pt x="26" y="10"/>
                  </a:lnTo>
                  <a:lnTo>
                    <a:pt x="26" y="12"/>
                  </a:lnTo>
                  <a:lnTo>
                    <a:pt x="24" y="14"/>
                  </a:lnTo>
                  <a:lnTo>
                    <a:pt x="22" y="14"/>
                  </a:lnTo>
                  <a:lnTo>
                    <a:pt x="20" y="16"/>
                  </a:lnTo>
                  <a:lnTo>
                    <a:pt x="18" y="16"/>
                  </a:lnTo>
                  <a:lnTo>
                    <a:pt x="16" y="18"/>
                  </a:lnTo>
                  <a:lnTo>
                    <a:pt x="16" y="18"/>
                  </a:lnTo>
                  <a:lnTo>
                    <a:pt x="14" y="18"/>
                  </a:lnTo>
                  <a:lnTo>
                    <a:pt x="12" y="18"/>
                  </a:lnTo>
                  <a:lnTo>
                    <a:pt x="10" y="18"/>
                  </a:lnTo>
                  <a:lnTo>
                    <a:pt x="6" y="18"/>
                  </a:lnTo>
                  <a:lnTo>
                    <a:pt x="4" y="18"/>
                  </a:lnTo>
                  <a:lnTo>
                    <a:pt x="4" y="18"/>
                  </a:lnTo>
                  <a:lnTo>
                    <a:pt x="2" y="16"/>
                  </a:lnTo>
                  <a:lnTo>
                    <a:pt x="2" y="16"/>
                  </a:lnTo>
                  <a:lnTo>
                    <a:pt x="2" y="16"/>
                  </a:lnTo>
                  <a:lnTo>
                    <a:pt x="0" y="16"/>
                  </a:lnTo>
                  <a:lnTo>
                    <a:pt x="0" y="14"/>
                  </a:lnTo>
                  <a:lnTo>
                    <a:pt x="0" y="14"/>
                  </a:lnTo>
                  <a:lnTo>
                    <a:pt x="2" y="14"/>
                  </a:lnTo>
                  <a:lnTo>
                    <a:pt x="2" y="14"/>
                  </a:lnTo>
                  <a:lnTo>
                    <a:pt x="6" y="12"/>
                  </a:lnTo>
                  <a:lnTo>
                    <a:pt x="6" y="12"/>
                  </a:lnTo>
                  <a:lnTo>
                    <a:pt x="8" y="10"/>
                  </a:lnTo>
                  <a:lnTo>
                    <a:pt x="8" y="10"/>
                  </a:lnTo>
                  <a:lnTo>
                    <a:pt x="8" y="10"/>
                  </a:lnTo>
                  <a:lnTo>
                    <a:pt x="10" y="8"/>
                  </a:lnTo>
                  <a:lnTo>
                    <a:pt x="10" y="8"/>
                  </a:lnTo>
                  <a:lnTo>
                    <a:pt x="8" y="8"/>
                  </a:lnTo>
                  <a:lnTo>
                    <a:pt x="8" y="6"/>
                  </a:lnTo>
                  <a:lnTo>
                    <a:pt x="8" y="6"/>
                  </a:lnTo>
                  <a:lnTo>
                    <a:pt x="6" y="4"/>
                  </a:lnTo>
                  <a:lnTo>
                    <a:pt x="4" y="4"/>
                  </a:lnTo>
                  <a:lnTo>
                    <a:pt x="4"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5" name="Freeform 443"/>
            <p:cNvSpPr>
              <a:spLocks/>
            </p:cNvSpPr>
            <p:nvPr/>
          </p:nvSpPr>
          <p:spPr bwMode="auto">
            <a:xfrm>
              <a:off x="3856978" y="4240905"/>
              <a:ext cx="86604" cy="31177"/>
            </a:xfrm>
            <a:custGeom>
              <a:avLst/>
              <a:gdLst>
                <a:gd name="T0" fmla="*/ 4 w 50"/>
                <a:gd name="T1" fmla="*/ 2 h 18"/>
                <a:gd name="T2" fmla="*/ 18 w 50"/>
                <a:gd name="T3" fmla="*/ 4 h 18"/>
                <a:gd name="T4" fmla="*/ 22 w 50"/>
                <a:gd name="T5" fmla="*/ 4 h 18"/>
                <a:gd name="T6" fmla="*/ 26 w 50"/>
                <a:gd name="T7" fmla="*/ 2 h 18"/>
                <a:gd name="T8" fmla="*/ 30 w 50"/>
                <a:gd name="T9" fmla="*/ 0 h 18"/>
                <a:gd name="T10" fmla="*/ 34 w 50"/>
                <a:gd name="T11" fmla="*/ 0 h 18"/>
                <a:gd name="T12" fmla="*/ 40 w 50"/>
                <a:gd name="T13" fmla="*/ 0 h 18"/>
                <a:gd name="T14" fmla="*/ 44 w 50"/>
                <a:gd name="T15" fmla="*/ 2 h 18"/>
                <a:gd name="T16" fmla="*/ 46 w 50"/>
                <a:gd name="T17" fmla="*/ 2 h 18"/>
                <a:gd name="T18" fmla="*/ 48 w 50"/>
                <a:gd name="T19" fmla="*/ 4 h 18"/>
                <a:gd name="T20" fmla="*/ 48 w 50"/>
                <a:gd name="T21" fmla="*/ 6 h 18"/>
                <a:gd name="T22" fmla="*/ 50 w 50"/>
                <a:gd name="T23" fmla="*/ 8 h 18"/>
                <a:gd name="T24" fmla="*/ 48 w 50"/>
                <a:gd name="T25" fmla="*/ 10 h 18"/>
                <a:gd name="T26" fmla="*/ 48 w 50"/>
                <a:gd name="T27" fmla="*/ 12 h 18"/>
                <a:gd name="T28" fmla="*/ 46 w 50"/>
                <a:gd name="T29" fmla="*/ 14 h 18"/>
                <a:gd name="T30" fmla="*/ 44 w 50"/>
                <a:gd name="T31" fmla="*/ 14 h 18"/>
                <a:gd name="T32" fmla="*/ 40 w 50"/>
                <a:gd name="T33" fmla="*/ 12 h 18"/>
                <a:gd name="T34" fmla="*/ 38 w 50"/>
                <a:gd name="T35" fmla="*/ 10 h 18"/>
                <a:gd name="T36" fmla="*/ 32 w 50"/>
                <a:gd name="T37" fmla="*/ 10 h 18"/>
                <a:gd name="T38" fmla="*/ 30 w 50"/>
                <a:gd name="T39" fmla="*/ 10 h 18"/>
                <a:gd name="T40" fmla="*/ 28 w 50"/>
                <a:gd name="T41" fmla="*/ 10 h 18"/>
                <a:gd name="T42" fmla="*/ 26 w 50"/>
                <a:gd name="T43" fmla="*/ 12 h 18"/>
                <a:gd name="T44" fmla="*/ 22 w 50"/>
                <a:gd name="T45" fmla="*/ 14 h 18"/>
                <a:gd name="T46" fmla="*/ 18 w 50"/>
                <a:gd name="T47" fmla="*/ 16 h 18"/>
                <a:gd name="T48" fmla="*/ 16 w 50"/>
                <a:gd name="T49" fmla="*/ 18 h 18"/>
                <a:gd name="T50" fmla="*/ 12 w 50"/>
                <a:gd name="T51" fmla="*/ 18 h 18"/>
                <a:gd name="T52" fmla="*/ 6 w 50"/>
                <a:gd name="T53" fmla="*/ 18 h 18"/>
                <a:gd name="T54" fmla="*/ 4 w 50"/>
                <a:gd name="T55" fmla="*/ 18 h 18"/>
                <a:gd name="T56" fmla="*/ 2 w 50"/>
                <a:gd name="T57" fmla="*/ 16 h 18"/>
                <a:gd name="T58" fmla="*/ 0 w 50"/>
                <a:gd name="T59" fmla="*/ 16 h 18"/>
                <a:gd name="T60" fmla="*/ 0 w 50"/>
                <a:gd name="T61" fmla="*/ 14 h 18"/>
                <a:gd name="T62" fmla="*/ 2 w 50"/>
                <a:gd name="T63" fmla="*/ 14 h 18"/>
                <a:gd name="T64" fmla="*/ 6 w 50"/>
                <a:gd name="T65" fmla="*/ 12 h 18"/>
                <a:gd name="T66" fmla="*/ 8 w 50"/>
                <a:gd name="T67" fmla="*/ 10 h 18"/>
                <a:gd name="T68" fmla="*/ 10 w 50"/>
                <a:gd name="T69" fmla="*/ 8 h 18"/>
                <a:gd name="T70" fmla="*/ 8 w 50"/>
                <a:gd name="T71" fmla="*/ 8 h 18"/>
                <a:gd name="T72" fmla="*/ 8 w 50"/>
                <a:gd name="T73" fmla="*/ 6 h 18"/>
                <a:gd name="T74" fmla="*/ 4 w 50"/>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18">
                  <a:moveTo>
                    <a:pt x="4" y="2"/>
                  </a:moveTo>
                  <a:lnTo>
                    <a:pt x="4" y="2"/>
                  </a:lnTo>
                  <a:lnTo>
                    <a:pt x="10" y="4"/>
                  </a:lnTo>
                  <a:lnTo>
                    <a:pt x="18" y="4"/>
                  </a:lnTo>
                  <a:lnTo>
                    <a:pt x="20" y="4"/>
                  </a:lnTo>
                  <a:lnTo>
                    <a:pt x="22" y="4"/>
                  </a:lnTo>
                  <a:lnTo>
                    <a:pt x="24" y="2"/>
                  </a:lnTo>
                  <a:lnTo>
                    <a:pt x="26" y="2"/>
                  </a:lnTo>
                  <a:lnTo>
                    <a:pt x="28" y="2"/>
                  </a:lnTo>
                  <a:lnTo>
                    <a:pt x="30" y="0"/>
                  </a:lnTo>
                  <a:lnTo>
                    <a:pt x="30" y="0"/>
                  </a:lnTo>
                  <a:lnTo>
                    <a:pt x="34" y="0"/>
                  </a:lnTo>
                  <a:lnTo>
                    <a:pt x="38" y="0"/>
                  </a:lnTo>
                  <a:lnTo>
                    <a:pt x="40" y="0"/>
                  </a:lnTo>
                  <a:lnTo>
                    <a:pt x="42" y="0"/>
                  </a:lnTo>
                  <a:lnTo>
                    <a:pt x="44" y="2"/>
                  </a:lnTo>
                  <a:lnTo>
                    <a:pt x="46" y="2"/>
                  </a:lnTo>
                  <a:lnTo>
                    <a:pt x="46" y="2"/>
                  </a:lnTo>
                  <a:lnTo>
                    <a:pt x="48" y="2"/>
                  </a:lnTo>
                  <a:lnTo>
                    <a:pt x="48" y="4"/>
                  </a:lnTo>
                  <a:lnTo>
                    <a:pt x="48" y="4"/>
                  </a:lnTo>
                  <a:lnTo>
                    <a:pt x="48" y="6"/>
                  </a:lnTo>
                  <a:lnTo>
                    <a:pt x="50" y="6"/>
                  </a:lnTo>
                  <a:lnTo>
                    <a:pt x="50" y="8"/>
                  </a:lnTo>
                  <a:lnTo>
                    <a:pt x="48" y="10"/>
                  </a:lnTo>
                  <a:lnTo>
                    <a:pt x="48" y="10"/>
                  </a:lnTo>
                  <a:lnTo>
                    <a:pt x="48" y="12"/>
                  </a:lnTo>
                  <a:lnTo>
                    <a:pt x="48" y="12"/>
                  </a:lnTo>
                  <a:lnTo>
                    <a:pt x="48" y="14"/>
                  </a:lnTo>
                  <a:lnTo>
                    <a:pt x="46" y="14"/>
                  </a:lnTo>
                  <a:lnTo>
                    <a:pt x="46" y="14"/>
                  </a:lnTo>
                  <a:lnTo>
                    <a:pt x="44" y="14"/>
                  </a:lnTo>
                  <a:lnTo>
                    <a:pt x="44" y="12"/>
                  </a:lnTo>
                  <a:lnTo>
                    <a:pt x="40" y="12"/>
                  </a:lnTo>
                  <a:lnTo>
                    <a:pt x="38" y="12"/>
                  </a:lnTo>
                  <a:lnTo>
                    <a:pt x="38" y="10"/>
                  </a:lnTo>
                  <a:lnTo>
                    <a:pt x="34" y="10"/>
                  </a:lnTo>
                  <a:lnTo>
                    <a:pt x="32" y="10"/>
                  </a:lnTo>
                  <a:lnTo>
                    <a:pt x="32" y="10"/>
                  </a:lnTo>
                  <a:lnTo>
                    <a:pt x="30" y="10"/>
                  </a:lnTo>
                  <a:lnTo>
                    <a:pt x="30" y="10"/>
                  </a:lnTo>
                  <a:lnTo>
                    <a:pt x="28" y="10"/>
                  </a:lnTo>
                  <a:lnTo>
                    <a:pt x="26" y="10"/>
                  </a:lnTo>
                  <a:lnTo>
                    <a:pt x="26" y="12"/>
                  </a:lnTo>
                  <a:lnTo>
                    <a:pt x="24" y="14"/>
                  </a:lnTo>
                  <a:lnTo>
                    <a:pt x="22" y="14"/>
                  </a:lnTo>
                  <a:lnTo>
                    <a:pt x="20" y="16"/>
                  </a:lnTo>
                  <a:lnTo>
                    <a:pt x="18" y="16"/>
                  </a:lnTo>
                  <a:lnTo>
                    <a:pt x="16" y="18"/>
                  </a:lnTo>
                  <a:lnTo>
                    <a:pt x="16" y="18"/>
                  </a:lnTo>
                  <a:lnTo>
                    <a:pt x="14" y="18"/>
                  </a:lnTo>
                  <a:lnTo>
                    <a:pt x="12" y="18"/>
                  </a:lnTo>
                  <a:lnTo>
                    <a:pt x="10" y="18"/>
                  </a:lnTo>
                  <a:lnTo>
                    <a:pt x="6" y="18"/>
                  </a:lnTo>
                  <a:lnTo>
                    <a:pt x="4" y="18"/>
                  </a:lnTo>
                  <a:lnTo>
                    <a:pt x="4" y="18"/>
                  </a:lnTo>
                  <a:lnTo>
                    <a:pt x="2" y="16"/>
                  </a:lnTo>
                  <a:lnTo>
                    <a:pt x="2" y="16"/>
                  </a:lnTo>
                  <a:lnTo>
                    <a:pt x="2" y="16"/>
                  </a:lnTo>
                  <a:lnTo>
                    <a:pt x="0" y="16"/>
                  </a:lnTo>
                  <a:lnTo>
                    <a:pt x="0" y="14"/>
                  </a:lnTo>
                  <a:lnTo>
                    <a:pt x="0" y="14"/>
                  </a:lnTo>
                  <a:lnTo>
                    <a:pt x="2" y="14"/>
                  </a:lnTo>
                  <a:lnTo>
                    <a:pt x="2" y="14"/>
                  </a:lnTo>
                  <a:lnTo>
                    <a:pt x="6" y="12"/>
                  </a:lnTo>
                  <a:lnTo>
                    <a:pt x="6" y="12"/>
                  </a:lnTo>
                  <a:lnTo>
                    <a:pt x="8" y="10"/>
                  </a:lnTo>
                  <a:lnTo>
                    <a:pt x="8" y="10"/>
                  </a:lnTo>
                  <a:lnTo>
                    <a:pt x="8" y="10"/>
                  </a:lnTo>
                  <a:lnTo>
                    <a:pt x="10" y="8"/>
                  </a:lnTo>
                  <a:lnTo>
                    <a:pt x="10" y="8"/>
                  </a:lnTo>
                  <a:lnTo>
                    <a:pt x="8" y="8"/>
                  </a:lnTo>
                  <a:lnTo>
                    <a:pt x="8" y="6"/>
                  </a:lnTo>
                  <a:lnTo>
                    <a:pt x="8" y="6"/>
                  </a:lnTo>
                  <a:lnTo>
                    <a:pt x="6" y="4"/>
                  </a:lnTo>
                  <a:lnTo>
                    <a:pt x="4" y="4"/>
                  </a:lnTo>
                  <a:lnTo>
                    <a:pt x="4"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6" name="Freeform 444"/>
            <p:cNvSpPr>
              <a:spLocks/>
            </p:cNvSpPr>
            <p:nvPr/>
          </p:nvSpPr>
          <p:spPr bwMode="auto">
            <a:xfrm>
              <a:off x="3853514" y="4275547"/>
              <a:ext cx="79675" cy="38106"/>
            </a:xfrm>
            <a:custGeom>
              <a:avLst/>
              <a:gdLst>
                <a:gd name="T0" fmla="*/ 46 w 46"/>
                <a:gd name="T1" fmla="*/ 6 h 22"/>
                <a:gd name="T2" fmla="*/ 46 w 46"/>
                <a:gd name="T3" fmla="*/ 6 h 22"/>
                <a:gd name="T4" fmla="*/ 44 w 46"/>
                <a:gd name="T5" fmla="*/ 4 h 22"/>
                <a:gd name="T6" fmla="*/ 36 w 46"/>
                <a:gd name="T7" fmla="*/ 2 h 22"/>
                <a:gd name="T8" fmla="*/ 34 w 46"/>
                <a:gd name="T9" fmla="*/ 2 h 22"/>
                <a:gd name="T10" fmla="*/ 30 w 46"/>
                <a:gd name="T11" fmla="*/ 0 h 22"/>
                <a:gd name="T12" fmla="*/ 26 w 46"/>
                <a:gd name="T13" fmla="*/ 0 h 22"/>
                <a:gd name="T14" fmla="*/ 24 w 46"/>
                <a:gd name="T15" fmla="*/ 0 h 22"/>
                <a:gd name="T16" fmla="*/ 24 w 46"/>
                <a:gd name="T17" fmla="*/ 0 h 22"/>
                <a:gd name="T18" fmla="*/ 22 w 46"/>
                <a:gd name="T19" fmla="*/ 0 h 22"/>
                <a:gd name="T20" fmla="*/ 20 w 46"/>
                <a:gd name="T21" fmla="*/ 0 h 22"/>
                <a:gd name="T22" fmla="*/ 18 w 46"/>
                <a:gd name="T23" fmla="*/ 0 h 22"/>
                <a:gd name="T24" fmla="*/ 14 w 46"/>
                <a:gd name="T25" fmla="*/ 0 h 22"/>
                <a:gd name="T26" fmla="*/ 10 w 46"/>
                <a:gd name="T27" fmla="*/ 2 h 22"/>
                <a:gd name="T28" fmla="*/ 4 w 46"/>
                <a:gd name="T29" fmla="*/ 4 h 22"/>
                <a:gd name="T30" fmla="*/ 0 w 46"/>
                <a:gd name="T31" fmla="*/ 4 h 22"/>
                <a:gd name="T32" fmla="*/ 0 w 46"/>
                <a:gd name="T33" fmla="*/ 6 h 22"/>
                <a:gd name="T34" fmla="*/ 0 w 46"/>
                <a:gd name="T35" fmla="*/ 10 h 22"/>
                <a:gd name="T36" fmla="*/ 0 w 46"/>
                <a:gd name="T37" fmla="*/ 12 h 22"/>
                <a:gd name="T38" fmla="*/ 0 w 46"/>
                <a:gd name="T39" fmla="*/ 12 h 22"/>
                <a:gd name="T40" fmla="*/ 0 w 46"/>
                <a:gd name="T41" fmla="*/ 14 h 22"/>
                <a:gd name="T42" fmla="*/ 0 w 46"/>
                <a:gd name="T43" fmla="*/ 16 h 22"/>
                <a:gd name="T44" fmla="*/ 0 w 46"/>
                <a:gd name="T45" fmla="*/ 16 h 22"/>
                <a:gd name="T46" fmla="*/ 2 w 46"/>
                <a:gd name="T47" fmla="*/ 16 h 22"/>
                <a:gd name="T48" fmla="*/ 2 w 46"/>
                <a:gd name="T49" fmla="*/ 16 h 22"/>
                <a:gd name="T50" fmla="*/ 2 w 46"/>
                <a:gd name="T51" fmla="*/ 16 h 22"/>
                <a:gd name="T52" fmla="*/ 4 w 46"/>
                <a:gd name="T53" fmla="*/ 16 h 22"/>
                <a:gd name="T54" fmla="*/ 6 w 46"/>
                <a:gd name="T55" fmla="*/ 16 h 22"/>
                <a:gd name="T56" fmla="*/ 8 w 46"/>
                <a:gd name="T57" fmla="*/ 16 h 22"/>
                <a:gd name="T58" fmla="*/ 10 w 46"/>
                <a:gd name="T59" fmla="*/ 16 h 22"/>
                <a:gd name="T60" fmla="*/ 10 w 46"/>
                <a:gd name="T61" fmla="*/ 16 h 22"/>
                <a:gd name="T62" fmla="*/ 12 w 46"/>
                <a:gd name="T63" fmla="*/ 16 h 22"/>
                <a:gd name="T64" fmla="*/ 14 w 46"/>
                <a:gd name="T65" fmla="*/ 16 h 22"/>
                <a:gd name="T66" fmla="*/ 14 w 46"/>
                <a:gd name="T67" fmla="*/ 16 h 22"/>
                <a:gd name="T68" fmla="*/ 14 w 46"/>
                <a:gd name="T69" fmla="*/ 16 h 22"/>
                <a:gd name="T70" fmla="*/ 16 w 46"/>
                <a:gd name="T71" fmla="*/ 16 h 22"/>
                <a:gd name="T72" fmla="*/ 18 w 46"/>
                <a:gd name="T73" fmla="*/ 20 h 22"/>
                <a:gd name="T74" fmla="*/ 20 w 46"/>
                <a:gd name="T75" fmla="*/ 22 h 22"/>
                <a:gd name="T76" fmla="*/ 20 w 46"/>
                <a:gd name="T77" fmla="*/ 22 h 22"/>
                <a:gd name="T78" fmla="*/ 20 w 46"/>
                <a:gd name="T79" fmla="*/ 20 h 22"/>
                <a:gd name="T80" fmla="*/ 22 w 46"/>
                <a:gd name="T81" fmla="*/ 18 h 22"/>
                <a:gd name="T82" fmla="*/ 26 w 46"/>
                <a:gd name="T83" fmla="*/ 14 h 22"/>
                <a:gd name="T84" fmla="*/ 26 w 46"/>
                <a:gd name="T85" fmla="*/ 12 h 22"/>
                <a:gd name="T86" fmla="*/ 28 w 46"/>
                <a:gd name="T87" fmla="*/ 12 h 22"/>
                <a:gd name="T88" fmla="*/ 28 w 46"/>
                <a:gd name="T89" fmla="*/ 12 h 22"/>
                <a:gd name="T90" fmla="*/ 30 w 46"/>
                <a:gd name="T91" fmla="*/ 10 h 22"/>
                <a:gd name="T92" fmla="*/ 32 w 46"/>
                <a:gd name="T93" fmla="*/ 10 h 22"/>
                <a:gd name="T94" fmla="*/ 34 w 46"/>
                <a:gd name="T95" fmla="*/ 8 h 22"/>
                <a:gd name="T96" fmla="*/ 38 w 46"/>
                <a:gd name="T97" fmla="*/ 8 h 22"/>
                <a:gd name="T98" fmla="*/ 44 w 46"/>
                <a:gd name="T99" fmla="*/ 6 h 22"/>
                <a:gd name="T100" fmla="*/ 46 w 46"/>
                <a:gd name="T10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22">
                  <a:moveTo>
                    <a:pt x="46" y="6"/>
                  </a:moveTo>
                  <a:lnTo>
                    <a:pt x="46" y="6"/>
                  </a:lnTo>
                  <a:lnTo>
                    <a:pt x="44" y="4"/>
                  </a:lnTo>
                  <a:lnTo>
                    <a:pt x="36" y="2"/>
                  </a:lnTo>
                  <a:lnTo>
                    <a:pt x="34" y="2"/>
                  </a:lnTo>
                  <a:lnTo>
                    <a:pt x="30" y="0"/>
                  </a:lnTo>
                  <a:lnTo>
                    <a:pt x="26" y="0"/>
                  </a:lnTo>
                  <a:lnTo>
                    <a:pt x="24" y="0"/>
                  </a:lnTo>
                  <a:lnTo>
                    <a:pt x="24" y="0"/>
                  </a:lnTo>
                  <a:lnTo>
                    <a:pt x="22" y="0"/>
                  </a:lnTo>
                  <a:lnTo>
                    <a:pt x="20" y="0"/>
                  </a:lnTo>
                  <a:lnTo>
                    <a:pt x="18" y="0"/>
                  </a:lnTo>
                  <a:lnTo>
                    <a:pt x="14" y="0"/>
                  </a:lnTo>
                  <a:lnTo>
                    <a:pt x="10" y="2"/>
                  </a:lnTo>
                  <a:lnTo>
                    <a:pt x="4" y="4"/>
                  </a:lnTo>
                  <a:lnTo>
                    <a:pt x="0" y="4"/>
                  </a:lnTo>
                  <a:lnTo>
                    <a:pt x="0" y="6"/>
                  </a:lnTo>
                  <a:lnTo>
                    <a:pt x="0" y="10"/>
                  </a:lnTo>
                  <a:lnTo>
                    <a:pt x="0" y="12"/>
                  </a:lnTo>
                  <a:lnTo>
                    <a:pt x="0" y="12"/>
                  </a:lnTo>
                  <a:lnTo>
                    <a:pt x="0" y="14"/>
                  </a:lnTo>
                  <a:lnTo>
                    <a:pt x="0" y="16"/>
                  </a:lnTo>
                  <a:lnTo>
                    <a:pt x="0" y="16"/>
                  </a:lnTo>
                  <a:lnTo>
                    <a:pt x="2" y="16"/>
                  </a:lnTo>
                  <a:lnTo>
                    <a:pt x="2" y="16"/>
                  </a:lnTo>
                  <a:lnTo>
                    <a:pt x="2" y="16"/>
                  </a:lnTo>
                  <a:lnTo>
                    <a:pt x="4" y="16"/>
                  </a:lnTo>
                  <a:lnTo>
                    <a:pt x="6" y="16"/>
                  </a:lnTo>
                  <a:lnTo>
                    <a:pt x="8" y="16"/>
                  </a:lnTo>
                  <a:lnTo>
                    <a:pt x="10" y="16"/>
                  </a:lnTo>
                  <a:lnTo>
                    <a:pt x="10" y="16"/>
                  </a:lnTo>
                  <a:lnTo>
                    <a:pt x="12" y="16"/>
                  </a:lnTo>
                  <a:lnTo>
                    <a:pt x="14" y="16"/>
                  </a:lnTo>
                  <a:lnTo>
                    <a:pt x="14" y="16"/>
                  </a:lnTo>
                  <a:lnTo>
                    <a:pt x="14" y="16"/>
                  </a:lnTo>
                  <a:lnTo>
                    <a:pt x="16" y="16"/>
                  </a:lnTo>
                  <a:lnTo>
                    <a:pt x="18" y="20"/>
                  </a:lnTo>
                  <a:lnTo>
                    <a:pt x="20" y="22"/>
                  </a:lnTo>
                  <a:lnTo>
                    <a:pt x="20" y="22"/>
                  </a:lnTo>
                  <a:lnTo>
                    <a:pt x="20" y="20"/>
                  </a:lnTo>
                  <a:lnTo>
                    <a:pt x="22" y="18"/>
                  </a:lnTo>
                  <a:lnTo>
                    <a:pt x="26" y="14"/>
                  </a:lnTo>
                  <a:lnTo>
                    <a:pt x="26" y="12"/>
                  </a:lnTo>
                  <a:lnTo>
                    <a:pt x="28" y="12"/>
                  </a:lnTo>
                  <a:lnTo>
                    <a:pt x="28" y="12"/>
                  </a:lnTo>
                  <a:lnTo>
                    <a:pt x="30" y="10"/>
                  </a:lnTo>
                  <a:lnTo>
                    <a:pt x="32" y="10"/>
                  </a:lnTo>
                  <a:lnTo>
                    <a:pt x="34" y="8"/>
                  </a:lnTo>
                  <a:lnTo>
                    <a:pt x="38" y="8"/>
                  </a:lnTo>
                  <a:lnTo>
                    <a:pt x="44" y="6"/>
                  </a:lnTo>
                  <a:lnTo>
                    <a:pt x="46" y="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7" name="Freeform 445"/>
            <p:cNvSpPr>
              <a:spLocks/>
            </p:cNvSpPr>
            <p:nvPr/>
          </p:nvSpPr>
          <p:spPr bwMode="auto">
            <a:xfrm>
              <a:off x="3853514" y="4275547"/>
              <a:ext cx="79675" cy="38106"/>
            </a:xfrm>
            <a:custGeom>
              <a:avLst/>
              <a:gdLst>
                <a:gd name="T0" fmla="*/ 46 w 46"/>
                <a:gd name="T1" fmla="*/ 6 h 22"/>
                <a:gd name="T2" fmla="*/ 46 w 46"/>
                <a:gd name="T3" fmla="*/ 6 h 22"/>
                <a:gd name="T4" fmla="*/ 44 w 46"/>
                <a:gd name="T5" fmla="*/ 4 h 22"/>
                <a:gd name="T6" fmla="*/ 36 w 46"/>
                <a:gd name="T7" fmla="*/ 2 h 22"/>
                <a:gd name="T8" fmla="*/ 34 w 46"/>
                <a:gd name="T9" fmla="*/ 2 h 22"/>
                <a:gd name="T10" fmla="*/ 30 w 46"/>
                <a:gd name="T11" fmla="*/ 0 h 22"/>
                <a:gd name="T12" fmla="*/ 26 w 46"/>
                <a:gd name="T13" fmla="*/ 0 h 22"/>
                <a:gd name="T14" fmla="*/ 24 w 46"/>
                <a:gd name="T15" fmla="*/ 0 h 22"/>
                <a:gd name="T16" fmla="*/ 24 w 46"/>
                <a:gd name="T17" fmla="*/ 0 h 22"/>
                <a:gd name="T18" fmla="*/ 22 w 46"/>
                <a:gd name="T19" fmla="*/ 0 h 22"/>
                <a:gd name="T20" fmla="*/ 20 w 46"/>
                <a:gd name="T21" fmla="*/ 0 h 22"/>
                <a:gd name="T22" fmla="*/ 18 w 46"/>
                <a:gd name="T23" fmla="*/ 0 h 22"/>
                <a:gd name="T24" fmla="*/ 14 w 46"/>
                <a:gd name="T25" fmla="*/ 0 h 22"/>
                <a:gd name="T26" fmla="*/ 10 w 46"/>
                <a:gd name="T27" fmla="*/ 2 h 22"/>
                <a:gd name="T28" fmla="*/ 4 w 46"/>
                <a:gd name="T29" fmla="*/ 4 h 22"/>
                <a:gd name="T30" fmla="*/ 0 w 46"/>
                <a:gd name="T31" fmla="*/ 4 h 22"/>
                <a:gd name="T32" fmla="*/ 0 w 46"/>
                <a:gd name="T33" fmla="*/ 6 h 22"/>
                <a:gd name="T34" fmla="*/ 0 w 46"/>
                <a:gd name="T35" fmla="*/ 10 h 22"/>
                <a:gd name="T36" fmla="*/ 0 w 46"/>
                <a:gd name="T37" fmla="*/ 12 h 22"/>
                <a:gd name="T38" fmla="*/ 0 w 46"/>
                <a:gd name="T39" fmla="*/ 12 h 22"/>
                <a:gd name="T40" fmla="*/ 0 w 46"/>
                <a:gd name="T41" fmla="*/ 14 h 22"/>
                <a:gd name="T42" fmla="*/ 0 w 46"/>
                <a:gd name="T43" fmla="*/ 16 h 22"/>
                <a:gd name="T44" fmla="*/ 0 w 46"/>
                <a:gd name="T45" fmla="*/ 16 h 22"/>
                <a:gd name="T46" fmla="*/ 2 w 46"/>
                <a:gd name="T47" fmla="*/ 16 h 22"/>
                <a:gd name="T48" fmla="*/ 2 w 46"/>
                <a:gd name="T49" fmla="*/ 16 h 22"/>
                <a:gd name="T50" fmla="*/ 2 w 46"/>
                <a:gd name="T51" fmla="*/ 16 h 22"/>
                <a:gd name="T52" fmla="*/ 4 w 46"/>
                <a:gd name="T53" fmla="*/ 16 h 22"/>
                <a:gd name="T54" fmla="*/ 6 w 46"/>
                <a:gd name="T55" fmla="*/ 16 h 22"/>
                <a:gd name="T56" fmla="*/ 8 w 46"/>
                <a:gd name="T57" fmla="*/ 16 h 22"/>
                <a:gd name="T58" fmla="*/ 10 w 46"/>
                <a:gd name="T59" fmla="*/ 16 h 22"/>
                <a:gd name="T60" fmla="*/ 10 w 46"/>
                <a:gd name="T61" fmla="*/ 16 h 22"/>
                <a:gd name="T62" fmla="*/ 12 w 46"/>
                <a:gd name="T63" fmla="*/ 16 h 22"/>
                <a:gd name="T64" fmla="*/ 14 w 46"/>
                <a:gd name="T65" fmla="*/ 16 h 22"/>
                <a:gd name="T66" fmla="*/ 14 w 46"/>
                <a:gd name="T67" fmla="*/ 16 h 22"/>
                <a:gd name="T68" fmla="*/ 14 w 46"/>
                <a:gd name="T69" fmla="*/ 16 h 22"/>
                <a:gd name="T70" fmla="*/ 16 w 46"/>
                <a:gd name="T71" fmla="*/ 16 h 22"/>
                <a:gd name="T72" fmla="*/ 18 w 46"/>
                <a:gd name="T73" fmla="*/ 20 h 22"/>
                <a:gd name="T74" fmla="*/ 20 w 46"/>
                <a:gd name="T75" fmla="*/ 22 h 22"/>
                <a:gd name="T76" fmla="*/ 20 w 46"/>
                <a:gd name="T77" fmla="*/ 22 h 22"/>
                <a:gd name="T78" fmla="*/ 20 w 46"/>
                <a:gd name="T79" fmla="*/ 20 h 22"/>
                <a:gd name="T80" fmla="*/ 22 w 46"/>
                <a:gd name="T81" fmla="*/ 18 h 22"/>
                <a:gd name="T82" fmla="*/ 26 w 46"/>
                <a:gd name="T83" fmla="*/ 14 h 22"/>
                <a:gd name="T84" fmla="*/ 26 w 46"/>
                <a:gd name="T85" fmla="*/ 12 h 22"/>
                <a:gd name="T86" fmla="*/ 28 w 46"/>
                <a:gd name="T87" fmla="*/ 12 h 22"/>
                <a:gd name="T88" fmla="*/ 28 w 46"/>
                <a:gd name="T89" fmla="*/ 12 h 22"/>
                <a:gd name="T90" fmla="*/ 30 w 46"/>
                <a:gd name="T91" fmla="*/ 10 h 22"/>
                <a:gd name="T92" fmla="*/ 32 w 46"/>
                <a:gd name="T93" fmla="*/ 10 h 22"/>
                <a:gd name="T94" fmla="*/ 34 w 46"/>
                <a:gd name="T95" fmla="*/ 8 h 22"/>
                <a:gd name="T96" fmla="*/ 38 w 46"/>
                <a:gd name="T97" fmla="*/ 8 h 22"/>
                <a:gd name="T98" fmla="*/ 44 w 46"/>
                <a:gd name="T99" fmla="*/ 6 h 22"/>
                <a:gd name="T100" fmla="*/ 46 w 46"/>
                <a:gd name="T10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22">
                  <a:moveTo>
                    <a:pt x="46" y="6"/>
                  </a:moveTo>
                  <a:lnTo>
                    <a:pt x="46" y="6"/>
                  </a:lnTo>
                  <a:lnTo>
                    <a:pt x="44" y="4"/>
                  </a:lnTo>
                  <a:lnTo>
                    <a:pt x="36" y="2"/>
                  </a:lnTo>
                  <a:lnTo>
                    <a:pt x="34" y="2"/>
                  </a:lnTo>
                  <a:lnTo>
                    <a:pt x="30" y="0"/>
                  </a:lnTo>
                  <a:lnTo>
                    <a:pt x="26" y="0"/>
                  </a:lnTo>
                  <a:lnTo>
                    <a:pt x="24" y="0"/>
                  </a:lnTo>
                  <a:lnTo>
                    <a:pt x="24" y="0"/>
                  </a:lnTo>
                  <a:lnTo>
                    <a:pt x="22" y="0"/>
                  </a:lnTo>
                  <a:lnTo>
                    <a:pt x="20" y="0"/>
                  </a:lnTo>
                  <a:lnTo>
                    <a:pt x="18" y="0"/>
                  </a:lnTo>
                  <a:lnTo>
                    <a:pt x="14" y="0"/>
                  </a:lnTo>
                  <a:lnTo>
                    <a:pt x="10" y="2"/>
                  </a:lnTo>
                  <a:lnTo>
                    <a:pt x="4" y="4"/>
                  </a:lnTo>
                  <a:lnTo>
                    <a:pt x="0" y="4"/>
                  </a:lnTo>
                  <a:lnTo>
                    <a:pt x="0" y="6"/>
                  </a:lnTo>
                  <a:lnTo>
                    <a:pt x="0" y="10"/>
                  </a:lnTo>
                  <a:lnTo>
                    <a:pt x="0" y="12"/>
                  </a:lnTo>
                  <a:lnTo>
                    <a:pt x="0" y="12"/>
                  </a:lnTo>
                  <a:lnTo>
                    <a:pt x="0" y="14"/>
                  </a:lnTo>
                  <a:lnTo>
                    <a:pt x="0" y="16"/>
                  </a:lnTo>
                  <a:lnTo>
                    <a:pt x="0" y="16"/>
                  </a:lnTo>
                  <a:lnTo>
                    <a:pt x="2" y="16"/>
                  </a:lnTo>
                  <a:lnTo>
                    <a:pt x="2" y="16"/>
                  </a:lnTo>
                  <a:lnTo>
                    <a:pt x="2" y="16"/>
                  </a:lnTo>
                  <a:lnTo>
                    <a:pt x="4" y="16"/>
                  </a:lnTo>
                  <a:lnTo>
                    <a:pt x="6" y="16"/>
                  </a:lnTo>
                  <a:lnTo>
                    <a:pt x="8" y="16"/>
                  </a:lnTo>
                  <a:lnTo>
                    <a:pt x="10" y="16"/>
                  </a:lnTo>
                  <a:lnTo>
                    <a:pt x="10" y="16"/>
                  </a:lnTo>
                  <a:lnTo>
                    <a:pt x="12" y="16"/>
                  </a:lnTo>
                  <a:lnTo>
                    <a:pt x="14" y="16"/>
                  </a:lnTo>
                  <a:lnTo>
                    <a:pt x="14" y="16"/>
                  </a:lnTo>
                  <a:lnTo>
                    <a:pt x="14" y="16"/>
                  </a:lnTo>
                  <a:lnTo>
                    <a:pt x="16" y="16"/>
                  </a:lnTo>
                  <a:lnTo>
                    <a:pt x="18" y="20"/>
                  </a:lnTo>
                  <a:lnTo>
                    <a:pt x="20" y="22"/>
                  </a:lnTo>
                  <a:lnTo>
                    <a:pt x="20" y="22"/>
                  </a:lnTo>
                  <a:lnTo>
                    <a:pt x="20" y="20"/>
                  </a:lnTo>
                  <a:lnTo>
                    <a:pt x="22" y="18"/>
                  </a:lnTo>
                  <a:lnTo>
                    <a:pt x="26" y="14"/>
                  </a:lnTo>
                  <a:lnTo>
                    <a:pt x="26" y="12"/>
                  </a:lnTo>
                  <a:lnTo>
                    <a:pt x="28" y="12"/>
                  </a:lnTo>
                  <a:lnTo>
                    <a:pt x="28" y="12"/>
                  </a:lnTo>
                  <a:lnTo>
                    <a:pt x="30" y="10"/>
                  </a:lnTo>
                  <a:lnTo>
                    <a:pt x="32" y="10"/>
                  </a:lnTo>
                  <a:lnTo>
                    <a:pt x="34" y="8"/>
                  </a:lnTo>
                  <a:lnTo>
                    <a:pt x="38" y="8"/>
                  </a:lnTo>
                  <a:lnTo>
                    <a:pt x="44" y="6"/>
                  </a:lnTo>
                  <a:lnTo>
                    <a:pt x="46" y="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8" name="Freeform 446"/>
            <p:cNvSpPr>
              <a:spLocks/>
            </p:cNvSpPr>
            <p:nvPr/>
          </p:nvSpPr>
          <p:spPr bwMode="auto">
            <a:xfrm>
              <a:off x="5329242" y="4982233"/>
              <a:ext cx="207849" cy="412234"/>
            </a:xfrm>
            <a:custGeom>
              <a:avLst/>
              <a:gdLst>
                <a:gd name="T0" fmla="*/ 88 w 120"/>
                <a:gd name="T1" fmla="*/ 12 h 238"/>
                <a:gd name="T2" fmla="*/ 88 w 120"/>
                <a:gd name="T3" fmla="*/ 24 h 238"/>
                <a:gd name="T4" fmla="*/ 82 w 120"/>
                <a:gd name="T5" fmla="*/ 28 h 238"/>
                <a:gd name="T6" fmla="*/ 82 w 120"/>
                <a:gd name="T7" fmla="*/ 40 h 238"/>
                <a:gd name="T8" fmla="*/ 80 w 120"/>
                <a:gd name="T9" fmla="*/ 44 h 238"/>
                <a:gd name="T10" fmla="*/ 72 w 120"/>
                <a:gd name="T11" fmla="*/ 44 h 238"/>
                <a:gd name="T12" fmla="*/ 68 w 120"/>
                <a:gd name="T13" fmla="*/ 52 h 238"/>
                <a:gd name="T14" fmla="*/ 60 w 120"/>
                <a:gd name="T15" fmla="*/ 62 h 238"/>
                <a:gd name="T16" fmla="*/ 56 w 120"/>
                <a:gd name="T17" fmla="*/ 70 h 238"/>
                <a:gd name="T18" fmla="*/ 50 w 120"/>
                <a:gd name="T19" fmla="*/ 72 h 238"/>
                <a:gd name="T20" fmla="*/ 48 w 120"/>
                <a:gd name="T21" fmla="*/ 66 h 238"/>
                <a:gd name="T22" fmla="*/ 46 w 120"/>
                <a:gd name="T23" fmla="*/ 60 h 238"/>
                <a:gd name="T24" fmla="*/ 38 w 120"/>
                <a:gd name="T25" fmla="*/ 62 h 238"/>
                <a:gd name="T26" fmla="*/ 36 w 120"/>
                <a:gd name="T27" fmla="*/ 70 h 238"/>
                <a:gd name="T28" fmla="*/ 28 w 120"/>
                <a:gd name="T29" fmla="*/ 72 h 238"/>
                <a:gd name="T30" fmla="*/ 26 w 120"/>
                <a:gd name="T31" fmla="*/ 80 h 238"/>
                <a:gd name="T32" fmla="*/ 22 w 120"/>
                <a:gd name="T33" fmla="*/ 86 h 238"/>
                <a:gd name="T34" fmla="*/ 16 w 120"/>
                <a:gd name="T35" fmla="*/ 96 h 238"/>
                <a:gd name="T36" fmla="*/ 16 w 120"/>
                <a:gd name="T37" fmla="*/ 116 h 238"/>
                <a:gd name="T38" fmla="*/ 22 w 120"/>
                <a:gd name="T39" fmla="*/ 128 h 238"/>
                <a:gd name="T40" fmla="*/ 28 w 120"/>
                <a:gd name="T41" fmla="*/ 132 h 238"/>
                <a:gd name="T42" fmla="*/ 26 w 120"/>
                <a:gd name="T43" fmla="*/ 142 h 238"/>
                <a:gd name="T44" fmla="*/ 20 w 120"/>
                <a:gd name="T45" fmla="*/ 152 h 238"/>
                <a:gd name="T46" fmla="*/ 18 w 120"/>
                <a:gd name="T47" fmla="*/ 160 h 238"/>
                <a:gd name="T48" fmla="*/ 10 w 120"/>
                <a:gd name="T49" fmla="*/ 164 h 238"/>
                <a:gd name="T50" fmla="*/ 4 w 120"/>
                <a:gd name="T51" fmla="*/ 170 h 238"/>
                <a:gd name="T52" fmla="*/ 0 w 120"/>
                <a:gd name="T53" fmla="*/ 176 h 238"/>
                <a:gd name="T54" fmla="*/ 0 w 120"/>
                <a:gd name="T55" fmla="*/ 190 h 238"/>
                <a:gd name="T56" fmla="*/ 8 w 120"/>
                <a:gd name="T57" fmla="*/ 190 h 238"/>
                <a:gd name="T58" fmla="*/ 14 w 120"/>
                <a:gd name="T59" fmla="*/ 192 h 238"/>
                <a:gd name="T60" fmla="*/ 14 w 120"/>
                <a:gd name="T61" fmla="*/ 200 h 238"/>
                <a:gd name="T62" fmla="*/ 10 w 120"/>
                <a:gd name="T63" fmla="*/ 224 h 238"/>
                <a:gd name="T64" fmla="*/ 14 w 120"/>
                <a:gd name="T65" fmla="*/ 230 h 238"/>
                <a:gd name="T66" fmla="*/ 22 w 120"/>
                <a:gd name="T67" fmla="*/ 228 h 238"/>
                <a:gd name="T68" fmla="*/ 28 w 120"/>
                <a:gd name="T69" fmla="*/ 236 h 238"/>
                <a:gd name="T70" fmla="*/ 36 w 120"/>
                <a:gd name="T71" fmla="*/ 238 h 238"/>
                <a:gd name="T72" fmla="*/ 44 w 120"/>
                <a:gd name="T73" fmla="*/ 228 h 238"/>
                <a:gd name="T74" fmla="*/ 56 w 120"/>
                <a:gd name="T75" fmla="*/ 226 h 238"/>
                <a:gd name="T76" fmla="*/ 68 w 120"/>
                <a:gd name="T77" fmla="*/ 220 h 238"/>
                <a:gd name="T78" fmla="*/ 70 w 120"/>
                <a:gd name="T79" fmla="*/ 212 h 238"/>
                <a:gd name="T80" fmla="*/ 72 w 120"/>
                <a:gd name="T81" fmla="*/ 200 h 238"/>
                <a:gd name="T82" fmla="*/ 80 w 120"/>
                <a:gd name="T83" fmla="*/ 196 h 238"/>
                <a:gd name="T84" fmla="*/ 80 w 120"/>
                <a:gd name="T85" fmla="*/ 176 h 238"/>
                <a:gd name="T86" fmla="*/ 82 w 120"/>
                <a:gd name="T87" fmla="*/ 170 h 238"/>
                <a:gd name="T88" fmla="*/ 86 w 120"/>
                <a:gd name="T89" fmla="*/ 160 h 238"/>
                <a:gd name="T90" fmla="*/ 82 w 120"/>
                <a:gd name="T91" fmla="*/ 138 h 238"/>
                <a:gd name="T92" fmla="*/ 88 w 120"/>
                <a:gd name="T93" fmla="*/ 130 h 238"/>
                <a:gd name="T94" fmla="*/ 100 w 120"/>
                <a:gd name="T95" fmla="*/ 122 h 238"/>
                <a:gd name="T96" fmla="*/ 100 w 120"/>
                <a:gd name="T97" fmla="*/ 110 h 238"/>
                <a:gd name="T98" fmla="*/ 100 w 120"/>
                <a:gd name="T99" fmla="*/ 92 h 238"/>
                <a:gd name="T100" fmla="*/ 108 w 120"/>
                <a:gd name="T101" fmla="*/ 86 h 238"/>
                <a:gd name="T102" fmla="*/ 108 w 120"/>
                <a:gd name="T103" fmla="*/ 72 h 238"/>
                <a:gd name="T104" fmla="*/ 112 w 120"/>
                <a:gd name="T105" fmla="*/ 66 h 238"/>
                <a:gd name="T106" fmla="*/ 120 w 120"/>
                <a:gd name="T107" fmla="*/ 60 h 238"/>
                <a:gd name="T108" fmla="*/ 120 w 120"/>
                <a:gd name="T109" fmla="*/ 42 h 238"/>
                <a:gd name="T110" fmla="*/ 116 w 120"/>
                <a:gd name="T111" fmla="*/ 30 h 238"/>
                <a:gd name="T112" fmla="*/ 108 w 120"/>
                <a:gd name="T113" fmla="*/ 26 h 238"/>
                <a:gd name="T114" fmla="*/ 108 w 120"/>
                <a:gd name="T115" fmla="*/ 18 h 238"/>
                <a:gd name="T116" fmla="*/ 108 w 120"/>
                <a:gd name="T117" fmla="*/ 8 h 238"/>
                <a:gd name="T118" fmla="*/ 98 w 120"/>
                <a:gd name="T119" fmla="*/ 2 h 238"/>
                <a:gd name="T120" fmla="*/ 92 w 120"/>
                <a:gd name="T121" fmla="*/ 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238">
                  <a:moveTo>
                    <a:pt x="90" y="4"/>
                  </a:moveTo>
                  <a:lnTo>
                    <a:pt x="90" y="4"/>
                  </a:lnTo>
                  <a:lnTo>
                    <a:pt x="88" y="4"/>
                  </a:lnTo>
                  <a:lnTo>
                    <a:pt x="88" y="6"/>
                  </a:lnTo>
                  <a:lnTo>
                    <a:pt x="88" y="8"/>
                  </a:lnTo>
                  <a:lnTo>
                    <a:pt x="88" y="8"/>
                  </a:lnTo>
                  <a:lnTo>
                    <a:pt x="88" y="12"/>
                  </a:lnTo>
                  <a:lnTo>
                    <a:pt x="90" y="14"/>
                  </a:lnTo>
                  <a:lnTo>
                    <a:pt x="90" y="18"/>
                  </a:lnTo>
                  <a:lnTo>
                    <a:pt x="90" y="20"/>
                  </a:lnTo>
                  <a:lnTo>
                    <a:pt x="90" y="22"/>
                  </a:lnTo>
                  <a:lnTo>
                    <a:pt x="90" y="22"/>
                  </a:lnTo>
                  <a:lnTo>
                    <a:pt x="90" y="24"/>
                  </a:lnTo>
                  <a:lnTo>
                    <a:pt x="88" y="24"/>
                  </a:lnTo>
                  <a:lnTo>
                    <a:pt x="88" y="26"/>
                  </a:lnTo>
                  <a:lnTo>
                    <a:pt x="88" y="26"/>
                  </a:lnTo>
                  <a:lnTo>
                    <a:pt x="86" y="26"/>
                  </a:lnTo>
                  <a:lnTo>
                    <a:pt x="84" y="26"/>
                  </a:lnTo>
                  <a:lnTo>
                    <a:pt x="84" y="26"/>
                  </a:lnTo>
                  <a:lnTo>
                    <a:pt x="84" y="28"/>
                  </a:lnTo>
                  <a:lnTo>
                    <a:pt x="82" y="28"/>
                  </a:lnTo>
                  <a:lnTo>
                    <a:pt x="82" y="28"/>
                  </a:lnTo>
                  <a:lnTo>
                    <a:pt x="82" y="30"/>
                  </a:lnTo>
                  <a:lnTo>
                    <a:pt x="82" y="30"/>
                  </a:lnTo>
                  <a:lnTo>
                    <a:pt x="82" y="32"/>
                  </a:lnTo>
                  <a:lnTo>
                    <a:pt x="82" y="36"/>
                  </a:lnTo>
                  <a:lnTo>
                    <a:pt x="82" y="38"/>
                  </a:lnTo>
                  <a:lnTo>
                    <a:pt x="82" y="40"/>
                  </a:lnTo>
                  <a:lnTo>
                    <a:pt x="82" y="40"/>
                  </a:lnTo>
                  <a:lnTo>
                    <a:pt x="82" y="42"/>
                  </a:lnTo>
                  <a:lnTo>
                    <a:pt x="82" y="42"/>
                  </a:lnTo>
                  <a:lnTo>
                    <a:pt x="82" y="42"/>
                  </a:lnTo>
                  <a:lnTo>
                    <a:pt x="80" y="44"/>
                  </a:lnTo>
                  <a:lnTo>
                    <a:pt x="80" y="44"/>
                  </a:lnTo>
                  <a:lnTo>
                    <a:pt x="80" y="44"/>
                  </a:lnTo>
                  <a:lnTo>
                    <a:pt x="78" y="44"/>
                  </a:lnTo>
                  <a:lnTo>
                    <a:pt x="76" y="44"/>
                  </a:lnTo>
                  <a:lnTo>
                    <a:pt x="74" y="42"/>
                  </a:lnTo>
                  <a:lnTo>
                    <a:pt x="72" y="42"/>
                  </a:lnTo>
                  <a:lnTo>
                    <a:pt x="72" y="42"/>
                  </a:lnTo>
                  <a:lnTo>
                    <a:pt x="72" y="42"/>
                  </a:lnTo>
                  <a:lnTo>
                    <a:pt x="72" y="44"/>
                  </a:lnTo>
                  <a:lnTo>
                    <a:pt x="70" y="44"/>
                  </a:lnTo>
                  <a:lnTo>
                    <a:pt x="70" y="46"/>
                  </a:lnTo>
                  <a:lnTo>
                    <a:pt x="70" y="46"/>
                  </a:lnTo>
                  <a:lnTo>
                    <a:pt x="68" y="48"/>
                  </a:lnTo>
                  <a:lnTo>
                    <a:pt x="68" y="48"/>
                  </a:lnTo>
                  <a:lnTo>
                    <a:pt x="68" y="50"/>
                  </a:lnTo>
                  <a:lnTo>
                    <a:pt x="68" y="52"/>
                  </a:lnTo>
                  <a:lnTo>
                    <a:pt x="66" y="56"/>
                  </a:lnTo>
                  <a:lnTo>
                    <a:pt x="66" y="56"/>
                  </a:lnTo>
                  <a:lnTo>
                    <a:pt x="66" y="58"/>
                  </a:lnTo>
                  <a:lnTo>
                    <a:pt x="66" y="58"/>
                  </a:lnTo>
                  <a:lnTo>
                    <a:pt x="64" y="58"/>
                  </a:lnTo>
                  <a:lnTo>
                    <a:pt x="62" y="60"/>
                  </a:lnTo>
                  <a:lnTo>
                    <a:pt x="60" y="62"/>
                  </a:lnTo>
                  <a:lnTo>
                    <a:pt x="58" y="62"/>
                  </a:lnTo>
                  <a:lnTo>
                    <a:pt x="58" y="64"/>
                  </a:lnTo>
                  <a:lnTo>
                    <a:pt x="58" y="64"/>
                  </a:lnTo>
                  <a:lnTo>
                    <a:pt x="58" y="66"/>
                  </a:lnTo>
                  <a:lnTo>
                    <a:pt x="56" y="68"/>
                  </a:lnTo>
                  <a:lnTo>
                    <a:pt x="56" y="70"/>
                  </a:lnTo>
                  <a:lnTo>
                    <a:pt x="56" y="70"/>
                  </a:lnTo>
                  <a:lnTo>
                    <a:pt x="56" y="72"/>
                  </a:lnTo>
                  <a:lnTo>
                    <a:pt x="54" y="72"/>
                  </a:lnTo>
                  <a:lnTo>
                    <a:pt x="54" y="72"/>
                  </a:lnTo>
                  <a:lnTo>
                    <a:pt x="54" y="72"/>
                  </a:lnTo>
                  <a:lnTo>
                    <a:pt x="52" y="72"/>
                  </a:lnTo>
                  <a:lnTo>
                    <a:pt x="52" y="72"/>
                  </a:lnTo>
                  <a:lnTo>
                    <a:pt x="50" y="72"/>
                  </a:lnTo>
                  <a:lnTo>
                    <a:pt x="50" y="70"/>
                  </a:lnTo>
                  <a:lnTo>
                    <a:pt x="48" y="70"/>
                  </a:lnTo>
                  <a:lnTo>
                    <a:pt x="48" y="70"/>
                  </a:lnTo>
                  <a:lnTo>
                    <a:pt x="48" y="70"/>
                  </a:lnTo>
                  <a:lnTo>
                    <a:pt x="48" y="68"/>
                  </a:lnTo>
                  <a:lnTo>
                    <a:pt x="48" y="68"/>
                  </a:lnTo>
                  <a:lnTo>
                    <a:pt x="48" y="66"/>
                  </a:lnTo>
                  <a:lnTo>
                    <a:pt x="48" y="64"/>
                  </a:lnTo>
                  <a:lnTo>
                    <a:pt x="48" y="64"/>
                  </a:lnTo>
                  <a:lnTo>
                    <a:pt x="48" y="62"/>
                  </a:lnTo>
                  <a:lnTo>
                    <a:pt x="48" y="62"/>
                  </a:lnTo>
                  <a:lnTo>
                    <a:pt x="48" y="62"/>
                  </a:lnTo>
                  <a:lnTo>
                    <a:pt x="46" y="62"/>
                  </a:lnTo>
                  <a:lnTo>
                    <a:pt x="46" y="60"/>
                  </a:lnTo>
                  <a:lnTo>
                    <a:pt x="44" y="60"/>
                  </a:lnTo>
                  <a:lnTo>
                    <a:pt x="42" y="60"/>
                  </a:lnTo>
                  <a:lnTo>
                    <a:pt x="42" y="62"/>
                  </a:lnTo>
                  <a:lnTo>
                    <a:pt x="40" y="62"/>
                  </a:lnTo>
                  <a:lnTo>
                    <a:pt x="40" y="62"/>
                  </a:lnTo>
                  <a:lnTo>
                    <a:pt x="38" y="62"/>
                  </a:lnTo>
                  <a:lnTo>
                    <a:pt x="38" y="62"/>
                  </a:lnTo>
                  <a:lnTo>
                    <a:pt x="38" y="64"/>
                  </a:lnTo>
                  <a:lnTo>
                    <a:pt x="38" y="66"/>
                  </a:lnTo>
                  <a:lnTo>
                    <a:pt x="36" y="68"/>
                  </a:lnTo>
                  <a:lnTo>
                    <a:pt x="36" y="68"/>
                  </a:lnTo>
                  <a:lnTo>
                    <a:pt x="36" y="70"/>
                  </a:lnTo>
                  <a:lnTo>
                    <a:pt x="36" y="70"/>
                  </a:lnTo>
                  <a:lnTo>
                    <a:pt x="36" y="70"/>
                  </a:lnTo>
                  <a:lnTo>
                    <a:pt x="34" y="70"/>
                  </a:lnTo>
                  <a:lnTo>
                    <a:pt x="32" y="70"/>
                  </a:lnTo>
                  <a:lnTo>
                    <a:pt x="32" y="70"/>
                  </a:lnTo>
                  <a:lnTo>
                    <a:pt x="30" y="72"/>
                  </a:lnTo>
                  <a:lnTo>
                    <a:pt x="28" y="72"/>
                  </a:lnTo>
                  <a:lnTo>
                    <a:pt x="28" y="72"/>
                  </a:lnTo>
                  <a:lnTo>
                    <a:pt x="28" y="72"/>
                  </a:lnTo>
                  <a:lnTo>
                    <a:pt x="26" y="72"/>
                  </a:lnTo>
                  <a:lnTo>
                    <a:pt x="26" y="72"/>
                  </a:lnTo>
                  <a:lnTo>
                    <a:pt x="26" y="74"/>
                  </a:lnTo>
                  <a:lnTo>
                    <a:pt x="26" y="76"/>
                  </a:lnTo>
                  <a:lnTo>
                    <a:pt x="26" y="76"/>
                  </a:lnTo>
                  <a:lnTo>
                    <a:pt x="26" y="78"/>
                  </a:lnTo>
                  <a:lnTo>
                    <a:pt x="26" y="80"/>
                  </a:lnTo>
                  <a:lnTo>
                    <a:pt x="26" y="82"/>
                  </a:lnTo>
                  <a:lnTo>
                    <a:pt x="26" y="84"/>
                  </a:lnTo>
                  <a:lnTo>
                    <a:pt x="24" y="84"/>
                  </a:lnTo>
                  <a:lnTo>
                    <a:pt x="24" y="84"/>
                  </a:lnTo>
                  <a:lnTo>
                    <a:pt x="24" y="86"/>
                  </a:lnTo>
                  <a:lnTo>
                    <a:pt x="24" y="86"/>
                  </a:lnTo>
                  <a:lnTo>
                    <a:pt x="22" y="86"/>
                  </a:lnTo>
                  <a:lnTo>
                    <a:pt x="20" y="86"/>
                  </a:lnTo>
                  <a:lnTo>
                    <a:pt x="20" y="86"/>
                  </a:lnTo>
                  <a:lnTo>
                    <a:pt x="18" y="86"/>
                  </a:lnTo>
                  <a:lnTo>
                    <a:pt x="18" y="88"/>
                  </a:lnTo>
                  <a:lnTo>
                    <a:pt x="16" y="90"/>
                  </a:lnTo>
                  <a:lnTo>
                    <a:pt x="16" y="94"/>
                  </a:lnTo>
                  <a:lnTo>
                    <a:pt x="16" y="96"/>
                  </a:lnTo>
                  <a:lnTo>
                    <a:pt x="16" y="98"/>
                  </a:lnTo>
                  <a:lnTo>
                    <a:pt x="14" y="102"/>
                  </a:lnTo>
                  <a:lnTo>
                    <a:pt x="14" y="104"/>
                  </a:lnTo>
                  <a:lnTo>
                    <a:pt x="14" y="108"/>
                  </a:lnTo>
                  <a:lnTo>
                    <a:pt x="16" y="112"/>
                  </a:lnTo>
                  <a:lnTo>
                    <a:pt x="16" y="114"/>
                  </a:lnTo>
                  <a:lnTo>
                    <a:pt x="16" y="116"/>
                  </a:lnTo>
                  <a:lnTo>
                    <a:pt x="16" y="120"/>
                  </a:lnTo>
                  <a:lnTo>
                    <a:pt x="18" y="122"/>
                  </a:lnTo>
                  <a:lnTo>
                    <a:pt x="18" y="124"/>
                  </a:lnTo>
                  <a:lnTo>
                    <a:pt x="20" y="126"/>
                  </a:lnTo>
                  <a:lnTo>
                    <a:pt x="22" y="128"/>
                  </a:lnTo>
                  <a:lnTo>
                    <a:pt x="22" y="128"/>
                  </a:lnTo>
                  <a:lnTo>
                    <a:pt x="22" y="128"/>
                  </a:lnTo>
                  <a:lnTo>
                    <a:pt x="24" y="128"/>
                  </a:lnTo>
                  <a:lnTo>
                    <a:pt x="24" y="128"/>
                  </a:lnTo>
                  <a:lnTo>
                    <a:pt x="26" y="128"/>
                  </a:lnTo>
                  <a:lnTo>
                    <a:pt x="26" y="128"/>
                  </a:lnTo>
                  <a:lnTo>
                    <a:pt x="26" y="130"/>
                  </a:lnTo>
                  <a:lnTo>
                    <a:pt x="26" y="132"/>
                  </a:lnTo>
                  <a:lnTo>
                    <a:pt x="28" y="132"/>
                  </a:lnTo>
                  <a:lnTo>
                    <a:pt x="28" y="134"/>
                  </a:lnTo>
                  <a:lnTo>
                    <a:pt x="28" y="136"/>
                  </a:lnTo>
                  <a:lnTo>
                    <a:pt x="28" y="138"/>
                  </a:lnTo>
                  <a:lnTo>
                    <a:pt x="28" y="138"/>
                  </a:lnTo>
                  <a:lnTo>
                    <a:pt x="26" y="140"/>
                  </a:lnTo>
                  <a:lnTo>
                    <a:pt x="26" y="140"/>
                  </a:lnTo>
                  <a:lnTo>
                    <a:pt x="26" y="142"/>
                  </a:lnTo>
                  <a:lnTo>
                    <a:pt x="24" y="142"/>
                  </a:lnTo>
                  <a:lnTo>
                    <a:pt x="22" y="144"/>
                  </a:lnTo>
                  <a:lnTo>
                    <a:pt x="22" y="144"/>
                  </a:lnTo>
                  <a:lnTo>
                    <a:pt x="22" y="146"/>
                  </a:lnTo>
                  <a:lnTo>
                    <a:pt x="22" y="146"/>
                  </a:lnTo>
                  <a:lnTo>
                    <a:pt x="20" y="148"/>
                  </a:lnTo>
                  <a:lnTo>
                    <a:pt x="20" y="152"/>
                  </a:lnTo>
                  <a:lnTo>
                    <a:pt x="20" y="154"/>
                  </a:lnTo>
                  <a:lnTo>
                    <a:pt x="20" y="156"/>
                  </a:lnTo>
                  <a:lnTo>
                    <a:pt x="20" y="158"/>
                  </a:lnTo>
                  <a:lnTo>
                    <a:pt x="20" y="158"/>
                  </a:lnTo>
                  <a:lnTo>
                    <a:pt x="18" y="158"/>
                  </a:lnTo>
                  <a:lnTo>
                    <a:pt x="18" y="158"/>
                  </a:lnTo>
                  <a:lnTo>
                    <a:pt x="18" y="160"/>
                  </a:lnTo>
                  <a:lnTo>
                    <a:pt x="14" y="160"/>
                  </a:lnTo>
                  <a:lnTo>
                    <a:pt x="12" y="160"/>
                  </a:lnTo>
                  <a:lnTo>
                    <a:pt x="12" y="160"/>
                  </a:lnTo>
                  <a:lnTo>
                    <a:pt x="12" y="162"/>
                  </a:lnTo>
                  <a:lnTo>
                    <a:pt x="10" y="162"/>
                  </a:lnTo>
                  <a:lnTo>
                    <a:pt x="10" y="162"/>
                  </a:lnTo>
                  <a:lnTo>
                    <a:pt x="10" y="164"/>
                  </a:lnTo>
                  <a:lnTo>
                    <a:pt x="10" y="166"/>
                  </a:lnTo>
                  <a:lnTo>
                    <a:pt x="10" y="168"/>
                  </a:lnTo>
                  <a:lnTo>
                    <a:pt x="10" y="168"/>
                  </a:lnTo>
                  <a:lnTo>
                    <a:pt x="10" y="168"/>
                  </a:lnTo>
                  <a:lnTo>
                    <a:pt x="8" y="170"/>
                  </a:lnTo>
                  <a:lnTo>
                    <a:pt x="6" y="170"/>
                  </a:lnTo>
                  <a:lnTo>
                    <a:pt x="4" y="170"/>
                  </a:lnTo>
                  <a:lnTo>
                    <a:pt x="4" y="170"/>
                  </a:lnTo>
                  <a:lnTo>
                    <a:pt x="2" y="170"/>
                  </a:lnTo>
                  <a:lnTo>
                    <a:pt x="2" y="172"/>
                  </a:lnTo>
                  <a:lnTo>
                    <a:pt x="2" y="172"/>
                  </a:lnTo>
                  <a:lnTo>
                    <a:pt x="2" y="172"/>
                  </a:lnTo>
                  <a:lnTo>
                    <a:pt x="0" y="174"/>
                  </a:lnTo>
                  <a:lnTo>
                    <a:pt x="0" y="176"/>
                  </a:lnTo>
                  <a:lnTo>
                    <a:pt x="0" y="178"/>
                  </a:lnTo>
                  <a:lnTo>
                    <a:pt x="0" y="182"/>
                  </a:lnTo>
                  <a:lnTo>
                    <a:pt x="0" y="184"/>
                  </a:lnTo>
                  <a:lnTo>
                    <a:pt x="0" y="186"/>
                  </a:lnTo>
                  <a:lnTo>
                    <a:pt x="0" y="188"/>
                  </a:lnTo>
                  <a:lnTo>
                    <a:pt x="0" y="188"/>
                  </a:lnTo>
                  <a:lnTo>
                    <a:pt x="0" y="190"/>
                  </a:lnTo>
                  <a:lnTo>
                    <a:pt x="2" y="190"/>
                  </a:lnTo>
                  <a:lnTo>
                    <a:pt x="2" y="192"/>
                  </a:lnTo>
                  <a:lnTo>
                    <a:pt x="2" y="192"/>
                  </a:lnTo>
                  <a:lnTo>
                    <a:pt x="4" y="192"/>
                  </a:lnTo>
                  <a:lnTo>
                    <a:pt x="4" y="192"/>
                  </a:lnTo>
                  <a:lnTo>
                    <a:pt x="6" y="192"/>
                  </a:lnTo>
                  <a:lnTo>
                    <a:pt x="8" y="190"/>
                  </a:lnTo>
                  <a:lnTo>
                    <a:pt x="10" y="190"/>
                  </a:lnTo>
                  <a:lnTo>
                    <a:pt x="10" y="190"/>
                  </a:lnTo>
                  <a:lnTo>
                    <a:pt x="12" y="190"/>
                  </a:lnTo>
                  <a:lnTo>
                    <a:pt x="12" y="190"/>
                  </a:lnTo>
                  <a:lnTo>
                    <a:pt x="12" y="190"/>
                  </a:lnTo>
                  <a:lnTo>
                    <a:pt x="12" y="190"/>
                  </a:lnTo>
                  <a:lnTo>
                    <a:pt x="14" y="192"/>
                  </a:lnTo>
                  <a:lnTo>
                    <a:pt x="14" y="192"/>
                  </a:lnTo>
                  <a:lnTo>
                    <a:pt x="14" y="192"/>
                  </a:lnTo>
                  <a:lnTo>
                    <a:pt x="14" y="194"/>
                  </a:lnTo>
                  <a:lnTo>
                    <a:pt x="14" y="194"/>
                  </a:lnTo>
                  <a:lnTo>
                    <a:pt x="14" y="196"/>
                  </a:lnTo>
                  <a:lnTo>
                    <a:pt x="14" y="198"/>
                  </a:lnTo>
                  <a:lnTo>
                    <a:pt x="14" y="200"/>
                  </a:lnTo>
                  <a:lnTo>
                    <a:pt x="14" y="204"/>
                  </a:lnTo>
                  <a:lnTo>
                    <a:pt x="12" y="210"/>
                  </a:lnTo>
                  <a:lnTo>
                    <a:pt x="12" y="216"/>
                  </a:lnTo>
                  <a:lnTo>
                    <a:pt x="10" y="218"/>
                  </a:lnTo>
                  <a:lnTo>
                    <a:pt x="10" y="220"/>
                  </a:lnTo>
                  <a:lnTo>
                    <a:pt x="10" y="224"/>
                  </a:lnTo>
                  <a:lnTo>
                    <a:pt x="10" y="224"/>
                  </a:lnTo>
                  <a:lnTo>
                    <a:pt x="10" y="226"/>
                  </a:lnTo>
                  <a:lnTo>
                    <a:pt x="10" y="226"/>
                  </a:lnTo>
                  <a:lnTo>
                    <a:pt x="12" y="228"/>
                  </a:lnTo>
                  <a:lnTo>
                    <a:pt x="12" y="228"/>
                  </a:lnTo>
                  <a:lnTo>
                    <a:pt x="12" y="228"/>
                  </a:lnTo>
                  <a:lnTo>
                    <a:pt x="12" y="228"/>
                  </a:lnTo>
                  <a:lnTo>
                    <a:pt x="14" y="230"/>
                  </a:lnTo>
                  <a:lnTo>
                    <a:pt x="14" y="230"/>
                  </a:lnTo>
                  <a:lnTo>
                    <a:pt x="16" y="230"/>
                  </a:lnTo>
                  <a:lnTo>
                    <a:pt x="16" y="228"/>
                  </a:lnTo>
                  <a:lnTo>
                    <a:pt x="20" y="228"/>
                  </a:lnTo>
                  <a:lnTo>
                    <a:pt x="20" y="228"/>
                  </a:lnTo>
                  <a:lnTo>
                    <a:pt x="22" y="228"/>
                  </a:lnTo>
                  <a:lnTo>
                    <a:pt x="22" y="228"/>
                  </a:lnTo>
                  <a:lnTo>
                    <a:pt x="22" y="230"/>
                  </a:lnTo>
                  <a:lnTo>
                    <a:pt x="24" y="230"/>
                  </a:lnTo>
                  <a:lnTo>
                    <a:pt x="24" y="232"/>
                  </a:lnTo>
                  <a:lnTo>
                    <a:pt x="26" y="234"/>
                  </a:lnTo>
                  <a:lnTo>
                    <a:pt x="26" y="234"/>
                  </a:lnTo>
                  <a:lnTo>
                    <a:pt x="26" y="234"/>
                  </a:lnTo>
                  <a:lnTo>
                    <a:pt x="28" y="236"/>
                  </a:lnTo>
                  <a:lnTo>
                    <a:pt x="30" y="236"/>
                  </a:lnTo>
                  <a:lnTo>
                    <a:pt x="32" y="238"/>
                  </a:lnTo>
                  <a:lnTo>
                    <a:pt x="32" y="238"/>
                  </a:lnTo>
                  <a:lnTo>
                    <a:pt x="34" y="238"/>
                  </a:lnTo>
                  <a:lnTo>
                    <a:pt x="34" y="238"/>
                  </a:lnTo>
                  <a:lnTo>
                    <a:pt x="36" y="238"/>
                  </a:lnTo>
                  <a:lnTo>
                    <a:pt x="36" y="238"/>
                  </a:lnTo>
                  <a:lnTo>
                    <a:pt x="36" y="236"/>
                  </a:lnTo>
                  <a:lnTo>
                    <a:pt x="38" y="236"/>
                  </a:lnTo>
                  <a:lnTo>
                    <a:pt x="40" y="234"/>
                  </a:lnTo>
                  <a:lnTo>
                    <a:pt x="42" y="232"/>
                  </a:lnTo>
                  <a:lnTo>
                    <a:pt x="42" y="230"/>
                  </a:lnTo>
                  <a:lnTo>
                    <a:pt x="44" y="230"/>
                  </a:lnTo>
                  <a:lnTo>
                    <a:pt x="44" y="228"/>
                  </a:lnTo>
                  <a:lnTo>
                    <a:pt x="46" y="228"/>
                  </a:lnTo>
                  <a:lnTo>
                    <a:pt x="48" y="228"/>
                  </a:lnTo>
                  <a:lnTo>
                    <a:pt x="52" y="228"/>
                  </a:lnTo>
                  <a:lnTo>
                    <a:pt x="52" y="228"/>
                  </a:lnTo>
                  <a:lnTo>
                    <a:pt x="54" y="228"/>
                  </a:lnTo>
                  <a:lnTo>
                    <a:pt x="54" y="228"/>
                  </a:lnTo>
                  <a:lnTo>
                    <a:pt x="56" y="226"/>
                  </a:lnTo>
                  <a:lnTo>
                    <a:pt x="56" y="226"/>
                  </a:lnTo>
                  <a:lnTo>
                    <a:pt x="58" y="224"/>
                  </a:lnTo>
                  <a:lnTo>
                    <a:pt x="60" y="222"/>
                  </a:lnTo>
                  <a:lnTo>
                    <a:pt x="62" y="222"/>
                  </a:lnTo>
                  <a:lnTo>
                    <a:pt x="64" y="222"/>
                  </a:lnTo>
                  <a:lnTo>
                    <a:pt x="66" y="220"/>
                  </a:lnTo>
                  <a:lnTo>
                    <a:pt x="68" y="220"/>
                  </a:lnTo>
                  <a:lnTo>
                    <a:pt x="68" y="220"/>
                  </a:lnTo>
                  <a:lnTo>
                    <a:pt x="68" y="218"/>
                  </a:lnTo>
                  <a:lnTo>
                    <a:pt x="70" y="218"/>
                  </a:lnTo>
                  <a:lnTo>
                    <a:pt x="70" y="216"/>
                  </a:lnTo>
                  <a:lnTo>
                    <a:pt x="70" y="216"/>
                  </a:lnTo>
                  <a:lnTo>
                    <a:pt x="70" y="214"/>
                  </a:lnTo>
                  <a:lnTo>
                    <a:pt x="70" y="212"/>
                  </a:lnTo>
                  <a:lnTo>
                    <a:pt x="70" y="210"/>
                  </a:lnTo>
                  <a:lnTo>
                    <a:pt x="70" y="206"/>
                  </a:lnTo>
                  <a:lnTo>
                    <a:pt x="70" y="204"/>
                  </a:lnTo>
                  <a:lnTo>
                    <a:pt x="70" y="202"/>
                  </a:lnTo>
                  <a:lnTo>
                    <a:pt x="70" y="202"/>
                  </a:lnTo>
                  <a:lnTo>
                    <a:pt x="70" y="200"/>
                  </a:lnTo>
                  <a:lnTo>
                    <a:pt x="72" y="200"/>
                  </a:lnTo>
                  <a:lnTo>
                    <a:pt x="72" y="200"/>
                  </a:lnTo>
                  <a:lnTo>
                    <a:pt x="72" y="198"/>
                  </a:lnTo>
                  <a:lnTo>
                    <a:pt x="74" y="198"/>
                  </a:lnTo>
                  <a:lnTo>
                    <a:pt x="78" y="198"/>
                  </a:lnTo>
                  <a:lnTo>
                    <a:pt x="78" y="198"/>
                  </a:lnTo>
                  <a:lnTo>
                    <a:pt x="78" y="196"/>
                  </a:lnTo>
                  <a:lnTo>
                    <a:pt x="80" y="196"/>
                  </a:lnTo>
                  <a:lnTo>
                    <a:pt x="80" y="194"/>
                  </a:lnTo>
                  <a:lnTo>
                    <a:pt x="80" y="192"/>
                  </a:lnTo>
                  <a:lnTo>
                    <a:pt x="80" y="192"/>
                  </a:lnTo>
                  <a:lnTo>
                    <a:pt x="80" y="188"/>
                  </a:lnTo>
                  <a:lnTo>
                    <a:pt x="80" y="184"/>
                  </a:lnTo>
                  <a:lnTo>
                    <a:pt x="80" y="180"/>
                  </a:lnTo>
                  <a:lnTo>
                    <a:pt x="80" y="176"/>
                  </a:lnTo>
                  <a:lnTo>
                    <a:pt x="80" y="176"/>
                  </a:lnTo>
                  <a:lnTo>
                    <a:pt x="80" y="174"/>
                  </a:lnTo>
                  <a:lnTo>
                    <a:pt x="80" y="172"/>
                  </a:lnTo>
                  <a:lnTo>
                    <a:pt x="80" y="172"/>
                  </a:lnTo>
                  <a:lnTo>
                    <a:pt x="80" y="172"/>
                  </a:lnTo>
                  <a:lnTo>
                    <a:pt x="80" y="170"/>
                  </a:lnTo>
                  <a:lnTo>
                    <a:pt x="82" y="170"/>
                  </a:lnTo>
                  <a:lnTo>
                    <a:pt x="84" y="170"/>
                  </a:lnTo>
                  <a:lnTo>
                    <a:pt x="84" y="168"/>
                  </a:lnTo>
                  <a:lnTo>
                    <a:pt x="84" y="168"/>
                  </a:lnTo>
                  <a:lnTo>
                    <a:pt x="86" y="166"/>
                  </a:lnTo>
                  <a:lnTo>
                    <a:pt x="86" y="164"/>
                  </a:lnTo>
                  <a:lnTo>
                    <a:pt x="86" y="162"/>
                  </a:lnTo>
                  <a:lnTo>
                    <a:pt x="86" y="160"/>
                  </a:lnTo>
                  <a:lnTo>
                    <a:pt x="86" y="158"/>
                  </a:lnTo>
                  <a:lnTo>
                    <a:pt x="84" y="156"/>
                  </a:lnTo>
                  <a:lnTo>
                    <a:pt x="84" y="150"/>
                  </a:lnTo>
                  <a:lnTo>
                    <a:pt x="84" y="146"/>
                  </a:lnTo>
                  <a:lnTo>
                    <a:pt x="82" y="144"/>
                  </a:lnTo>
                  <a:lnTo>
                    <a:pt x="82" y="140"/>
                  </a:lnTo>
                  <a:lnTo>
                    <a:pt x="82" y="138"/>
                  </a:lnTo>
                  <a:lnTo>
                    <a:pt x="82" y="136"/>
                  </a:lnTo>
                  <a:lnTo>
                    <a:pt x="84" y="134"/>
                  </a:lnTo>
                  <a:lnTo>
                    <a:pt x="84" y="134"/>
                  </a:lnTo>
                  <a:lnTo>
                    <a:pt x="84" y="132"/>
                  </a:lnTo>
                  <a:lnTo>
                    <a:pt x="84" y="132"/>
                  </a:lnTo>
                  <a:lnTo>
                    <a:pt x="86" y="132"/>
                  </a:lnTo>
                  <a:lnTo>
                    <a:pt x="88" y="130"/>
                  </a:lnTo>
                  <a:lnTo>
                    <a:pt x="88" y="130"/>
                  </a:lnTo>
                  <a:lnTo>
                    <a:pt x="92" y="128"/>
                  </a:lnTo>
                  <a:lnTo>
                    <a:pt x="94" y="128"/>
                  </a:lnTo>
                  <a:lnTo>
                    <a:pt x="94" y="126"/>
                  </a:lnTo>
                  <a:lnTo>
                    <a:pt x="96" y="126"/>
                  </a:lnTo>
                  <a:lnTo>
                    <a:pt x="98" y="124"/>
                  </a:lnTo>
                  <a:lnTo>
                    <a:pt x="100" y="122"/>
                  </a:lnTo>
                  <a:lnTo>
                    <a:pt x="100" y="122"/>
                  </a:lnTo>
                  <a:lnTo>
                    <a:pt x="100" y="120"/>
                  </a:lnTo>
                  <a:lnTo>
                    <a:pt x="100" y="120"/>
                  </a:lnTo>
                  <a:lnTo>
                    <a:pt x="100" y="118"/>
                  </a:lnTo>
                  <a:lnTo>
                    <a:pt x="100" y="116"/>
                  </a:lnTo>
                  <a:lnTo>
                    <a:pt x="100" y="114"/>
                  </a:lnTo>
                  <a:lnTo>
                    <a:pt x="100" y="110"/>
                  </a:lnTo>
                  <a:lnTo>
                    <a:pt x="100" y="106"/>
                  </a:lnTo>
                  <a:lnTo>
                    <a:pt x="100" y="102"/>
                  </a:lnTo>
                  <a:lnTo>
                    <a:pt x="100" y="98"/>
                  </a:lnTo>
                  <a:lnTo>
                    <a:pt x="100" y="96"/>
                  </a:lnTo>
                  <a:lnTo>
                    <a:pt x="100" y="96"/>
                  </a:lnTo>
                  <a:lnTo>
                    <a:pt x="100" y="94"/>
                  </a:lnTo>
                  <a:lnTo>
                    <a:pt x="100" y="92"/>
                  </a:lnTo>
                  <a:lnTo>
                    <a:pt x="100" y="92"/>
                  </a:lnTo>
                  <a:lnTo>
                    <a:pt x="102" y="92"/>
                  </a:lnTo>
                  <a:lnTo>
                    <a:pt x="104" y="90"/>
                  </a:lnTo>
                  <a:lnTo>
                    <a:pt x="106" y="88"/>
                  </a:lnTo>
                  <a:lnTo>
                    <a:pt x="108" y="88"/>
                  </a:lnTo>
                  <a:lnTo>
                    <a:pt x="108" y="88"/>
                  </a:lnTo>
                  <a:lnTo>
                    <a:pt x="108" y="86"/>
                  </a:lnTo>
                  <a:lnTo>
                    <a:pt x="108" y="86"/>
                  </a:lnTo>
                  <a:lnTo>
                    <a:pt x="108" y="84"/>
                  </a:lnTo>
                  <a:lnTo>
                    <a:pt x="108" y="82"/>
                  </a:lnTo>
                  <a:lnTo>
                    <a:pt x="108" y="80"/>
                  </a:lnTo>
                  <a:lnTo>
                    <a:pt x="108" y="76"/>
                  </a:lnTo>
                  <a:lnTo>
                    <a:pt x="108" y="72"/>
                  </a:lnTo>
                  <a:lnTo>
                    <a:pt x="108" y="72"/>
                  </a:lnTo>
                  <a:lnTo>
                    <a:pt x="108" y="70"/>
                  </a:lnTo>
                  <a:lnTo>
                    <a:pt x="108" y="68"/>
                  </a:lnTo>
                  <a:lnTo>
                    <a:pt x="108" y="68"/>
                  </a:lnTo>
                  <a:lnTo>
                    <a:pt x="108" y="66"/>
                  </a:lnTo>
                  <a:lnTo>
                    <a:pt x="110" y="66"/>
                  </a:lnTo>
                  <a:lnTo>
                    <a:pt x="110" y="66"/>
                  </a:lnTo>
                  <a:lnTo>
                    <a:pt x="112" y="66"/>
                  </a:lnTo>
                  <a:lnTo>
                    <a:pt x="112" y="66"/>
                  </a:lnTo>
                  <a:lnTo>
                    <a:pt x="114" y="66"/>
                  </a:lnTo>
                  <a:lnTo>
                    <a:pt x="116" y="66"/>
                  </a:lnTo>
                  <a:lnTo>
                    <a:pt x="116" y="66"/>
                  </a:lnTo>
                  <a:lnTo>
                    <a:pt x="118" y="64"/>
                  </a:lnTo>
                  <a:lnTo>
                    <a:pt x="118" y="62"/>
                  </a:lnTo>
                  <a:lnTo>
                    <a:pt x="120" y="60"/>
                  </a:lnTo>
                  <a:lnTo>
                    <a:pt x="120" y="58"/>
                  </a:lnTo>
                  <a:lnTo>
                    <a:pt x="120" y="56"/>
                  </a:lnTo>
                  <a:lnTo>
                    <a:pt x="120" y="54"/>
                  </a:lnTo>
                  <a:lnTo>
                    <a:pt x="120" y="50"/>
                  </a:lnTo>
                  <a:lnTo>
                    <a:pt x="120" y="48"/>
                  </a:lnTo>
                  <a:lnTo>
                    <a:pt x="120" y="46"/>
                  </a:lnTo>
                  <a:lnTo>
                    <a:pt x="120" y="42"/>
                  </a:lnTo>
                  <a:lnTo>
                    <a:pt x="120" y="40"/>
                  </a:lnTo>
                  <a:lnTo>
                    <a:pt x="120" y="38"/>
                  </a:lnTo>
                  <a:lnTo>
                    <a:pt x="120" y="36"/>
                  </a:lnTo>
                  <a:lnTo>
                    <a:pt x="118" y="34"/>
                  </a:lnTo>
                  <a:lnTo>
                    <a:pt x="118" y="32"/>
                  </a:lnTo>
                  <a:lnTo>
                    <a:pt x="118" y="30"/>
                  </a:lnTo>
                  <a:lnTo>
                    <a:pt x="116" y="30"/>
                  </a:lnTo>
                  <a:lnTo>
                    <a:pt x="116" y="28"/>
                  </a:lnTo>
                  <a:lnTo>
                    <a:pt x="116" y="28"/>
                  </a:lnTo>
                  <a:lnTo>
                    <a:pt x="114" y="28"/>
                  </a:lnTo>
                  <a:lnTo>
                    <a:pt x="112" y="28"/>
                  </a:lnTo>
                  <a:lnTo>
                    <a:pt x="112" y="26"/>
                  </a:lnTo>
                  <a:lnTo>
                    <a:pt x="110" y="26"/>
                  </a:lnTo>
                  <a:lnTo>
                    <a:pt x="108" y="26"/>
                  </a:lnTo>
                  <a:lnTo>
                    <a:pt x="108" y="26"/>
                  </a:lnTo>
                  <a:lnTo>
                    <a:pt x="108" y="24"/>
                  </a:lnTo>
                  <a:lnTo>
                    <a:pt x="108" y="24"/>
                  </a:lnTo>
                  <a:lnTo>
                    <a:pt x="108" y="22"/>
                  </a:lnTo>
                  <a:lnTo>
                    <a:pt x="108" y="22"/>
                  </a:lnTo>
                  <a:lnTo>
                    <a:pt x="108" y="22"/>
                  </a:lnTo>
                  <a:lnTo>
                    <a:pt x="108" y="18"/>
                  </a:lnTo>
                  <a:lnTo>
                    <a:pt x="108" y="16"/>
                  </a:lnTo>
                  <a:lnTo>
                    <a:pt x="108" y="14"/>
                  </a:lnTo>
                  <a:lnTo>
                    <a:pt x="108" y="10"/>
                  </a:lnTo>
                  <a:lnTo>
                    <a:pt x="108" y="10"/>
                  </a:lnTo>
                  <a:lnTo>
                    <a:pt x="108" y="8"/>
                  </a:lnTo>
                  <a:lnTo>
                    <a:pt x="108" y="8"/>
                  </a:lnTo>
                  <a:lnTo>
                    <a:pt x="108" y="8"/>
                  </a:lnTo>
                  <a:lnTo>
                    <a:pt x="106" y="6"/>
                  </a:lnTo>
                  <a:lnTo>
                    <a:pt x="106" y="6"/>
                  </a:lnTo>
                  <a:lnTo>
                    <a:pt x="104" y="4"/>
                  </a:lnTo>
                  <a:lnTo>
                    <a:pt x="104" y="4"/>
                  </a:lnTo>
                  <a:lnTo>
                    <a:pt x="102" y="2"/>
                  </a:lnTo>
                  <a:lnTo>
                    <a:pt x="100" y="2"/>
                  </a:lnTo>
                  <a:lnTo>
                    <a:pt x="98" y="2"/>
                  </a:lnTo>
                  <a:lnTo>
                    <a:pt x="98" y="0"/>
                  </a:lnTo>
                  <a:lnTo>
                    <a:pt x="96" y="0"/>
                  </a:lnTo>
                  <a:lnTo>
                    <a:pt x="96" y="2"/>
                  </a:lnTo>
                  <a:lnTo>
                    <a:pt x="94" y="2"/>
                  </a:lnTo>
                  <a:lnTo>
                    <a:pt x="94" y="2"/>
                  </a:lnTo>
                  <a:lnTo>
                    <a:pt x="92" y="2"/>
                  </a:lnTo>
                  <a:lnTo>
                    <a:pt x="92" y="2"/>
                  </a:lnTo>
                  <a:lnTo>
                    <a:pt x="90" y="4"/>
                  </a:lnTo>
                  <a:lnTo>
                    <a:pt x="9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69" name="Freeform 447"/>
            <p:cNvSpPr>
              <a:spLocks/>
            </p:cNvSpPr>
            <p:nvPr/>
          </p:nvSpPr>
          <p:spPr bwMode="auto">
            <a:xfrm>
              <a:off x="5329242" y="4982233"/>
              <a:ext cx="207849" cy="412234"/>
            </a:xfrm>
            <a:custGeom>
              <a:avLst/>
              <a:gdLst>
                <a:gd name="T0" fmla="*/ 88 w 120"/>
                <a:gd name="T1" fmla="*/ 12 h 238"/>
                <a:gd name="T2" fmla="*/ 88 w 120"/>
                <a:gd name="T3" fmla="*/ 24 h 238"/>
                <a:gd name="T4" fmla="*/ 82 w 120"/>
                <a:gd name="T5" fmla="*/ 28 h 238"/>
                <a:gd name="T6" fmla="*/ 82 w 120"/>
                <a:gd name="T7" fmla="*/ 40 h 238"/>
                <a:gd name="T8" fmla="*/ 80 w 120"/>
                <a:gd name="T9" fmla="*/ 44 h 238"/>
                <a:gd name="T10" fmla="*/ 72 w 120"/>
                <a:gd name="T11" fmla="*/ 44 h 238"/>
                <a:gd name="T12" fmla="*/ 68 w 120"/>
                <a:gd name="T13" fmla="*/ 52 h 238"/>
                <a:gd name="T14" fmla="*/ 60 w 120"/>
                <a:gd name="T15" fmla="*/ 62 h 238"/>
                <a:gd name="T16" fmla="*/ 56 w 120"/>
                <a:gd name="T17" fmla="*/ 70 h 238"/>
                <a:gd name="T18" fmla="*/ 50 w 120"/>
                <a:gd name="T19" fmla="*/ 72 h 238"/>
                <a:gd name="T20" fmla="*/ 48 w 120"/>
                <a:gd name="T21" fmla="*/ 66 h 238"/>
                <a:gd name="T22" fmla="*/ 46 w 120"/>
                <a:gd name="T23" fmla="*/ 60 h 238"/>
                <a:gd name="T24" fmla="*/ 38 w 120"/>
                <a:gd name="T25" fmla="*/ 62 h 238"/>
                <a:gd name="T26" fmla="*/ 36 w 120"/>
                <a:gd name="T27" fmla="*/ 70 h 238"/>
                <a:gd name="T28" fmla="*/ 28 w 120"/>
                <a:gd name="T29" fmla="*/ 72 h 238"/>
                <a:gd name="T30" fmla="*/ 26 w 120"/>
                <a:gd name="T31" fmla="*/ 80 h 238"/>
                <a:gd name="T32" fmla="*/ 22 w 120"/>
                <a:gd name="T33" fmla="*/ 86 h 238"/>
                <a:gd name="T34" fmla="*/ 16 w 120"/>
                <a:gd name="T35" fmla="*/ 96 h 238"/>
                <a:gd name="T36" fmla="*/ 16 w 120"/>
                <a:gd name="T37" fmla="*/ 116 h 238"/>
                <a:gd name="T38" fmla="*/ 22 w 120"/>
                <a:gd name="T39" fmla="*/ 128 h 238"/>
                <a:gd name="T40" fmla="*/ 28 w 120"/>
                <a:gd name="T41" fmla="*/ 132 h 238"/>
                <a:gd name="T42" fmla="*/ 26 w 120"/>
                <a:gd name="T43" fmla="*/ 142 h 238"/>
                <a:gd name="T44" fmla="*/ 20 w 120"/>
                <a:gd name="T45" fmla="*/ 152 h 238"/>
                <a:gd name="T46" fmla="*/ 18 w 120"/>
                <a:gd name="T47" fmla="*/ 160 h 238"/>
                <a:gd name="T48" fmla="*/ 10 w 120"/>
                <a:gd name="T49" fmla="*/ 164 h 238"/>
                <a:gd name="T50" fmla="*/ 4 w 120"/>
                <a:gd name="T51" fmla="*/ 170 h 238"/>
                <a:gd name="T52" fmla="*/ 0 w 120"/>
                <a:gd name="T53" fmla="*/ 176 h 238"/>
                <a:gd name="T54" fmla="*/ 0 w 120"/>
                <a:gd name="T55" fmla="*/ 190 h 238"/>
                <a:gd name="T56" fmla="*/ 8 w 120"/>
                <a:gd name="T57" fmla="*/ 190 h 238"/>
                <a:gd name="T58" fmla="*/ 14 w 120"/>
                <a:gd name="T59" fmla="*/ 192 h 238"/>
                <a:gd name="T60" fmla="*/ 14 w 120"/>
                <a:gd name="T61" fmla="*/ 200 h 238"/>
                <a:gd name="T62" fmla="*/ 10 w 120"/>
                <a:gd name="T63" fmla="*/ 224 h 238"/>
                <a:gd name="T64" fmla="*/ 14 w 120"/>
                <a:gd name="T65" fmla="*/ 230 h 238"/>
                <a:gd name="T66" fmla="*/ 22 w 120"/>
                <a:gd name="T67" fmla="*/ 228 h 238"/>
                <a:gd name="T68" fmla="*/ 28 w 120"/>
                <a:gd name="T69" fmla="*/ 236 h 238"/>
                <a:gd name="T70" fmla="*/ 36 w 120"/>
                <a:gd name="T71" fmla="*/ 238 h 238"/>
                <a:gd name="T72" fmla="*/ 44 w 120"/>
                <a:gd name="T73" fmla="*/ 228 h 238"/>
                <a:gd name="T74" fmla="*/ 56 w 120"/>
                <a:gd name="T75" fmla="*/ 226 h 238"/>
                <a:gd name="T76" fmla="*/ 68 w 120"/>
                <a:gd name="T77" fmla="*/ 220 h 238"/>
                <a:gd name="T78" fmla="*/ 70 w 120"/>
                <a:gd name="T79" fmla="*/ 212 h 238"/>
                <a:gd name="T80" fmla="*/ 72 w 120"/>
                <a:gd name="T81" fmla="*/ 200 h 238"/>
                <a:gd name="T82" fmla="*/ 80 w 120"/>
                <a:gd name="T83" fmla="*/ 196 h 238"/>
                <a:gd name="T84" fmla="*/ 80 w 120"/>
                <a:gd name="T85" fmla="*/ 176 h 238"/>
                <a:gd name="T86" fmla="*/ 82 w 120"/>
                <a:gd name="T87" fmla="*/ 170 h 238"/>
                <a:gd name="T88" fmla="*/ 86 w 120"/>
                <a:gd name="T89" fmla="*/ 160 h 238"/>
                <a:gd name="T90" fmla="*/ 82 w 120"/>
                <a:gd name="T91" fmla="*/ 138 h 238"/>
                <a:gd name="T92" fmla="*/ 88 w 120"/>
                <a:gd name="T93" fmla="*/ 130 h 238"/>
                <a:gd name="T94" fmla="*/ 100 w 120"/>
                <a:gd name="T95" fmla="*/ 122 h 238"/>
                <a:gd name="T96" fmla="*/ 100 w 120"/>
                <a:gd name="T97" fmla="*/ 110 h 238"/>
                <a:gd name="T98" fmla="*/ 100 w 120"/>
                <a:gd name="T99" fmla="*/ 92 h 238"/>
                <a:gd name="T100" fmla="*/ 108 w 120"/>
                <a:gd name="T101" fmla="*/ 86 h 238"/>
                <a:gd name="T102" fmla="*/ 108 w 120"/>
                <a:gd name="T103" fmla="*/ 72 h 238"/>
                <a:gd name="T104" fmla="*/ 112 w 120"/>
                <a:gd name="T105" fmla="*/ 66 h 238"/>
                <a:gd name="T106" fmla="*/ 120 w 120"/>
                <a:gd name="T107" fmla="*/ 60 h 238"/>
                <a:gd name="T108" fmla="*/ 120 w 120"/>
                <a:gd name="T109" fmla="*/ 42 h 238"/>
                <a:gd name="T110" fmla="*/ 116 w 120"/>
                <a:gd name="T111" fmla="*/ 30 h 238"/>
                <a:gd name="T112" fmla="*/ 108 w 120"/>
                <a:gd name="T113" fmla="*/ 26 h 238"/>
                <a:gd name="T114" fmla="*/ 108 w 120"/>
                <a:gd name="T115" fmla="*/ 18 h 238"/>
                <a:gd name="T116" fmla="*/ 108 w 120"/>
                <a:gd name="T117" fmla="*/ 8 h 238"/>
                <a:gd name="T118" fmla="*/ 98 w 120"/>
                <a:gd name="T119" fmla="*/ 2 h 238"/>
                <a:gd name="T120" fmla="*/ 92 w 120"/>
                <a:gd name="T121" fmla="*/ 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238">
                  <a:moveTo>
                    <a:pt x="90" y="4"/>
                  </a:moveTo>
                  <a:lnTo>
                    <a:pt x="90" y="4"/>
                  </a:lnTo>
                  <a:lnTo>
                    <a:pt x="88" y="4"/>
                  </a:lnTo>
                  <a:lnTo>
                    <a:pt x="88" y="6"/>
                  </a:lnTo>
                  <a:lnTo>
                    <a:pt x="88" y="8"/>
                  </a:lnTo>
                  <a:lnTo>
                    <a:pt x="88" y="8"/>
                  </a:lnTo>
                  <a:lnTo>
                    <a:pt x="88" y="12"/>
                  </a:lnTo>
                  <a:lnTo>
                    <a:pt x="90" y="14"/>
                  </a:lnTo>
                  <a:lnTo>
                    <a:pt x="90" y="18"/>
                  </a:lnTo>
                  <a:lnTo>
                    <a:pt x="90" y="20"/>
                  </a:lnTo>
                  <a:lnTo>
                    <a:pt x="90" y="22"/>
                  </a:lnTo>
                  <a:lnTo>
                    <a:pt x="90" y="22"/>
                  </a:lnTo>
                  <a:lnTo>
                    <a:pt x="90" y="24"/>
                  </a:lnTo>
                  <a:lnTo>
                    <a:pt x="88" y="24"/>
                  </a:lnTo>
                  <a:lnTo>
                    <a:pt x="88" y="26"/>
                  </a:lnTo>
                  <a:lnTo>
                    <a:pt x="88" y="26"/>
                  </a:lnTo>
                  <a:lnTo>
                    <a:pt x="86" y="26"/>
                  </a:lnTo>
                  <a:lnTo>
                    <a:pt x="84" y="26"/>
                  </a:lnTo>
                  <a:lnTo>
                    <a:pt x="84" y="26"/>
                  </a:lnTo>
                  <a:lnTo>
                    <a:pt x="84" y="28"/>
                  </a:lnTo>
                  <a:lnTo>
                    <a:pt x="82" y="28"/>
                  </a:lnTo>
                  <a:lnTo>
                    <a:pt x="82" y="28"/>
                  </a:lnTo>
                  <a:lnTo>
                    <a:pt x="82" y="30"/>
                  </a:lnTo>
                  <a:lnTo>
                    <a:pt x="82" y="30"/>
                  </a:lnTo>
                  <a:lnTo>
                    <a:pt x="82" y="32"/>
                  </a:lnTo>
                  <a:lnTo>
                    <a:pt x="82" y="36"/>
                  </a:lnTo>
                  <a:lnTo>
                    <a:pt x="82" y="38"/>
                  </a:lnTo>
                  <a:lnTo>
                    <a:pt x="82" y="40"/>
                  </a:lnTo>
                  <a:lnTo>
                    <a:pt x="82" y="40"/>
                  </a:lnTo>
                  <a:lnTo>
                    <a:pt x="82" y="42"/>
                  </a:lnTo>
                  <a:lnTo>
                    <a:pt x="82" y="42"/>
                  </a:lnTo>
                  <a:lnTo>
                    <a:pt x="82" y="42"/>
                  </a:lnTo>
                  <a:lnTo>
                    <a:pt x="80" y="44"/>
                  </a:lnTo>
                  <a:lnTo>
                    <a:pt x="80" y="44"/>
                  </a:lnTo>
                  <a:lnTo>
                    <a:pt x="80" y="44"/>
                  </a:lnTo>
                  <a:lnTo>
                    <a:pt x="78" y="44"/>
                  </a:lnTo>
                  <a:lnTo>
                    <a:pt x="76" y="44"/>
                  </a:lnTo>
                  <a:lnTo>
                    <a:pt x="74" y="42"/>
                  </a:lnTo>
                  <a:lnTo>
                    <a:pt x="72" y="42"/>
                  </a:lnTo>
                  <a:lnTo>
                    <a:pt x="72" y="42"/>
                  </a:lnTo>
                  <a:lnTo>
                    <a:pt x="72" y="42"/>
                  </a:lnTo>
                  <a:lnTo>
                    <a:pt x="72" y="44"/>
                  </a:lnTo>
                  <a:lnTo>
                    <a:pt x="70" y="44"/>
                  </a:lnTo>
                  <a:lnTo>
                    <a:pt x="70" y="46"/>
                  </a:lnTo>
                  <a:lnTo>
                    <a:pt x="70" y="46"/>
                  </a:lnTo>
                  <a:lnTo>
                    <a:pt x="68" y="48"/>
                  </a:lnTo>
                  <a:lnTo>
                    <a:pt x="68" y="48"/>
                  </a:lnTo>
                  <a:lnTo>
                    <a:pt x="68" y="50"/>
                  </a:lnTo>
                  <a:lnTo>
                    <a:pt x="68" y="52"/>
                  </a:lnTo>
                  <a:lnTo>
                    <a:pt x="66" y="56"/>
                  </a:lnTo>
                  <a:lnTo>
                    <a:pt x="66" y="56"/>
                  </a:lnTo>
                  <a:lnTo>
                    <a:pt x="66" y="58"/>
                  </a:lnTo>
                  <a:lnTo>
                    <a:pt x="66" y="58"/>
                  </a:lnTo>
                  <a:lnTo>
                    <a:pt x="64" y="58"/>
                  </a:lnTo>
                  <a:lnTo>
                    <a:pt x="62" y="60"/>
                  </a:lnTo>
                  <a:lnTo>
                    <a:pt x="60" y="62"/>
                  </a:lnTo>
                  <a:lnTo>
                    <a:pt x="58" y="62"/>
                  </a:lnTo>
                  <a:lnTo>
                    <a:pt x="58" y="64"/>
                  </a:lnTo>
                  <a:lnTo>
                    <a:pt x="58" y="64"/>
                  </a:lnTo>
                  <a:lnTo>
                    <a:pt x="58" y="66"/>
                  </a:lnTo>
                  <a:lnTo>
                    <a:pt x="56" y="68"/>
                  </a:lnTo>
                  <a:lnTo>
                    <a:pt x="56" y="70"/>
                  </a:lnTo>
                  <a:lnTo>
                    <a:pt x="56" y="70"/>
                  </a:lnTo>
                  <a:lnTo>
                    <a:pt x="56" y="72"/>
                  </a:lnTo>
                  <a:lnTo>
                    <a:pt x="54" y="72"/>
                  </a:lnTo>
                  <a:lnTo>
                    <a:pt x="54" y="72"/>
                  </a:lnTo>
                  <a:lnTo>
                    <a:pt x="54" y="72"/>
                  </a:lnTo>
                  <a:lnTo>
                    <a:pt x="52" y="72"/>
                  </a:lnTo>
                  <a:lnTo>
                    <a:pt x="52" y="72"/>
                  </a:lnTo>
                  <a:lnTo>
                    <a:pt x="50" y="72"/>
                  </a:lnTo>
                  <a:lnTo>
                    <a:pt x="50" y="70"/>
                  </a:lnTo>
                  <a:lnTo>
                    <a:pt x="48" y="70"/>
                  </a:lnTo>
                  <a:lnTo>
                    <a:pt x="48" y="70"/>
                  </a:lnTo>
                  <a:lnTo>
                    <a:pt x="48" y="70"/>
                  </a:lnTo>
                  <a:lnTo>
                    <a:pt x="48" y="68"/>
                  </a:lnTo>
                  <a:lnTo>
                    <a:pt x="48" y="68"/>
                  </a:lnTo>
                  <a:lnTo>
                    <a:pt x="48" y="66"/>
                  </a:lnTo>
                  <a:lnTo>
                    <a:pt x="48" y="64"/>
                  </a:lnTo>
                  <a:lnTo>
                    <a:pt x="48" y="64"/>
                  </a:lnTo>
                  <a:lnTo>
                    <a:pt x="48" y="62"/>
                  </a:lnTo>
                  <a:lnTo>
                    <a:pt x="48" y="62"/>
                  </a:lnTo>
                  <a:lnTo>
                    <a:pt x="48" y="62"/>
                  </a:lnTo>
                  <a:lnTo>
                    <a:pt x="46" y="62"/>
                  </a:lnTo>
                  <a:lnTo>
                    <a:pt x="46" y="60"/>
                  </a:lnTo>
                  <a:lnTo>
                    <a:pt x="44" y="60"/>
                  </a:lnTo>
                  <a:lnTo>
                    <a:pt x="42" y="60"/>
                  </a:lnTo>
                  <a:lnTo>
                    <a:pt x="42" y="62"/>
                  </a:lnTo>
                  <a:lnTo>
                    <a:pt x="40" y="62"/>
                  </a:lnTo>
                  <a:lnTo>
                    <a:pt x="40" y="62"/>
                  </a:lnTo>
                  <a:lnTo>
                    <a:pt x="38" y="62"/>
                  </a:lnTo>
                  <a:lnTo>
                    <a:pt x="38" y="62"/>
                  </a:lnTo>
                  <a:lnTo>
                    <a:pt x="38" y="64"/>
                  </a:lnTo>
                  <a:lnTo>
                    <a:pt x="38" y="66"/>
                  </a:lnTo>
                  <a:lnTo>
                    <a:pt x="36" y="68"/>
                  </a:lnTo>
                  <a:lnTo>
                    <a:pt x="36" y="68"/>
                  </a:lnTo>
                  <a:lnTo>
                    <a:pt x="36" y="70"/>
                  </a:lnTo>
                  <a:lnTo>
                    <a:pt x="36" y="70"/>
                  </a:lnTo>
                  <a:lnTo>
                    <a:pt x="36" y="70"/>
                  </a:lnTo>
                  <a:lnTo>
                    <a:pt x="34" y="70"/>
                  </a:lnTo>
                  <a:lnTo>
                    <a:pt x="32" y="70"/>
                  </a:lnTo>
                  <a:lnTo>
                    <a:pt x="32" y="70"/>
                  </a:lnTo>
                  <a:lnTo>
                    <a:pt x="30" y="72"/>
                  </a:lnTo>
                  <a:lnTo>
                    <a:pt x="28" y="72"/>
                  </a:lnTo>
                  <a:lnTo>
                    <a:pt x="28" y="72"/>
                  </a:lnTo>
                  <a:lnTo>
                    <a:pt x="28" y="72"/>
                  </a:lnTo>
                  <a:lnTo>
                    <a:pt x="26" y="72"/>
                  </a:lnTo>
                  <a:lnTo>
                    <a:pt x="26" y="72"/>
                  </a:lnTo>
                  <a:lnTo>
                    <a:pt x="26" y="74"/>
                  </a:lnTo>
                  <a:lnTo>
                    <a:pt x="26" y="76"/>
                  </a:lnTo>
                  <a:lnTo>
                    <a:pt x="26" y="76"/>
                  </a:lnTo>
                  <a:lnTo>
                    <a:pt x="26" y="78"/>
                  </a:lnTo>
                  <a:lnTo>
                    <a:pt x="26" y="80"/>
                  </a:lnTo>
                  <a:lnTo>
                    <a:pt x="26" y="82"/>
                  </a:lnTo>
                  <a:lnTo>
                    <a:pt x="26" y="84"/>
                  </a:lnTo>
                  <a:lnTo>
                    <a:pt x="24" y="84"/>
                  </a:lnTo>
                  <a:lnTo>
                    <a:pt x="24" y="84"/>
                  </a:lnTo>
                  <a:lnTo>
                    <a:pt x="24" y="86"/>
                  </a:lnTo>
                  <a:lnTo>
                    <a:pt x="24" y="86"/>
                  </a:lnTo>
                  <a:lnTo>
                    <a:pt x="22" y="86"/>
                  </a:lnTo>
                  <a:lnTo>
                    <a:pt x="20" y="86"/>
                  </a:lnTo>
                  <a:lnTo>
                    <a:pt x="20" y="86"/>
                  </a:lnTo>
                  <a:lnTo>
                    <a:pt x="18" y="86"/>
                  </a:lnTo>
                  <a:lnTo>
                    <a:pt x="18" y="88"/>
                  </a:lnTo>
                  <a:lnTo>
                    <a:pt x="16" y="90"/>
                  </a:lnTo>
                  <a:lnTo>
                    <a:pt x="16" y="94"/>
                  </a:lnTo>
                  <a:lnTo>
                    <a:pt x="16" y="96"/>
                  </a:lnTo>
                  <a:lnTo>
                    <a:pt x="16" y="98"/>
                  </a:lnTo>
                  <a:lnTo>
                    <a:pt x="14" y="102"/>
                  </a:lnTo>
                  <a:lnTo>
                    <a:pt x="14" y="104"/>
                  </a:lnTo>
                  <a:lnTo>
                    <a:pt x="14" y="108"/>
                  </a:lnTo>
                  <a:lnTo>
                    <a:pt x="16" y="112"/>
                  </a:lnTo>
                  <a:lnTo>
                    <a:pt x="16" y="114"/>
                  </a:lnTo>
                  <a:lnTo>
                    <a:pt x="16" y="116"/>
                  </a:lnTo>
                  <a:lnTo>
                    <a:pt x="16" y="120"/>
                  </a:lnTo>
                  <a:lnTo>
                    <a:pt x="18" y="122"/>
                  </a:lnTo>
                  <a:lnTo>
                    <a:pt x="18" y="124"/>
                  </a:lnTo>
                  <a:lnTo>
                    <a:pt x="20" y="126"/>
                  </a:lnTo>
                  <a:lnTo>
                    <a:pt x="22" y="128"/>
                  </a:lnTo>
                  <a:lnTo>
                    <a:pt x="22" y="128"/>
                  </a:lnTo>
                  <a:lnTo>
                    <a:pt x="22" y="128"/>
                  </a:lnTo>
                  <a:lnTo>
                    <a:pt x="24" y="128"/>
                  </a:lnTo>
                  <a:lnTo>
                    <a:pt x="24" y="128"/>
                  </a:lnTo>
                  <a:lnTo>
                    <a:pt x="26" y="128"/>
                  </a:lnTo>
                  <a:lnTo>
                    <a:pt x="26" y="128"/>
                  </a:lnTo>
                  <a:lnTo>
                    <a:pt x="26" y="130"/>
                  </a:lnTo>
                  <a:lnTo>
                    <a:pt x="26" y="132"/>
                  </a:lnTo>
                  <a:lnTo>
                    <a:pt x="28" y="132"/>
                  </a:lnTo>
                  <a:lnTo>
                    <a:pt x="28" y="134"/>
                  </a:lnTo>
                  <a:lnTo>
                    <a:pt x="28" y="136"/>
                  </a:lnTo>
                  <a:lnTo>
                    <a:pt x="28" y="138"/>
                  </a:lnTo>
                  <a:lnTo>
                    <a:pt x="28" y="138"/>
                  </a:lnTo>
                  <a:lnTo>
                    <a:pt x="26" y="140"/>
                  </a:lnTo>
                  <a:lnTo>
                    <a:pt x="26" y="140"/>
                  </a:lnTo>
                  <a:lnTo>
                    <a:pt x="26" y="142"/>
                  </a:lnTo>
                  <a:lnTo>
                    <a:pt x="24" y="142"/>
                  </a:lnTo>
                  <a:lnTo>
                    <a:pt x="22" y="144"/>
                  </a:lnTo>
                  <a:lnTo>
                    <a:pt x="22" y="144"/>
                  </a:lnTo>
                  <a:lnTo>
                    <a:pt x="22" y="146"/>
                  </a:lnTo>
                  <a:lnTo>
                    <a:pt x="22" y="146"/>
                  </a:lnTo>
                  <a:lnTo>
                    <a:pt x="20" y="148"/>
                  </a:lnTo>
                  <a:lnTo>
                    <a:pt x="20" y="152"/>
                  </a:lnTo>
                  <a:lnTo>
                    <a:pt x="20" y="154"/>
                  </a:lnTo>
                  <a:lnTo>
                    <a:pt x="20" y="156"/>
                  </a:lnTo>
                  <a:lnTo>
                    <a:pt x="20" y="158"/>
                  </a:lnTo>
                  <a:lnTo>
                    <a:pt x="20" y="158"/>
                  </a:lnTo>
                  <a:lnTo>
                    <a:pt x="18" y="158"/>
                  </a:lnTo>
                  <a:lnTo>
                    <a:pt x="18" y="158"/>
                  </a:lnTo>
                  <a:lnTo>
                    <a:pt x="18" y="160"/>
                  </a:lnTo>
                  <a:lnTo>
                    <a:pt x="14" y="160"/>
                  </a:lnTo>
                  <a:lnTo>
                    <a:pt x="12" y="160"/>
                  </a:lnTo>
                  <a:lnTo>
                    <a:pt x="12" y="160"/>
                  </a:lnTo>
                  <a:lnTo>
                    <a:pt x="12" y="162"/>
                  </a:lnTo>
                  <a:lnTo>
                    <a:pt x="10" y="162"/>
                  </a:lnTo>
                  <a:lnTo>
                    <a:pt x="10" y="162"/>
                  </a:lnTo>
                  <a:lnTo>
                    <a:pt x="10" y="164"/>
                  </a:lnTo>
                  <a:lnTo>
                    <a:pt x="10" y="166"/>
                  </a:lnTo>
                  <a:lnTo>
                    <a:pt x="10" y="168"/>
                  </a:lnTo>
                  <a:lnTo>
                    <a:pt x="10" y="168"/>
                  </a:lnTo>
                  <a:lnTo>
                    <a:pt x="10" y="168"/>
                  </a:lnTo>
                  <a:lnTo>
                    <a:pt x="8" y="170"/>
                  </a:lnTo>
                  <a:lnTo>
                    <a:pt x="6" y="170"/>
                  </a:lnTo>
                  <a:lnTo>
                    <a:pt x="4" y="170"/>
                  </a:lnTo>
                  <a:lnTo>
                    <a:pt x="4" y="170"/>
                  </a:lnTo>
                  <a:lnTo>
                    <a:pt x="2" y="170"/>
                  </a:lnTo>
                  <a:lnTo>
                    <a:pt x="2" y="172"/>
                  </a:lnTo>
                  <a:lnTo>
                    <a:pt x="2" y="172"/>
                  </a:lnTo>
                  <a:lnTo>
                    <a:pt x="2" y="172"/>
                  </a:lnTo>
                  <a:lnTo>
                    <a:pt x="0" y="174"/>
                  </a:lnTo>
                  <a:lnTo>
                    <a:pt x="0" y="176"/>
                  </a:lnTo>
                  <a:lnTo>
                    <a:pt x="0" y="178"/>
                  </a:lnTo>
                  <a:lnTo>
                    <a:pt x="0" y="182"/>
                  </a:lnTo>
                  <a:lnTo>
                    <a:pt x="0" y="184"/>
                  </a:lnTo>
                  <a:lnTo>
                    <a:pt x="0" y="186"/>
                  </a:lnTo>
                  <a:lnTo>
                    <a:pt x="0" y="188"/>
                  </a:lnTo>
                  <a:lnTo>
                    <a:pt x="0" y="188"/>
                  </a:lnTo>
                  <a:lnTo>
                    <a:pt x="0" y="190"/>
                  </a:lnTo>
                  <a:lnTo>
                    <a:pt x="2" y="190"/>
                  </a:lnTo>
                  <a:lnTo>
                    <a:pt x="2" y="192"/>
                  </a:lnTo>
                  <a:lnTo>
                    <a:pt x="2" y="192"/>
                  </a:lnTo>
                  <a:lnTo>
                    <a:pt x="4" y="192"/>
                  </a:lnTo>
                  <a:lnTo>
                    <a:pt x="4" y="192"/>
                  </a:lnTo>
                  <a:lnTo>
                    <a:pt x="6" y="192"/>
                  </a:lnTo>
                  <a:lnTo>
                    <a:pt x="8" y="190"/>
                  </a:lnTo>
                  <a:lnTo>
                    <a:pt x="10" y="190"/>
                  </a:lnTo>
                  <a:lnTo>
                    <a:pt x="10" y="190"/>
                  </a:lnTo>
                  <a:lnTo>
                    <a:pt x="12" y="190"/>
                  </a:lnTo>
                  <a:lnTo>
                    <a:pt x="12" y="190"/>
                  </a:lnTo>
                  <a:lnTo>
                    <a:pt x="12" y="190"/>
                  </a:lnTo>
                  <a:lnTo>
                    <a:pt x="12" y="190"/>
                  </a:lnTo>
                  <a:lnTo>
                    <a:pt x="14" y="192"/>
                  </a:lnTo>
                  <a:lnTo>
                    <a:pt x="14" y="192"/>
                  </a:lnTo>
                  <a:lnTo>
                    <a:pt x="14" y="192"/>
                  </a:lnTo>
                  <a:lnTo>
                    <a:pt x="14" y="194"/>
                  </a:lnTo>
                  <a:lnTo>
                    <a:pt x="14" y="194"/>
                  </a:lnTo>
                  <a:lnTo>
                    <a:pt x="14" y="196"/>
                  </a:lnTo>
                  <a:lnTo>
                    <a:pt x="14" y="198"/>
                  </a:lnTo>
                  <a:lnTo>
                    <a:pt x="14" y="200"/>
                  </a:lnTo>
                  <a:lnTo>
                    <a:pt x="14" y="204"/>
                  </a:lnTo>
                  <a:lnTo>
                    <a:pt x="12" y="210"/>
                  </a:lnTo>
                  <a:lnTo>
                    <a:pt x="12" y="216"/>
                  </a:lnTo>
                  <a:lnTo>
                    <a:pt x="10" y="218"/>
                  </a:lnTo>
                  <a:lnTo>
                    <a:pt x="10" y="220"/>
                  </a:lnTo>
                  <a:lnTo>
                    <a:pt x="10" y="224"/>
                  </a:lnTo>
                  <a:lnTo>
                    <a:pt x="10" y="224"/>
                  </a:lnTo>
                  <a:lnTo>
                    <a:pt x="10" y="226"/>
                  </a:lnTo>
                  <a:lnTo>
                    <a:pt x="10" y="226"/>
                  </a:lnTo>
                  <a:lnTo>
                    <a:pt x="12" y="228"/>
                  </a:lnTo>
                  <a:lnTo>
                    <a:pt x="12" y="228"/>
                  </a:lnTo>
                  <a:lnTo>
                    <a:pt x="12" y="228"/>
                  </a:lnTo>
                  <a:lnTo>
                    <a:pt x="12" y="228"/>
                  </a:lnTo>
                  <a:lnTo>
                    <a:pt x="14" y="230"/>
                  </a:lnTo>
                  <a:lnTo>
                    <a:pt x="14" y="230"/>
                  </a:lnTo>
                  <a:lnTo>
                    <a:pt x="16" y="230"/>
                  </a:lnTo>
                  <a:lnTo>
                    <a:pt x="16" y="228"/>
                  </a:lnTo>
                  <a:lnTo>
                    <a:pt x="20" y="228"/>
                  </a:lnTo>
                  <a:lnTo>
                    <a:pt x="20" y="228"/>
                  </a:lnTo>
                  <a:lnTo>
                    <a:pt x="22" y="228"/>
                  </a:lnTo>
                  <a:lnTo>
                    <a:pt x="22" y="228"/>
                  </a:lnTo>
                  <a:lnTo>
                    <a:pt x="22" y="230"/>
                  </a:lnTo>
                  <a:lnTo>
                    <a:pt x="24" y="230"/>
                  </a:lnTo>
                  <a:lnTo>
                    <a:pt x="24" y="232"/>
                  </a:lnTo>
                  <a:lnTo>
                    <a:pt x="26" y="234"/>
                  </a:lnTo>
                  <a:lnTo>
                    <a:pt x="26" y="234"/>
                  </a:lnTo>
                  <a:lnTo>
                    <a:pt x="26" y="234"/>
                  </a:lnTo>
                  <a:lnTo>
                    <a:pt x="28" y="236"/>
                  </a:lnTo>
                  <a:lnTo>
                    <a:pt x="30" y="236"/>
                  </a:lnTo>
                  <a:lnTo>
                    <a:pt x="32" y="238"/>
                  </a:lnTo>
                  <a:lnTo>
                    <a:pt x="32" y="238"/>
                  </a:lnTo>
                  <a:lnTo>
                    <a:pt x="34" y="238"/>
                  </a:lnTo>
                  <a:lnTo>
                    <a:pt x="34" y="238"/>
                  </a:lnTo>
                  <a:lnTo>
                    <a:pt x="36" y="238"/>
                  </a:lnTo>
                  <a:lnTo>
                    <a:pt x="36" y="238"/>
                  </a:lnTo>
                  <a:lnTo>
                    <a:pt x="36" y="236"/>
                  </a:lnTo>
                  <a:lnTo>
                    <a:pt x="38" y="236"/>
                  </a:lnTo>
                  <a:lnTo>
                    <a:pt x="40" y="234"/>
                  </a:lnTo>
                  <a:lnTo>
                    <a:pt x="42" y="232"/>
                  </a:lnTo>
                  <a:lnTo>
                    <a:pt x="42" y="230"/>
                  </a:lnTo>
                  <a:lnTo>
                    <a:pt x="44" y="230"/>
                  </a:lnTo>
                  <a:lnTo>
                    <a:pt x="44" y="228"/>
                  </a:lnTo>
                  <a:lnTo>
                    <a:pt x="46" y="228"/>
                  </a:lnTo>
                  <a:lnTo>
                    <a:pt x="48" y="228"/>
                  </a:lnTo>
                  <a:lnTo>
                    <a:pt x="52" y="228"/>
                  </a:lnTo>
                  <a:lnTo>
                    <a:pt x="52" y="228"/>
                  </a:lnTo>
                  <a:lnTo>
                    <a:pt x="54" y="228"/>
                  </a:lnTo>
                  <a:lnTo>
                    <a:pt x="54" y="228"/>
                  </a:lnTo>
                  <a:lnTo>
                    <a:pt x="56" y="226"/>
                  </a:lnTo>
                  <a:lnTo>
                    <a:pt x="56" y="226"/>
                  </a:lnTo>
                  <a:lnTo>
                    <a:pt x="58" y="224"/>
                  </a:lnTo>
                  <a:lnTo>
                    <a:pt x="60" y="222"/>
                  </a:lnTo>
                  <a:lnTo>
                    <a:pt x="62" y="222"/>
                  </a:lnTo>
                  <a:lnTo>
                    <a:pt x="64" y="222"/>
                  </a:lnTo>
                  <a:lnTo>
                    <a:pt x="66" y="220"/>
                  </a:lnTo>
                  <a:lnTo>
                    <a:pt x="68" y="220"/>
                  </a:lnTo>
                  <a:lnTo>
                    <a:pt x="68" y="220"/>
                  </a:lnTo>
                  <a:lnTo>
                    <a:pt x="68" y="218"/>
                  </a:lnTo>
                  <a:lnTo>
                    <a:pt x="70" y="218"/>
                  </a:lnTo>
                  <a:lnTo>
                    <a:pt x="70" y="216"/>
                  </a:lnTo>
                  <a:lnTo>
                    <a:pt x="70" y="216"/>
                  </a:lnTo>
                  <a:lnTo>
                    <a:pt x="70" y="214"/>
                  </a:lnTo>
                  <a:lnTo>
                    <a:pt x="70" y="212"/>
                  </a:lnTo>
                  <a:lnTo>
                    <a:pt x="70" y="210"/>
                  </a:lnTo>
                  <a:lnTo>
                    <a:pt x="70" y="206"/>
                  </a:lnTo>
                  <a:lnTo>
                    <a:pt x="70" y="204"/>
                  </a:lnTo>
                  <a:lnTo>
                    <a:pt x="70" y="202"/>
                  </a:lnTo>
                  <a:lnTo>
                    <a:pt x="70" y="202"/>
                  </a:lnTo>
                  <a:lnTo>
                    <a:pt x="70" y="200"/>
                  </a:lnTo>
                  <a:lnTo>
                    <a:pt x="72" y="200"/>
                  </a:lnTo>
                  <a:lnTo>
                    <a:pt x="72" y="200"/>
                  </a:lnTo>
                  <a:lnTo>
                    <a:pt x="72" y="198"/>
                  </a:lnTo>
                  <a:lnTo>
                    <a:pt x="74" y="198"/>
                  </a:lnTo>
                  <a:lnTo>
                    <a:pt x="78" y="198"/>
                  </a:lnTo>
                  <a:lnTo>
                    <a:pt x="78" y="198"/>
                  </a:lnTo>
                  <a:lnTo>
                    <a:pt x="78" y="196"/>
                  </a:lnTo>
                  <a:lnTo>
                    <a:pt x="80" y="196"/>
                  </a:lnTo>
                  <a:lnTo>
                    <a:pt x="80" y="194"/>
                  </a:lnTo>
                  <a:lnTo>
                    <a:pt x="80" y="192"/>
                  </a:lnTo>
                  <a:lnTo>
                    <a:pt x="80" y="192"/>
                  </a:lnTo>
                  <a:lnTo>
                    <a:pt x="80" y="188"/>
                  </a:lnTo>
                  <a:lnTo>
                    <a:pt x="80" y="184"/>
                  </a:lnTo>
                  <a:lnTo>
                    <a:pt x="80" y="180"/>
                  </a:lnTo>
                  <a:lnTo>
                    <a:pt x="80" y="176"/>
                  </a:lnTo>
                  <a:lnTo>
                    <a:pt x="80" y="176"/>
                  </a:lnTo>
                  <a:lnTo>
                    <a:pt x="80" y="174"/>
                  </a:lnTo>
                  <a:lnTo>
                    <a:pt x="80" y="172"/>
                  </a:lnTo>
                  <a:lnTo>
                    <a:pt x="80" y="172"/>
                  </a:lnTo>
                  <a:lnTo>
                    <a:pt x="80" y="172"/>
                  </a:lnTo>
                  <a:lnTo>
                    <a:pt x="80" y="170"/>
                  </a:lnTo>
                  <a:lnTo>
                    <a:pt x="82" y="170"/>
                  </a:lnTo>
                  <a:lnTo>
                    <a:pt x="84" y="170"/>
                  </a:lnTo>
                  <a:lnTo>
                    <a:pt x="84" y="168"/>
                  </a:lnTo>
                  <a:lnTo>
                    <a:pt x="84" y="168"/>
                  </a:lnTo>
                  <a:lnTo>
                    <a:pt x="86" y="166"/>
                  </a:lnTo>
                  <a:lnTo>
                    <a:pt x="86" y="164"/>
                  </a:lnTo>
                  <a:lnTo>
                    <a:pt x="86" y="162"/>
                  </a:lnTo>
                  <a:lnTo>
                    <a:pt x="86" y="160"/>
                  </a:lnTo>
                  <a:lnTo>
                    <a:pt x="86" y="158"/>
                  </a:lnTo>
                  <a:lnTo>
                    <a:pt x="84" y="156"/>
                  </a:lnTo>
                  <a:lnTo>
                    <a:pt x="84" y="150"/>
                  </a:lnTo>
                  <a:lnTo>
                    <a:pt x="84" y="146"/>
                  </a:lnTo>
                  <a:lnTo>
                    <a:pt x="82" y="144"/>
                  </a:lnTo>
                  <a:lnTo>
                    <a:pt x="82" y="140"/>
                  </a:lnTo>
                  <a:lnTo>
                    <a:pt x="82" y="138"/>
                  </a:lnTo>
                  <a:lnTo>
                    <a:pt x="82" y="136"/>
                  </a:lnTo>
                  <a:lnTo>
                    <a:pt x="84" y="134"/>
                  </a:lnTo>
                  <a:lnTo>
                    <a:pt x="84" y="134"/>
                  </a:lnTo>
                  <a:lnTo>
                    <a:pt x="84" y="132"/>
                  </a:lnTo>
                  <a:lnTo>
                    <a:pt x="84" y="132"/>
                  </a:lnTo>
                  <a:lnTo>
                    <a:pt x="86" y="132"/>
                  </a:lnTo>
                  <a:lnTo>
                    <a:pt x="88" y="130"/>
                  </a:lnTo>
                  <a:lnTo>
                    <a:pt x="88" y="130"/>
                  </a:lnTo>
                  <a:lnTo>
                    <a:pt x="92" y="128"/>
                  </a:lnTo>
                  <a:lnTo>
                    <a:pt x="94" y="128"/>
                  </a:lnTo>
                  <a:lnTo>
                    <a:pt x="94" y="126"/>
                  </a:lnTo>
                  <a:lnTo>
                    <a:pt x="96" y="126"/>
                  </a:lnTo>
                  <a:lnTo>
                    <a:pt x="98" y="124"/>
                  </a:lnTo>
                  <a:lnTo>
                    <a:pt x="100" y="122"/>
                  </a:lnTo>
                  <a:lnTo>
                    <a:pt x="100" y="122"/>
                  </a:lnTo>
                  <a:lnTo>
                    <a:pt x="100" y="120"/>
                  </a:lnTo>
                  <a:lnTo>
                    <a:pt x="100" y="120"/>
                  </a:lnTo>
                  <a:lnTo>
                    <a:pt x="100" y="118"/>
                  </a:lnTo>
                  <a:lnTo>
                    <a:pt x="100" y="116"/>
                  </a:lnTo>
                  <a:lnTo>
                    <a:pt x="100" y="114"/>
                  </a:lnTo>
                  <a:lnTo>
                    <a:pt x="100" y="110"/>
                  </a:lnTo>
                  <a:lnTo>
                    <a:pt x="100" y="106"/>
                  </a:lnTo>
                  <a:lnTo>
                    <a:pt x="100" y="102"/>
                  </a:lnTo>
                  <a:lnTo>
                    <a:pt x="100" y="98"/>
                  </a:lnTo>
                  <a:lnTo>
                    <a:pt x="100" y="96"/>
                  </a:lnTo>
                  <a:lnTo>
                    <a:pt x="100" y="96"/>
                  </a:lnTo>
                  <a:lnTo>
                    <a:pt x="100" y="94"/>
                  </a:lnTo>
                  <a:lnTo>
                    <a:pt x="100" y="92"/>
                  </a:lnTo>
                  <a:lnTo>
                    <a:pt x="100" y="92"/>
                  </a:lnTo>
                  <a:lnTo>
                    <a:pt x="102" y="92"/>
                  </a:lnTo>
                  <a:lnTo>
                    <a:pt x="104" y="90"/>
                  </a:lnTo>
                  <a:lnTo>
                    <a:pt x="106" y="88"/>
                  </a:lnTo>
                  <a:lnTo>
                    <a:pt x="108" y="88"/>
                  </a:lnTo>
                  <a:lnTo>
                    <a:pt x="108" y="88"/>
                  </a:lnTo>
                  <a:lnTo>
                    <a:pt x="108" y="86"/>
                  </a:lnTo>
                  <a:lnTo>
                    <a:pt x="108" y="86"/>
                  </a:lnTo>
                  <a:lnTo>
                    <a:pt x="108" y="84"/>
                  </a:lnTo>
                  <a:lnTo>
                    <a:pt x="108" y="82"/>
                  </a:lnTo>
                  <a:lnTo>
                    <a:pt x="108" y="80"/>
                  </a:lnTo>
                  <a:lnTo>
                    <a:pt x="108" y="76"/>
                  </a:lnTo>
                  <a:lnTo>
                    <a:pt x="108" y="72"/>
                  </a:lnTo>
                  <a:lnTo>
                    <a:pt x="108" y="72"/>
                  </a:lnTo>
                  <a:lnTo>
                    <a:pt x="108" y="70"/>
                  </a:lnTo>
                  <a:lnTo>
                    <a:pt x="108" y="68"/>
                  </a:lnTo>
                  <a:lnTo>
                    <a:pt x="108" y="68"/>
                  </a:lnTo>
                  <a:lnTo>
                    <a:pt x="108" y="66"/>
                  </a:lnTo>
                  <a:lnTo>
                    <a:pt x="110" y="66"/>
                  </a:lnTo>
                  <a:lnTo>
                    <a:pt x="110" y="66"/>
                  </a:lnTo>
                  <a:lnTo>
                    <a:pt x="112" y="66"/>
                  </a:lnTo>
                  <a:lnTo>
                    <a:pt x="112" y="66"/>
                  </a:lnTo>
                  <a:lnTo>
                    <a:pt x="114" y="66"/>
                  </a:lnTo>
                  <a:lnTo>
                    <a:pt x="116" y="66"/>
                  </a:lnTo>
                  <a:lnTo>
                    <a:pt x="116" y="66"/>
                  </a:lnTo>
                  <a:lnTo>
                    <a:pt x="118" y="64"/>
                  </a:lnTo>
                  <a:lnTo>
                    <a:pt x="118" y="62"/>
                  </a:lnTo>
                  <a:lnTo>
                    <a:pt x="120" y="60"/>
                  </a:lnTo>
                  <a:lnTo>
                    <a:pt x="120" y="58"/>
                  </a:lnTo>
                  <a:lnTo>
                    <a:pt x="120" y="56"/>
                  </a:lnTo>
                  <a:lnTo>
                    <a:pt x="120" y="54"/>
                  </a:lnTo>
                  <a:lnTo>
                    <a:pt x="120" y="50"/>
                  </a:lnTo>
                  <a:lnTo>
                    <a:pt x="120" y="48"/>
                  </a:lnTo>
                  <a:lnTo>
                    <a:pt x="120" y="46"/>
                  </a:lnTo>
                  <a:lnTo>
                    <a:pt x="120" y="42"/>
                  </a:lnTo>
                  <a:lnTo>
                    <a:pt x="120" y="40"/>
                  </a:lnTo>
                  <a:lnTo>
                    <a:pt x="120" y="38"/>
                  </a:lnTo>
                  <a:lnTo>
                    <a:pt x="120" y="36"/>
                  </a:lnTo>
                  <a:lnTo>
                    <a:pt x="118" y="34"/>
                  </a:lnTo>
                  <a:lnTo>
                    <a:pt x="118" y="32"/>
                  </a:lnTo>
                  <a:lnTo>
                    <a:pt x="118" y="30"/>
                  </a:lnTo>
                  <a:lnTo>
                    <a:pt x="116" y="30"/>
                  </a:lnTo>
                  <a:lnTo>
                    <a:pt x="116" y="28"/>
                  </a:lnTo>
                  <a:lnTo>
                    <a:pt x="116" y="28"/>
                  </a:lnTo>
                  <a:lnTo>
                    <a:pt x="114" y="28"/>
                  </a:lnTo>
                  <a:lnTo>
                    <a:pt x="112" y="28"/>
                  </a:lnTo>
                  <a:lnTo>
                    <a:pt x="112" y="26"/>
                  </a:lnTo>
                  <a:lnTo>
                    <a:pt x="110" y="26"/>
                  </a:lnTo>
                  <a:lnTo>
                    <a:pt x="108" y="26"/>
                  </a:lnTo>
                  <a:lnTo>
                    <a:pt x="108" y="26"/>
                  </a:lnTo>
                  <a:lnTo>
                    <a:pt x="108" y="24"/>
                  </a:lnTo>
                  <a:lnTo>
                    <a:pt x="108" y="24"/>
                  </a:lnTo>
                  <a:lnTo>
                    <a:pt x="108" y="22"/>
                  </a:lnTo>
                  <a:lnTo>
                    <a:pt x="108" y="22"/>
                  </a:lnTo>
                  <a:lnTo>
                    <a:pt x="108" y="22"/>
                  </a:lnTo>
                  <a:lnTo>
                    <a:pt x="108" y="18"/>
                  </a:lnTo>
                  <a:lnTo>
                    <a:pt x="108" y="16"/>
                  </a:lnTo>
                  <a:lnTo>
                    <a:pt x="108" y="14"/>
                  </a:lnTo>
                  <a:lnTo>
                    <a:pt x="108" y="10"/>
                  </a:lnTo>
                  <a:lnTo>
                    <a:pt x="108" y="10"/>
                  </a:lnTo>
                  <a:lnTo>
                    <a:pt x="108" y="8"/>
                  </a:lnTo>
                  <a:lnTo>
                    <a:pt x="108" y="8"/>
                  </a:lnTo>
                  <a:lnTo>
                    <a:pt x="108" y="8"/>
                  </a:lnTo>
                  <a:lnTo>
                    <a:pt x="106" y="6"/>
                  </a:lnTo>
                  <a:lnTo>
                    <a:pt x="106" y="6"/>
                  </a:lnTo>
                  <a:lnTo>
                    <a:pt x="104" y="4"/>
                  </a:lnTo>
                  <a:lnTo>
                    <a:pt x="104" y="4"/>
                  </a:lnTo>
                  <a:lnTo>
                    <a:pt x="102" y="2"/>
                  </a:lnTo>
                  <a:lnTo>
                    <a:pt x="100" y="2"/>
                  </a:lnTo>
                  <a:lnTo>
                    <a:pt x="98" y="2"/>
                  </a:lnTo>
                  <a:lnTo>
                    <a:pt x="98" y="0"/>
                  </a:lnTo>
                  <a:lnTo>
                    <a:pt x="96" y="0"/>
                  </a:lnTo>
                  <a:lnTo>
                    <a:pt x="96" y="2"/>
                  </a:lnTo>
                  <a:lnTo>
                    <a:pt x="94" y="2"/>
                  </a:lnTo>
                  <a:lnTo>
                    <a:pt x="94" y="2"/>
                  </a:lnTo>
                  <a:lnTo>
                    <a:pt x="92" y="2"/>
                  </a:lnTo>
                  <a:lnTo>
                    <a:pt x="92" y="2"/>
                  </a:lnTo>
                  <a:lnTo>
                    <a:pt x="90" y="4"/>
                  </a:lnTo>
                  <a:lnTo>
                    <a:pt x="90"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0" name="Freeform 448"/>
            <p:cNvSpPr>
              <a:spLocks/>
            </p:cNvSpPr>
            <p:nvPr/>
          </p:nvSpPr>
          <p:spPr bwMode="auto">
            <a:xfrm>
              <a:off x="5301528" y="4299796"/>
              <a:ext cx="55426" cy="51962"/>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1" name="Freeform 449"/>
            <p:cNvSpPr>
              <a:spLocks/>
            </p:cNvSpPr>
            <p:nvPr/>
          </p:nvSpPr>
          <p:spPr bwMode="auto">
            <a:xfrm>
              <a:off x="5301528" y="4299796"/>
              <a:ext cx="55426" cy="51962"/>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2" name="Freeform 450"/>
            <p:cNvSpPr>
              <a:spLocks/>
            </p:cNvSpPr>
            <p:nvPr/>
          </p:nvSpPr>
          <p:spPr bwMode="auto">
            <a:xfrm>
              <a:off x="5090215" y="4933735"/>
              <a:ext cx="79675" cy="193992"/>
            </a:xfrm>
            <a:custGeom>
              <a:avLst/>
              <a:gdLst>
                <a:gd name="T0" fmla="*/ 0 w 46"/>
                <a:gd name="T1" fmla="*/ 68 h 112"/>
                <a:gd name="T2" fmla="*/ 0 w 46"/>
                <a:gd name="T3" fmla="*/ 54 h 112"/>
                <a:gd name="T4" fmla="*/ 2 w 46"/>
                <a:gd name="T5" fmla="*/ 46 h 112"/>
                <a:gd name="T6" fmla="*/ 2 w 46"/>
                <a:gd name="T7" fmla="*/ 42 h 112"/>
                <a:gd name="T8" fmla="*/ 8 w 46"/>
                <a:gd name="T9" fmla="*/ 40 h 112"/>
                <a:gd name="T10" fmla="*/ 10 w 46"/>
                <a:gd name="T11" fmla="*/ 38 h 112"/>
                <a:gd name="T12" fmla="*/ 10 w 46"/>
                <a:gd name="T13" fmla="*/ 34 h 112"/>
                <a:gd name="T14" fmla="*/ 10 w 46"/>
                <a:gd name="T15" fmla="*/ 30 h 112"/>
                <a:gd name="T16" fmla="*/ 6 w 46"/>
                <a:gd name="T17" fmla="*/ 22 h 112"/>
                <a:gd name="T18" fmla="*/ 6 w 46"/>
                <a:gd name="T19" fmla="*/ 14 h 112"/>
                <a:gd name="T20" fmla="*/ 10 w 46"/>
                <a:gd name="T21" fmla="*/ 0 h 112"/>
                <a:gd name="T22" fmla="*/ 18 w 46"/>
                <a:gd name="T23" fmla="*/ 4 h 112"/>
                <a:gd name="T24" fmla="*/ 28 w 46"/>
                <a:gd name="T25" fmla="*/ 16 h 112"/>
                <a:gd name="T26" fmla="*/ 28 w 46"/>
                <a:gd name="T27" fmla="*/ 24 h 112"/>
                <a:gd name="T28" fmla="*/ 28 w 46"/>
                <a:gd name="T29" fmla="*/ 30 h 112"/>
                <a:gd name="T30" fmla="*/ 24 w 46"/>
                <a:gd name="T31" fmla="*/ 40 h 112"/>
                <a:gd name="T32" fmla="*/ 24 w 46"/>
                <a:gd name="T33" fmla="*/ 46 h 112"/>
                <a:gd name="T34" fmla="*/ 24 w 46"/>
                <a:gd name="T35" fmla="*/ 48 h 112"/>
                <a:gd name="T36" fmla="*/ 26 w 46"/>
                <a:gd name="T37" fmla="*/ 52 h 112"/>
                <a:gd name="T38" fmla="*/ 34 w 46"/>
                <a:gd name="T39" fmla="*/ 60 h 112"/>
                <a:gd name="T40" fmla="*/ 40 w 46"/>
                <a:gd name="T41" fmla="*/ 70 h 112"/>
                <a:gd name="T42" fmla="*/ 42 w 46"/>
                <a:gd name="T43" fmla="*/ 76 h 112"/>
                <a:gd name="T44" fmla="*/ 46 w 46"/>
                <a:gd name="T45" fmla="*/ 86 h 112"/>
                <a:gd name="T46" fmla="*/ 46 w 46"/>
                <a:gd name="T47" fmla="*/ 92 h 112"/>
                <a:gd name="T48" fmla="*/ 46 w 46"/>
                <a:gd name="T49" fmla="*/ 92 h 112"/>
                <a:gd name="T50" fmla="*/ 42 w 46"/>
                <a:gd name="T51" fmla="*/ 96 h 112"/>
                <a:gd name="T52" fmla="*/ 38 w 46"/>
                <a:gd name="T53" fmla="*/ 98 h 112"/>
                <a:gd name="T54" fmla="*/ 36 w 46"/>
                <a:gd name="T55" fmla="*/ 102 h 112"/>
                <a:gd name="T56" fmla="*/ 34 w 46"/>
                <a:gd name="T57" fmla="*/ 108 h 112"/>
                <a:gd name="T58" fmla="*/ 32 w 46"/>
                <a:gd name="T59" fmla="*/ 110 h 112"/>
                <a:gd name="T60" fmla="*/ 28 w 46"/>
                <a:gd name="T61" fmla="*/ 112 h 112"/>
                <a:gd name="T62" fmla="*/ 24 w 46"/>
                <a:gd name="T63" fmla="*/ 112 h 112"/>
                <a:gd name="T64" fmla="*/ 22 w 46"/>
                <a:gd name="T65" fmla="*/ 112 h 112"/>
                <a:gd name="T66" fmla="*/ 18 w 46"/>
                <a:gd name="T67" fmla="*/ 110 h 112"/>
                <a:gd name="T68" fmla="*/ 16 w 46"/>
                <a:gd name="T69" fmla="*/ 106 h 112"/>
                <a:gd name="T70" fmla="*/ 16 w 46"/>
                <a:gd name="T71" fmla="*/ 104 h 112"/>
                <a:gd name="T72" fmla="*/ 18 w 46"/>
                <a:gd name="T73" fmla="*/ 98 h 112"/>
                <a:gd name="T74" fmla="*/ 22 w 46"/>
                <a:gd name="T75" fmla="*/ 90 h 112"/>
                <a:gd name="T76" fmla="*/ 22 w 46"/>
                <a:gd name="T77" fmla="*/ 84 h 112"/>
                <a:gd name="T78" fmla="*/ 22 w 46"/>
                <a:gd name="T79" fmla="*/ 80 h 112"/>
                <a:gd name="T80" fmla="*/ 20 w 46"/>
                <a:gd name="T81" fmla="*/ 78 h 112"/>
                <a:gd name="T82" fmla="*/ 16 w 46"/>
                <a:gd name="T83" fmla="*/ 78 h 112"/>
                <a:gd name="T84" fmla="*/ 10 w 46"/>
                <a:gd name="T85" fmla="*/ 76 h 112"/>
                <a:gd name="T86" fmla="*/ 0 w 46"/>
                <a:gd name="T87"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12">
                  <a:moveTo>
                    <a:pt x="0" y="70"/>
                  </a:moveTo>
                  <a:lnTo>
                    <a:pt x="0" y="70"/>
                  </a:lnTo>
                  <a:lnTo>
                    <a:pt x="0" y="68"/>
                  </a:lnTo>
                  <a:lnTo>
                    <a:pt x="0" y="64"/>
                  </a:lnTo>
                  <a:lnTo>
                    <a:pt x="0" y="60"/>
                  </a:lnTo>
                  <a:lnTo>
                    <a:pt x="0" y="54"/>
                  </a:lnTo>
                  <a:lnTo>
                    <a:pt x="0" y="50"/>
                  </a:lnTo>
                  <a:lnTo>
                    <a:pt x="0" y="48"/>
                  </a:lnTo>
                  <a:lnTo>
                    <a:pt x="2" y="46"/>
                  </a:lnTo>
                  <a:lnTo>
                    <a:pt x="2" y="44"/>
                  </a:lnTo>
                  <a:lnTo>
                    <a:pt x="2" y="44"/>
                  </a:lnTo>
                  <a:lnTo>
                    <a:pt x="2" y="42"/>
                  </a:lnTo>
                  <a:lnTo>
                    <a:pt x="4" y="42"/>
                  </a:lnTo>
                  <a:lnTo>
                    <a:pt x="6" y="40"/>
                  </a:lnTo>
                  <a:lnTo>
                    <a:pt x="8" y="40"/>
                  </a:lnTo>
                  <a:lnTo>
                    <a:pt x="8" y="38"/>
                  </a:lnTo>
                  <a:lnTo>
                    <a:pt x="10" y="38"/>
                  </a:lnTo>
                  <a:lnTo>
                    <a:pt x="10" y="38"/>
                  </a:lnTo>
                  <a:lnTo>
                    <a:pt x="10" y="36"/>
                  </a:lnTo>
                  <a:lnTo>
                    <a:pt x="10" y="36"/>
                  </a:lnTo>
                  <a:lnTo>
                    <a:pt x="10" y="34"/>
                  </a:lnTo>
                  <a:lnTo>
                    <a:pt x="10" y="34"/>
                  </a:lnTo>
                  <a:lnTo>
                    <a:pt x="10" y="32"/>
                  </a:lnTo>
                  <a:lnTo>
                    <a:pt x="10" y="30"/>
                  </a:lnTo>
                  <a:lnTo>
                    <a:pt x="8" y="28"/>
                  </a:lnTo>
                  <a:lnTo>
                    <a:pt x="8" y="24"/>
                  </a:lnTo>
                  <a:lnTo>
                    <a:pt x="6" y="22"/>
                  </a:lnTo>
                  <a:lnTo>
                    <a:pt x="6" y="20"/>
                  </a:lnTo>
                  <a:lnTo>
                    <a:pt x="6" y="18"/>
                  </a:lnTo>
                  <a:lnTo>
                    <a:pt x="6" y="14"/>
                  </a:lnTo>
                  <a:lnTo>
                    <a:pt x="6" y="8"/>
                  </a:lnTo>
                  <a:lnTo>
                    <a:pt x="8" y="0"/>
                  </a:lnTo>
                  <a:lnTo>
                    <a:pt x="10" y="0"/>
                  </a:lnTo>
                  <a:lnTo>
                    <a:pt x="12" y="2"/>
                  </a:lnTo>
                  <a:lnTo>
                    <a:pt x="14" y="2"/>
                  </a:lnTo>
                  <a:lnTo>
                    <a:pt x="18" y="4"/>
                  </a:lnTo>
                  <a:lnTo>
                    <a:pt x="22" y="6"/>
                  </a:lnTo>
                  <a:lnTo>
                    <a:pt x="26" y="10"/>
                  </a:lnTo>
                  <a:lnTo>
                    <a:pt x="28" y="16"/>
                  </a:lnTo>
                  <a:lnTo>
                    <a:pt x="28" y="20"/>
                  </a:lnTo>
                  <a:lnTo>
                    <a:pt x="28" y="22"/>
                  </a:lnTo>
                  <a:lnTo>
                    <a:pt x="28" y="24"/>
                  </a:lnTo>
                  <a:lnTo>
                    <a:pt x="28" y="26"/>
                  </a:lnTo>
                  <a:lnTo>
                    <a:pt x="28" y="26"/>
                  </a:lnTo>
                  <a:lnTo>
                    <a:pt x="28" y="30"/>
                  </a:lnTo>
                  <a:lnTo>
                    <a:pt x="26" y="34"/>
                  </a:lnTo>
                  <a:lnTo>
                    <a:pt x="26" y="36"/>
                  </a:lnTo>
                  <a:lnTo>
                    <a:pt x="24" y="40"/>
                  </a:lnTo>
                  <a:lnTo>
                    <a:pt x="24" y="42"/>
                  </a:lnTo>
                  <a:lnTo>
                    <a:pt x="24" y="44"/>
                  </a:lnTo>
                  <a:lnTo>
                    <a:pt x="24" y="46"/>
                  </a:lnTo>
                  <a:lnTo>
                    <a:pt x="24" y="46"/>
                  </a:lnTo>
                  <a:lnTo>
                    <a:pt x="24" y="48"/>
                  </a:lnTo>
                  <a:lnTo>
                    <a:pt x="24" y="48"/>
                  </a:lnTo>
                  <a:lnTo>
                    <a:pt x="24" y="50"/>
                  </a:lnTo>
                  <a:lnTo>
                    <a:pt x="26" y="50"/>
                  </a:lnTo>
                  <a:lnTo>
                    <a:pt x="26" y="52"/>
                  </a:lnTo>
                  <a:lnTo>
                    <a:pt x="28" y="54"/>
                  </a:lnTo>
                  <a:lnTo>
                    <a:pt x="30" y="56"/>
                  </a:lnTo>
                  <a:lnTo>
                    <a:pt x="34" y="60"/>
                  </a:lnTo>
                  <a:lnTo>
                    <a:pt x="36" y="64"/>
                  </a:lnTo>
                  <a:lnTo>
                    <a:pt x="38" y="66"/>
                  </a:lnTo>
                  <a:lnTo>
                    <a:pt x="40" y="70"/>
                  </a:lnTo>
                  <a:lnTo>
                    <a:pt x="40" y="72"/>
                  </a:lnTo>
                  <a:lnTo>
                    <a:pt x="42" y="74"/>
                  </a:lnTo>
                  <a:lnTo>
                    <a:pt x="42" y="76"/>
                  </a:lnTo>
                  <a:lnTo>
                    <a:pt x="44" y="80"/>
                  </a:lnTo>
                  <a:lnTo>
                    <a:pt x="44" y="82"/>
                  </a:lnTo>
                  <a:lnTo>
                    <a:pt x="46" y="86"/>
                  </a:lnTo>
                  <a:lnTo>
                    <a:pt x="46" y="88"/>
                  </a:lnTo>
                  <a:lnTo>
                    <a:pt x="46" y="90"/>
                  </a:lnTo>
                  <a:lnTo>
                    <a:pt x="46" y="92"/>
                  </a:lnTo>
                  <a:lnTo>
                    <a:pt x="46" y="92"/>
                  </a:lnTo>
                  <a:lnTo>
                    <a:pt x="46" y="92"/>
                  </a:lnTo>
                  <a:lnTo>
                    <a:pt x="46" y="92"/>
                  </a:lnTo>
                  <a:lnTo>
                    <a:pt x="44" y="94"/>
                  </a:lnTo>
                  <a:lnTo>
                    <a:pt x="44" y="94"/>
                  </a:lnTo>
                  <a:lnTo>
                    <a:pt x="42" y="96"/>
                  </a:lnTo>
                  <a:lnTo>
                    <a:pt x="42" y="96"/>
                  </a:lnTo>
                  <a:lnTo>
                    <a:pt x="38" y="98"/>
                  </a:lnTo>
                  <a:lnTo>
                    <a:pt x="38" y="98"/>
                  </a:lnTo>
                  <a:lnTo>
                    <a:pt x="36" y="100"/>
                  </a:lnTo>
                  <a:lnTo>
                    <a:pt x="36" y="100"/>
                  </a:lnTo>
                  <a:lnTo>
                    <a:pt x="36" y="102"/>
                  </a:lnTo>
                  <a:lnTo>
                    <a:pt x="34" y="104"/>
                  </a:lnTo>
                  <a:lnTo>
                    <a:pt x="34" y="106"/>
                  </a:lnTo>
                  <a:lnTo>
                    <a:pt x="34" y="108"/>
                  </a:lnTo>
                  <a:lnTo>
                    <a:pt x="32" y="110"/>
                  </a:lnTo>
                  <a:lnTo>
                    <a:pt x="32" y="110"/>
                  </a:lnTo>
                  <a:lnTo>
                    <a:pt x="32" y="110"/>
                  </a:lnTo>
                  <a:lnTo>
                    <a:pt x="32" y="110"/>
                  </a:lnTo>
                  <a:lnTo>
                    <a:pt x="30" y="112"/>
                  </a:lnTo>
                  <a:lnTo>
                    <a:pt x="28" y="112"/>
                  </a:lnTo>
                  <a:lnTo>
                    <a:pt x="28" y="112"/>
                  </a:lnTo>
                  <a:lnTo>
                    <a:pt x="26" y="112"/>
                  </a:lnTo>
                  <a:lnTo>
                    <a:pt x="24" y="112"/>
                  </a:lnTo>
                  <a:lnTo>
                    <a:pt x="24" y="112"/>
                  </a:lnTo>
                  <a:lnTo>
                    <a:pt x="22" y="112"/>
                  </a:lnTo>
                  <a:lnTo>
                    <a:pt x="22" y="112"/>
                  </a:lnTo>
                  <a:lnTo>
                    <a:pt x="20" y="110"/>
                  </a:lnTo>
                  <a:lnTo>
                    <a:pt x="20" y="110"/>
                  </a:lnTo>
                  <a:lnTo>
                    <a:pt x="18" y="110"/>
                  </a:lnTo>
                  <a:lnTo>
                    <a:pt x="18" y="108"/>
                  </a:lnTo>
                  <a:lnTo>
                    <a:pt x="18" y="108"/>
                  </a:lnTo>
                  <a:lnTo>
                    <a:pt x="16" y="106"/>
                  </a:lnTo>
                  <a:lnTo>
                    <a:pt x="16" y="106"/>
                  </a:lnTo>
                  <a:lnTo>
                    <a:pt x="16" y="104"/>
                  </a:lnTo>
                  <a:lnTo>
                    <a:pt x="16" y="104"/>
                  </a:lnTo>
                  <a:lnTo>
                    <a:pt x="16" y="102"/>
                  </a:lnTo>
                  <a:lnTo>
                    <a:pt x="18" y="100"/>
                  </a:lnTo>
                  <a:lnTo>
                    <a:pt x="18" y="98"/>
                  </a:lnTo>
                  <a:lnTo>
                    <a:pt x="20" y="94"/>
                  </a:lnTo>
                  <a:lnTo>
                    <a:pt x="20" y="92"/>
                  </a:lnTo>
                  <a:lnTo>
                    <a:pt x="22" y="90"/>
                  </a:lnTo>
                  <a:lnTo>
                    <a:pt x="22" y="88"/>
                  </a:lnTo>
                  <a:lnTo>
                    <a:pt x="22" y="84"/>
                  </a:lnTo>
                  <a:lnTo>
                    <a:pt x="22" y="84"/>
                  </a:lnTo>
                  <a:lnTo>
                    <a:pt x="22" y="82"/>
                  </a:lnTo>
                  <a:lnTo>
                    <a:pt x="22" y="80"/>
                  </a:lnTo>
                  <a:lnTo>
                    <a:pt x="22" y="80"/>
                  </a:lnTo>
                  <a:lnTo>
                    <a:pt x="22" y="80"/>
                  </a:lnTo>
                  <a:lnTo>
                    <a:pt x="22" y="78"/>
                  </a:lnTo>
                  <a:lnTo>
                    <a:pt x="20" y="78"/>
                  </a:lnTo>
                  <a:lnTo>
                    <a:pt x="20" y="78"/>
                  </a:lnTo>
                  <a:lnTo>
                    <a:pt x="18" y="78"/>
                  </a:lnTo>
                  <a:lnTo>
                    <a:pt x="16" y="78"/>
                  </a:lnTo>
                  <a:lnTo>
                    <a:pt x="14" y="76"/>
                  </a:lnTo>
                  <a:lnTo>
                    <a:pt x="12" y="76"/>
                  </a:lnTo>
                  <a:lnTo>
                    <a:pt x="10" y="76"/>
                  </a:lnTo>
                  <a:lnTo>
                    <a:pt x="8" y="74"/>
                  </a:lnTo>
                  <a:lnTo>
                    <a:pt x="4" y="74"/>
                  </a:lnTo>
                  <a:lnTo>
                    <a:pt x="0" y="7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3" name="Freeform 451"/>
            <p:cNvSpPr>
              <a:spLocks/>
            </p:cNvSpPr>
            <p:nvPr/>
          </p:nvSpPr>
          <p:spPr bwMode="auto">
            <a:xfrm>
              <a:off x="5090215" y="4933735"/>
              <a:ext cx="79675" cy="193992"/>
            </a:xfrm>
            <a:custGeom>
              <a:avLst/>
              <a:gdLst>
                <a:gd name="T0" fmla="*/ 0 w 46"/>
                <a:gd name="T1" fmla="*/ 68 h 112"/>
                <a:gd name="T2" fmla="*/ 0 w 46"/>
                <a:gd name="T3" fmla="*/ 54 h 112"/>
                <a:gd name="T4" fmla="*/ 2 w 46"/>
                <a:gd name="T5" fmla="*/ 46 h 112"/>
                <a:gd name="T6" fmla="*/ 2 w 46"/>
                <a:gd name="T7" fmla="*/ 42 h 112"/>
                <a:gd name="T8" fmla="*/ 8 w 46"/>
                <a:gd name="T9" fmla="*/ 40 h 112"/>
                <a:gd name="T10" fmla="*/ 10 w 46"/>
                <a:gd name="T11" fmla="*/ 38 h 112"/>
                <a:gd name="T12" fmla="*/ 10 w 46"/>
                <a:gd name="T13" fmla="*/ 34 h 112"/>
                <a:gd name="T14" fmla="*/ 10 w 46"/>
                <a:gd name="T15" fmla="*/ 30 h 112"/>
                <a:gd name="T16" fmla="*/ 6 w 46"/>
                <a:gd name="T17" fmla="*/ 22 h 112"/>
                <a:gd name="T18" fmla="*/ 6 w 46"/>
                <a:gd name="T19" fmla="*/ 14 h 112"/>
                <a:gd name="T20" fmla="*/ 10 w 46"/>
                <a:gd name="T21" fmla="*/ 0 h 112"/>
                <a:gd name="T22" fmla="*/ 18 w 46"/>
                <a:gd name="T23" fmla="*/ 4 h 112"/>
                <a:gd name="T24" fmla="*/ 28 w 46"/>
                <a:gd name="T25" fmla="*/ 16 h 112"/>
                <a:gd name="T26" fmla="*/ 28 w 46"/>
                <a:gd name="T27" fmla="*/ 24 h 112"/>
                <a:gd name="T28" fmla="*/ 28 w 46"/>
                <a:gd name="T29" fmla="*/ 30 h 112"/>
                <a:gd name="T30" fmla="*/ 24 w 46"/>
                <a:gd name="T31" fmla="*/ 40 h 112"/>
                <a:gd name="T32" fmla="*/ 24 w 46"/>
                <a:gd name="T33" fmla="*/ 46 h 112"/>
                <a:gd name="T34" fmla="*/ 24 w 46"/>
                <a:gd name="T35" fmla="*/ 48 h 112"/>
                <a:gd name="T36" fmla="*/ 26 w 46"/>
                <a:gd name="T37" fmla="*/ 52 h 112"/>
                <a:gd name="T38" fmla="*/ 34 w 46"/>
                <a:gd name="T39" fmla="*/ 60 h 112"/>
                <a:gd name="T40" fmla="*/ 40 w 46"/>
                <a:gd name="T41" fmla="*/ 70 h 112"/>
                <a:gd name="T42" fmla="*/ 42 w 46"/>
                <a:gd name="T43" fmla="*/ 76 h 112"/>
                <a:gd name="T44" fmla="*/ 46 w 46"/>
                <a:gd name="T45" fmla="*/ 86 h 112"/>
                <a:gd name="T46" fmla="*/ 46 w 46"/>
                <a:gd name="T47" fmla="*/ 92 h 112"/>
                <a:gd name="T48" fmla="*/ 46 w 46"/>
                <a:gd name="T49" fmla="*/ 92 h 112"/>
                <a:gd name="T50" fmla="*/ 42 w 46"/>
                <a:gd name="T51" fmla="*/ 96 h 112"/>
                <a:gd name="T52" fmla="*/ 38 w 46"/>
                <a:gd name="T53" fmla="*/ 98 h 112"/>
                <a:gd name="T54" fmla="*/ 36 w 46"/>
                <a:gd name="T55" fmla="*/ 102 h 112"/>
                <a:gd name="T56" fmla="*/ 34 w 46"/>
                <a:gd name="T57" fmla="*/ 108 h 112"/>
                <a:gd name="T58" fmla="*/ 32 w 46"/>
                <a:gd name="T59" fmla="*/ 110 h 112"/>
                <a:gd name="T60" fmla="*/ 28 w 46"/>
                <a:gd name="T61" fmla="*/ 112 h 112"/>
                <a:gd name="T62" fmla="*/ 24 w 46"/>
                <a:gd name="T63" fmla="*/ 112 h 112"/>
                <a:gd name="T64" fmla="*/ 22 w 46"/>
                <a:gd name="T65" fmla="*/ 112 h 112"/>
                <a:gd name="T66" fmla="*/ 18 w 46"/>
                <a:gd name="T67" fmla="*/ 110 h 112"/>
                <a:gd name="T68" fmla="*/ 16 w 46"/>
                <a:gd name="T69" fmla="*/ 106 h 112"/>
                <a:gd name="T70" fmla="*/ 16 w 46"/>
                <a:gd name="T71" fmla="*/ 104 h 112"/>
                <a:gd name="T72" fmla="*/ 18 w 46"/>
                <a:gd name="T73" fmla="*/ 98 h 112"/>
                <a:gd name="T74" fmla="*/ 22 w 46"/>
                <a:gd name="T75" fmla="*/ 90 h 112"/>
                <a:gd name="T76" fmla="*/ 22 w 46"/>
                <a:gd name="T77" fmla="*/ 84 h 112"/>
                <a:gd name="T78" fmla="*/ 22 w 46"/>
                <a:gd name="T79" fmla="*/ 80 h 112"/>
                <a:gd name="T80" fmla="*/ 20 w 46"/>
                <a:gd name="T81" fmla="*/ 78 h 112"/>
                <a:gd name="T82" fmla="*/ 16 w 46"/>
                <a:gd name="T83" fmla="*/ 78 h 112"/>
                <a:gd name="T84" fmla="*/ 10 w 46"/>
                <a:gd name="T85" fmla="*/ 76 h 112"/>
                <a:gd name="T86" fmla="*/ 0 w 46"/>
                <a:gd name="T87"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12">
                  <a:moveTo>
                    <a:pt x="0" y="70"/>
                  </a:moveTo>
                  <a:lnTo>
                    <a:pt x="0" y="70"/>
                  </a:lnTo>
                  <a:lnTo>
                    <a:pt x="0" y="68"/>
                  </a:lnTo>
                  <a:lnTo>
                    <a:pt x="0" y="64"/>
                  </a:lnTo>
                  <a:lnTo>
                    <a:pt x="0" y="60"/>
                  </a:lnTo>
                  <a:lnTo>
                    <a:pt x="0" y="54"/>
                  </a:lnTo>
                  <a:lnTo>
                    <a:pt x="0" y="50"/>
                  </a:lnTo>
                  <a:lnTo>
                    <a:pt x="0" y="48"/>
                  </a:lnTo>
                  <a:lnTo>
                    <a:pt x="2" y="46"/>
                  </a:lnTo>
                  <a:lnTo>
                    <a:pt x="2" y="44"/>
                  </a:lnTo>
                  <a:lnTo>
                    <a:pt x="2" y="44"/>
                  </a:lnTo>
                  <a:lnTo>
                    <a:pt x="2" y="42"/>
                  </a:lnTo>
                  <a:lnTo>
                    <a:pt x="4" y="42"/>
                  </a:lnTo>
                  <a:lnTo>
                    <a:pt x="6" y="40"/>
                  </a:lnTo>
                  <a:lnTo>
                    <a:pt x="8" y="40"/>
                  </a:lnTo>
                  <a:lnTo>
                    <a:pt x="8" y="38"/>
                  </a:lnTo>
                  <a:lnTo>
                    <a:pt x="10" y="38"/>
                  </a:lnTo>
                  <a:lnTo>
                    <a:pt x="10" y="38"/>
                  </a:lnTo>
                  <a:lnTo>
                    <a:pt x="10" y="36"/>
                  </a:lnTo>
                  <a:lnTo>
                    <a:pt x="10" y="36"/>
                  </a:lnTo>
                  <a:lnTo>
                    <a:pt x="10" y="34"/>
                  </a:lnTo>
                  <a:lnTo>
                    <a:pt x="10" y="34"/>
                  </a:lnTo>
                  <a:lnTo>
                    <a:pt x="10" y="32"/>
                  </a:lnTo>
                  <a:lnTo>
                    <a:pt x="10" y="30"/>
                  </a:lnTo>
                  <a:lnTo>
                    <a:pt x="8" y="28"/>
                  </a:lnTo>
                  <a:lnTo>
                    <a:pt x="8" y="24"/>
                  </a:lnTo>
                  <a:lnTo>
                    <a:pt x="6" y="22"/>
                  </a:lnTo>
                  <a:lnTo>
                    <a:pt x="6" y="20"/>
                  </a:lnTo>
                  <a:lnTo>
                    <a:pt x="6" y="18"/>
                  </a:lnTo>
                  <a:lnTo>
                    <a:pt x="6" y="14"/>
                  </a:lnTo>
                  <a:lnTo>
                    <a:pt x="6" y="8"/>
                  </a:lnTo>
                  <a:lnTo>
                    <a:pt x="8" y="0"/>
                  </a:lnTo>
                  <a:lnTo>
                    <a:pt x="10" y="0"/>
                  </a:lnTo>
                  <a:lnTo>
                    <a:pt x="12" y="2"/>
                  </a:lnTo>
                  <a:lnTo>
                    <a:pt x="14" y="2"/>
                  </a:lnTo>
                  <a:lnTo>
                    <a:pt x="18" y="4"/>
                  </a:lnTo>
                  <a:lnTo>
                    <a:pt x="22" y="6"/>
                  </a:lnTo>
                  <a:lnTo>
                    <a:pt x="26" y="10"/>
                  </a:lnTo>
                  <a:lnTo>
                    <a:pt x="28" y="16"/>
                  </a:lnTo>
                  <a:lnTo>
                    <a:pt x="28" y="20"/>
                  </a:lnTo>
                  <a:lnTo>
                    <a:pt x="28" y="22"/>
                  </a:lnTo>
                  <a:lnTo>
                    <a:pt x="28" y="24"/>
                  </a:lnTo>
                  <a:lnTo>
                    <a:pt x="28" y="26"/>
                  </a:lnTo>
                  <a:lnTo>
                    <a:pt x="28" y="26"/>
                  </a:lnTo>
                  <a:lnTo>
                    <a:pt x="28" y="30"/>
                  </a:lnTo>
                  <a:lnTo>
                    <a:pt x="26" y="34"/>
                  </a:lnTo>
                  <a:lnTo>
                    <a:pt x="26" y="36"/>
                  </a:lnTo>
                  <a:lnTo>
                    <a:pt x="24" y="40"/>
                  </a:lnTo>
                  <a:lnTo>
                    <a:pt x="24" y="42"/>
                  </a:lnTo>
                  <a:lnTo>
                    <a:pt x="24" y="44"/>
                  </a:lnTo>
                  <a:lnTo>
                    <a:pt x="24" y="46"/>
                  </a:lnTo>
                  <a:lnTo>
                    <a:pt x="24" y="46"/>
                  </a:lnTo>
                  <a:lnTo>
                    <a:pt x="24" y="48"/>
                  </a:lnTo>
                  <a:lnTo>
                    <a:pt x="24" y="48"/>
                  </a:lnTo>
                  <a:lnTo>
                    <a:pt x="24" y="50"/>
                  </a:lnTo>
                  <a:lnTo>
                    <a:pt x="26" y="50"/>
                  </a:lnTo>
                  <a:lnTo>
                    <a:pt x="26" y="52"/>
                  </a:lnTo>
                  <a:lnTo>
                    <a:pt x="28" y="54"/>
                  </a:lnTo>
                  <a:lnTo>
                    <a:pt x="30" y="56"/>
                  </a:lnTo>
                  <a:lnTo>
                    <a:pt x="34" y="60"/>
                  </a:lnTo>
                  <a:lnTo>
                    <a:pt x="36" y="64"/>
                  </a:lnTo>
                  <a:lnTo>
                    <a:pt x="38" y="66"/>
                  </a:lnTo>
                  <a:lnTo>
                    <a:pt x="40" y="70"/>
                  </a:lnTo>
                  <a:lnTo>
                    <a:pt x="40" y="72"/>
                  </a:lnTo>
                  <a:lnTo>
                    <a:pt x="42" y="74"/>
                  </a:lnTo>
                  <a:lnTo>
                    <a:pt x="42" y="76"/>
                  </a:lnTo>
                  <a:lnTo>
                    <a:pt x="44" y="80"/>
                  </a:lnTo>
                  <a:lnTo>
                    <a:pt x="44" y="82"/>
                  </a:lnTo>
                  <a:lnTo>
                    <a:pt x="46" y="86"/>
                  </a:lnTo>
                  <a:lnTo>
                    <a:pt x="46" y="88"/>
                  </a:lnTo>
                  <a:lnTo>
                    <a:pt x="46" y="90"/>
                  </a:lnTo>
                  <a:lnTo>
                    <a:pt x="46" y="92"/>
                  </a:lnTo>
                  <a:lnTo>
                    <a:pt x="46" y="92"/>
                  </a:lnTo>
                  <a:lnTo>
                    <a:pt x="46" y="92"/>
                  </a:lnTo>
                  <a:lnTo>
                    <a:pt x="46" y="92"/>
                  </a:lnTo>
                  <a:lnTo>
                    <a:pt x="44" y="94"/>
                  </a:lnTo>
                  <a:lnTo>
                    <a:pt x="44" y="94"/>
                  </a:lnTo>
                  <a:lnTo>
                    <a:pt x="42" y="96"/>
                  </a:lnTo>
                  <a:lnTo>
                    <a:pt x="42" y="96"/>
                  </a:lnTo>
                  <a:lnTo>
                    <a:pt x="38" y="98"/>
                  </a:lnTo>
                  <a:lnTo>
                    <a:pt x="38" y="98"/>
                  </a:lnTo>
                  <a:lnTo>
                    <a:pt x="36" y="100"/>
                  </a:lnTo>
                  <a:lnTo>
                    <a:pt x="36" y="100"/>
                  </a:lnTo>
                  <a:lnTo>
                    <a:pt x="36" y="102"/>
                  </a:lnTo>
                  <a:lnTo>
                    <a:pt x="34" y="104"/>
                  </a:lnTo>
                  <a:lnTo>
                    <a:pt x="34" y="106"/>
                  </a:lnTo>
                  <a:lnTo>
                    <a:pt x="34" y="108"/>
                  </a:lnTo>
                  <a:lnTo>
                    <a:pt x="32" y="110"/>
                  </a:lnTo>
                  <a:lnTo>
                    <a:pt x="32" y="110"/>
                  </a:lnTo>
                  <a:lnTo>
                    <a:pt x="32" y="110"/>
                  </a:lnTo>
                  <a:lnTo>
                    <a:pt x="32" y="110"/>
                  </a:lnTo>
                  <a:lnTo>
                    <a:pt x="30" y="112"/>
                  </a:lnTo>
                  <a:lnTo>
                    <a:pt x="28" y="112"/>
                  </a:lnTo>
                  <a:lnTo>
                    <a:pt x="28" y="112"/>
                  </a:lnTo>
                  <a:lnTo>
                    <a:pt x="26" y="112"/>
                  </a:lnTo>
                  <a:lnTo>
                    <a:pt x="24" y="112"/>
                  </a:lnTo>
                  <a:lnTo>
                    <a:pt x="24" y="112"/>
                  </a:lnTo>
                  <a:lnTo>
                    <a:pt x="22" y="112"/>
                  </a:lnTo>
                  <a:lnTo>
                    <a:pt x="22" y="112"/>
                  </a:lnTo>
                  <a:lnTo>
                    <a:pt x="20" y="110"/>
                  </a:lnTo>
                  <a:lnTo>
                    <a:pt x="20" y="110"/>
                  </a:lnTo>
                  <a:lnTo>
                    <a:pt x="18" y="110"/>
                  </a:lnTo>
                  <a:lnTo>
                    <a:pt x="18" y="108"/>
                  </a:lnTo>
                  <a:lnTo>
                    <a:pt x="18" y="108"/>
                  </a:lnTo>
                  <a:lnTo>
                    <a:pt x="16" y="106"/>
                  </a:lnTo>
                  <a:lnTo>
                    <a:pt x="16" y="106"/>
                  </a:lnTo>
                  <a:lnTo>
                    <a:pt x="16" y="104"/>
                  </a:lnTo>
                  <a:lnTo>
                    <a:pt x="16" y="104"/>
                  </a:lnTo>
                  <a:lnTo>
                    <a:pt x="16" y="102"/>
                  </a:lnTo>
                  <a:lnTo>
                    <a:pt x="18" y="100"/>
                  </a:lnTo>
                  <a:lnTo>
                    <a:pt x="18" y="98"/>
                  </a:lnTo>
                  <a:lnTo>
                    <a:pt x="20" y="94"/>
                  </a:lnTo>
                  <a:lnTo>
                    <a:pt x="20" y="92"/>
                  </a:lnTo>
                  <a:lnTo>
                    <a:pt x="22" y="90"/>
                  </a:lnTo>
                  <a:lnTo>
                    <a:pt x="22" y="88"/>
                  </a:lnTo>
                  <a:lnTo>
                    <a:pt x="22" y="84"/>
                  </a:lnTo>
                  <a:lnTo>
                    <a:pt x="22" y="84"/>
                  </a:lnTo>
                  <a:lnTo>
                    <a:pt x="22" y="82"/>
                  </a:lnTo>
                  <a:lnTo>
                    <a:pt x="22" y="80"/>
                  </a:lnTo>
                  <a:lnTo>
                    <a:pt x="22" y="80"/>
                  </a:lnTo>
                  <a:lnTo>
                    <a:pt x="22" y="80"/>
                  </a:lnTo>
                  <a:lnTo>
                    <a:pt x="22" y="78"/>
                  </a:lnTo>
                  <a:lnTo>
                    <a:pt x="20" y="78"/>
                  </a:lnTo>
                  <a:lnTo>
                    <a:pt x="20" y="78"/>
                  </a:lnTo>
                  <a:lnTo>
                    <a:pt x="18" y="78"/>
                  </a:lnTo>
                  <a:lnTo>
                    <a:pt x="16" y="78"/>
                  </a:lnTo>
                  <a:lnTo>
                    <a:pt x="14" y="76"/>
                  </a:lnTo>
                  <a:lnTo>
                    <a:pt x="12" y="76"/>
                  </a:lnTo>
                  <a:lnTo>
                    <a:pt x="10" y="76"/>
                  </a:lnTo>
                  <a:lnTo>
                    <a:pt x="8" y="74"/>
                  </a:lnTo>
                  <a:lnTo>
                    <a:pt x="4" y="74"/>
                  </a:lnTo>
                  <a:lnTo>
                    <a:pt x="0" y="7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4" name="Freeform 452"/>
            <p:cNvSpPr>
              <a:spLocks/>
            </p:cNvSpPr>
            <p:nvPr/>
          </p:nvSpPr>
          <p:spPr bwMode="auto">
            <a:xfrm>
              <a:off x="4449347" y="3537683"/>
              <a:ext cx="100460" cy="187064"/>
            </a:xfrm>
            <a:custGeom>
              <a:avLst/>
              <a:gdLst>
                <a:gd name="T0" fmla="*/ 28 w 58"/>
                <a:gd name="T1" fmla="*/ 108 h 108"/>
                <a:gd name="T2" fmla="*/ 24 w 58"/>
                <a:gd name="T3" fmla="*/ 106 h 108"/>
                <a:gd name="T4" fmla="*/ 22 w 58"/>
                <a:gd name="T5" fmla="*/ 104 h 108"/>
                <a:gd name="T6" fmla="*/ 22 w 58"/>
                <a:gd name="T7" fmla="*/ 96 h 108"/>
                <a:gd name="T8" fmla="*/ 20 w 58"/>
                <a:gd name="T9" fmla="*/ 92 h 108"/>
                <a:gd name="T10" fmla="*/ 18 w 58"/>
                <a:gd name="T11" fmla="*/ 88 h 108"/>
                <a:gd name="T12" fmla="*/ 10 w 58"/>
                <a:gd name="T13" fmla="*/ 86 h 108"/>
                <a:gd name="T14" fmla="*/ 6 w 58"/>
                <a:gd name="T15" fmla="*/ 84 h 108"/>
                <a:gd name="T16" fmla="*/ 2 w 58"/>
                <a:gd name="T17" fmla="*/ 76 h 108"/>
                <a:gd name="T18" fmla="*/ 0 w 58"/>
                <a:gd name="T19" fmla="*/ 68 h 108"/>
                <a:gd name="T20" fmla="*/ 2 w 58"/>
                <a:gd name="T21" fmla="*/ 60 h 108"/>
                <a:gd name="T22" fmla="*/ 6 w 58"/>
                <a:gd name="T23" fmla="*/ 54 h 108"/>
                <a:gd name="T24" fmla="*/ 12 w 58"/>
                <a:gd name="T25" fmla="*/ 52 h 108"/>
                <a:gd name="T26" fmla="*/ 18 w 58"/>
                <a:gd name="T27" fmla="*/ 50 h 108"/>
                <a:gd name="T28" fmla="*/ 18 w 58"/>
                <a:gd name="T29" fmla="*/ 48 h 108"/>
                <a:gd name="T30" fmla="*/ 16 w 58"/>
                <a:gd name="T31" fmla="*/ 44 h 108"/>
                <a:gd name="T32" fmla="*/ 12 w 58"/>
                <a:gd name="T33" fmla="*/ 38 h 108"/>
                <a:gd name="T34" fmla="*/ 10 w 58"/>
                <a:gd name="T35" fmla="*/ 34 h 108"/>
                <a:gd name="T36" fmla="*/ 12 w 58"/>
                <a:gd name="T37" fmla="*/ 28 h 108"/>
                <a:gd name="T38" fmla="*/ 14 w 58"/>
                <a:gd name="T39" fmla="*/ 26 h 108"/>
                <a:gd name="T40" fmla="*/ 20 w 58"/>
                <a:gd name="T41" fmla="*/ 26 h 108"/>
                <a:gd name="T42" fmla="*/ 20 w 58"/>
                <a:gd name="T43" fmla="*/ 24 h 108"/>
                <a:gd name="T44" fmla="*/ 20 w 58"/>
                <a:gd name="T45" fmla="*/ 16 h 108"/>
                <a:gd name="T46" fmla="*/ 22 w 58"/>
                <a:gd name="T47" fmla="*/ 6 h 108"/>
                <a:gd name="T48" fmla="*/ 28 w 58"/>
                <a:gd name="T49" fmla="*/ 2 h 108"/>
                <a:gd name="T50" fmla="*/ 34 w 58"/>
                <a:gd name="T51" fmla="*/ 0 h 108"/>
                <a:gd name="T52" fmla="*/ 40 w 58"/>
                <a:gd name="T53" fmla="*/ 4 h 108"/>
                <a:gd name="T54" fmla="*/ 48 w 58"/>
                <a:gd name="T55" fmla="*/ 8 h 108"/>
                <a:gd name="T56" fmla="*/ 54 w 58"/>
                <a:gd name="T57" fmla="*/ 10 h 108"/>
                <a:gd name="T58" fmla="*/ 54 w 58"/>
                <a:gd name="T59" fmla="*/ 12 h 108"/>
                <a:gd name="T60" fmla="*/ 52 w 58"/>
                <a:gd name="T61" fmla="*/ 18 h 108"/>
                <a:gd name="T62" fmla="*/ 50 w 58"/>
                <a:gd name="T63" fmla="*/ 22 h 108"/>
                <a:gd name="T64" fmla="*/ 52 w 58"/>
                <a:gd name="T65" fmla="*/ 26 h 108"/>
                <a:gd name="T66" fmla="*/ 56 w 58"/>
                <a:gd name="T67" fmla="*/ 32 h 108"/>
                <a:gd name="T68" fmla="*/ 56 w 58"/>
                <a:gd name="T69" fmla="*/ 42 h 108"/>
                <a:gd name="T70" fmla="*/ 54 w 58"/>
                <a:gd name="T71" fmla="*/ 48 h 108"/>
                <a:gd name="T72" fmla="*/ 50 w 58"/>
                <a:gd name="T73" fmla="*/ 50 h 108"/>
                <a:gd name="T74" fmla="*/ 44 w 58"/>
                <a:gd name="T75" fmla="*/ 50 h 108"/>
                <a:gd name="T76" fmla="*/ 42 w 58"/>
                <a:gd name="T77" fmla="*/ 54 h 108"/>
                <a:gd name="T78" fmla="*/ 42 w 58"/>
                <a:gd name="T79" fmla="*/ 62 h 108"/>
                <a:gd name="T80" fmla="*/ 42 w 58"/>
                <a:gd name="T81" fmla="*/ 66 h 108"/>
                <a:gd name="T82" fmla="*/ 46 w 58"/>
                <a:gd name="T83" fmla="*/ 66 h 108"/>
                <a:gd name="T84" fmla="*/ 52 w 58"/>
                <a:gd name="T85" fmla="*/ 70 h 108"/>
                <a:gd name="T86" fmla="*/ 58 w 58"/>
                <a:gd name="T87" fmla="*/ 78 h 108"/>
                <a:gd name="T88" fmla="*/ 56 w 58"/>
                <a:gd name="T89" fmla="*/ 92 h 108"/>
                <a:gd name="T90" fmla="*/ 54 w 58"/>
                <a:gd name="T91" fmla="*/ 98 h 108"/>
                <a:gd name="T92" fmla="*/ 52 w 58"/>
                <a:gd name="T93" fmla="*/ 100 h 108"/>
                <a:gd name="T94" fmla="*/ 42 w 58"/>
                <a:gd name="T9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108">
                  <a:moveTo>
                    <a:pt x="32" y="106"/>
                  </a:moveTo>
                  <a:lnTo>
                    <a:pt x="32" y="106"/>
                  </a:lnTo>
                  <a:lnTo>
                    <a:pt x="32" y="106"/>
                  </a:lnTo>
                  <a:lnTo>
                    <a:pt x="28" y="108"/>
                  </a:lnTo>
                  <a:lnTo>
                    <a:pt x="28" y="108"/>
                  </a:lnTo>
                  <a:lnTo>
                    <a:pt x="26" y="108"/>
                  </a:lnTo>
                  <a:lnTo>
                    <a:pt x="24" y="108"/>
                  </a:lnTo>
                  <a:lnTo>
                    <a:pt x="24" y="106"/>
                  </a:lnTo>
                  <a:lnTo>
                    <a:pt x="24" y="106"/>
                  </a:lnTo>
                  <a:lnTo>
                    <a:pt x="24" y="106"/>
                  </a:lnTo>
                  <a:lnTo>
                    <a:pt x="22" y="106"/>
                  </a:lnTo>
                  <a:lnTo>
                    <a:pt x="22" y="104"/>
                  </a:lnTo>
                  <a:lnTo>
                    <a:pt x="22" y="104"/>
                  </a:lnTo>
                  <a:lnTo>
                    <a:pt x="22" y="102"/>
                  </a:lnTo>
                  <a:lnTo>
                    <a:pt x="22" y="98"/>
                  </a:lnTo>
                  <a:lnTo>
                    <a:pt x="22" y="96"/>
                  </a:lnTo>
                  <a:lnTo>
                    <a:pt x="22" y="94"/>
                  </a:lnTo>
                  <a:lnTo>
                    <a:pt x="20" y="92"/>
                  </a:lnTo>
                  <a:lnTo>
                    <a:pt x="20" y="92"/>
                  </a:lnTo>
                  <a:lnTo>
                    <a:pt x="20" y="92"/>
                  </a:lnTo>
                  <a:lnTo>
                    <a:pt x="20" y="90"/>
                  </a:lnTo>
                  <a:lnTo>
                    <a:pt x="20" y="90"/>
                  </a:lnTo>
                  <a:lnTo>
                    <a:pt x="18" y="90"/>
                  </a:lnTo>
                  <a:lnTo>
                    <a:pt x="18" y="88"/>
                  </a:lnTo>
                  <a:lnTo>
                    <a:pt x="16" y="88"/>
                  </a:lnTo>
                  <a:lnTo>
                    <a:pt x="14" y="88"/>
                  </a:lnTo>
                  <a:lnTo>
                    <a:pt x="12" y="88"/>
                  </a:lnTo>
                  <a:lnTo>
                    <a:pt x="10" y="86"/>
                  </a:lnTo>
                  <a:lnTo>
                    <a:pt x="8" y="86"/>
                  </a:lnTo>
                  <a:lnTo>
                    <a:pt x="8" y="86"/>
                  </a:lnTo>
                  <a:lnTo>
                    <a:pt x="8" y="86"/>
                  </a:lnTo>
                  <a:lnTo>
                    <a:pt x="6" y="84"/>
                  </a:lnTo>
                  <a:lnTo>
                    <a:pt x="4" y="82"/>
                  </a:lnTo>
                  <a:lnTo>
                    <a:pt x="4" y="80"/>
                  </a:lnTo>
                  <a:lnTo>
                    <a:pt x="2" y="78"/>
                  </a:lnTo>
                  <a:lnTo>
                    <a:pt x="2" y="76"/>
                  </a:lnTo>
                  <a:lnTo>
                    <a:pt x="2" y="74"/>
                  </a:lnTo>
                  <a:lnTo>
                    <a:pt x="0" y="72"/>
                  </a:lnTo>
                  <a:lnTo>
                    <a:pt x="0" y="70"/>
                  </a:lnTo>
                  <a:lnTo>
                    <a:pt x="0" y="68"/>
                  </a:lnTo>
                  <a:lnTo>
                    <a:pt x="0" y="66"/>
                  </a:lnTo>
                  <a:lnTo>
                    <a:pt x="2" y="64"/>
                  </a:lnTo>
                  <a:lnTo>
                    <a:pt x="2" y="62"/>
                  </a:lnTo>
                  <a:lnTo>
                    <a:pt x="2" y="60"/>
                  </a:lnTo>
                  <a:lnTo>
                    <a:pt x="2" y="58"/>
                  </a:lnTo>
                  <a:lnTo>
                    <a:pt x="4" y="56"/>
                  </a:lnTo>
                  <a:lnTo>
                    <a:pt x="4" y="54"/>
                  </a:lnTo>
                  <a:lnTo>
                    <a:pt x="6" y="54"/>
                  </a:lnTo>
                  <a:lnTo>
                    <a:pt x="6" y="54"/>
                  </a:lnTo>
                  <a:lnTo>
                    <a:pt x="8" y="52"/>
                  </a:lnTo>
                  <a:lnTo>
                    <a:pt x="10" y="52"/>
                  </a:lnTo>
                  <a:lnTo>
                    <a:pt x="12" y="52"/>
                  </a:lnTo>
                  <a:lnTo>
                    <a:pt x="14" y="52"/>
                  </a:lnTo>
                  <a:lnTo>
                    <a:pt x="16" y="52"/>
                  </a:lnTo>
                  <a:lnTo>
                    <a:pt x="18" y="50"/>
                  </a:lnTo>
                  <a:lnTo>
                    <a:pt x="18" y="50"/>
                  </a:lnTo>
                  <a:lnTo>
                    <a:pt x="18" y="50"/>
                  </a:lnTo>
                  <a:lnTo>
                    <a:pt x="18" y="50"/>
                  </a:lnTo>
                  <a:lnTo>
                    <a:pt x="18" y="48"/>
                  </a:lnTo>
                  <a:lnTo>
                    <a:pt x="18" y="48"/>
                  </a:lnTo>
                  <a:lnTo>
                    <a:pt x="18" y="48"/>
                  </a:lnTo>
                  <a:lnTo>
                    <a:pt x="18" y="46"/>
                  </a:lnTo>
                  <a:lnTo>
                    <a:pt x="16" y="46"/>
                  </a:lnTo>
                  <a:lnTo>
                    <a:pt x="16" y="44"/>
                  </a:lnTo>
                  <a:lnTo>
                    <a:pt x="14" y="42"/>
                  </a:lnTo>
                  <a:lnTo>
                    <a:pt x="12" y="40"/>
                  </a:lnTo>
                  <a:lnTo>
                    <a:pt x="12" y="40"/>
                  </a:lnTo>
                  <a:lnTo>
                    <a:pt x="12" y="38"/>
                  </a:lnTo>
                  <a:lnTo>
                    <a:pt x="10" y="38"/>
                  </a:lnTo>
                  <a:lnTo>
                    <a:pt x="10" y="36"/>
                  </a:lnTo>
                  <a:lnTo>
                    <a:pt x="10" y="36"/>
                  </a:lnTo>
                  <a:lnTo>
                    <a:pt x="10" y="34"/>
                  </a:lnTo>
                  <a:lnTo>
                    <a:pt x="12" y="32"/>
                  </a:lnTo>
                  <a:lnTo>
                    <a:pt x="12" y="30"/>
                  </a:lnTo>
                  <a:lnTo>
                    <a:pt x="12" y="28"/>
                  </a:lnTo>
                  <a:lnTo>
                    <a:pt x="12" y="28"/>
                  </a:lnTo>
                  <a:lnTo>
                    <a:pt x="14" y="28"/>
                  </a:lnTo>
                  <a:lnTo>
                    <a:pt x="14" y="26"/>
                  </a:lnTo>
                  <a:lnTo>
                    <a:pt x="14" y="26"/>
                  </a:lnTo>
                  <a:lnTo>
                    <a:pt x="14" y="26"/>
                  </a:lnTo>
                  <a:lnTo>
                    <a:pt x="16" y="26"/>
                  </a:lnTo>
                  <a:lnTo>
                    <a:pt x="18" y="28"/>
                  </a:lnTo>
                  <a:lnTo>
                    <a:pt x="20" y="28"/>
                  </a:lnTo>
                  <a:lnTo>
                    <a:pt x="20" y="26"/>
                  </a:lnTo>
                  <a:lnTo>
                    <a:pt x="20" y="26"/>
                  </a:lnTo>
                  <a:lnTo>
                    <a:pt x="20" y="26"/>
                  </a:lnTo>
                  <a:lnTo>
                    <a:pt x="20" y="24"/>
                  </a:lnTo>
                  <a:lnTo>
                    <a:pt x="20" y="24"/>
                  </a:lnTo>
                  <a:lnTo>
                    <a:pt x="20" y="22"/>
                  </a:lnTo>
                  <a:lnTo>
                    <a:pt x="20" y="20"/>
                  </a:lnTo>
                  <a:lnTo>
                    <a:pt x="20" y="20"/>
                  </a:lnTo>
                  <a:lnTo>
                    <a:pt x="20" y="16"/>
                  </a:lnTo>
                  <a:lnTo>
                    <a:pt x="20" y="14"/>
                  </a:lnTo>
                  <a:lnTo>
                    <a:pt x="18" y="10"/>
                  </a:lnTo>
                  <a:lnTo>
                    <a:pt x="18" y="8"/>
                  </a:lnTo>
                  <a:lnTo>
                    <a:pt x="22" y="6"/>
                  </a:lnTo>
                  <a:lnTo>
                    <a:pt x="24" y="2"/>
                  </a:lnTo>
                  <a:lnTo>
                    <a:pt x="26" y="2"/>
                  </a:lnTo>
                  <a:lnTo>
                    <a:pt x="28" y="2"/>
                  </a:lnTo>
                  <a:lnTo>
                    <a:pt x="28" y="2"/>
                  </a:lnTo>
                  <a:lnTo>
                    <a:pt x="30" y="0"/>
                  </a:lnTo>
                  <a:lnTo>
                    <a:pt x="34" y="0"/>
                  </a:lnTo>
                  <a:lnTo>
                    <a:pt x="34" y="0"/>
                  </a:lnTo>
                  <a:lnTo>
                    <a:pt x="34" y="0"/>
                  </a:lnTo>
                  <a:lnTo>
                    <a:pt x="36" y="2"/>
                  </a:lnTo>
                  <a:lnTo>
                    <a:pt x="36" y="2"/>
                  </a:lnTo>
                  <a:lnTo>
                    <a:pt x="38" y="4"/>
                  </a:lnTo>
                  <a:lnTo>
                    <a:pt x="40" y="4"/>
                  </a:lnTo>
                  <a:lnTo>
                    <a:pt x="42" y="6"/>
                  </a:lnTo>
                  <a:lnTo>
                    <a:pt x="44" y="6"/>
                  </a:lnTo>
                  <a:lnTo>
                    <a:pt x="44" y="8"/>
                  </a:lnTo>
                  <a:lnTo>
                    <a:pt x="48" y="8"/>
                  </a:lnTo>
                  <a:lnTo>
                    <a:pt x="50" y="8"/>
                  </a:lnTo>
                  <a:lnTo>
                    <a:pt x="52" y="10"/>
                  </a:lnTo>
                  <a:lnTo>
                    <a:pt x="52" y="10"/>
                  </a:lnTo>
                  <a:lnTo>
                    <a:pt x="54" y="10"/>
                  </a:lnTo>
                  <a:lnTo>
                    <a:pt x="54" y="10"/>
                  </a:lnTo>
                  <a:lnTo>
                    <a:pt x="54" y="10"/>
                  </a:lnTo>
                  <a:lnTo>
                    <a:pt x="54" y="12"/>
                  </a:lnTo>
                  <a:lnTo>
                    <a:pt x="54" y="12"/>
                  </a:lnTo>
                  <a:lnTo>
                    <a:pt x="54" y="14"/>
                  </a:lnTo>
                  <a:lnTo>
                    <a:pt x="54" y="14"/>
                  </a:lnTo>
                  <a:lnTo>
                    <a:pt x="52" y="16"/>
                  </a:lnTo>
                  <a:lnTo>
                    <a:pt x="52" y="18"/>
                  </a:lnTo>
                  <a:lnTo>
                    <a:pt x="50" y="20"/>
                  </a:lnTo>
                  <a:lnTo>
                    <a:pt x="50" y="20"/>
                  </a:lnTo>
                  <a:lnTo>
                    <a:pt x="50" y="22"/>
                  </a:lnTo>
                  <a:lnTo>
                    <a:pt x="50" y="22"/>
                  </a:lnTo>
                  <a:lnTo>
                    <a:pt x="50" y="24"/>
                  </a:lnTo>
                  <a:lnTo>
                    <a:pt x="52" y="24"/>
                  </a:lnTo>
                  <a:lnTo>
                    <a:pt x="52" y="26"/>
                  </a:lnTo>
                  <a:lnTo>
                    <a:pt x="52" y="26"/>
                  </a:lnTo>
                  <a:lnTo>
                    <a:pt x="54" y="28"/>
                  </a:lnTo>
                  <a:lnTo>
                    <a:pt x="56" y="30"/>
                  </a:lnTo>
                  <a:lnTo>
                    <a:pt x="56" y="30"/>
                  </a:lnTo>
                  <a:lnTo>
                    <a:pt x="56" y="32"/>
                  </a:lnTo>
                  <a:lnTo>
                    <a:pt x="56" y="34"/>
                  </a:lnTo>
                  <a:lnTo>
                    <a:pt x="56" y="38"/>
                  </a:lnTo>
                  <a:lnTo>
                    <a:pt x="56" y="40"/>
                  </a:lnTo>
                  <a:lnTo>
                    <a:pt x="56" y="42"/>
                  </a:lnTo>
                  <a:lnTo>
                    <a:pt x="56" y="44"/>
                  </a:lnTo>
                  <a:lnTo>
                    <a:pt x="54" y="46"/>
                  </a:lnTo>
                  <a:lnTo>
                    <a:pt x="54" y="48"/>
                  </a:lnTo>
                  <a:lnTo>
                    <a:pt x="54" y="48"/>
                  </a:lnTo>
                  <a:lnTo>
                    <a:pt x="54" y="48"/>
                  </a:lnTo>
                  <a:lnTo>
                    <a:pt x="52" y="48"/>
                  </a:lnTo>
                  <a:lnTo>
                    <a:pt x="52" y="50"/>
                  </a:lnTo>
                  <a:lnTo>
                    <a:pt x="50" y="50"/>
                  </a:lnTo>
                  <a:lnTo>
                    <a:pt x="48" y="50"/>
                  </a:lnTo>
                  <a:lnTo>
                    <a:pt x="48" y="50"/>
                  </a:lnTo>
                  <a:lnTo>
                    <a:pt x="46" y="50"/>
                  </a:lnTo>
                  <a:lnTo>
                    <a:pt x="44" y="50"/>
                  </a:lnTo>
                  <a:lnTo>
                    <a:pt x="44" y="52"/>
                  </a:lnTo>
                  <a:lnTo>
                    <a:pt x="44" y="52"/>
                  </a:lnTo>
                  <a:lnTo>
                    <a:pt x="42" y="52"/>
                  </a:lnTo>
                  <a:lnTo>
                    <a:pt x="42" y="54"/>
                  </a:lnTo>
                  <a:lnTo>
                    <a:pt x="42" y="56"/>
                  </a:lnTo>
                  <a:lnTo>
                    <a:pt x="42" y="58"/>
                  </a:lnTo>
                  <a:lnTo>
                    <a:pt x="42" y="60"/>
                  </a:lnTo>
                  <a:lnTo>
                    <a:pt x="42" y="62"/>
                  </a:lnTo>
                  <a:lnTo>
                    <a:pt x="42" y="64"/>
                  </a:lnTo>
                  <a:lnTo>
                    <a:pt x="42" y="64"/>
                  </a:lnTo>
                  <a:lnTo>
                    <a:pt x="42" y="66"/>
                  </a:lnTo>
                  <a:lnTo>
                    <a:pt x="42" y="66"/>
                  </a:lnTo>
                  <a:lnTo>
                    <a:pt x="44" y="66"/>
                  </a:lnTo>
                  <a:lnTo>
                    <a:pt x="44" y="66"/>
                  </a:lnTo>
                  <a:lnTo>
                    <a:pt x="46" y="66"/>
                  </a:lnTo>
                  <a:lnTo>
                    <a:pt x="46" y="66"/>
                  </a:lnTo>
                  <a:lnTo>
                    <a:pt x="50" y="68"/>
                  </a:lnTo>
                  <a:lnTo>
                    <a:pt x="50" y="68"/>
                  </a:lnTo>
                  <a:lnTo>
                    <a:pt x="52" y="68"/>
                  </a:lnTo>
                  <a:lnTo>
                    <a:pt x="52" y="70"/>
                  </a:lnTo>
                  <a:lnTo>
                    <a:pt x="52" y="70"/>
                  </a:lnTo>
                  <a:lnTo>
                    <a:pt x="54" y="72"/>
                  </a:lnTo>
                  <a:lnTo>
                    <a:pt x="58" y="76"/>
                  </a:lnTo>
                  <a:lnTo>
                    <a:pt x="58" y="78"/>
                  </a:lnTo>
                  <a:lnTo>
                    <a:pt x="58" y="82"/>
                  </a:lnTo>
                  <a:lnTo>
                    <a:pt x="58" y="86"/>
                  </a:lnTo>
                  <a:lnTo>
                    <a:pt x="58" y="88"/>
                  </a:lnTo>
                  <a:lnTo>
                    <a:pt x="56" y="92"/>
                  </a:lnTo>
                  <a:lnTo>
                    <a:pt x="56" y="94"/>
                  </a:lnTo>
                  <a:lnTo>
                    <a:pt x="56" y="96"/>
                  </a:lnTo>
                  <a:lnTo>
                    <a:pt x="56" y="98"/>
                  </a:lnTo>
                  <a:lnTo>
                    <a:pt x="54" y="98"/>
                  </a:lnTo>
                  <a:lnTo>
                    <a:pt x="54" y="98"/>
                  </a:lnTo>
                  <a:lnTo>
                    <a:pt x="52" y="100"/>
                  </a:lnTo>
                  <a:lnTo>
                    <a:pt x="52" y="100"/>
                  </a:lnTo>
                  <a:lnTo>
                    <a:pt x="52" y="100"/>
                  </a:lnTo>
                  <a:lnTo>
                    <a:pt x="48" y="100"/>
                  </a:lnTo>
                  <a:lnTo>
                    <a:pt x="48" y="100"/>
                  </a:lnTo>
                  <a:lnTo>
                    <a:pt x="46" y="100"/>
                  </a:lnTo>
                  <a:lnTo>
                    <a:pt x="42" y="102"/>
                  </a:lnTo>
                  <a:lnTo>
                    <a:pt x="38" y="104"/>
                  </a:lnTo>
                  <a:lnTo>
                    <a:pt x="32" y="10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5" name="Freeform 453"/>
            <p:cNvSpPr>
              <a:spLocks/>
            </p:cNvSpPr>
            <p:nvPr/>
          </p:nvSpPr>
          <p:spPr bwMode="auto">
            <a:xfrm>
              <a:off x="4449347" y="3537683"/>
              <a:ext cx="100460" cy="187064"/>
            </a:xfrm>
            <a:custGeom>
              <a:avLst/>
              <a:gdLst>
                <a:gd name="T0" fmla="*/ 28 w 58"/>
                <a:gd name="T1" fmla="*/ 108 h 108"/>
                <a:gd name="T2" fmla="*/ 24 w 58"/>
                <a:gd name="T3" fmla="*/ 106 h 108"/>
                <a:gd name="T4" fmla="*/ 22 w 58"/>
                <a:gd name="T5" fmla="*/ 104 h 108"/>
                <a:gd name="T6" fmla="*/ 22 w 58"/>
                <a:gd name="T7" fmla="*/ 96 h 108"/>
                <a:gd name="T8" fmla="*/ 20 w 58"/>
                <a:gd name="T9" fmla="*/ 92 h 108"/>
                <a:gd name="T10" fmla="*/ 18 w 58"/>
                <a:gd name="T11" fmla="*/ 88 h 108"/>
                <a:gd name="T12" fmla="*/ 10 w 58"/>
                <a:gd name="T13" fmla="*/ 86 h 108"/>
                <a:gd name="T14" fmla="*/ 6 w 58"/>
                <a:gd name="T15" fmla="*/ 84 h 108"/>
                <a:gd name="T16" fmla="*/ 2 w 58"/>
                <a:gd name="T17" fmla="*/ 76 h 108"/>
                <a:gd name="T18" fmla="*/ 0 w 58"/>
                <a:gd name="T19" fmla="*/ 68 h 108"/>
                <a:gd name="T20" fmla="*/ 2 w 58"/>
                <a:gd name="T21" fmla="*/ 60 h 108"/>
                <a:gd name="T22" fmla="*/ 6 w 58"/>
                <a:gd name="T23" fmla="*/ 54 h 108"/>
                <a:gd name="T24" fmla="*/ 12 w 58"/>
                <a:gd name="T25" fmla="*/ 52 h 108"/>
                <a:gd name="T26" fmla="*/ 18 w 58"/>
                <a:gd name="T27" fmla="*/ 50 h 108"/>
                <a:gd name="T28" fmla="*/ 18 w 58"/>
                <a:gd name="T29" fmla="*/ 48 h 108"/>
                <a:gd name="T30" fmla="*/ 16 w 58"/>
                <a:gd name="T31" fmla="*/ 44 h 108"/>
                <a:gd name="T32" fmla="*/ 12 w 58"/>
                <a:gd name="T33" fmla="*/ 38 h 108"/>
                <a:gd name="T34" fmla="*/ 10 w 58"/>
                <a:gd name="T35" fmla="*/ 34 h 108"/>
                <a:gd name="T36" fmla="*/ 12 w 58"/>
                <a:gd name="T37" fmla="*/ 28 h 108"/>
                <a:gd name="T38" fmla="*/ 14 w 58"/>
                <a:gd name="T39" fmla="*/ 26 h 108"/>
                <a:gd name="T40" fmla="*/ 20 w 58"/>
                <a:gd name="T41" fmla="*/ 26 h 108"/>
                <a:gd name="T42" fmla="*/ 20 w 58"/>
                <a:gd name="T43" fmla="*/ 24 h 108"/>
                <a:gd name="T44" fmla="*/ 20 w 58"/>
                <a:gd name="T45" fmla="*/ 16 h 108"/>
                <a:gd name="T46" fmla="*/ 22 w 58"/>
                <a:gd name="T47" fmla="*/ 6 h 108"/>
                <a:gd name="T48" fmla="*/ 28 w 58"/>
                <a:gd name="T49" fmla="*/ 2 h 108"/>
                <a:gd name="T50" fmla="*/ 34 w 58"/>
                <a:gd name="T51" fmla="*/ 0 h 108"/>
                <a:gd name="T52" fmla="*/ 40 w 58"/>
                <a:gd name="T53" fmla="*/ 4 h 108"/>
                <a:gd name="T54" fmla="*/ 48 w 58"/>
                <a:gd name="T55" fmla="*/ 8 h 108"/>
                <a:gd name="T56" fmla="*/ 54 w 58"/>
                <a:gd name="T57" fmla="*/ 10 h 108"/>
                <a:gd name="T58" fmla="*/ 54 w 58"/>
                <a:gd name="T59" fmla="*/ 12 h 108"/>
                <a:gd name="T60" fmla="*/ 52 w 58"/>
                <a:gd name="T61" fmla="*/ 18 h 108"/>
                <a:gd name="T62" fmla="*/ 50 w 58"/>
                <a:gd name="T63" fmla="*/ 22 h 108"/>
                <a:gd name="T64" fmla="*/ 52 w 58"/>
                <a:gd name="T65" fmla="*/ 26 h 108"/>
                <a:gd name="T66" fmla="*/ 56 w 58"/>
                <a:gd name="T67" fmla="*/ 32 h 108"/>
                <a:gd name="T68" fmla="*/ 56 w 58"/>
                <a:gd name="T69" fmla="*/ 42 h 108"/>
                <a:gd name="T70" fmla="*/ 54 w 58"/>
                <a:gd name="T71" fmla="*/ 48 h 108"/>
                <a:gd name="T72" fmla="*/ 50 w 58"/>
                <a:gd name="T73" fmla="*/ 50 h 108"/>
                <a:gd name="T74" fmla="*/ 44 w 58"/>
                <a:gd name="T75" fmla="*/ 50 h 108"/>
                <a:gd name="T76" fmla="*/ 42 w 58"/>
                <a:gd name="T77" fmla="*/ 54 h 108"/>
                <a:gd name="T78" fmla="*/ 42 w 58"/>
                <a:gd name="T79" fmla="*/ 62 h 108"/>
                <a:gd name="T80" fmla="*/ 42 w 58"/>
                <a:gd name="T81" fmla="*/ 66 h 108"/>
                <a:gd name="T82" fmla="*/ 46 w 58"/>
                <a:gd name="T83" fmla="*/ 66 h 108"/>
                <a:gd name="T84" fmla="*/ 52 w 58"/>
                <a:gd name="T85" fmla="*/ 70 h 108"/>
                <a:gd name="T86" fmla="*/ 58 w 58"/>
                <a:gd name="T87" fmla="*/ 78 h 108"/>
                <a:gd name="T88" fmla="*/ 56 w 58"/>
                <a:gd name="T89" fmla="*/ 92 h 108"/>
                <a:gd name="T90" fmla="*/ 54 w 58"/>
                <a:gd name="T91" fmla="*/ 98 h 108"/>
                <a:gd name="T92" fmla="*/ 52 w 58"/>
                <a:gd name="T93" fmla="*/ 100 h 108"/>
                <a:gd name="T94" fmla="*/ 42 w 58"/>
                <a:gd name="T9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108">
                  <a:moveTo>
                    <a:pt x="32" y="106"/>
                  </a:moveTo>
                  <a:lnTo>
                    <a:pt x="32" y="106"/>
                  </a:lnTo>
                  <a:lnTo>
                    <a:pt x="32" y="106"/>
                  </a:lnTo>
                  <a:lnTo>
                    <a:pt x="28" y="108"/>
                  </a:lnTo>
                  <a:lnTo>
                    <a:pt x="28" y="108"/>
                  </a:lnTo>
                  <a:lnTo>
                    <a:pt x="26" y="108"/>
                  </a:lnTo>
                  <a:lnTo>
                    <a:pt x="24" y="108"/>
                  </a:lnTo>
                  <a:lnTo>
                    <a:pt x="24" y="106"/>
                  </a:lnTo>
                  <a:lnTo>
                    <a:pt x="24" y="106"/>
                  </a:lnTo>
                  <a:lnTo>
                    <a:pt x="24" y="106"/>
                  </a:lnTo>
                  <a:lnTo>
                    <a:pt x="22" y="106"/>
                  </a:lnTo>
                  <a:lnTo>
                    <a:pt x="22" y="104"/>
                  </a:lnTo>
                  <a:lnTo>
                    <a:pt x="22" y="104"/>
                  </a:lnTo>
                  <a:lnTo>
                    <a:pt x="22" y="102"/>
                  </a:lnTo>
                  <a:lnTo>
                    <a:pt x="22" y="98"/>
                  </a:lnTo>
                  <a:lnTo>
                    <a:pt x="22" y="96"/>
                  </a:lnTo>
                  <a:lnTo>
                    <a:pt x="22" y="94"/>
                  </a:lnTo>
                  <a:lnTo>
                    <a:pt x="20" y="92"/>
                  </a:lnTo>
                  <a:lnTo>
                    <a:pt x="20" y="92"/>
                  </a:lnTo>
                  <a:lnTo>
                    <a:pt x="20" y="92"/>
                  </a:lnTo>
                  <a:lnTo>
                    <a:pt x="20" y="90"/>
                  </a:lnTo>
                  <a:lnTo>
                    <a:pt x="20" y="90"/>
                  </a:lnTo>
                  <a:lnTo>
                    <a:pt x="18" y="90"/>
                  </a:lnTo>
                  <a:lnTo>
                    <a:pt x="18" y="88"/>
                  </a:lnTo>
                  <a:lnTo>
                    <a:pt x="16" y="88"/>
                  </a:lnTo>
                  <a:lnTo>
                    <a:pt x="14" y="88"/>
                  </a:lnTo>
                  <a:lnTo>
                    <a:pt x="12" y="88"/>
                  </a:lnTo>
                  <a:lnTo>
                    <a:pt x="10" y="86"/>
                  </a:lnTo>
                  <a:lnTo>
                    <a:pt x="8" y="86"/>
                  </a:lnTo>
                  <a:lnTo>
                    <a:pt x="8" y="86"/>
                  </a:lnTo>
                  <a:lnTo>
                    <a:pt x="8" y="86"/>
                  </a:lnTo>
                  <a:lnTo>
                    <a:pt x="6" y="84"/>
                  </a:lnTo>
                  <a:lnTo>
                    <a:pt x="4" y="82"/>
                  </a:lnTo>
                  <a:lnTo>
                    <a:pt x="4" y="80"/>
                  </a:lnTo>
                  <a:lnTo>
                    <a:pt x="2" y="78"/>
                  </a:lnTo>
                  <a:lnTo>
                    <a:pt x="2" y="76"/>
                  </a:lnTo>
                  <a:lnTo>
                    <a:pt x="2" y="74"/>
                  </a:lnTo>
                  <a:lnTo>
                    <a:pt x="0" y="72"/>
                  </a:lnTo>
                  <a:lnTo>
                    <a:pt x="0" y="70"/>
                  </a:lnTo>
                  <a:lnTo>
                    <a:pt x="0" y="68"/>
                  </a:lnTo>
                  <a:lnTo>
                    <a:pt x="0" y="66"/>
                  </a:lnTo>
                  <a:lnTo>
                    <a:pt x="2" y="64"/>
                  </a:lnTo>
                  <a:lnTo>
                    <a:pt x="2" y="62"/>
                  </a:lnTo>
                  <a:lnTo>
                    <a:pt x="2" y="60"/>
                  </a:lnTo>
                  <a:lnTo>
                    <a:pt x="2" y="58"/>
                  </a:lnTo>
                  <a:lnTo>
                    <a:pt x="4" y="56"/>
                  </a:lnTo>
                  <a:lnTo>
                    <a:pt x="4" y="54"/>
                  </a:lnTo>
                  <a:lnTo>
                    <a:pt x="6" y="54"/>
                  </a:lnTo>
                  <a:lnTo>
                    <a:pt x="6" y="54"/>
                  </a:lnTo>
                  <a:lnTo>
                    <a:pt x="8" y="52"/>
                  </a:lnTo>
                  <a:lnTo>
                    <a:pt x="10" y="52"/>
                  </a:lnTo>
                  <a:lnTo>
                    <a:pt x="12" y="52"/>
                  </a:lnTo>
                  <a:lnTo>
                    <a:pt x="14" y="52"/>
                  </a:lnTo>
                  <a:lnTo>
                    <a:pt x="16" y="52"/>
                  </a:lnTo>
                  <a:lnTo>
                    <a:pt x="18" y="50"/>
                  </a:lnTo>
                  <a:lnTo>
                    <a:pt x="18" y="50"/>
                  </a:lnTo>
                  <a:lnTo>
                    <a:pt x="18" y="50"/>
                  </a:lnTo>
                  <a:lnTo>
                    <a:pt x="18" y="50"/>
                  </a:lnTo>
                  <a:lnTo>
                    <a:pt x="18" y="48"/>
                  </a:lnTo>
                  <a:lnTo>
                    <a:pt x="18" y="48"/>
                  </a:lnTo>
                  <a:lnTo>
                    <a:pt x="18" y="48"/>
                  </a:lnTo>
                  <a:lnTo>
                    <a:pt x="18" y="46"/>
                  </a:lnTo>
                  <a:lnTo>
                    <a:pt x="16" y="46"/>
                  </a:lnTo>
                  <a:lnTo>
                    <a:pt x="16" y="44"/>
                  </a:lnTo>
                  <a:lnTo>
                    <a:pt x="14" y="42"/>
                  </a:lnTo>
                  <a:lnTo>
                    <a:pt x="12" y="40"/>
                  </a:lnTo>
                  <a:lnTo>
                    <a:pt x="12" y="40"/>
                  </a:lnTo>
                  <a:lnTo>
                    <a:pt x="12" y="38"/>
                  </a:lnTo>
                  <a:lnTo>
                    <a:pt x="10" y="38"/>
                  </a:lnTo>
                  <a:lnTo>
                    <a:pt x="10" y="36"/>
                  </a:lnTo>
                  <a:lnTo>
                    <a:pt x="10" y="36"/>
                  </a:lnTo>
                  <a:lnTo>
                    <a:pt x="10" y="34"/>
                  </a:lnTo>
                  <a:lnTo>
                    <a:pt x="12" y="32"/>
                  </a:lnTo>
                  <a:lnTo>
                    <a:pt x="12" y="30"/>
                  </a:lnTo>
                  <a:lnTo>
                    <a:pt x="12" y="28"/>
                  </a:lnTo>
                  <a:lnTo>
                    <a:pt x="12" y="28"/>
                  </a:lnTo>
                  <a:lnTo>
                    <a:pt x="14" y="28"/>
                  </a:lnTo>
                  <a:lnTo>
                    <a:pt x="14" y="26"/>
                  </a:lnTo>
                  <a:lnTo>
                    <a:pt x="14" y="26"/>
                  </a:lnTo>
                  <a:lnTo>
                    <a:pt x="14" y="26"/>
                  </a:lnTo>
                  <a:lnTo>
                    <a:pt x="16" y="26"/>
                  </a:lnTo>
                  <a:lnTo>
                    <a:pt x="18" y="28"/>
                  </a:lnTo>
                  <a:lnTo>
                    <a:pt x="20" y="28"/>
                  </a:lnTo>
                  <a:lnTo>
                    <a:pt x="20" y="26"/>
                  </a:lnTo>
                  <a:lnTo>
                    <a:pt x="20" y="26"/>
                  </a:lnTo>
                  <a:lnTo>
                    <a:pt x="20" y="26"/>
                  </a:lnTo>
                  <a:lnTo>
                    <a:pt x="20" y="24"/>
                  </a:lnTo>
                  <a:lnTo>
                    <a:pt x="20" y="24"/>
                  </a:lnTo>
                  <a:lnTo>
                    <a:pt x="20" y="22"/>
                  </a:lnTo>
                  <a:lnTo>
                    <a:pt x="20" y="20"/>
                  </a:lnTo>
                  <a:lnTo>
                    <a:pt x="20" y="20"/>
                  </a:lnTo>
                  <a:lnTo>
                    <a:pt x="20" y="16"/>
                  </a:lnTo>
                  <a:lnTo>
                    <a:pt x="20" y="14"/>
                  </a:lnTo>
                  <a:lnTo>
                    <a:pt x="18" y="10"/>
                  </a:lnTo>
                  <a:lnTo>
                    <a:pt x="18" y="8"/>
                  </a:lnTo>
                  <a:lnTo>
                    <a:pt x="22" y="6"/>
                  </a:lnTo>
                  <a:lnTo>
                    <a:pt x="24" y="2"/>
                  </a:lnTo>
                  <a:lnTo>
                    <a:pt x="26" y="2"/>
                  </a:lnTo>
                  <a:lnTo>
                    <a:pt x="28" y="2"/>
                  </a:lnTo>
                  <a:lnTo>
                    <a:pt x="28" y="2"/>
                  </a:lnTo>
                  <a:lnTo>
                    <a:pt x="30" y="0"/>
                  </a:lnTo>
                  <a:lnTo>
                    <a:pt x="34" y="0"/>
                  </a:lnTo>
                  <a:lnTo>
                    <a:pt x="34" y="0"/>
                  </a:lnTo>
                  <a:lnTo>
                    <a:pt x="34" y="0"/>
                  </a:lnTo>
                  <a:lnTo>
                    <a:pt x="36" y="2"/>
                  </a:lnTo>
                  <a:lnTo>
                    <a:pt x="36" y="2"/>
                  </a:lnTo>
                  <a:lnTo>
                    <a:pt x="38" y="4"/>
                  </a:lnTo>
                  <a:lnTo>
                    <a:pt x="40" y="4"/>
                  </a:lnTo>
                  <a:lnTo>
                    <a:pt x="42" y="6"/>
                  </a:lnTo>
                  <a:lnTo>
                    <a:pt x="44" y="6"/>
                  </a:lnTo>
                  <a:lnTo>
                    <a:pt x="44" y="8"/>
                  </a:lnTo>
                  <a:lnTo>
                    <a:pt x="48" y="8"/>
                  </a:lnTo>
                  <a:lnTo>
                    <a:pt x="50" y="8"/>
                  </a:lnTo>
                  <a:lnTo>
                    <a:pt x="52" y="10"/>
                  </a:lnTo>
                  <a:lnTo>
                    <a:pt x="52" y="10"/>
                  </a:lnTo>
                  <a:lnTo>
                    <a:pt x="54" y="10"/>
                  </a:lnTo>
                  <a:lnTo>
                    <a:pt x="54" y="10"/>
                  </a:lnTo>
                  <a:lnTo>
                    <a:pt x="54" y="10"/>
                  </a:lnTo>
                  <a:lnTo>
                    <a:pt x="54" y="12"/>
                  </a:lnTo>
                  <a:lnTo>
                    <a:pt x="54" y="12"/>
                  </a:lnTo>
                  <a:lnTo>
                    <a:pt x="54" y="14"/>
                  </a:lnTo>
                  <a:lnTo>
                    <a:pt x="54" y="14"/>
                  </a:lnTo>
                  <a:lnTo>
                    <a:pt x="52" y="16"/>
                  </a:lnTo>
                  <a:lnTo>
                    <a:pt x="52" y="18"/>
                  </a:lnTo>
                  <a:lnTo>
                    <a:pt x="50" y="20"/>
                  </a:lnTo>
                  <a:lnTo>
                    <a:pt x="50" y="20"/>
                  </a:lnTo>
                  <a:lnTo>
                    <a:pt x="50" y="22"/>
                  </a:lnTo>
                  <a:lnTo>
                    <a:pt x="50" y="22"/>
                  </a:lnTo>
                  <a:lnTo>
                    <a:pt x="50" y="24"/>
                  </a:lnTo>
                  <a:lnTo>
                    <a:pt x="52" y="24"/>
                  </a:lnTo>
                  <a:lnTo>
                    <a:pt x="52" y="26"/>
                  </a:lnTo>
                  <a:lnTo>
                    <a:pt x="52" y="26"/>
                  </a:lnTo>
                  <a:lnTo>
                    <a:pt x="54" y="28"/>
                  </a:lnTo>
                  <a:lnTo>
                    <a:pt x="56" y="30"/>
                  </a:lnTo>
                  <a:lnTo>
                    <a:pt x="56" y="30"/>
                  </a:lnTo>
                  <a:lnTo>
                    <a:pt x="56" y="32"/>
                  </a:lnTo>
                  <a:lnTo>
                    <a:pt x="56" y="34"/>
                  </a:lnTo>
                  <a:lnTo>
                    <a:pt x="56" y="38"/>
                  </a:lnTo>
                  <a:lnTo>
                    <a:pt x="56" y="40"/>
                  </a:lnTo>
                  <a:lnTo>
                    <a:pt x="56" y="42"/>
                  </a:lnTo>
                  <a:lnTo>
                    <a:pt x="56" y="44"/>
                  </a:lnTo>
                  <a:lnTo>
                    <a:pt x="54" y="46"/>
                  </a:lnTo>
                  <a:lnTo>
                    <a:pt x="54" y="48"/>
                  </a:lnTo>
                  <a:lnTo>
                    <a:pt x="54" y="48"/>
                  </a:lnTo>
                  <a:lnTo>
                    <a:pt x="54" y="48"/>
                  </a:lnTo>
                  <a:lnTo>
                    <a:pt x="52" y="48"/>
                  </a:lnTo>
                  <a:lnTo>
                    <a:pt x="52" y="50"/>
                  </a:lnTo>
                  <a:lnTo>
                    <a:pt x="50" y="50"/>
                  </a:lnTo>
                  <a:lnTo>
                    <a:pt x="48" y="50"/>
                  </a:lnTo>
                  <a:lnTo>
                    <a:pt x="48" y="50"/>
                  </a:lnTo>
                  <a:lnTo>
                    <a:pt x="46" y="50"/>
                  </a:lnTo>
                  <a:lnTo>
                    <a:pt x="44" y="50"/>
                  </a:lnTo>
                  <a:lnTo>
                    <a:pt x="44" y="52"/>
                  </a:lnTo>
                  <a:lnTo>
                    <a:pt x="44" y="52"/>
                  </a:lnTo>
                  <a:lnTo>
                    <a:pt x="42" y="52"/>
                  </a:lnTo>
                  <a:lnTo>
                    <a:pt x="42" y="54"/>
                  </a:lnTo>
                  <a:lnTo>
                    <a:pt x="42" y="56"/>
                  </a:lnTo>
                  <a:lnTo>
                    <a:pt x="42" y="58"/>
                  </a:lnTo>
                  <a:lnTo>
                    <a:pt x="42" y="60"/>
                  </a:lnTo>
                  <a:lnTo>
                    <a:pt x="42" y="62"/>
                  </a:lnTo>
                  <a:lnTo>
                    <a:pt x="42" y="64"/>
                  </a:lnTo>
                  <a:lnTo>
                    <a:pt x="42" y="64"/>
                  </a:lnTo>
                  <a:lnTo>
                    <a:pt x="42" y="66"/>
                  </a:lnTo>
                  <a:lnTo>
                    <a:pt x="42" y="66"/>
                  </a:lnTo>
                  <a:lnTo>
                    <a:pt x="44" y="66"/>
                  </a:lnTo>
                  <a:lnTo>
                    <a:pt x="44" y="66"/>
                  </a:lnTo>
                  <a:lnTo>
                    <a:pt x="46" y="66"/>
                  </a:lnTo>
                  <a:lnTo>
                    <a:pt x="46" y="66"/>
                  </a:lnTo>
                  <a:lnTo>
                    <a:pt x="50" y="68"/>
                  </a:lnTo>
                  <a:lnTo>
                    <a:pt x="50" y="68"/>
                  </a:lnTo>
                  <a:lnTo>
                    <a:pt x="52" y="68"/>
                  </a:lnTo>
                  <a:lnTo>
                    <a:pt x="52" y="70"/>
                  </a:lnTo>
                  <a:lnTo>
                    <a:pt x="52" y="70"/>
                  </a:lnTo>
                  <a:lnTo>
                    <a:pt x="54" y="72"/>
                  </a:lnTo>
                  <a:lnTo>
                    <a:pt x="58" y="76"/>
                  </a:lnTo>
                  <a:lnTo>
                    <a:pt x="58" y="78"/>
                  </a:lnTo>
                  <a:lnTo>
                    <a:pt x="58" y="82"/>
                  </a:lnTo>
                  <a:lnTo>
                    <a:pt x="58" y="86"/>
                  </a:lnTo>
                  <a:lnTo>
                    <a:pt x="58" y="88"/>
                  </a:lnTo>
                  <a:lnTo>
                    <a:pt x="56" y="92"/>
                  </a:lnTo>
                  <a:lnTo>
                    <a:pt x="56" y="94"/>
                  </a:lnTo>
                  <a:lnTo>
                    <a:pt x="56" y="96"/>
                  </a:lnTo>
                  <a:lnTo>
                    <a:pt x="56" y="98"/>
                  </a:lnTo>
                  <a:lnTo>
                    <a:pt x="54" y="98"/>
                  </a:lnTo>
                  <a:lnTo>
                    <a:pt x="54" y="98"/>
                  </a:lnTo>
                  <a:lnTo>
                    <a:pt x="52" y="100"/>
                  </a:lnTo>
                  <a:lnTo>
                    <a:pt x="52" y="100"/>
                  </a:lnTo>
                  <a:lnTo>
                    <a:pt x="52" y="100"/>
                  </a:lnTo>
                  <a:lnTo>
                    <a:pt x="48" y="100"/>
                  </a:lnTo>
                  <a:lnTo>
                    <a:pt x="48" y="100"/>
                  </a:lnTo>
                  <a:lnTo>
                    <a:pt x="46" y="100"/>
                  </a:lnTo>
                  <a:lnTo>
                    <a:pt x="42" y="102"/>
                  </a:lnTo>
                  <a:lnTo>
                    <a:pt x="38" y="104"/>
                  </a:lnTo>
                  <a:lnTo>
                    <a:pt x="32" y="10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6" name="Freeform 454"/>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7" name="Freeform 455"/>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8" name="Freeform 456"/>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79" name="Freeform 457"/>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0" name="Freeform 458"/>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1" name="Freeform 459"/>
            <p:cNvSpPr>
              <a:spLocks/>
            </p:cNvSpPr>
            <p:nvPr/>
          </p:nvSpPr>
          <p:spPr bwMode="auto">
            <a:xfrm>
              <a:off x="5027861" y="5408324"/>
              <a:ext cx="38106" cy="45034"/>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2" name="Freeform 460"/>
            <p:cNvSpPr>
              <a:spLocks/>
            </p:cNvSpPr>
            <p:nvPr/>
          </p:nvSpPr>
          <p:spPr bwMode="auto">
            <a:xfrm>
              <a:off x="5027861" y="5408324"/>
              <a:ext cx="38106" cy="45034"/>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3" name="Freeform 461"/>
            <p:cNvSpPr>
              <a:spLocks/>
            </p:cNvSpPr>
            <p:nvPr/>
          </p:nvSpPr>
          <p:spPr bwMode="auto">
            <a:xfrm>
              <a:off x="4920472" y="5491463"/>
              <a:ext cx="72747" cy="62355"/>
            </a:xfrm>
            <a:custGeom>
              <a:avLst/>
              <a:gdLst>
                <a:gd name="T0" fmla="*/ 16 w 42"/>
                <a:gd name="T1" fmla="*/ 2 h 36"/>
                <a:gd name="T2" fmla="*/ 16 w 42"/>
                <a:gd name="T3" fmla="*/ 4 h 36"/>
                <a:gd name="T4" fmla="*/ 14 w 42"/>
                <a:gd name="T5" fmla="*/ 8 h 36"/>
                <a:gd name="T6" fmla="*/ 14 w 42"/>
                <a:gd name="T7" fmla="*/ 10 h 36"/>
                <a:gd name="T8" fmla="*/ 12 w 42"/>
                <a:gd name="T9" fmla="*/ 10 h 36"/>
                <a:gd name="T10" fmla="*/ 10 w 42"/>
                <a:gd name="T11" fmla="*/ 10 h 36"/>
                <a:gd name="T12" fmla="*/ 6 w 42"/>
                <a:gd name="T13" fmla="*/ 10 h 36"/>
                <a:gd name="T14" fmla="*/ 4 w 42"/>
                <a:gd name="T15" fmla="*/ 10 h 36"/>
                <a:gd name="T16" fmla="*/ 4 w 42"/>
                <a:gd name="T17" fmla="*/ 12 h 36"/>
                <a:gd name="T18" fmla="*/ 2 w 42"/>
                <a:gd name="T19" fmla="*/ 14 h 36"/>
                <a:gd name="T20" fmla="*/ 2 w 42"/>
                <a:gd name="T21" fmla="*/ 16 h 36"/>
                <a:gd name="T22" fmla="*/ 0 w 42"/>
                <a:gd name="T23" fmla="*/ 20 h 36"/>
                <a:gd name="T24" fmla="*/ 0 w 42"/>
                <a:gd name="T25" fmla="*/ 24 h 36"/>
                <a:gd name="T26" fmla="*/ 2 w 42"/>
                <a:gd name="T27" fmla="*/ 28 h 36"/>
                <a:gd name="T28" fmla="*/ 2 w 42"/>
                <a:gd name="T29" fmla="*/ 30 h 36"/>
                <a:gd name="T30" fmla="*/ 4 w 42"/>
                <a:gd name="T31" fmla="*/ 32 h 36"/>
                <a:gd name="T32" fmla="*/ 4 w 42"/>
                <a:gd name="T33" fmla="*/ 34 h 36"/>
                <a:gd name="T34" fmla="*/ 6 w 42"/>
                <a:gd name="T35" fmla="*/ 34 h 36"/>
                <a:gd name="T36" fmla="*/ 8 w 42"/>
                <a:gd name="T37" fmla="*/ 34 h 36"/>
                <a:gd name="T38" fmla="*/ 12 w 42"/>
                <a:gd name="T39" fmla="*/ 32 h 36"/>
                <a:gd name="T40" fmla="*/ 16 w 42"/>
                <a:gd name="T41" fmla="*/ 32 h 36"/>
                <a:gd name="T42" fmla="*/ 16 w 42"/>
                <a:gd name="T43" fmla="*/ 32 h 36"/>
                <a:gd name="T44" fmla="*/ 18 w 42"/>
                <a:gd name="T45" fmla="*/ 34 h 36"/>
                <a:gd name="T46" fmla="*/ 18 w 42"/>
                <a:gd name="T47" fmla="*/ 36 h 36"/>
                <a:gd name="T48" fmla="*/ 20 w 42"/>
                <a:gd name="T49" fmla="*/ 36 h 36"/>
                <a:gd name="T50" fmla="*/ 22 w 42"/>
                <a:gd name="T51" fmla="*/ 36 h 36"/>
                <a:gd name="T52" fmla="*/ 24 w 42"/>
                <a:gd name="T53" fmla="*/ 36 h 36"/>
                <a:gd name="T54" fmla="*/ 26 w 42"/>
                <a:gd name="T55" fmla="*/ 36 h 36"/>
                <a:gd name="T56" fmla="*/ 28 w 42"/>
                <a:gd name="T57" fmla="*/ 34 h 36"/>
                <a:gd name="T58" fmla="*/ 32 w 42"/>
                <a:gd name="T59" fmla="*/ 30 h 36"/>
                <a:gd name="T60" fmla="*/ 32 w 42"/>
                <a:gd name="T61" fmla="*/ 28 h 36"/>
                <a:gd name="T62" fmla="*/ 32 w 42"/>
                <a:gd name="T63" fmla="*/ 24 h 36"/>
                <a:gd name="T64" fmla="*/ 32 w 42"/>
                <a:gd name="T65" fmla="*/ 24 h 36"/>
                <a:gd name="T66" fmla="*/ 34 w 42"/>
                <a:gd name="T67" fmla="*/ 22 h 36"/>
                <a:gd name="T68" fmla="*/ 36 w 42"/>
                <a:gd name="T69" fmla="*/ 22 h 36"/>
                <a:gd name="T70" fmla="*/ 40 w 42"/>
                <a:gd name="T71" fmla="*/ 22 h 36"/>
                <a:gd name="T72" fmla="*/ 40 w 42"/>
                <a:gd name="T73" fmla="*/ 22 h 36"/>
                <a:gd name="T74" fmla="*/ 42 w 42"/>
                <a:gd name="T75" fmla="*/ 20 h 36"/>
                <a:gd name="T76" fmla="*/ 42 w 42"/>
                <a:gd name="T77" fmla="*/ 16 h 36"/>
                <a:gd name="T78" fmla="*/ 42 w 42"/>
                <a:gd name="T79" fmla="*/ 12 h 36"/>
                <a:gd name="T80" fmla="*/ 42 w 42"/>
                <a:gd name="T81" fmla="*/ 6 h 36"/>
                <a:gd name="T82" fmla="*/ 42 w 42"/>
                <a:gd name="T83" fmla="*/ 4 h 36"/>
                <a:gd name="T84" fmla="*/ 40 w 42"/>
                <a:gd name="T85" fmla="*/ 2 h 36"/>
                <a:gd name="T86" fmla="*/ 40 w 42"/>
                <a:gd name="T87" fmla="*/ 0 h 36"/>
                <a:gd name="T88" fmla="*/ 38 w 42"/>
                <a:gd name="T89" fmla="*/ 0 h 36"/>
                <a:gd name="T90" fmla="*/ 34 w 42"/>
                <a:gd name="T91" fmla="*/ 0 h 36"/>
                <a:gd name="T92" fmla="*/ 26 w 42"/>
                <a:gd name="T93" fmla="*/ 0 h 36"/>
                <a:gd name="T94" fmla="*/ 22 w 42"/>
                <a:gd name="T95" fmla="*/ 0 h 36"/>
                <a:gd name="T96" fmla="*/ 18 w 42"/>
                <a:gd name="T97" fmla="*/ 0 h 36"/>
                <a:gd name="T98" fmla="*/ 16 w 42"/>
                <a:gd name="T9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36">
                  <a:moveTo>
                    <a:pt x="16" y="2"/>
                  </a:moveTo>
                  <a:lnTo>
                    <a:pt x="16" y="2"/>
                  </a:lnTo>
                  <a:lnTo>
                    <a:pt x="16" y="2"/>
                  </a:lnTo>
                  <a:lnTo>
                    <a:pt x="16" y="4"/>
                  </a:lnTo>
                  <a:lnTo>
                    <a:pt x="14" y="6"/>
                  </a:lnTo>
                  <a:lnTo>
                    <a:pt x="14" y="8"/>
                  </a:lnTo>
                  <a:lnTo>
                    <a:pt x="14" y="10"/>
                  </a:lnTo>
                  <a:lnTo>
                    <a:pt x="14" y="10"/>
                  </a:lnTo>
                  <a:lnTo>
                    <a:pt x="12" y="10"/>
                  </a:lnTo>
                  <a:lnTo>
                    <a:pt x="12" y="10"/>
                  </a:lnTo>
                  <a:lnTo>
                    <a:pt x="10" y="10"/>
                  </a:lnTo>
                  <a:lnTo>
                    <a:pt x="10" y="10"/>
                  </a:lnTo>
                  <a:lnTo>
                    <a:pt x="8" y="10"/>
                  </a:lnTo>
                  <a:lnTo>
                    <a:pt x="6" y="10"/>
                  </a:lnTo>
                  <a:lnTo>
                    <a:pt x="6" y="10"/>
                  </a:lnTo>
                  <a:lnTo>
                    <a:pt x="4" y="10"/>
                  </a:lnTo>
                  <a:lnTo>
                    <a:pt x="4" y="10"/>
                  </a:lnTo>
                  <a:lnTo>
                    <a:pt x="4" y="12"/>
                  </a:lnTo>
                  <a:lnTo>
                    <a:pt x="2" y="12"/>
                  </a:lnTo>
                  <a:lnTo>
                    <a:pt x="2" y="14"/>
                  </a:lnTo>
                  <a:lnTo>
                    <a:pt x="2" y="14"/>
                  </a:lnTo>
                  <a:lnTo>
                    <a:pt x="2" y="16"/>
                  </a:lnTo>
                  <a:lnTo>
                    <a:pt x="2" y="18"/>
                  </a:lnTo>
                  <a:lnTo>
                    <a:pt x="0" y="20"/>
                  </a:lnTo>
                  <a:lnTo>
                    <a:pt x="0" y="22"/>
                  </a:lnTo>
                  <a:lnTo>
                    <a:pt x="0" y="24"/>
                  </a:lnTo>
                  <a:lnTo>
                    <a:pt x="2" y="26"/>
                  </a:lnTo>
                  <a:lnTo>
                    <a:pt x="2" y="28"/>
                  </a:lnTo>
                  <a:lnTo>
                    <a:pt x="2" y="30"/>
                  </a:lnTo>
                  <a:lnTo>
                    <a:pt x="2" y="30"/>
                  </a:lnTo>
                  <a:lnTo>
                    <a:pt x="2" y="32"/>
                  </a:lnTo>
                  <a:lnTo>
                    <a:pt x="4" y="32"/>
                  </a:lnTo>
                  <a:lnTo>
                    <a:pt x="4" y="34"/>
                  </a:lnTo>
                  <a:lnTo>
                    <a:pt x="4" y="34"/>
                  </a:lnTo>
                  <a:lnTo>
                    <a:pt x="6" y="34"/>
                  </a:lnTo>
                  <a:lnTo>
                    <a:pt x="6" y="34"/>
                  </a:lnTo>
                  <a:lnTo>
                    <a:pt x="6" y="34"/>
                  </a:lnTo>
                  <a:lnTo>
                    <a:pt x="8" y="34"/>
                  </a:lnTo>
                  <a:lnTo>
                    <a:pt x="10" y="34"/>
                  </a:lnTo>
                  <a:lnTo>
                    <a:pt x="12" y="32"/>
                  </a:lnTo>
                  <a:lnTo>
                    <a:pt x="14" y="32"/>
                  </a:lnTo>
                  <a:lnTo>
                    <a:pt x="16" y="32"/>
                  </a:lnTo>
                  <a:lnTo>
                    <a:pt x="16" y="32"/>
                  </a:lnTo>
                  <a:lnTo>
                    <a:pt x="16" y="32"/>
                  </a:lnTo>
                  <a:lnTo>
                    <a:pt x="18" y="32"/>
                  </a:lnTo>
                  <a:lnTo>
                    <a:pt x="18" y="34"/>
                  </a:lnTo>
                  <a:lnTo>
                    <a:pt x="18" y="34"/>
                  </a:lnTo>
                  <a:lnTo>
                    <a:pt x="18" y="36"/>
                  </a:lnTo>
                  <a:lnTo>
                    <a:pt x="20" y="36"/>
                  </a:lnTo>
                  <a:lnTo>
                    <a:pt x="20" y="36"/>
                  </a:lnTo>
                  <a:lnTo>
                    <a:pt x="20" y="36"/>
                  </a:lnTo>
                  <a:lnTo>
                    <a:pt x="22" y="36"/>
                  </a:lnTo>
                  <a:lnTo>
                    <a:pt x="22" y="36"/>
                  </a:lnTo>
                  <a:lnTo>
                    <a:pt x="24" y="36"/>
                  </a:lnTo>
                  <a:lnTo>
                    <a:pt x="26" y="36"/>
                  </a:lnTo>
                  <a:lnTo>
                    <a:pt x="26" y="36"/>
                  </a:lnTo>
                  <a:lnTo>
                    <a:pt x="28" y="36"/>
                  </a:lnTo>
                  <a:lnTo>
                    <a:pt x="28" y="34"/>
                  </a:lnTo>
                  <a:lnTo>
                    <a:pt x="30" y="32"/>
                  </a:lnTo>
                  <a:lnTo>
                    <a:pt x="32" y="30"/>
                  </a:lnTo>
                  <a:lnTo>
                    <a:pt x="32" y="30"/>
                  </a:lnTo>
                  <a:lnTo>
                    <a:pt x="32" y="28"/>
                  </a:lnTo>
                  <a:lnTo>
                    <a:pt x="32" y="26"/>
                  </a:lnTo>
                  <a:lnTo>
                    <a:pt x="32" y="24"/>
                  </a:lnTo>
                  <a:lnTo>
                    <a:pt x="32" y="24"/>
                  </a:lnTo>
                  <a:lnTo>
                    <a:pt x="32" y="24"/>
                  </a:lnTo>
                  <a:lnTo>
                    <a:pt x="34" y="22"/>
                  </a:lnTo>
                  <a:lnTo>
                    <a:pt x="34" y="22"/>
                  </a:lnTo>
                  <a:lnTo>
                    <a:pt x="34" y="22"/>
                  </a:lnTo>
                  <a:lnTo>
                    <a:pt x="36" y="22"/>
                  </a:lnTo>
                  <a:lnTo>
                    <a:pt x="38" y="22"/>
                  </a:lnTo>
                  <a:lnTo>
                    <a:pt x="40" y="22"/>
                  </a:lnTo>
                  <a:lnTo>
                    <a:pt x="40" y="22"/>
                  </a:lnTo>
                  <a:lnTo>
                    <a:pt x="40" y="22"/>
                  </a:lnTo>
                  <a:lnTo>
                    <a:pt x="42" y="20"/>
                  </a:lnTo>
                  <a:lnTo>
                    <a:pt x="42" y="20"/>
                  </a:lnTo>
                  <a:lnTo>
                    <a:pt x="42" y="18"/>
                  </a:lnTo>
                  <a:lnTo>
                    <a:pt x="42" y="16"/>
                  </a:lnTo>
                  <a:lnTo>
                    <a:pt x="42" y="14"/>
                  </a:lnTo>
                  <a:lnTo>
                    <a:pt x="42" y="12"/>
                  </a:lnTo>
                  <a:lnTo>
                    <a:pt x="42" y="8"/>
                  </a:lnTo>
                  <a:lnTo>
                    <a:pt x="42" y="6"/>
                  </a:lnTo>
                  <a:lnTo>
                    <a:pt x="42" y="6"/>
                  </a:lnTo>
                  <a:lnTo>
                    <a:pt x="42" y="4"/>
                  </a:lnTo>
                  <a:lnTo>
                    <a:pt x="42" y="2"/>
                  </a:lnTo>
                  <a:lnTo>
                    <a:pt x="40" y="2"/>
                  </a:lnTo>
                  <a:lnTo>
                    <a:pt x="40" y="0"/>
                  </a:lnTo>
                  <a:lnTo>
                    <a:pt x="40" y="0"/>
                  </a:lnTo>
                  <a:lnTo>
                    <a:pt x="38" y="0"/>
                  </a:lnTo>
                  <a:lnTo>
                    <a:pt x="38" y="0"/>
                  </a:lnTo>
                  <a:lnTo>
                    <a:pt x="36" y="0"/>
                  </a:lnTo>
                  <a:lnTo>
                    <a:pt x="34" y="0"/>
                  </a:lnTo>
                  <a:lnTo>
                    <a:pt x="30" y="0"/>
                  </a:lnTo>
                  <a:lnTo>
                    <a:pt x="26" y="0"/>
                  </a:lnTo>
                  <a:lnTo>
                    <a:pt x="24" y="0"/>
                  </a:lnTo>
                  <a:lnTo>
                    <a:pt x="22" y="0"/>
                  </a:lnTo>
                  <a:lnTo>
                    <a:pt x="20" y="0"/>
                  </a:lnTo>
                  <a:lnTo>
                    <a:pt x="18" y="0"/>
                  </a:lnTo>
                  <a:lnTo>
                    <a:pt x="18" y="2"/>
                  </a:lnTo>
                  <a:lnTo>
                    <a:pt x="1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4" name="Freeform 462"/>
            <p:cNvSpPr>
              <a:spLocks/>
            </p:cNvSpPr>
            <p:nvPr/>
          </p:nvSpPr>
          <p:spPr bwMode="auto">
            <a:xfrm>
              <a:off x="4920472" y="5491463"/>
              <a:ext cx="72747" cy="62355"/>
            </a:xfrm>
            <a:custGeom>
              <a:avLst/>
              <a:gdLst>
                <a:gd name="T0" fmla="*/ 16 w 42"/>
                <a:gd name="T1" fmla="*/ 2 h 36"/>
                <a:gd name="T2" fmla="*/ 16 w 42"/>
                <a:gd name="T3" fmla="*/ 4 h 36"/>
                <a:gd name="T4" fmla="*/ 14 w 42"/>
                <a:gd name="T5" fmla="*/ 8 h 36"/>
                <a:gd name="T6" fmla="*/ 14 w 42"/>
                <a:gd name="T7" fmla="*/ 10 h 36"/>
                <a:gd name="T8" fmla="*/ 12 w 42"/>
                <a:gd name="T9" fmla="*/ 10 h 36"/>
                <a:gd name="T10" fmla="*/ 10 w 42"/>
                <a:gd name="T11" fmla="*/ 10 h 36"/>
                <a:gd name="T12" fmla="*/ 6 w 42"/>
                <a:gd name="T13" fmla="*/ 10 h 36"/>
                <a:gd name="T14" fmla="*/ 4 w 42"/>
                <a:gd name="T15" fmla="*/ 10 h 36"/>
                <a:gd name="T16" fmla="*/ 4 w 42"/>
                <a:gd name="T17" fmla="*/ 12 h 36"/>
                <a:gd name="T18" fmla="*/ 2 w 42"/>
                <a:gd name="T19" fmla="*/ 14 h 36"/>
                <a:gd name="T20" fmla="*/ 2 w 42"/>
                <a:gd name="T21" fmla="*/ 16 h 36"/>
                <a:gd name="T22" fmla="*/ 0 w 42"/>
                <a:gd name="T23" fmla="*/ 20 h 36"/>
                <a:gd name="T24" fmla="*/ 0 w 42"/>
                <a:gd name="T25" fmla="*/ 24 h 36"/>
                <a:gd name="T26" fmla="*/ 2 w 42"/>
                <a:gd name="T27" fmla="*/ 28 h 36"/>
                <a:gd name="T28" fmla="*/ 2 w 42"/>
                <a:gd name="T29" fmla="*/ 30 h 36"/>
                <a:gd name="T30" fmla="*/ 4 w 42"/>
                <a:gd name="T31" fmla="*/ 32 h 36"/>
                <a:gd name="T32" fmla="*/ 4 w 42"/>
                <a:gd name="T33" fmla="*/ 34 h 36"/>
                <a:gd name="T34" fmla="*/ 6 w 42"/>
                <a:gd name="T35" fmla="*/ 34 h 36"/>
                <a:gd name="T36" fmla="*/ 8 w 42"/>
                <a:gd name="T37" fmla="*/ 34 h 36"/>
                <a:gd name="T38" fmla="*/ 12 w 42"/>
                <a:gd name="T39" fmla="*/ 32 h 36"/>
                <a:gd name="T40" fmla="*/ 16 w 42"/>
                <a:gd name="T41" fmla="*/ 32 h 36"/>
                <a:gd name="T42" fmla="*/ 16 w 42"/>
                <a:gd name="T43" fmla="*/ 32 h 36"/>
                <a:gd name="T44" fmla="*/ 18 w 42"/>
                <a:gd name="T45" fmla="*/ 34 h 36"/>
                <a:gd name="T46" fmla="*/ 18 w 42"/>
                <a:gd name="T47" fmla="*/ 36 h 36"/>
                <a:gd name="T48" fmla="*/ 20 w 42"/>
                <a:gd name="T49" fmla="*/ 36 h 36"/>
                <a:gd name="T50" fmla="*/ 22 w 42"/>
                <a:gd name="T51" fmla="*/ 36 h 36"/>
                <a:gd name="T52" fmla="*/ 24 w 42"/>
                <a:gd name="T53" fmla="*/ 36 h 36"/>
                <a:gd name="T54" fmla="*/ 26 w 42"/>
                <a:gd name="T55" fmla="*/ 36 h 36"/>
                <a:gd name="T56" fmla="*/ 28 w 42"/>
                <a:gd name="T57" fmla="*/ 34 h 36"/>
                <a:gd name="T58" fmla="*/ 32 w 42"/>
                <a:gd name="T59" fmla="*/ 30 h 36"/>
                <a:gd name="T60" fmla="*/ 32 w 42"/>
                <a:gd name="T61" fmla="*/ 28 h 36"/>
                <a:gd name="T62" fmla="*/ 32 w 42"/>
                <a:gd name="T63" fmla="*/ 24 h 36"/>
                <a:gd name="T64" fmla="*/ 32 w 42"/>
                <a:gd name="T65" fmla="*/ 24 h 36"/>
                <a:gd name="T66" fmla="*/ 34 w 42"/>
                <a:gd name="T67" fmla="*/ 22 h 36"/>
                <a:gd name="T68" fmla="*/ 36 w 42"/>
                <a:gd name="T69" fmla="*/ 22 h 36"/>
                <a:gd name="T70" fmla="*/ 40 w 42"/>
                <a:gd name="T71" fmla="*/ 22 h 36"/>
                <a:gd name="T72" fmla="*/ 40 w 42"/>
                <a:gd name="T73" fmla="*/ 22 h 36"/>
                <a:gd name="T74" fmla="*/ 42 w 42"/>
                <a:gd name="T75" fmla="*/ 20 h 36"/>
                <a:gd name="T76" fmla="*/ 42 w 42"/>
                <a:gd name="T77" fmla="*/ 16 h 36"/>
                <a:gd name="T78" fmla="*/ 42 w 42"/>
                <a:gd name="T79" fmla="*/ 12 h 36"/>
                <a:gd name="T80" fmla="*/ 42 w 42"/>
                <a:gd name="T81" fmla="*/ 6 h 36"/>
                <a:gd name="T82" fmla="*/ 42 w 42"/>
                <a:gd name="T83" fmla="*/ 4 h 36"/>
                <a:gd name="T84" fmla="*/ 40 w 42"/>
                <a:gd name="T85" fmla="*/ 2 h 36"/>
                <a:gd name="T86" fmla="*/ 40 w 42"/>
                <a:gd name="T87" fmla="*/ 0 h 36"/>
                <a:gd name="T88" fmla="*/ 38 w 42"/>
                <a:gd name="T89" fmla="*/ 0 h 36"/>
                <a:gd name="T90" fmla="*/ 34 w 42"/>
                <a:gd name="T91" fmla="*/ 0 h 36"/>
                <a:gd name="T92" fmla="*/ 26 w 42"/>
                <a:gd name="T93" fmla="*/ 0 h 36"/>
                <a:gd name="T94" fmla="*/ 22 w 42"/>
                <a:gd name="T95" fmla="*/ 0 h 36"/>
                <a:gd name="T96" fmla="*/ 18 w 42"/>
                <a:gd name="T97" fmla="*/ 0 h 36"/>
                <a:gd name="T98" fmla="*/ 16 w 42"/>
                <a:gd name="T9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36">
                  <a:moveTo>
                    <a:pt x="16" y="2"/>
                  </a:moveTo>
                  <a:lnTo>
                    <a:pt x="16" y="2"/>
                  </a:lnTo>
                  <a:lnTo>
                    <a:pt x="16" y="2"/>
                  </a:lnTo>
                  <a:lnTo>
                    <a:pt x="16" y="4"/>
                  </a:lnTo>
                  <a:lnTo>
                    <a:pt x="14" y="6"/>
                  </a:lnTo>
                  <a:lnTo>
                    <a:pt x="14" y="8"/>
                  </a:lnTo>
                  <a:lnTo>
                    <a:pt x="14" y="10"/>
                  </a:lnTo>
                  <a:lnTo>
                    <a:pt x="14" y="10"/>
                  </a:lnTo>
                  <a:lnTo>
                    <a:pt x="12" y="10"/>
                  </a:lnTo>
                  <a:lnTo>
                    <a:pt x="12" y="10"/>
                  </a:lnTo>
                  <a:lnTo>
                    <a:pt x="10" y="10"/>
                  </a:lnTo>
                  <a:lnTo>
                    <a:pt x="10" y="10"/>
                  </a:lnTo>
                  <a:lnTo>
                    <a:pt x="8" y="10"/>
                  </a:lnTo>
                  <a:lnTo>
                    <a:pt x="6" y="10"/>
                  </a:lnTo>
                  <a:lnTo>
                    <a:pt x="6" y="10"/>
                  </a:lnTo>
                  <a:lnTo>
                    <a:pt x="4" y="10"/>
                  </a:lnTo>
                  <a:lnTo>
                    <a:pt x="4" y="10"/>
                  </a:lnTo>
                  <a:lnTo>
                    <a:pt x="4" y="12"/>
                  </a:lnTo>
                  <a:lnTo>
                    <a:pt x="2" y="12"/>
                  </a:lnTo>
                  <a:lnTo>
                    <a:pt x="2" y="14"/>
                  </a:lnTo>
                  <a:lnTo>
                    <a:pt x="2" y="14"/>
                  </a:lnTo>
                  <a:lnTo>
                    <a:pt x="2" y="16"/>
                  </a:lnTo>
                  <a:lnTo>
                    <a:pt x="2" y="18"/>
                  </a:lnTo>
                  <a:lnTo>
                    <a:pt x="0" y="20"/>
                  </a:lnTo>
                  <a:lnTo>
                    <a:pt x="0" y="22"/>
                  </a:lnTo>
                  <a:lnTo>
                    <a:pt x="0" y="24"/>
                  </a:lnTo>
                  <a:lnTo>
                    <a:pt x="2" y="26"/>
                  </a:lnTo>
                  <a:lnTo>
                    <a:pt x="2" y="28"/>
                  </a:lnTo>
                  <a:lnTo>
                    <a:pt x="2" y="30"/>
                  </a:lnTo>
                  <a:lnTo>
                    <a:pt x="2" y="30"/>
                  </a:lnTo>
                  <a:lnTo>
                    <a:pt x="2" y="32"/>
                  </a:lnTo>
                  <a:lnTo>
                    <a:pt x="4" y="32"/>
                  </a:lnTo>
                  <a:lnTo>
                    <a:pt x="4" y="34"/>
                  </a:lnTo>
                  <a:lnTo>
                    <a:pt x="4" y="34"/>
                  </a:lnTo>
                  <a:lnTo>
                    <a:pt x="6" y="34"/>
                  </a:lnTo>
                  <a:lnTo>
                    <a:pt x="6" y="34"/>
                  </a:lnTo>
                  <a:lnTo>
                    <a:pt x="6" y="34"/>
                  </a:lnTo>
                  <a:lnTo>
                    <a:pt x="8" y="34"/>
                  </a:lnTo>
                  <a:lnTo>
                    <a:pt x="10" y="34"/>
                  </a:lnTo>
                  <a:lnTo>
                    <a:pt x="12" y="32"/>
                  </a:lnTo>
                  <a:lnTo>
                    <a:pt x="14" y="32"/>
                  </a:lnTo>
                  <a:lnTo>
                    <a:pt x="16" y="32"/>
                  </a:lnTo>
                  <a:lnTo>
                    <a:pt x="16" y="32"/>
                  </a:lnTo>
                  <a:lnTo>
                    <a:pt x="16" y="32"/>
                  </a:lnTo>
                  <a:lnTo>
                    <a:pt x="18" y="32"/>
                  </a:lnTo>
                  <a:lnTo>
                    <a:pt x="18" y="34"/>
                  </a:lnTo>
                  <a:lnTo>
                    <a:pt x="18" y="34"/>
                  </a:lnTo>
                  <a:lnTo>
                    <a:pt x="18" y="36"/>
                  </a:lnTo>
                  <a:lnTo>
                    <a:pt x="20" y="36"/>
                  </a:lnTo>
                  <a:lnTo>
                    <a:pt x="20" y="36"/>
                  </a:lnTo>
                  <a:lnTo>
                    <a:pt x="20" y="36"/>
                  </a:lnTo>
                  <a:lnTo>
                    <a:pt x="22" y="36"/>
                  </a:lnTo>
                  <a:lnTo>
                    <a:pt x="22" y="36"/>
                  </a:lnTo>
                  <a:lnTo>
                    <a:pt x="24" y="36"/>
                  </a:lnTo>
                  <a:lnTo>
                    <a:pt x="26" y="36"/>
                  </a:lnTo>
                  <a:lnTo>
                    <a:pt x="26" y="36"/>
                  </a:lnTo>
                  <a:lnTo>
                    <a:pt x="28" y="36"/>
                  </a:lnTo>
                  <a:lnTo>
                    <a:pt x="28" y="34"/>
                  </a:lnTo>
                  <a:lnTo>
                    <a:pt x="30" y="32"/>
                  </a:lnTo>
                  <a:lnTo>
                    <a:pt x="32" y="30"/>
                  </a:lnTo>
                  <a:lnTo>
                    <a:pt x="32" y="30"/>
                  </a:lnTo>
                  <a:lnTo>
                    <a:pt x="32" y="28"/>
                  </a:lnTo>
                  <a:lnTo>
                    <a:pt x="32" y="26"/>
                  </a:lnTo>
                  <a:lnTo>
                    <a:pt x="32" y="24"/>
                  </a:lnTo>
                  <a:lnTo>
                    <a:pt x="32" y="24"/>
                  </a:lnTo>
                  <a:lnTo>
                    <a:pt x="32" y="24"/>
                  </a:lnTo>
                  <a:lnTo>
                    <a:pt x="34" y="22"/>
                  </a:lnTo>
                  <a:lnTo>
                    <a:pt x="34" y="22"/>
                  </a:lnTo>
                  <a:lnTo>
                    <a:pt x="34" y="22"/>
                  </a:lnTo>
                  <a:lnTo>
                    <a:pt x="36" y="22"/>
                  </a:lnTo>
                  <a:lnTo>
                    <a:pt x="38" y="22"/>
                  </a:lnTo>
                  <a:lnTo>
                    <a:pt x="40" y="22"/>
                  </a:lnTo>
                  <a:lnTo>
                    <a:pt x="40" y="22"/>
                  </a:lnTo>
                  <a:lnTo>
                    <a:pt x="40" y="22"/>
                  </a:lnTo>
                  <a:lnTo>
                    <a:pt x="42" y="20"/>
                  </a:lnTo>
                  <a:lnTo>
                    <a:pt x="42" y="20"/>
                  </a:lnTo>
                  <a:lnTo>
                    <a:pt x="42" y="18"/>
                  </a:lnTo>
                  <a:lnTo>
                    <a:pt x="42" y="16"/>
                  </a:lnTo>
                  <a:lnTo>
                    <a:pt x="42" y="14"/>
                  </a:lnTo>
                  <a:lnTo>
                    <a:pt x="42" y="12"/>
                  </a:lnTo>
                  <a:lnTo>
                    <a:pt x="42" y="8"/>
                  </a:lnTo>
                  <a:lnTo>
                    <a:pt x="42" y="6"/>
                  </a:lnTo>
                  <a:lnTo>
                    <a:pt x="42" y="6"/>
                  </a:lnTo>
                  <a:lnTo>
                    <a:pt x="42" y="4"/>
                  </a:lnTo>
                  <a:lnTo>
                    <a:pt x="42" y="2"/>
                  </a:lnTo>
                  <a:lnTo>
                    <a:pt x="40" y="2"/>
                  </a:lnTo>
                  <a:lnTo>
                    <a:pt x="40" y="0"/>
                  </a:lnTo>
                  <a:lnTo>
                    <a:pt x="40" y="0"/>
                  </a:lnTo>
                  <a:lnTo>
                    <a:pt x="38" y="0"/>
                  </a:lnTo>
                  <a:lnTo>
                    <a:pt x="38" y="0"/>
                  </a:lnTo>
                  <a:lnTo>
                    <a:pt x="36" y="0"/>
                  </a:lnTo>
                  <a:lnTo>
                    <a:pt x="34" y="0"/>
                  </a:lnTo>
                  <a:lnTo>
                    <a:pt x="30" y="0"/>
                  </a:lnTo>
                  <a:lnTo>
                    <a:pt x="26" y="0"/>
                  </a:lnTo>
                  <a:lnTo>
                    <a:pt x="24" y="0"/>
                  </a:lnTo>
                  <a:lnTo>
                    <a:pt x="22" y="0"/>
                  </a:lnTo>
                  <a:lnTo>
                    <a:pt x="20" y="0"/>
                  </a:lnTo>
                  <a:lnTo>
                    <a:pt x="18" y="0"/>
                  </a:lnTo>
                  <a:lnTo>
                    <a:pt x="18" y="2"/>
                  </a:lnTo>
                  <a:lnTo>
                    <a:pt x="16"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5" name="Freeform 463"/>
            <p:cNvSpPr>
              <a:spLocks/>
            </p:cNvSpPr>
            <p:nvPr/>
          </p:nvSpPr>
          <p:spPr bwMode="auto">
            <a:xfrm>
              <a:off x="2436676" y="4074626"/>
              <a:ext cx="76211" cy="69283"/>
            </a:xfrm>
            <a:custGeom>
              <a:avLst/>
              <a:gdLst>
                <a:gd name="T0" fmla="*/ 32 w 44"/>
                <a:gd name="T1" fmla="*/ 2 h 40"/>
                <a:gd name="T2" fmla="*/ 30 w 44"/>
                <a:gd name="T3" fmla="*/ 4 h 40"/>
                <a:gd name="T4" fmla="*/ 28 w 44"/>
                <a:gd name="T5" fmla="*/ 8 h 40"/>
                <a:gd name="T6" fmla="*/ 26 w 44"/>
                <a:gd name="T7" fmla="*/ 12 h 40"/>
                <a:gd name="T8" fmla="*/ 26 w 44"/>
                <a:gd name="T9" fmla="*/ 14 h 40"/>
                <a:gd name="T10" fmla="*/ 26 w 44"/>
                <a:gd name="T11" fmla="*/ 16 h 40"/>
                <a:gd name="T12" fmla="*/ 28 w 44"/>
                <a:gd name="T13" fmla="*/ 16 h 40"/>
                <a:gd name="T14" fmla="*/ 30 w 44"/>
                <a:gd name="T15" fmla="*/ 18 h 40"/>
                <a:gd name="T16" fmla="*/ 32 w 44"/>
                <a:gd name="T17" fmla="*/ 20 h 40"/>
                <a:gd name="T18" fmla="*/ 32 w 44"/>
                <a:gd name="T19" fmla="*/ 22 h 40"/>
                <a:gd name="T20" fmla="*/ 32 w 44"/>
                <a:gd name="T21" fmla="*/ 22 h 40"/>
                <a:gd name="T22" fmla="*/ 30 w 44"/>
                <a:gd name="T23" fmla="*/ 24 h 40"/>
                <a:gd name="T24" fmla="*/ 28 w 44"/>
                <a:gd name="T25" fmla="*/ 26 h 40"/>
                <a:gd name="T26" fmla="*/ 24 w 44"/>
                <a:gd name="T27" fmla="*/ 26 h 40"/>
                <a:gd name="T28" fmla="*/ 22 w 44"/>
                <a:gd name="T29" fmla="*/ 26 h 40"/>
                <a:gd name="T30" fmla="*/ 18 w 44"/>
                <a:gd name="T31" fmla="*/ 26 h 40"/>
                <a:gd name="T32" fmla="*/ 12 w 44"/>
                <a:gd name="T33" fmla="*/ 26 h 40"/>
                <a:gd name="T34" fmla="*/ 6 w 44"/>
                <a:gd name="T35" fmla="*/ 24 h 40"/>
                <a:gd name="T36" fmla="*/ 4 w 44"/>
                <a:gd name="T37" fmla="*/ 24 h 40"/>
                <a:gd name="T38" fmla="*/ 2 w 44"/>
                <a:gd name="T39" fmla="*/ 26 h 40"/>
                <a:gd name="T40" fmla="*/ 0 w 44"/>
                <a:gd name="T41" fmla="*/ 26 h 40"/>
                <a:gd name="T42" fmla="*/ 0 w 44"/>
                <a:gd name="T43" fmla="*/ 28 h 40"/>
                <a:gd name="T44" fmla="*/ 0 w 44"/>
                <a:gd name="T45" fmla="*/ 30 h 40"/>
                <a:gd name="T46" fmla="*/ 2 w 44"/>
                <a:gd name="T47" fmla="*/ 34 h 40"/>
                <a:gd name="T48" fmla="*/ 4 w 44"/>
                <a:gd name="T49" fmla="*/ 36 h 40"/>
                <a:gd name="T50" fmla="*/ 4 w 44"/>
                <a:gd name="T51" fmla="*/ 38 h 40"/>
                <a:gd name="T52" fmla="*/ 8 w 44"/>
                <a:gd name="T53" fmla="*/ 38 h 40"/>
                <a:gd name="T54" fmla="*/ 12 w 44"/>
                <a:gd name="T55" fmla="*/ 38 h 40"/>
                <a:gd name="T56" fmla="*/ 20 w 44"/>
                <a:gd name="T57" fmla="*/ 38 h 40"/>
                <a:gd name="T58" fmla="*/ 38 w 44"/>
                <a:gd name="T59" fmla="*/ 40 h 40"/>
                <a:gd name="T60" fmla="*/ 42 w 44"/>
                <a:gd name="T61" fmla="*/ 32 h 40"/>
                <a:gd name="T62" fmla="*/ 42 w 44"/>
                <a:gd name="T63" fmla="*/ 28 h 40"/>
                <a:gd name="T64" fmla="*/ 44 w 44"/>
                <a:gd name="T65" fmla="*/ 24 h 40"/>
                <a:gd name="T66" fmla="*/ 44 w 44"/>
                <a:gd name="T67" fmla="*/ 18 h 40"/>
                <a:gd name="T68" fmla="*/ 42 w 44"/>
                <a:gd name="T69" fmla="*/ 8 h 40"/>
                <a:gd name="T70" fmla="*/ 42 w 44"/>
                <a:gd name="T71" fmla="*/ 0 h 40"/>
                <a:gd name="T72" fmla="*/ 36 w 44"/>
                <a:gd name="T73" fmla="*/ 0 h 40"/>
                <a:gd name="T74" fmla="*/ 34 w 44"/>
                <a:gd name="T7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0">
                  <a:moveTo>
                    <a:pt x="32" y="2"/>
                  </a:moveTo>
                  <a:lnTo>
                    <a:pt x="32" y="2"/>
                  </a:lnTo>
                  <a:lnTo>
                    <a:pt x="32" y="2"/>
                  </a:lnTo>
                  <a:lnTo>
                    <a:pt x="30" y="4"/>
                  </a:lnTo>
                  <a:lnTo>
                    <a:pt x="30" y="6"/>
                  </a:lnTo>
                  <a:lnTo>
                    <a:pt x="28" y="8"/>
                  </a:lnTo>
                  <a:lnTo>
                    <a:pt x="28" y="10"/>
                  </a:lnTo>
                  <a:lnTo>
                    <a:pt x="26" y="12"/>
                  </a:lnTo>
                  <a:lnTo>
                    <a:pt x="26" y="12"/>
                  </a:lnTo>
                  <a:lnTo>
                    <a:pt x="26" y="14"/>
                  </a:lnTo>
                  <a:lnTo>
                    <a:pt x="26" y="14"/>
                  </a:lnTo>
                  <a:lnTo>
                    <a:pt x="26" y="16"/>
                  </a:lnTo>
                  <a:lnTo>
                    <a:pt x="28" y="16"/>
                  </a:lnTo>
                  <a:lnTo>
                    <a:pt x="28" y="16"/>
                  </a:lnTo>
                  <a:lnTo>
                    <a:pt x="30" y="18"/>
                  </a:lnTo>
                  <a:lnTo>
                    <a:pt x="30" y="18"/>
                  </a:lnTo>
                  <a:lnTo>
                    <a:pt x="32" y="20"/>
                  </a:lnTo>
                  <a:lnTo>
                    <a:pt x="32" y="20"/>
                  </a:lnTo>
                  <a:lnTo>
                    <a:pt x="32" y="22"/>
                  </a:lnTo>
                  <a:lnTo>
                    <a:pt x="32" y="22"/>
                  </a:lnTo>
                  <a:lnTo>
                    <a:pt x="32" y="22"/>
                  </a:lnTo>
                  <a:lnTo>
                    <a:pt x="32" y="22"/>
                  </a:lnTo>
                  <a:lnTo>
                    <a:pt x="32" y="24"/>
                  </a:lnTo>
                  <a:lnTo>
                    <a:pt x="30" y="24"/>
                  </a:lnTo>
                  <a:lnTo>
                    <a:pt x="28" y="24"/>
                  </a:lnTo>
                  <a:lnTo>
                    <a:pt x="28" y="26"/>
                  </a:lnTo>
                  <a:lnTo>
                    <a:pt x="26" y="26"/>
                  </a:lnTo>
                  <a:lnTo>
                    <a:pt x="24" y="26"/>
                  </a:lnTo>
                  <a:lnTo>
                    <a:pt x="22" y="26"/>
                  </a:lnTo>
                  <a:lnTo>
                    <a:pt x="22" y="26"/>
                  </a:lnTo>
                  <a:lnTo>
                    <a:pt x="20" y="26"/>
                  </a:lnTo>
                  <a:lnTo>
                    <a:pt x="18" y="26"/>
                  </a:lnTo>
                  <a:lnTo>
                    <a:pt x="14" y="26"/>
                  </a:lnTo>
                  <a:lnTo>
                    <a:pt x="12" y="26"/>
                  </a:lnTo>
                  <a:lnTo>
                    <a:pt x="8" y="24"/>
                  </a:lnTo>
                  <a:lnTo>
                    <a:pt x="6" y="24"/>
                  </a:lnTo>
                  <a:lnTo>
                    <a:pt x="4" y="24"/>
                  </a:lnTo>
                  <a:lnTo>
                    <a:pt x="4" y="24"/>
                  </a:lnTo>
                  <a:lnTo>
                    <a:pt x="2" y="26"/>
                  </a:lnTo>
                  <a:lnTo>
                    <a:pt x="2" y="26"/>
                  </a:lnTo>
                  <a:lnTo>
                    <a:pt x="0" y="26"/>
                  </a:lnTo>
                  <a:lnTo>
                    <a:pt x="0" y="26"/>
                  </a:lnTo>
                  <a:lnTo>
                    <a:pt x="0" y="28"/>
                  </a:lnTo>
                  <a:lnTo>
                    <a:pt x="0" y="28"/>
                  </a:lnTo>
                  <a:lnTo>
                    <a:pt x="0" y="28"/>
                  </a:lnTo>
                  <a:lnTo>
                    <a:pt x="0" y="30"/>
                  </a:lnTo>
                  <a:lnTo>
                    <a:pt x="0" y="32"/>
                  </a:lnTo>
                  <a:lnTo>
                    <a:pt x="2" y="34"/>
                  </a:lnTo>
                  <a:lnTo>
                    <a:pt x="2" y="36"/>
                  </a:lnTo>
                  <a:lnTo>
                    <a:pt x="4" y="36"/>
                  </a:lnTo>
                  <a:lnTo>
                    <a:pt x="4" y="38"/>
                  </a:lnTo>
                  <a:lnTo>
                    <a:pt x="4" y="38"/>
                  </a:lnTo>
                  <a:lnTo>
                    <a:pt x="6" y="38"/>
                  </a:lnTo>
                  <a:lnTo>
                    <a:pt x="8" y="38"/>
                  </a:lnTo>
                  <a:lnTo>
                    <a:pt x="10" y="38"/>
                  </a:lnTo>
                  <a:lnTo>
                    <a:pt x="12" y="38"/>
                  </a:lnTo>
                  <a:lnTo>
                    <a:pt x="16" y="38"/>
                  </a:lnTo>
                  <a:lnTo>
                    <a:pt x="20" y="38"/>
                  </a:lnTo>
                  <a:lnTo>
                    <a:pt x="20" y="38"/>
                  </a:lnTo>
                  <a:lnTo>
                    <a:pt x="38" y="40"/>
                  </a:lnTo>
                  <a:lnTo>
                    <a:pt x="40" y="36"/>
                  </a:lnTo>
                  <a:lnTo>
                    <a:pt x="42" y="32"/>
                  </a:lnTo>
                  <a:lnTo>
                    <a:pt x="42" y="30"/>
                  </a:lnTo>
                  <a:lnTo>
                    <a:pt x="42" y="28"/>
                  </a:lnTo>
                  <a:lnTo>
                    <a:pt x="42" y="26"/>
                  </a:lnTo>
                  <a:lnTo>
                    <a:pt x="44" y="24"/>
                  </a:lnTo>
                  <a:lnTo>
                    <a:pt x="44" y="22"/>
                  </a:lnTo>
                  <a:lnTo>
                    <a:pt x="44" y="18"/>
                  </a:lnTo>
                  <a:lnTo>
                    <a:pt x="42" y="12"/>
                  </a:lnTo>
                  <a:lnTo>
                    <a:pt x="42" y="8"/>
                  </a:lnTo>
                  <a:lnTo>
                    <a:pt x="42" y="0"/>
                  </a:lnTo>
                  <a:lnTo>
                    <a:pt x="42" y="0"/>
                  </a:lnTo>
                  <a:lnTo>
                    <a:pt x="38" y="0"/>
                  </a:lnTo>
                  <a:lnTo>
                    <a:pt x="36" y="0"/>
                  </a:lnTo>
                  <a:lnTo>
                    <a:pt x="34" y="2"/>
                  </a:lnTo>
                  <a:lnTo>
                    <a:pt x="34" y="2"/>
                  </a:lnTo>
                  <a:lnTo>
                    <a:pt x="3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6" name="Freeform 464"/>
            <p:cNvSpPr>
              <a:spLocks/>
            </p:cNvSpPr>
            <p:nvPr/>
          </p:nvSpPr>
          <p:spPr bwMode="auto">
            <a:xfrm>
              <a:off x="2436676" y="4074626"/>
              <a:ext cx="76211" cy="69283"/>
            </a:xfrm>
            <a:custGeom>
              <a:avLst/>
              <a:gdLst>
                <a:gd name="T0" fmla="*/ 32 w 44"/>
                <a:gd name="T1" fmla="*/ 2 h 40"/>
                <a:gd name="T2" fmla="*/ 30 w 44"/>
                <a:gd name="T3" fmla="*/ 4 h 40"/>
                <a:gd name="T4" fmla="*/ 28 w 44"/>
                <a:gd name="T5" fmla="*/ 8 h 40"/>
                <a:gd name="T6" fmla="*/ 26 w 44"/>
                <a:gd name="T7" fmla="*/ 12 h 40"/>
                <a:gd name="T8" fmla="*/ 26 w 44"/>
                <a:gd name="T9" fmla="*/ 14 h 40"/>
                <a:gd name="T10" fmla="*/ 26 w 44"/>
                <a:gd name="T11" fmla="*/ 16 h 40"/>
                <a:gd name="T12" fmla="*/ 28 w 44"/>
                <a:gd name="T13" fmla="*/ 16 h 40"/>
                <a:gd name="T14" fmla="*/ 30 w 44"/>
                <a:gd name="T15" fmla="*/ 18 h 40"/>
                <a:gd name="T16" fmla="*/ 32 w 44"/>
                <a:gd name="T17" fmla="*/ 20 h 40"/>
                <a:gd name="T18" fmla="*/ 32 w 44"/>
                <a:gd name="T19" fmla="*/ 22 h 40"/>
                <a:gd name="T20" fmla="*/ 32 w 44"/>
                <a:gd name="T21" fmla="*/ 22 h 40"/>
                <a:gd name="T22" fmla="*/ 30 w 44"/>
                <a:gd name="T23" fmla="*/ 24 h 40"/>
                <a:gd name="T24" fmla="*/ 28 w 44"/>
                <a:gd name="T25" fmla="*/ 26 h 40"/>
                <a:gd name="T26" fmla="*/ 24 w 44"/>
                <a:gd name="T27" fmla="*/ 26 h 40"/>
                <a:gd name="T28" fmla="*/ 22 w 44"/>
                <a:gd name="T29" fmla="*/ 26 h 40"/>
                <a:gd name="T30" fmla="*/ 18 w 44"/>
                <a:gd name="T31" fmla="*/ 26 h 40"/>
                <a:gd name="T32" fmla="*/ 12 w 44"/>
                <a:gd name="T33" fmla="*/ 26 h 40"/>
                <a:gd name="T34" fmla="*/ 6 w 44"/>
                <a:gd name="T35" fmla="*/ 24 h 40"/>
                <a:gd name="T36" fmla="*/ 4 w 44"/>
                <a:gd name="T37" fmla="*/ 24 h 40"/>
                <a:gd name="T38" fmla="*/ 2 w 44"/>
                <a:gd name="T39" fmla="*/ 26 h 40"/>
                <a:gd name="T40" fmla="*/ 0 w 44"/>
                <a:gd name="T41" fmla="*/ 26 h 40"/>
                <a:gd name="T42" fmla="*/ 0 w 44"/>
                <a:gd name="T43" fmla="*/ 28 h 40"/>
                <a:gd name="T44" fmla="*/ 0 w 44"/>
                <a:gd name="T45" fmla="*/ 30 h 40"/>
                <a:gd name="T46" fmla="*/ 2 w 44"/>
                <a:gd name="T47" fmla="*/ 34 h 40"/>
                <a:gd name="T48" fmla="*/ 4 w 44"/>
                <a:gd name="T49" fmla="*/ 36 h 40"/>
                <a:gd name="T50" fmla="*/ 4 w 44"/>
                <a:gd name="T51" fmla="*/ 38 h 40"/>
                <a:gd name="T52" fmla="*/ 8 w 44"/>
                <a:gd name="T53" fmla="*/ 38 h 40"/>
                <a:gd name="T54" fmla="*/ 12 w 44"/>
                <a:gd name="T55" fmla="*/ 38 h 40"/>
                <a:gd name="T56" fmla="*/ 20 w 44"/>
                <a:gd name="T57" fmla="*/ 38 h 40"/>
                <a:gd name="T58" fmla="*/ 38 w 44"/>
                <a:gd name="T59" fmla="*/ 40 h 40"/>
                <a:gd name="T60" fmla="*/ 42 w 44"/>
                <a:gd name="T61" fmla="*/ 32 h 40"/>
                <a:gd name="T62" fmla="*/ 42 w 44"/>
                <a:gd name="T63" fmla="*/ 28 h 40"/>
                <a:gd name="T64" fmla="*/ 44 w 44"/>
                <a:gd name="T65" fmla="*/ 24 h 40"/>
                <a:gd name="T66" fmla="*/ 44 w 44"/>
                <a:gd name="T67" fmla="*/ 18 h 40"/>
                <a:gd name="T68" fmla="*/ 42 w 44"/>
                <a:gd name="T69" fmla="*/ 8 h 40"/>
                <a:gd name="T70" fmla="*/ 42 w 44"/>
                <a:gd name="T71" fmla="*/ 0 h 40"/>
                <a:gd name="T72" fmla="*/ 36 w 44"/>
                <a:gd name="T73" fmla="*/ 0 h 40"/>
                <a:gd name="T74" fmla="*/ 34 w 44"/>
                <a:gd name="T7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0">
                  <a:moveTo>
                    <a:pt x="32" y="2"/>
                  </a:moveTo>
                  <a:lnTo>
                    <a:pt x="32" y="2"/>
                  </a:lnTo>
                  <a:lnTo>
                    <a:pt x="32" y="2"/>
                  </a:lnTo>
                  <a:lnTo>
                    <a:pt x="30" y="4"/>
                  </a:lnTo>
                  <a:lnTo>
                    <a:pt x="30" y="6"/>
                  </a:lnTo>
                  <a:lnTo>
                    <a:pt x="28" y="8"/>
                  </a:lnTo>
                  <a:lnTo>
                    <a:pt x="28" y="10"/>
                  </a:lnTo>
                  <a:lnTo>
                    <a:pt x="26" y="12"/>
                  </a:lnTo>
                  <a:lnTo>
                    <a:pt x="26" y="12"/>
                  </a:lnTo>
                  <a:lnTo>
                    <a:pt x="26" y="14"/>
                  </a:lnTo>
                  <a:lnTo>
                    <a:pt x="26" y="14"/>
                  </a:lnTo>
                  <a:lnTo>
                    <a:pt x="26" y="16"/>
                  </a:lnTo>
                  <a:lnTo>
                    <a:pt x="28" y="16"/>
                  </a:lnTo>
                  <a:lnTo>
                    <a:pt x="28" y="16"/>
                  </a:lnTo>
                  <a:lnTo>
                    <a:pt x="30" y="18"/>
                  </a:lnTo>
                  <a:lnTo>
                    <a:pt x="30" y="18"/>
                  </a:lnTo>
                  <a:lnTo>
                    <a:pt x="32" y="20"/>
                  </a:lnTo>
                  <a:lnTo>
                    <a:pt x="32" y="20"/>
                  </a:lnTo>
                  <a:lnTo>
                    <a:pt x="32" y="22"/>
                  </a:lnTo>
                  <a:lnTo>
                    <a:pt x="32" y="22"/>
                  </a:lnTo>
                  <a:lnTo>
                    <a:pt x="32" y="22"/>
                  </a:lnTo>
                  <a:lnTo>
                    <a:pt x="32" y="22"/>
                  </a:lnTo>
                  <a:lnTo>
                    <a:pt x="32" y="24"/>
                  </a:lnTo>
                  <a:lnTo>
                    <a:pt x="30" y="24"/>
                  </a:lnTo>
                  <a:lnTo>
                    <a:pt x="28" y="24"/>
                  </a:lnTo>
                  <a:lnTo>
                    <a:pt x="28" y="26"/>
                  </a:lnTo>
                  <a:lnTo>
                    <a:pt x="26" y="26"/>
                  </a:lnTo>
                  <a:lnTo>
                    <a:pt x="24" y="26"/>
                  </a:lnTo>
                  <a:lnTo>
                    <a:pt x="22" y="26"/>
                  </a:lnTo>
                  <a:lnTo>
                    <a:pt x="22" y="26"/>
                  </a:lnTo>
                  <a:lnTo>
                    <a:pt x="20" y="26"/>
                  </a:lnTo>
                  <a:lnTo>
                    <a:pt x="18" y="26"/>
                  </a:lnTo>
                  <a:lnTo>
                    <a:pt x="14" y="26"/>
                  </a:lnTo>
                  <a:lnTo>
                    <a:pt x="12" y="26"/>
                  </a:lnTo>
                  <a:lnTo>
                    <a:pt x="8" y="24"/>
                  </a:lnTo>
                  <a:lnTo>
                    <a:pt x="6" y="24"/>
                  </a:lnTo>
                  <a:lnTo>
                    <a:pt x="4" y="24"/>
                  </a:lnTo>
                  <a:lnTo>
                    <a:pt x="4" y="24"/>
                  </a:lnTo>
                  <a:lnTo>
                    <a:pt x="2" y="26"/>
                  </a:lnTo>
                  <a:lnTo>
                    <a:pt x="2" y="26"/>
                  </a:lnTo>
                  <a:lnTo>
                    <a:pt x="0" y="26"/>
                  </a:lnTo>
                  <a:lnTo>
                    <a:pt x="0" y="26"/>
                  </a:lnTo>
                  <a:lnTo>
                    <a:pt x="0" y="28"/>
                  </a:lnTo>
                  <a:lnTo>
                    <a:pt x="0" y="28"/>
                  </a:lnTo>
                  <a:lnTo>
                    <a:pt x="0" y="28"/>
                  </a:lnTo>
                  <a:lnTo>
                    <a:pt x="0" y="30"/>
                  </a:lnTo>
                  <a:lnTo>
                    <a:pt x="0" y="32"/>
                  </a:lnTo>
                  <a:lnTo>
                    <a:pt x="2" y="34"/>
                  </a:lnTo>
                  <a:lnTo>
                    <a:pt x="2" y="36"/>
                  </a:lnTo>
                  <a:lnTo>
                    <a:pt x="4" y="36"/>
                  </a:lnTo>
                  <a:lnTo>
                    <a:pt x="4" y="38"/>
                  </a:lnTo>
                  <a:lnTo>
                    <a:pt x="4" y="38"/>
                  </a:lnTo>
                  <a:lnTo>
                    <a:pt x="6" y="38"/>
                  </a:lnTo>
                  <a:lnTo>
                    <a:pt x="8" y="38"/>
                  </a:lnTo>
                  <a:lnTo>
                    <a:pt x="10" y="38"/>
                  </a:lnTo>
                  <a:lnTo>
                    <a:pt x="12" y="38"/>
                  </a:lnTo>
                  <a:lnTo>
                    <a:pt x="16" y="38"/>
                  </a:lnTo>
                  <a:lnTo>
                    <a:pt x="20" y="38"/>
                  </a:lnTo>
                  <a:lnTo>
                    <a:pt x="20" y="38"/>
                  </a:lnTo>
                  <a:lnTo>
                    <a:pt x="38" y="40"/>
                  </a:lnTo>
                  <a:lnTo>
                    <a:pt x="40" y="36"/>
                  </a:lnTo>
                  <a:lnTo>
                    <a:pt x="42" y="32"/>
                  </a:lnTo>
                  <a:lnTo>
                    <a:pt x="42" y="30"/>
                  </a:lnTo>
                  <a:lnTo>
                    <a:pt x="42" y="28"/>
                  </a:lnTo>
                  <a:lnTo>
                    <a:pt x="42" y="26"/>
                  </a:lnTo>
                  <a:lnTo>
                    <a:pt x="44" y="24"/>
                  </a:lnTo>
                  <a:lnTo>
                    <a:pt x="44" y="22"/>
                  </a:lnTo>
                  <a:lnTo>
                    <a:pt x="44" y="18"/>
                  </a:lnTo>
                  <a:lnTo>
                    <a:pt x="42" y="12"/>
                  </a:lnTo>
                  <a:lnTo>
                    <a:pt x="42" y="8"/>
                  </a:lnTo>
                  <a:lnTo>
                    <a:pt x="42" y="0"/>
                  </a:lnTo>
                  <a:lnTo>
                    <a:pt x="42" y="0"/>
                  </a:lnTo>
                  <a:lnTo>
                    <a:pt x="38" y="0"/>
                  </a:lnTo>
                  <a:lnTo>
                    <a:pt x="36" y="0"/>
                  </a:lnTo>
                  <a:lnTo>
                    <a:pt x="34" y="2"/>
                  </a:lnTo>
                  <a:lnTo>
                    <a:pt x="34" y="2"/>
                  </a:lnTo>
                  <a:lnTo>
                    <a:pt x="3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7" name="Freeform 465"/>
            <p:cNvSpPr>
              <a:spLocks/>
            </p:cNvSpPr>
            <p:nvPr/>
          </p:nvSpPr>
          <p:spPr bwMode="auto">
            <a:xfrm>
              <a:off x="2751914" y="4414113"/>
              <a:ext cx="110853" cy="218241"/>
            </a:xfrm>
            <a:custGeom>
              <a:avLst/>
              <a:gdLst>
                <a:gd name="T0" fmla="*/ 18 w 64"/>
                <a:gd name="T1" fmla="*/ 6 h 126"/>
                <a:gd name="T2" fmla="*/ 18 w 64"/>
                <a:gd name="T3" fmla="*/ 14 h 126"/>
                <a:gd name="T4" fmla="*/ 16 w 64"/>
                <a:gd name="T5" fmla="*/ 18 h 126"/>
                <a:gd name="T6" fmla="*/ 12 w 64"/>
                <a:gd name="T7" fmla="*/ 22 h 126"/>
                <a:gd name="T8" fmla="*/ 10 w 64"/>
                <a:gd name="T9" fmla="*/ 28 h 126"/>
                <a:gd name="T10" fmla="*/ 2 w 64"/>
                <a:gd name="T11" fmla="*/ 34 h 126"/>
                <a:gd name="T12" fmla="*/ 0 w 64"/>
                <a:gd name="T13" fmla="*/ 40 h 126"/>
                <a:gd name="T14" fmla="*/ 0 w 64"/>
                <a:gd name="T15" fmla="*/ 48 h 126"/>
                <a:gd name="T16" fmla="*/ 2 w 64"/>
                <a:gd name="T17" fmla="*/ 54 h 126"/>
                <a:gd name="T18" fmla="*/ 6 w 64"/>
                <a:gd name="T19" fmla="*/ 60 h 126"/>
                <a:gd name="T20" fmla="*/ 8 w 64"/>
                <a:gd name="T21" fmla="*/ 70 h 126"/>
                <a:gd name="T22" fmla="*/ 16 w 64"/>
                <a:gd name="T23" fmla="*/ 72 h 126"/>
                <a:gd name="T24" fmla="*/ 20 w 64"/>
                <a:gd name="T25" fmla="*/ 76 h 126"/>
                <a:gd name="T26" fmla="*/ 22 w 64"/>
                <a:gd name="T27" fmla="*/ 82 h 126"/>
                <a:gd name="T28" fmla="*/ 22 w 64"/>
                <a:gd name="T29" fmla="*/ 92 h 126"/>
                <a:gd name="T30" fmla="*/ 18 w 64"/>
                <a:gd name="T31" fmla="*/ 100 h 126"/>
                <a:gd name="T32" fmla="*/ 18 w 64"/>
                <a:gd name="T33" fmla="*/ 106 h 126"/>
                <a:gd name="T34" fmla="*/ 24 w 64"/>
                <a:gd name="T35" fmla="*/ 116 h 126"/>
                <a:gd name="T36" fmla="*/ 30 w 64"/>
                <a:gd name="T37" fmla="*/ 124 h 126"/>
                <a:gd name="T38" fmla="*/ 34 w 64"/>
                <a:gd name="T39" fmla="*/ 126 h 126"/>
                <a:gd name="T40" fmla="*/ 40 w 64"/>
                <a:gd name="T41" fmla="*/ 124 h 126"/>
                <a:gd name="T42" fmla="*/ 44 w 64"/>
                <a:gd name="T43" fmla="*/ 122 h 126"/>
                <a:gd name="T44" fmla="*/ 46 w 64"/>
                <a:gd name="T45" fmla="*/ 118 h 126"/>
                <a:gd name="T46" fmla="*/ 50 w 64"/>
                <a:gd name="T47" fmla="*/ 116 h 126"/>
                <a:gd name="T48" fmla="*/ 60 w 64"/>
                <a:gd name="T49" fmla="*/ 114 h 126"/>
                <a:gd name="T50" fmla="*/ 62 w 64"/>
                <a:gd name="T51" fmla="*/ 106 h 126"/>
                <a:gd name="T52" fmla="*/ 60 w 64"/>
                <a:gd name="T53" fmla="*/ 98 h 126"/>
                <a:gd name="T54" fmla="*/ 58 w 64"/>
                <a:gd name="T55" fmla="*/ 94 h 126"/>
                <a:gd name="T56" fmla="*/ 52 w 64"/>
                <a:gd name="T57" fmla="*/ 90 h 126"/>
                <a:gd name="T58" fmla="*/ 46 w 64"/>
                <a:gd name="T59" fmla="*/ 86 h 126"/>
                <a:gd name="T60" fmla="*/ 44 w 64"/>
                <a:gd name="T61" fmla="*/ 80 h 126"/>
                <a:gd name="T62" fmla="*/ 44 w 64"/>
                <a:gd name="T63" fmla="*/ 74 h 126"/>
                <a:gd name="T64" fmla="*/ 46 w 64"/>
                <a:gd name="T65" fmla="*/ 70 h 126"/>
                <a:gd name="T66" fmla="*/ 52 w 64"/>
                <a:gd name="T67" fmla="*/ 66 h 126"/>
                <a:gd name="T68" fmla="*/ 60 w 64"/>
                <a:gd name="T69" fmla="*/ 68 h 126"/>
                <a:gd name="T70" fmla="*/ 62 w 64"/>
                <a:gd name="T71" fmla="*/ 66 h 126"/>
                <a:gd name="T72" fmla="*/ 64 w 64"/>
                <a:gd name="T73" fmla="*/ 64 h 126"/>
                <a:gd name="T74" fmla="*/ 64 w 64"/>
                <a:gd name="T75" fmla="*/ 54 h 126"/>
                <a:gd name="T76" fmla="*/ 64 w 64"/>
                <a:gd name="T77" fmla="*/ 44 h 126"/>
                <a:gd name="T78" fmla="*/ 62 w 64"/>
                <a:gd name="T79" fmla="*/ 36 h 126"/>
                <a:gd name="T80" fmla="*/ 58 w 64"/>
                <a:gd name="T81" fmla="*/ 32 h 126"/>
                <a:gd name="T82" fmla="*/ 50 w 64"/>
                <a:gd name="T83" fmla="*/ 30 h 126"/>
                <a:gd name="T84" fmla="*/ 44 w 64"/>
                <a:gd name="T85" fmla="*/ 30 h 126"/>
                <a:gd name="T86" fmla="*/ 44 w 64"/>
                <a:gd name="T87" fmla="*/ 28 h 126"/>
                <a:gd name="T88" fmla="*/ 44 w 64"/>
                <a:gd name="T89" fmla="*/ 20 h 126"/>
                <a:gd name="T90" fmla="*/ 42 w 64"/>
                <a:gd name="T91" fmla="*/ 16 h 126"/>
                <a:gd name="T92" fmla="*/ 40 w 64"/>
                <a:gd name="T93" fmla="*/ 16 h 126"/>
                <a:gd name="T94" fmla="*/ 34 w 64"/>
                <a:gd name="T95" fmla="*/ 14 h 126"/>
                <a:gd name="T96" fmla="*/ 32 w 64"/>
                <a:gd name="T97" fmla="*/ 12 h 126"/>
                <a:gd name="T98" fmla="*/ 30 w 64"/>
                <a:gd name="T99" fmla="*/ 4 h 126"/>
                <a:gd name="T100" fmla="*/ 28 w 64"/>
                <a:gd name="T101" fmla="*/ 2 h 126"/>
                <a:gd name="T102" fmla="*/ 22 w 64"/>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26">
                  <a:moveTo>
                    <a:pt x="18" y="0"/>
                  </a:moveTo>
                  <a:lnTo>
                    <a:pt x="18" y="0"/>
                  </a:lnTo>
                  <a:lnTo>
                    <a:pt x="18" y="2"/>
                  </a:lnTo>
                  <a:lnTo>
                    <a:pt x="18" y="6"/>
                  </a:lnTo>
                  <a:lnTo>
                    <a:pt x="18" y="8"/>
                  </a:lnTo>
                  <a:lnTo>
                    <a:pt x="18" y="10"/>
                  </a:lnTo>
                  <a:lnTo>
                    <a:pt x="18" y="12"/>
                  </a:lnTo>
                  <a:lnTo>
                    <a:pt x="18" y="14"/>
                  </a:lnTo>
                  <a:lnTo>
                    <a:pt x="18" y="14"/>
                  </a:lnTo>
                  <a:lnTo>
                    <a:pt x="18" y="16"/>
                  </a:lnTo>
                  <a:lnTo>
                    <a:pt x="18" y="16"/>
                  </a:lnTo>
                  <a:lnTo>
                    <a:pt x="16" y="18"/>
                  </a:lnTo>
                  <a:lnTo>
                    <a:pt x="14" y="20"/>
                  </a:lnTo>
                  <a:lnTo>
                    <a:pt x="12" y="20"/>
                  </a:lnTo>
                  <a:lnTo>
                    <a:pt x="12" y="20"/>
                  </a:lnTo>
                  <a:lnTo>
                    <a:pt x="12" y="22"/>
                  </a:lnTo>
                  <a:lnTo>
                    <a:pt x="10" y="24"/>
                  </a:lnTo>
                  <a:lnTo>
                    <a:pt x="10" y="26"/>
                  </a:lnTo>
                  <a:lnTo>
                    <a:pt x="10" y="28"/>
                  </a:lnTo>
                  <a:lnTo>
                    <a:pt x="10" y="28"/>
                  </a:lnTo>
                  <a:lnTo>
                    <a:pt x="8" y="30"/>
                  </a:lnTo>
                  <a:lnTo>
                    <a:pt x="8" y="30"/>
                  </a:lnTo>
                  <a:lnTo>
                    <a:pt x="4" y="32"/>
                  </a:lnTo>
                  <a:lnTo>
                    <a:pt x="2" y="34"/>
                  </a:lnTo>
                  <a:lnTo>
                    <a:pt x="2" y="36"/>
                  </a:lnTo>
                  <a:lnTo>
                    <a:pt x="2" y="36"/>
                  </a:lnTo>
                  <a:lnTo>
                    <a:pt x="0" y="38"/>
                  </a:lnTo>
                  <a:lnTo>
                    <a:pt x="0" y="40"/>
                  </a:lnTo>
                  <a:lnTo>
                    <a:pt x="0" y="42"/>
                  </a:lnTo>
                  <a:lnTo>
                    <a:pt x="0" y="44"/>
                  </a:lnTo>
                  <a:lnTo>
                    <a:pt x="0" y="46"/>
                  </a:lnTo>
                  <a:lnTo>
                    <a:pt x="0" y="48"/>
                  </a:lnTo>
                  <a:lnTo>
                    <a:pt x="0" y="50"/>
                  </a:lnTo>
                  <a:lnTo>
                    <a:pt x="0" y="50"/>
                  </a:lnTo>
                  <a:lnTo>
                    <a:pt x="0" y="52"/>
                  </a:lnTo>
                  <a:lnTo>
                    <a:pt x="2" y="54"/>
                  </a:lnTo>
                  <a:lnTo>
                    <a:pt x="4" y="56"/>
                  </a:lnTo>
                  <a:lnTo>
                    <a:pt x="6" y="58"/>
                  </a:lnTo>
                  <a:lnTo>
                    <a:pt x="6" y="58"/>
                  </a:lnTo>
                  <a:lnTo>
                    <a:pt x="6" y="60"/>
                  </a:lnTo>
                  <a:lnTo>
                    <a:pt x="8" y="62"/>
                  </a:lnTo>
                  <a:lnTo>
                    <a:pt x="8" y="62"/>
                  </a:lnTo>
                  <a:lnTo>
                    <a:pt x="8" y="66"/>
                  </a:lnTo>
                  <a:lnTo>
                    <a:pt x="8" y="70"/>
                  </a:lnTo>
                  <a:lnTo>
                    <a:pt x="8" y="70"/>
                  </a:lnTo>
                  <a:lnTo>
                    <a:pt x="12" y="72"/>
                  </a:lnTo>
                  <a:lnTo>
                    <a:pt x="14" y="72"/>
                  </a:lnTo>
                  <a:lnTo>
                    <a:pt x="16" y="72"/>
                  </a:lnTo>
                  <a:lnTo>
                    <a:pt x="18" y="74"/>
                  </a:lnTo>
                  <a:lnTo>
                    <a:pt x="18" y="74"/>
                  </a:lnTo>
                  <a:lnTo>
                    <a:pt x="20" y="74"/>
                  </a:lnTo>
                  <a:lnTo>
                    <a:pt x="20" y="76"/>
                  </a:lnTo>
                  <a:lnTo>
                    <a:pt x="20" y="76"/>
                  </a:lnTo>
                  <a:lnTo>
                    <a:pt x="20" y="78"/>
                  </a:lnTo>
                  <a:lnTo>
                    <a:pt x="22" y="80"/>
                  </a:lnTo>
                  <a:lnTo>
                    <a:pt x="22" y="82"/>
                  </a:lnTo>
                  <a:lnTo>
                    <a:pt x="22" y="84"/>
                  </a:lnTo>
                  <a:lnTo>
                    <a:pt x="22" y="86"/>
                  </a:lnTo>
                  <a:lnTo>
                    <a:pt x="22" y="90"/>
                  </a:lnTo>
                  <a:lnTo>
                    <a:pt x="22" y="92"/>
                  </a:lnTo>
                  <a:lnTo>
                    <a:pt x="22" y="94"/>
                  </a:lnTo>
                  <a:lnTo>
                    <a:pt x="20" y="96"/>
                  </a:lnTo>
                  <a:lnTo>
                    <a:pt x="20" y="98"/>
                  </a:lnTo>
                  <a:lnTo>
                    <a:pt x="18" y="100"/>
                  </a:lnTo>
                  <a:lnTo>
                    <a:pt x="18" y="100"/>
                  </a:lnTo>
                  <a:lnTo>
                    <a:pt x="18" y="102"/>
                  </a:lnTo>
                  <a:lnTo>
                    <a:pt x="18" y="104"/>
                  </a:lnTo>
                  <a:lnTo>
                    <a:pt x="18" y="106"/>
                  </a:lnTo>
                  <a:lnTo>
                    <a:pt x="20" y="108"/>
                  </a:lnTo>
                  <a:lnTo>
                    <a:pt x="20" y="110"/>
                  </a:lnTo>
                  <a:lnTo>
                    <a:pt x="24" y="114"/>
                  </a:lnTo>
                  <a:lnTo>
                    <a:pt x="24" y="116"/>
                  </a:lnTo>
                  <a:lnTo>
                    <a:pt x="26" y="118"/>
                  </a:lnTo>
                  <a:lnTo>
                    <a:pt x="28" y="122"/>
                  </a:lnTo>
                  <a:lnTo>
                    <a:pt x="30" y="122"/>
                  </a:lnTo>
                  <a:lnTo>
                    <a:pt x="30" y="124"/>
                  </a:lnTo>
                  <a:lnTo>
                    <a:pt x="30" y="124"/>
                  </a:lnTo>
                  <a:lnTo>
                    <a:pt x="32" y="124"/>
                  </a:lnTo>
                  <a:lnTo>
                    <a:pt x="32" y="124"/>
                  </a:lnTo>
                  <a:lnTo>
                    <a:pt x="34" y="126"/>
                  </a:lnTo>
                  <a:lnTo>
                    <a:pt x="36" y="126"/>
                  </a:lnTo>
                  <a:lnTo>
                    <a:pt x="38" y="126"/>
                  </a:lnTo>
                  <a:lnTo>
                    <a:pt x="38" y="126"/>
                  </a:lnTo>
                  <a:lnTo>
                    <a:pt x="40" y="124"/>
                  </a:lnTo>
                  <a:lnTo>
                    <a:pt x="42" y="124"/>
                  </a:lnTo>
                  <a:lnTo>
                    <a:pt x="42" y="124"/>
                  </a:lnTo>
                  <a:lnTo>
                    <a:pt x="42" y="124"/>
                  </a:lnTo>
                  <a:lnTo>
                    <a:pt x="44" y="122"/>
                  </a:lnTo>
                  <a:lnTo>
                    <a:pt x="44" y="120"/>
                  </a:lnTo>
                  <a:lnTo>
                    <a:pt x="44" y="120"/>
                  </a:lnTo>
                  <a:lnTo>
                    <a:pt x="46" y="118"/>
                  </a:lnTo>
                  <a:lnTo>
                    <a:pt x="46" y="118"/>
                  </a:lnTo>
                  <a:lnTo>
                    <a:pt x="46" y="118"/>
                  </a:lnTo>
                  <a:lnTo>
                    <a:pt x="46" y="118"/>
                  </a:lnTo>
                  <a:lnTo>
                    <a:pt x="48" y="118"/>
                  </a:lnTo>
                  <a:lnTo>
                    <a:pt x="50" y="116"/>
                  </a:lnTo>
                  <a:lnTo>
                    <a:pt x="52" y="116"/>
                  </a:lnTo>
                  <a:lnTo>
                    <a:pt x="56" y="118"/>
                  </a:lnTo>
                  <a:lnTo>
                    <a:pt x="58" y="118"/>
                  </a:lnTo>
                  <a:lnTo>
                    <a:pt x="60" y="114"/>
                  </a:lnTo>
                  <a:lnTo>
                    <a:pt x="60" y="112"/>
                  </a:lnTo>
                  <a:lnTo>
                    <a:pt x="60" y="110"/>
                  </a:lnTo>
                  <a:lnTo>
                    <a:pt x="60" y="110"/>
                  </a:lnTo>
                  <a:lnTo>
                    <a:pt x="62" y="106"/>
                  </a:lnTo>
                  <a:lnTo>
                    <a:pt x="62" y="104"/>
                  </a:lnTo>
                  <a:lnTo>
                    <a:pt x="62" y="102"/>
                  </a:lnTo>
                  <a:lnTo>
                    <a:pt x="60" y="100"/>
                  </a:lnTo>
                  <a:lnTo>
                    <a:pt x="60" y="98"/>
                  </a:lnTo>
                  <a:lnTo>
                    <a:pt x="60" y="96"/>
                  </a:lnTo>
                  <a:lnTo>
                    <a:pt x="60" y="96"/>
                  </a:lnTo>
                  <a:lnTo>
                    <a:pt x="58" y="94"/>
                  </a:lnTo>
                  <a:lnTo>
                    <a:pt x="58" y="94"/>
                  </a:lnTo>
                  <a:lnTo>
                    <a:pt x="56" y="94"/>
                  </a:lnTo>
                  <a:lnTo>
                    <a:pt x="56" y="92"/>
                  </a:lnTo>
                  <a:lnTo>
                    <a:pt x="54" y="92"/>
                  </a:lnTo>
                  <a:lnTo>
                    <a:pt x="52" y="90"/>
                  </a:lnTo>
                  <a:lnTo>
                    <a:pt x="52" y="90"/>
                  </a:lnTo>
                  <a:lnTo>
                    <a:pt x="50" y="88"/>
                  </a:lnTo>
                  <a:lnTo>
                    <a:pt x="48" y="88"/>
                  </a:lnTo>
                  <a:lnTo>
                    <a:pt x="46" y="86"/>
                  </a:lnTo>
                  <a:lnTo>
                    <a:pt x="46" y="84"/>
                  </a:lnTo>
                  <a:lnTo>
                    <a:pt x="46" y="84"/>
                  </a:lnTo>
                  <a:lnTo>
                    <a:pt x="46" y="82"/>
                  </a:lnTo>
                  <a:lnTo>
                    <a:pt x="44" y="80"/>
                  </a:lnTo>
                  <a:lnTo>
                    <a:pt x="44" y="78"/>
                  </a:lnTo>
                  <a:lnTo>
                    <a:pt x="44" y="78"/>
                  </a:lnTo>
                  <a:lnTo>
                    <a:pt x="44" y="76"/>
                  </a:lnTo>
                  <a:lnTo>
                    <a:pt x="44" y="74"/>
                  </a:lnTo>
                  <a:lnTo>
                    <a:pt x="44" y="72"/>
                  </a:lnTo>
                  <a:lnTo>
                    <a:pt x="46" y="70"/>
                  </a:lnTo>
                  <a:lnTo>
                    <a:pt x="46" y="70"/>
                  </a:lnTo>
                  <a:lnTo>
                    <a:pt x="46" y="70"/>
                  </a:lnTo>
                  <a:lnTo>
                    <a:pt x="48" y="68"/>
                  </a:lnTo>
                  <a:lnTo>
                    <a:pt x="48" y="68"/>
                  </a:lnTo>
                  <a:lnTo>
                    <a:pt x="50" y="66"/>
                  </a:lnTo>
                  <a:lnTo>
                    <a:pt x="52" y="66"/>
                  </a:lnTo>
                  <a:lnTo>
                    <a:pt x="54" y="66"/>
                  </a:lnTo>
                  <a:lnTo>
                    <a:pt x="54" y="66"/>
                  </a:lnTo>
                  <a:lnTo>
                    <a:pt x="58" y="66"/>
                  </a:lnTo>
                  <a:lnTo>
                    <a:pt x="60" y="68"/>
                  </a:lnTo>
                  <a:lnTo>
                    <a:pt x="60" y="68"/>
                  </a:lnTo>
                  <a:lnTo>
                    <a:pt x="62" y="68"/>
                  </a:lnTo>
                  <a:lnTo>
                    <a:pt x="62" y="68"/>
                  </a:lnTo>
                  <a:lnTo>
                    <a:pt x="62" y="66"/>
                  </a:lnTo>
                  <a:lnTo>
                    <a:pt x="64" y="66"/>
                  </a:lnTo>
                  <a:lnTo>
                    <a:pt x="64" y="66"/>
                  </a:lnTo>
                  <a:lnTo>
                    <a:pt x="64" y="64"/>
                  </a:lnTo>
                  <a:lnTo>
                    <a:pt x="64" y="64"/>
                  </a:lnTo>
                  <a:lnTo>
                    <a:pt x="64" y="60"/>
                  </a:lnTo>
                  <a:lnTo>
                    <a:pt x="64" y="58"/>
                  </a:lnTo>
                  <a:lnTo>
                    <a:pt x="64" y="56"/>
                  </a:lnTo>
                  <a:lnTo>
                    <a:pt x="64" y="54"/>
                  </a:lnTo>
                  <a:lnTo>
                    <a:pt x="64" y="52"/>
                  </a:lnTo>
                  <a:lnTo>
                    <a:pt x="64" y="50"/>
                  </a:lnTo>
                  <a:lnTo>
                    <a:pt x="64" y="46"/>
                  </a:lnTo>
                  <a:lnTo>
                    <a:pt x="64" y="44"/>
                  </a:lnTo>
                  <a:lnTo>
                    <a:pt x="64" y="40"/>
                  </a:lnTo>
                  <a:lnTo>
                    <a:pt x="62" y="38"/>
                  </a:lnTo>
                  <a:lnTo>
                    <a:pt x="62" y="36"/>
                  </a:lnTo>
                  <a:lnTo>
                    <a:pt x="62" y="36"/>
                  </a:lnTo>
                  <a:lnTo>
                    <a:pt x="62" y="36"/>
                  </a:lnTo>
                  <a:lnTo>
                    <a:pt x="60" y="34"/>
                  </a:lnTo>
                  <a:lnTo>
                    <a:pt x="60" y="34"/>
                  </a:lnTo>
                  <a:lnTo>
                    <a:pt x="58" y="32"/>
                  </a:lnTo>
                  <a:lnTo>
                    <a:pt x="56" y="30"/>
                  </a:lnTo>
                  <a:lnTo>
                    <a:pt x="54" y="30"/>
                  </a:lnTo>
                  <a:lnTo>
                    <a:pt x="54" y="30"/>
                  </a:lnTo>
                  <a:lnTo>
                    <a:pt x="50" y="30"/>
                  </a:lnTo>
                  <a:lnTo>
                    <a:pt x="48" y="30"/>
                  </a:lnTo>
                  <a:lnTo>
                    <a:pt x="46" y="30"/>
                  </a:lnTo>
                  <a:lnTo>
                    <a:pt x="44" y="30"/>
                  </a:lnTo>
                  <a:lnTo>
                    <a:pt x="44" y="30"/>
                  </a:lnTo>
                  <a:lnTo>
                    <a:pt x="44" y="30"/>
                  </a:lnTo>
                  <a:lnTo>
                    <a:pt x="44" y="30"/>
                  </a:lnTo>
                  <a:lnTo>
                    <a:pt x="44" y="28"/>
                  </a:lnTo>
                  <a:lnTo>
                    <a:pt x="44" y="28"/>
                  </a:lnTo>
                  <a:lnTo>
                    <a:pt x="42" y="26"/>
                  </a:lnTo>
                  <a:lnTo>
                    <a:pt x="42" y="24"/>
                  </a:lnTo>
                  <a:lnTo>
                    <a:pt x="42" y="22"/>
                  </a:lnTo>
                  <a:lnTo>
                    <a:pt x="44" y="20"/>
                  </a:lnTo>
                  <a:lnTo>
                    <a:pt x="42" y="18"/>
                  </a:lnTo>
                  <a:lnTo>
                    <a:pt x="42" y="18"/>
                  </a:lnTo>
                  <a:lnTo>
                    <a:pt x="42" y="16"/>
                  </a:lnTo>
                  <a:lnTo>
                    <a:pt x="42" y="16"/>
                  </a:lnTo>
                  <a:lnTo>
                    <a:pt x="42" y="16"/>
                  </a:lnTo>
                  <a:lnTo>
                    <a:pt x="42" y="16"/>
                  </a:lnTo>
                  <a:lnTo>
                    <a:pt x="42" y="16"/>
                  </a:lnTo>
                  <a:lnTo>
                    <a:pt x="40" y="16"/>
                  </a:lnTo>
                  <a:lnTo>
                    <a:pt x="40" y="16"/>
                  </a:lnTo>
                  <a:lnTo>
                    <a:pt x="38" y="16"/>
                  </a:lnTo>
                  <a:lnTo>
                    <a:pt x="36" y="16"/>
                  </a:lnTo>
                  <a:lnTo>
                    <a:pt x="34" y="14"/>
                  </a:lnTo>
                  <a:lnTo>
                    <a:pt x="34" y="14"/>
                  </a:lnTo>
                  <a:lnTo>
                    <a:pt x="34" y="14"/>
                  </a:lnTo>
                  <a:lnTo>
                    <a:pt x="32" y="14"/>
                  </a:lnTo>
                  <a:lnTo>
                    <a:pt x="32" y="12"/>
                  </a:lnTo>
                  <a:lnTo>
                    <a:pt x="32" y="10"/>
                  </a:lnTo>
                  <a:lnTo>
                    <a:pt x="32" y="8"/>
                  </a:lnTo>
                  <a:lnTo>
                    <a:pt x="30" y="6"/>
                  </a:lnTo>
                  <a:lnTo>
                    <a:pt x="30" y="4"/>
                  </a:lnTo>
                  <a:lnTo>
                    <a:pt x="30" y="4"/>
                  </a:lnTo>
                  <a:lnTo>
                    <a:pt x="30" y="2"/>
                  </a:lnTo>
                  <a:lnTo>
                    <a:pt x="28" y="2"/>
                  </a:lnTo>
                  <a:lnTo>
                    <a:pt x="28" y="2"/>
                  </a:lnTo>
                  <a:lnTo>
                    <a:pt x="28" y="2"/>
                  </a:lnTo>
                  <a:lnTo>
                    <a:pt x="26" y="0"/>
                  </a:lnTo>
                  <a:lnTo>
                    <a:pt x="24" y="0"/>
                  </a:lnTo>
                  <a:lnTo>
                    <a:pt x="22" y="0"/>
                  </a:lnTo>
                  <a:lnTo>
                    <a:pt x="18" y="0"/>
                  </a:lnTo>
                  <a:lnTo>
                    <a:pt x="18"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8" name="Freeform 466"/>
            <p:cNvSpPr>
              <a:spLocks/>
            </p:cNvSpPr>
            <p:nvPr/>
          </p:nvSpPr>
          <p:spPr bwMode="auto">
            <a:xfrm>
              <a:off x="2751914" y="4414113"/>
              <a:ext cx="110853" cy="218241"/>
            </a:xfrm>
            <a:custGeom>
              <a:avLst/>
              <a:gdLst>
                <a:gd name="T0" fmla="*/ 18 w 64"/>
                <a:gd name="T1" fmla="*/ 6 h 126"/>
                <a:gd name="T2" fmla="*/ 18 w 64"/>
                <a:gd name="T3" fmla="*/ 14 h 126"/>
                <a:gd name="T4" fmla="*/ 16 w 64"/>
                <a:gd name="T5" fmla="*/ 18 h 126"/>
                <a:gd name="T6" fmla="*/ 12 w 64"/>
                <a:gd name="T7" fmla="*/ 22 h 126"/>
                <a:gd name="T8" fmla="*/ 10 w 64"/>
                <a:gd name="T9" fmla="*/ 28 h 126"/>
                <a:gd name="T10" fmla="*/ 2 w 64"/>
                <a:gd name="T11" fmla="*/ 34 h 126"/>
                <a:gd name="T12" fmla="*/ 0 w 64"/>
                <a:gd name="T13" fmla="*/ 40 h 126"/>
                <a:gd name="T14" fmla="*/ 0 w 64"/>
                <a:gd name="T15" fmla="*/ 48 h 126"/>
                <a:gd name="T16" fmla="*/ 2 w 64"/>
                <a:gd name="T17" fmla="*/ 54 h 126"/>
                <a:gd name="T18" fmla="*/ 6 w 64"/>
                <a:gd name="T19" fmla="*/ 60 h 126"/>
                <a:gd name="T20" fmla="*/ 8 w 64"/>
                <a:gd name="T21" fmla="*/ 70 h 126"/>
                <a:gd name="T22" fmla="*/ 16 w 64"/>
                <a:gd name="T23" fmla="*/ 72 h 126"/>
                <a:gd name="T24" fmla="*/ 20 w 64"/>
                <a:gd name="T25" fmla="*/ 76 h 126"/>
                <a:gd name="T26" fmla="*/ 22 w 64"/>
                <a:gd name="T27" fmla="*/ 82 h 126"/>
                <a:gd name="T28" fmla="*/ 22 w 64"/>
                <a:gd name="T29" fmla="*/ 92 h 126"/>
                <a:gd name="T30" fmla="*/ 18 w 64"/>
                <a:gd name="T31" fmla="*/ 100 h 126"/>
                <a:gd name="T32" fmla="*/ 18 w 64"/>
                <a:gd name="T33" fmla="*/ 106 h 126"/>
                <a:gd name="T34" fmla="*/ 24 w 64"/>
                <a:gd name="T35" fmla="*/ 116 h 126"/>
                <a:gd name="T36" fmla="*/ 30 w 64"/>
                <a:gd name="T37" fmla="*/ 124 h 126"/>
                <a:gd name="T38" fmla="*/ 34 w 64"/>
                <a:gd name="T39" fmla="*/ 126 h 126"/>
                <a:gd name="T40" fmla="*/ 40 w 64"/>
                <a:gd name="T41" fmla="*/ 124 h 126"/>
                <a:gd name="T42" fmla="*/ 44 w 64"/>
                <a:gd name="T43" fmla="*/ 122 h 126"/>
                <a:gd name="T44" fmla="*/ 46 w 64"/>
                <a:gd name="T45" fmla="*/ 118 h 126"/>
                <a:gd name="T46" fmla="*/ 50 w 64"/>
                <a:gd name="T47" fmla="*/ 116 h 126"/>
                <a:gd name="T48" fmla="*/ 60 w 64"/>
                <a:gd name="T49" fmla="*/ 114 h 126"/>
                <a:gd name="T50" fmla="*/ 62 w 64"/>
                <a:gd name="T51" fmla="*/ 106 h 126"/>
                <a:gd name="T52" fmla="*/ 60 w 64"/>
                <a:gd name="T53" fmla="*/ 98 h 126"/>
                <a:gd name="T54" fmla="*/ 58 w 64"/>
                <a:gd name="T55" fmla="*/ 94 h 126"/>
                <a:gd name="T56" fmla="*/ 52 w 64"/>
                <a:gd name="T57" fmla="*/ 90 h 126"/>
                <a:gd name="T58" fmla="*/ 46 w 64"/>
                <a:gd name="T59" fmla="*/ 86 h 126"/>
                <a:gd name="T60" fmla="*/ 44 w 64"/>
                <a:gd name="T61" fmla="*/ 80 h 126"/>
                <a:gd name="T62" fmla="*/ 44 w 64"/>
                <a:gd name="T63" fmla="*/ 74 h 126"/>
                <a:gd name="T64" fmla="*/ 46 w 64"/>
                <a:gd name="T65" fmla="*/ 70 h 126"/>
                <a:gd name="T66" fmla="*/ 52 w 64"/>
                <a:gd name="T67" fmla="*/ 66 h 126"/>
                <a:gd name="T68" fmla="*/ 60 w 64"/>
                <a:gd name="T69" fmla="*/ 68 h 126"/>
                <a:gd name="T70" fmla="*/ 62 w 64"/>
                <a:gd name="T71" fmla="*/ 66 h 126"/>
                <a:gd name="T72" fmla="*/ 64 w 64"/>
                <a:gd name="T73" fmla="*/ 64 h 126"/>
                <a:gd name="T74" fmla="*/ 64 w 64"/>
                <a:gd name="T75" fmla="*/ 54 h 126"/>
                <a:gd name="T76" fmla="*/ 64 w 64"/>
                <a:gd name="T77" fmla="*/ 44 h 126"/>
                <a:gd name="T78" fmla="*/ 62 w 64"/>
                <a:gd name="T79" fmla="*/ 36 h 126"/>
                <a:gd name="T80" fmla="*/ 58 w 64"/>
                <a:gd name="T81" fmla="*/ 32 h 126"/>
                <a:gd name="T82" fmla="*/ 50 w 64"/>
                <a:gd name="T83" fmla="*/ 30 h 126"/>
                <a:gd name="T84" fmla="*/ 44 w 64"/>
                <a:gd name="T85" fmla="*/ 30 h 126"/>
                <a:gd name="T86" fmla="*/ 44 w 64"/>
                <a:gd name="T87" fmla="*/ 28 h 126"/>
                <a:gd name="T88" fmla="*/ 44 w 64"/>
                <a:gd name="T89" fmla="*/ 20 h 126"/>
                <a:gd name="T90" fmla="*/ 42 w 64"/>
                <a:gd name="T91" fmla="*/ 16 h 126"/>
                <a:gd name="T92" fmla="*/ 40 w 64"/>
                <a:gd name="T93" fmla="*/ 16 h 126"/>
                <a:gd name="T94" fmla="*/ 34 w 64"/>
                <a:gd name="T95" fmla="*/ 14 h 126"/>
                <a:gd name="T96" fmla="*/ 32 w 64"/>
                <a:gd name="T97" fmla="*/ 12 h 126"/>
                <a:gd name="T98" fmla="*/ 30 w 64"/>
                <a:gd name="T99" fmla="*/ 4 h 126"/>
                <a:gd name="T100" fmla="*/ 28 w 64"/>
                <a:gd name="T101" fmla="*/ 2 h 126"/>
                <a:gd name="T102" fmla="*/ 22 w 64"/>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26">
                  <a:moveTo>
                    <a:pt x="18" y="0"/>
                  </a:moveTo>
                  <a:lnTo>
                    <a:pt x="18" y="0"/>
                  </a:lnTo>
                  <a:lnTo>
                    <a:pt x="18" y="2"/>
                  </a:lnTo>
                  <a:lnTo>
                    <a:pt x="18" y="6"/>
                  </a:lnTo>
                  <a:lnTo>
                    <a:pt x="18" y="8"/>
                  </a:lnTo>
                  <a:lnTo>
                    <a:pt x="18" y="10"/>
                  </a:lnTo>
                  <a:lnTo>
                    <a:pt x="18" y="12"/>
                  </a:lnTo>
                  <a:lnTo>
                    <a:pt x="18" y="14"/>
                  </a:lnTo>
                  <a:lnTo>
                    <a:pt x="18" y="14"/>
                  </a:lnTo>
                  <a:lnTo>
                    <a:pt x="18" y="16"/>
                  </a:lnTo>
                  <a:lnTo>
                    <a:pt x="18" y="16"/>
                  </a:lnTo>
                  <a:lnTo>
                    <a:pt x="16" y="18"/>
                  </a:lnTo>
                  <a:lnTo>
                    <a:pt x="14" y="20"/>
                  </a:lnTo>
                  <a:lnTo>
                    <a:pt x="12" y="20"/>
                  </a:lnTo>
                  <a:lnTo>
                    <a:pt x="12" y="20"/>
                  </a:lnTo>
                  <a:lnTo>
                    <a:pt x="12" y="22"/>
                  </a:lnTo>
                  <a:lnTo>
                    <a:pt x="10" y="24"/>
                  </a:lnTo>
                  <a:lnTo>
                    <a:pt x="10" y="26"/>
                  </a:lnTo>
                  <a:lnTo>
                    <a:pt x="10" y="28"/>
                  </a:lnTo>
                  <a:lnTo>
                    <a:pt x="10" y="28"/>
                  </a:lnTo>
                  <a:lnTo>
                    <a:pt x="8" y="30"/>
                  </a:lnTo>
                  <a:lnTo>
                    <a:pt x="8" y="30"/>
                  </a:lnTo>
                  <a:lnTo>
                    <a:pt x="4" y="32"/>
                  </a:lnTo>
                  <a:lnTo>
                    <a:pt x="2" y="34"/>
                  </a:lnTo>
                  <a:lnTo>
                    <a:pt x="2" y="36"/>
                  </a:lnTo>
                  <a:lnTo>
                    <a:pt x="2" y="36"/>
                  </a:lnTo>
                  <a:lnTo>
                    <a:pt x="0" y="38"/>
                  </a:lnTo>
                  <a:lnTo>
                    <a:pt x="0" y="40"/>
                  </a:lnTo>
                  <a:lnTo>
                    <a:pt x="0" y="42"/>
                  </a:lnTo>
                  <a:lnTo>
                    <a:pt x="0" y="44"/>
                  </a:lnTo>
                  <a:lnTo>
                    <a:pt x="0" y="46"/>
                  </a:lnTo>
                  <a:lnTo>
                    <a:pt x="0" y="48"/>
                  </a:lnTo>
                  <a:lnTo>
                    <a:pt x="0" y="50"/>
                  </a:lnTo>
                  <a:lnTo>
                    <a:pt x="0" y="50"/>
                  </a:lnTo>
                  <a:lnTo>
                    <a:pt x="0" y="52"/>
                  </a:lnTo>
                  <a:lnTo>
                    <a:pt x="2" y="54"/>
                  </a:lnTo>
                  <a:lnTo>
                    <a:pt x="4" y="56"/>
                  </a:lnTo>
                  <a:lnTo>
                    <a:pt x="6" y="58"/>
                  </a:lnTo>
                  <a:lnTo>
                    <a:pt x="6" y="58"/>
                  </a:lnTo>
                  <a:lnTo>
                    <a:pt x="6" y="60"/>
                  </a:lnTo>
                  <a:lnTo>
                    <a:pt x="8" y="62"/>
                  </a:lnTo>
                  <a:lnTo>
                    <a:pt x="8" y="62"/>
                  </a:lnTo>
                  <a:lnTo>
                    <a:pt x="8" y="66"/>
                  </a:lnTo>
                  <a:lnTo>
                    <a:pt x="8" y="70"/>
                  </a:lnTo>
                  <a:lnTo>
                    <a:pt x="8" y="70"/>
                  </a:lnTo>
                  <a:lnTo>
                    <a:pt x="12" y="72"/>
                  </a:lnTo>
                  <a:lnTo>
                    <a:pt x="14" y="72"/>
                  </a:lnTo>
                  <a:lnTo>
                    <a:pt x="16" y="72"/>
                  </a:lnTo>
                  <a:lnTo>
                    <a:pt x="18" y="74"/>
                  </a:lnTo>
                  <a:lnTo>
                    <a:pt x="18" y="74"/>
                  </a:lnTo>
                  <a:lnTo>
                    <a:pt x="20" y="74"/>
                  </a:lnTo>
                  <a:lnTo>
                    <a:pt x="20" y="76"/>
                  </a:lnTo>
                  <a:lnTo>
                    <a:pt x="20" y="76"/>
                  </a:lnTo>
                  <a:lnTo>
                    <a:pt x="20" y="78"/>
                  </a:lnTo>
                  <a:lnTo>
                    <a:pt x="22" y="80"/>
                  </a:lnTo>
                  <a:lnTo>
                    <a:pt x="22" y="82"/>
                  </a:lnTo>
                  <a:lnTo>
                    <a:pt x="22" y="84"/>
                  </a:lnTo>
                  <a:lnTo>
                    <a:pt x="22" y="86"/>
                  </a:lnTo>
                  <a:lnTo>
                    <a:pt x="22" y="90"/>
                  </a:lnTo>
                  <a:lnTo>
                    <a:pt x="22" y="92"/>
                  </a:lnTo>
                  <a:lnTo>
                    <a:pt x="22" y="94"/>
                  </a:lnTo>
                  <a:lnTo>
                    <a:pt x="20" y="96"/>
                  </a:lnTo>
                  <a:lnTo>
                    <a:pt x="20" y="98"/>
                  </a:lnTo>
                  <a:lnTo>
                    <a:pt x="18" y="100"/>
                  </a:lnTo>
                  <a:lnTo>
                    <a:pt x="18" y="100"/>
                  </a:lnTo>
                  <a:lnTo>
                    <a:pt x="18" y="102"/>
                  </a:lnTo>
                  <a:lnTo>
                    <a:pt x="18" y="104"/>
                  </a:lnTo>
                  <a:lnTo>
                    <a:pt x="18" y="106"/>
                  </a:lnTo>
                  <a:lnTo>
                    <a:pt x="20" y="108"/>
                  </a:lnTo>
                  <a:lnTo>
                    <a:pt x="20" y="110"/>
                  </a:lnTo>
                  <a:lnTo>
                    <a:pt x="24" y="114"/>
                  </a:lnTo>
                  <a:lnTo>
                    <a:pt x="24" y="116"/>
                  </a:lnTo>
                  <a:lnTo>
                    <a:pt x="26" y="118"/>
                  </a:lnTo>
                  <a:lnTo>
                    <a:pt x="28" y="122"/>
                  </a:lnTo>
                  <a:lnTo>
                    <a:pt x="30" y="122"/>
                  </a:lnTo>
                  <a:lnTo>
                    <a:pt x="30" y="124"/>
                  </a:lnTo>
                  <a:lnTo>
                    <a:pt x="30" y="124"/>
                  </a:lnTo>
                  <a:lnTo>
                    <a:pt x="32" y="124"/>
                  </a:lnTo>
                  <a:lnTo>
                    <a:pt x="32" y="124"/>
                  </a:lnTo>
                  <a:lnTo>
                    <a:pt x="34" y="126"/>
                  </a:lnTo>
                  <a:lnTo>
                    <a:pt x="36" y="126"/>
                  </a:lnTo>
                  <a:lnTo>
                    <a:pt x="38" y="126"/>
                  </a:lnTo>
                  <a:lnTo>
                    <a:pt x="38" y="126"/>
                  </a:lnTo>
                  <a:lnTo>
                    <a:pt x="40" y="124"/>
                  </a:lnTo>
                  <a:lnTo>
                    <a:pt x="42" y="124"/>
                  </a:lnTo>
                  <a:lnTo>
                    <a:pt x="42" y="124"/>
                  </a:lnTo>
                  <a:lnTo>
                    <a:pt x="42" y="124"/>
                  </a:lnTo>
                  <a:lnTo>
                    <a:pt x="44" y="122"/>
                  </a:lnTo>
                  <a:lnTo>
                    <a:pt x="44" y="120"/>
                  </a:lnTo>
                  <a:lnTo>
                    <a:pt x="44" y="120"/>
                  </a:lnTo>
                  <a:lnTo>
                    <a:pt x="46" y="118"/>
                  </a:lnTo>
                  <a:lnTo>
                    <a:pt x="46" y="118"/>
                  </a:lnTo>
                  <a:lnTo>
                    <a:pt x="46" y="118"/>
                  </a:lnTo>
                  <a:lnTo>
                    <a:pt x="46" y="118"/>
                  </a:lnTo>
                  <a:lnTo>
                    <a:pt x="48" y="118"/>
                  </a:lnTo>
                  <a:lnTo>
                    <a:pt x="50" y="116"/>
                  </a:lnTo>
                  <a:lnTo>
                    <a:pt x="52" y="116"/>
                  </a:lnTo>
                  <a:lnTo>
                    <a:pt x="56" y="118"/>
                  </a:lnTo>
                  <a:lnTo>
                    <a:pt x="58" y="118"/>
                  </a:lnTo>
                  <a:lnTo>
                    <a:pt x="60" y="114"/>
                  </a:lnTo>
                  <a:lnTo>
                    <a:pt x="60" y="112"/>
                  </a:lnTo>
                  <a:lnTo>
                    <a:pt x="60" y="110"/>
                  </a:lnTo>
                  <a:lnTo>
                    <a:pt x="60" y="110"/>
                  </a:lnTo>
                  <a:lnTo>
                    <a:pt x="62" y="106"/>
                  </a:lnTo>
                  <a:lnTo>
                    <a:pt x="62" y="104"/>
                  </a:lnTo>
                  <a:lnTo>
                    <a:pt x="62" y="102"/>
                  </a:lnTo>
                  <a:lnTo>
                    <a:pt x="60" y="100"/>
                  </a:lnTo>
                  <a:lnTo>
                    <a:pt x="60" y="98"/>
                  </a:lnTo>
                  <a:lnTo>
                    <a:pt x="60" y="96"/>
                  </a:lnTo>
                  <a:lnTo>
                    <a:pt x="60" y="96"/>
                  </a:lnTo>
                  <a:lnTo>
                    <a:pt x="58" y="94"/>
                  </a:lnTo>
                  <a:lnTo>
                    <a:pt x="58" y="94"/>
                  </a:lnTo>
                  <a:lnTo>
                    <a:pt x="56" y="94"/>
                  </a:lnTo>
                  <a:lnTo>
                    <a:pt x="56" y="92"/>
                  </a:lnTo>
                  <a:lnTo>
                    <a:pt x="54" y="92"/>
                  </a:lnTo>
                  <a:lnTo>
                    <a:pt x="52" y="90"/>
                  </a:lnTo>
                  <a:lnTo>
                    <a:pt x="52" y="90"/>
                  </a:lnTo>
                  <a:lnTo>
                    <a:pt x="50" y="88"/>
                  </a:lnTo>
                  <a:lnTo>
                    <a:pt x="48" y="88"/>
                  </a:lnTo>
                  <a:lnTo>
                    <a:pt x="46" y="86"/>
                  </a:lnTo>
                  <a:lnTo>
                    <a:pt x="46" y="84"/>
                  </a:lnTo>
                  <a:lnTo>
                    <a:pt x="46" y="84"/>
                  </a:lnTo>
                  <a:lnTo>
                    <a:pt x="46" y="82"/>
                  </a:lnTo>
                  <a:lnTo>
                    <a:pt x="44" y="80"/>
                  </a:lnTo>
                  <a:lnTo>
                    <a:pt x="44" y="78"/>
                  </a:lnTo>
                  <a:lnTo>
                    <a:pt x="44" y="78"/>
                  </a:lnTo>
                  <a:lnTo>
                    <a:pt x="44" y="76"/>
                  </a:lnTo>
                  <a:lnTo>
                    <a:pt x="44" y="74"/>
                  </a:lnTo>
                  <a:lnTo>
                    <a:pt x="44" y="72"/>
                  </a:lnTo>
                  <a:lnTo>
                    <a:pt x="46" y="70"/>
                  </a:lnTo>
                  <a:lnTo>
                    <a:pt x="46" y="70"/>
                  </a:lnTo>
                  <a:lnTo>
                    <a:pt x="46" y="70"/>
                  </a:lnTo>
                  <a:lnTo>
                    <a:pt x="48" y="68"/>
                  </a:lnTo>
                  <a:lnTo>
                    <a:pt x="48" y="68"/>
                  </a:lnTo>
                  <a:lnTo>
                    <a:pt x="50" y="66"/>
                  </a:lnTo>
                  <a:lnTo>
                    <a:pt x="52" y="66"/>
                  </a:lnTo>
                  <a:lnTo>
                    <a:pt x="54" y="66"/>
                  </a:lnTo>
                  <a:lnTo>
                    <a:pt x="54" y="66"/>
                  </a:lnTo>
                  <a:lnTo>
                    <a:pt x="58" y="66"/>
                  </a:lnTo>
                  <a:lnTo>
                    <a:pt x="60" y="68"/>
                  </a:lnTo>
                  <a:lnTo>
                    <a:pt x="60" y="68"/>
                  </a:lnTo>
                  <a:lnTo>
                    <a:pt x="62" y="68"/>
                  </a:lnTo>
                  <a:lnTo>
                    <a:pt x="62" y="68"/>
                  </a:lnTo>
                  <a:lnTo>
                    <a:pt x="62" y="66"/>
                  </a:lnTo>
                  <a:lnTo>
                    <a:pt x="64" y="66"/>
                  </a:lnTo>
                  <a:lnTo>
                    <a:pt x="64" y="66"/>
                  </a:lnTo>
                  <a:lnTo>
                    <a:pt x="64" y="64"/>
                  </a:lnTo>
                  <a:lnTo>
                    <a:pt x="64" y="64"/>
                  </a:lnTo>
                  <a:lnTo>
                    <a:pt x="64" y="60"/>
                  </a:lnTo>
                  <a:lnTo>
                    <a:pt x="64" y="58"/>
                  </a:lnTo>
                  <a:lnTo>
                    <a:pt x="64" y="56"/>
                  </a:lnTo>
                  <a:lnTo>
                    <a:pt x="64" y="54"/>
                  </a:lnTo>
                  <a:lnTo>
                    <a:pt x="64" y="52"/>
                  </a:lnTo>
                  <a:lnTo>
                    <a:pt x="64" y="50"/>
                  </a:lnTo>
                  <a:lnTo>
                    <a:pt x="64" y="46"/>
                  </a:lnTo>
                  <a:lnTo>
                    <a:pt x="64" y="44"/>
                  </a:lnTo>
                  <a:lnTo>
                    <a:pt x="64" y="40"/>
                  </a:lnTo>
                  <a:lnTo>
                    <a:pt x="62" y="38"/>
                  </a:lnTo>
                  <a:lnTo>
                    <a:pt x="62" y="36"/>
                  </a:lnTo>
                  <a:lnTo>
                    <a:pt x="62" y="36"/>
                  </a:lnTo>
                  <a:lnTo>
                    <a:pt x="62" y="36"/>
                  </a:lnTo>
                  <a:lnTo>
                    <a:pt x="60" y="34"/>
                  </a:lnTo>
                  <a:lnTo>
                    <a:pt x="60" y="34"/>
                  </a:lnTo>
                  <a:lnTo>
                    <a:pt x="58" y="32"/>
                  </a:lnTo>
                  <a:lnTo>
                    <a:pt x="56" y="30"/>
                  </a:lnTo>
                  <a:lnTo>
                    <a:pt x="54" y="30"/>
                  </a:lnTo>
                  <a:lnTo>
                    <a:pt x="54" y="30"/>
                  </a:lnTo>
                  <a:lnTo>
                    <a:pt x="50" y="30"/>
                  </a:lnTo>
                  <a:lnTo>
                    <a:pt x="48" y="30"/>
                  </a:lnTo>
                  <a:lnTo>
                    <a:pt x="46" y="30"/>
                  </a:lnTo>
                  <a:lnTo>
                    <a:pt x="44" y="30"/>
                  </a:lnTo>
                  <a:lnTo>
                    <a:pt x="44" y="30"/>
                  </a:lnTo>
                  <a:lnTo>
                    <a:pt x="44" y="30"/>
                  </a:lnTo>
                  <a:lnTo>
                    <a:pt x="44" y="30"/>
                  </a:lnTo>
                  <a:lnTo>
                    <a:pt x="44" y="28"/>
                  </a:lnTo>
                  <a:lnTo>
                    <a:pt x="44" y="28"/>
                  </a:lnTo>
                  <a:lnTo>
                    <a:pt x="42" y="26"/>
                  </a:lnTo>
                  <a:lnTo>
                    <a:pt x="42" y="24"/>
                  </a:lnTo>
                  <a:lnTo>
                    <a:pt x="42" y="22"/>
                  </a:lnTo>
                  <a:lnTo>
                    <a:pt x="44" y="20"/>
                  </a:lnTo>
                  <a:lnTo>
                    <a:pt x="42" y="18"/>
                  </a:lnTo>
                  <a:lnTo>
                    <a:pt x="42" y="18"/>
                  </a:lnTo>
                  <a:lnTo>
                    <a:pt x="42" y="16"/>
                  </a:lnTo>
                  <a:lnTo>
                    <a:pt x="42" y="16"/>
                  </a:lnTo>
                  <a:lnTo>
                    <a:pt x="42" y="16"/>
                  </a:lnTo>
                  <a:lnTo>
                    <a:pt x="42" y="16"/>
                  </a:lnTo>
                  <a:lnTo>
                    <a:pt x="42" y="16"/>
                  </a:lnTo>
                  <a:lnTo>
                    <a:pt x="40" y="16"/>
                  </a:lnTo>
                  <a:lnTo>
                    <a:pt x="40" y="16"/>
                  </a:lnTo>
                  <a:lnTo>
                    <a:pt x="38" y="16"/>
                  </a:lnTo>
                  <a:lnTo>
                    <a:pt x="36" y="16"/>
                  </a:lnTo>
                  <a:lnTo>
                    <a:pt x="34" y="14"/>
                  </a:lnTo>
                  <a:lnTo>
                    <a:pt x="34" y="14"/>
                  </a:lnTo>
                  <a:lnTo>
                    <a:pt x="34" y="14"/>
                  </a:lnTo>
                  <a:lnTo>
                    <a:pt x="32" y="14"/>
                  </a:lnTo>
                  <a:lnTo>
                    <a:pt x="32" y="12"/>
                  </a:lnTo>
                  <a:lnTo>
                    <a:pt x="32" y="10"/>
                  </a:lnTo>
                  <a:lnTo>
                    <a:pt x="32" y="8"/>
                  </a:lnTo>
                  <a:lnTo>
                    <a:pt x="30" y="6"/>
                  </a:lnTo>
                  <a:lnTo>
                    <a:pt x="30" y="4"/>
                  </a:lnTo>
                  <a:lnTo>
                    <a:pt x="30" y="4"/>
                  </a:lnTo>
                  <a:lnTo>
                    <a:pt x="30" y="2"/>
                  </a:lnTo>
                  <a:lnTo>
                    <a:pt x="28" y="2"/>
                  </a:lnTo>
                  <a:lnTo>
                    <a:pt x="28" y="2"/>
                  </a:lnTo>
                  <a:lnTo>
                    <a:pt x="28" y="2"/>
                  </a:lnTo>
                  <a:lnTo>
                    <a:pt x="26" y="0"/>
                  </a:lnTo>
                  <a:lnTo>
                    <a:pt x="24" y="0"/>
                  </a:lnTo>
                  <a:lnTo>
                    <a:pt x="22" y="0"/>
                  </a:lnTo>
                  <a:lnTo>
                    <a:pt x="18" y="0"/>
                  </a:lnTo>
                  <a:lnTo>
                    <a:pt x="18"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89" name="Freeform 467"/>
            <p:cNvSpPr>
              <a:spLocks/>
            </p:cNvSpPr>
            <p:nvPr/>
          </p:nvSpPr>
          <p:spPr bwMode="auto">
            <a:xfrm>
              <a:off x="2429748" y="4535358"/>
              <a:ext cx="1001139" cy="1118920"/>
            </a:xfrm>
            <a:custGeom>
              <a:avLst/>
              <a:gdLst>
                <a:gd name="T0" fmla="*/ 64 w 578"/>
                <a:gd name="T1" fmla="*/ 62 h 646"/>
                <a:gd name="T2" fmla="*/ 62 w 578"/>
                <a:gd name="T3" fmla="*/ 94 h 646"/>
                <a:gd name="T4" fmla="*/ 56 w 578"/>
                <a:gd name="T5" fmla="*/ 128 h 646"/>
                <a:gd name="T6" fmla="*/ 38 w 578"/>
                <a:gd name="T7" fmla="*/ 152 h 646"/>
                <a:gd name="T8" fmla="*/ 16 w 578"/>
                <a:gd name="T9" fmla="*/ 172 h 646"/>
                <a:gd name="T10" fmla="*/ 0 w 578"/>
                <a:gd name="T11" fmla="*/ 198 h 646"/>
                <a:gd name="T12" fmla="*/ 18 w 578"/>
                <a:gd name="T13" fmla="*/ 232 h 646"/>
                <a:gd name="T14" fmla="*/ 38 w 578"/>
                <a:gd name="T15" fmla="*/ 244 h 646"/>
                <a:gd name="T16" fmla="*/ 58 w 578"/>
                <a:gd name="T17" fmla="*/ 252 h 646"/>
                <a:gd name="T18" fmla="*/ 96 w 578"/>
                <a:gd name="T19" fmla="*/ 254 h 646"/>
                <a:gd name="T20" fmla="*/ 110 w 578"/>
                <a:gd name="T21" fmla="*/ 240 h 646"/>
                <a:gd name="T22" fmla="*/ 132 w 578"/>
                <a:gd name="T23" fmla="*/ 262 h 646"/>
                <a:gd name="T24" fmla="*/ 162 w 578"/>
                <a:gd name="T25" fmla="*/ 286 h 646"/>
                <a:gd name="T26" fmla="*/ 176 w 578"/>
                <a:gd name="T27" fmla="*/ 300 h 646"/>
                <a:gd name="T28" fmla="*/ 200 w 578"/>
                <a:gd name="T29" fmla="*/ 316 h 646"/>
                <a:gd name="T30" fmla="*/ 202 w 578"/>
                <a:gd name="T31" fmla="*/ 326 h 646"/>
                <a:gd name="T32" fmla="*/ 214 w 578"/>
                <a:gd name="T33" fmla="*/ 354 h 646"/>
                <a:gd name="T34" fmla="*/ 236 w 578"/>
                <a:gd name="T35" fmla="*/ 364 h 646"/>
                <a:gd name="T36" fmla="*/ 248 w 578"/>
                <a:gd name="T37" fmla="*/ 382 h 646"/>
                <a:gd name="T38" fmla="*/ 234 w 578"/>
                <a:gd name="T39" fmla="*/ 420 h 646"/>
                <a:gd name="T40" fmla="*/ 248 w 578"/>
                <a:gd name="T41" fmla="*/ 438 h 646"/>
                <a:gd name="T42" fmla="*/ 282 w 578"/>
                <a:gd name="T43" fmla="*/ 450 h 646"/>
                <a:gd name="T44" fmla="*/ 294 w 578"/>
                <a:gd name="T45" fmla="*/ 468 h 646"/>
                <a:gd name="T46" fmla="*/ 302 w 578"/>
                <a:gd name="T47" fmla="*/ 512 h 646"/>
                <a:gd name="T48" fmla="*/ 314 w 578"/>
                <a:gd name="T49" fmla="*/ 532 h 646"/>
                <a:gd name="T50" fmla="*/ 294 w 578"/>
                <a:gd name="T51" fmla="*/ 550 h 646"/>
                <a:gd name="T52" fmla="*/ 278 w 578"/>
                <a:gd name="T53" fmla="*/ 592 h 646"/>
                <a:gd name="T54" fmla="*/ 332 w 578"/>
                <a:gd name="T55" fmla="*/ 640 h 646"/>
                <a:gd name="T56" fmla="*/ 338 w 578"/>
                <a:gd name="T57" fmla="*/ 588 h 646"/>
                <a:gd name="T58" fmla="*/ 342 w 578"/>
                <a:gd name="T59" fmla="*/ 606 h 646"/>
                <a:gd name="T60" fmla="*/ 358 w 578"/>
                <a:gd name="T61" fmla="*/ 590 h 646"/>
                <a:gd name="T62" fmla="*/ 368 w 578"/>
                <a:gd name="T63" fmla="*/ 562 h 646"/>
                <a:gd name="T64" fmla="*/ 388 w 578"/>
                <a:gd name="T65" fmla="*/ 502 h 646"/>
                <a:gd name="T66" fmla="*/ 408 w 578"/>
                <a:gd name="T67" fmla="*/ 478 h 646"/>
                <a:gd name="T68" fmla="*/ 464 w 578"/>
                <a:gd name="T69" fmla="*/ 454 h 646"/>
                <a:gd name="T70" fmla="*/ 490 w 578"/>
                <a:gd name="T71" fmla="*/ 434 h 646"/>
                <a:gd name="T72" fmla="*/ 504 w 578"/>
                <a:gd name="T73" fmla="*/ 372 h 646"/>
                <a:gd name="T74" fmla="*/ 512 w 578"/>
                <a:gd name="T75" fmla="*/ 304 h 646"/>
                <a:gd name="T76" fmla="*/ 530 w 578"/>
                <a:gd name="T77" fmla="*/ 276 h 646"/>
                <a:gd name="T78" fmla="*/ 542 w 578"/>
                <a:gd name="T79" fmla="*/ 248 h 646"/>
                <a:gd name="T80" fmla="*/ 562 w 578"/>
                <a:gd name="T81" fmla="*/ 230 h 646"/>
                <a:gd name="T82" fmla="*/ 568 w 578"/>
                <a:gd name="T83" fmla="*/ 208 h 646"/>
                <a:gd name="T84" fmla="*/ 576 w 578"/>
                <a:gd name="T85" fmla="*/ 186 h 646"/>
                <a:gd name="T86" fmla="*/ 564 w 578"/>
                <a:gd name="T87" fmla="*/ 158 h 646"/>
                <a:gd name="T88" fmla="*/ 532 w 578"/>
                <a:gd name="T89" fmla="*/ 132 h 646"/>
                <a:gd name="T90" fmla="*/ 512 w 578"/>
                <a:gd name="T91" fmla="*/ 118 h 646"/>
                <a:gd name="T92" fmla="*/ 470 w 578"/>
                <a:gd name="T93" fmla="*/ 106 h 646"/>
                <a:gd name="T94" fmla="*/ 432 w 578"/>
                <a:gd name="T95" fmla="*/ 96 h 646"/>
                <a:gd name="T96" fmla="*/ 376 w 578"/>
                <a:gd name="T97" fmla="*/ 90 h 646"/>
                <a:gd name="T98" fmla="*/ 366 w 578"/>
                <a:gd name="T99" fmla="*/ 94 h 646"/>
                <a:gd name="T100" fmla="*/ 354 w 578"/>
                <a:gd name="T101" fmla="*/ 76 h 646"/>
                <a:gd name="T102" fmla="*/ 320 w 578"/>
                <a:gd name="T103" fmla="*/ 104 h 646"/>
                <a:gd name="T104" fmla="*/ 350 w 578"/>
                <a:gd name="T105" fmla="*/ 54 h 646"/>
                <a:gd name="T106" fmla="*/ 322 w 578"/>
                <a:gd name="T107" fmla="*/ 16 h 646"/>
                <a:gd name="T108" fmla="*/ 292 w 578"/>
                <a:gd name="T109" fmla="*/ 40 h 646"/>
                <a:gd name="T110" fmla="*/ 262 w 578"/>
                <a:gd name="T111" fmla="*/ 42 h 646"/>
                <a:gd name="T112" fmla="*/ 230 w 578"/>
                <a:gd name="T113" fmla="*/ 50 h 646"/>
                <a:gd name="T114" fmla="*/ 204 w 578"/>
                <a:gd name="T115" fmla="*/ 34 h 646"/>
                <a:gd name="T116" fmla="*/ 194 w 578"/>
                <a:gd name="T117" fmla="*/ 0 h 646"/>
                <a:gd name="T118" fmla="*/ 158 w 578"/>
                <a:gd name="T119" fmla="*/ 16 h 646"/>
                <a:gd name="T120" fmla="*/ 136 w 578"/>
                <a:gd name="T121" fmla="*/ 10 h 646"/>
                <a:gd name="T122" fmla="*/ 146 w 578"/>
                <a:gd name="T123" fmla="*/ 40 h 646"/>
                <a:gd name="T124" fmla="*/ 116 w 578"/>
                <a:gd name="T125" fmla="*/ 5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646">
                  <a:moveTo>
                    <a:pt x="90" y="40"/>
                  </a:moveTo>
                  <a:lnTo>
                    <a:pt x="90" y="40"/>
                  </a:lnTo>
                  <a:lnTo>
                    <a:pt x="88" y="40"/>
                  </a:lnTo>
                  <a:lnTo>
                    <a:pt x="80" y="42"/>
                  </a:lnTo>
                  <a:lnTo>
                    <a:pt x="76" y="44"/>
                  </a:lnTo>
                  <a:lnTo>
                    <a:pt x="72" y="46"/>
                  </a:lnTo>
                  <a:lnTo>
                    <a:pt x="68" y="48"/>
                  </a:lnTo>
                  <a:lnTo>
                    <a:pt x="66" y="48"/>
                  </a:lnTo>
                  <a:lnTo>
                    <a:pt x="66" y="48"/>
                  </a:lnTo>
                  <a:lnTo>
                    <a:pt x="64" y="50"/>
                  </a:lnTo>
                  <a:lnTo>
                    <a:pt x="64" y="50"/>
                  </a:lnTo>
                  <a:lnTo>
                    <a:pt x="62" y="52"/>
                  </a:lnTo>
                  <a:lnTo>
                    <a:pt x="62" y="54"/>
                  </a:lnTo>
                  <a:lnTo>
                    <a:pt x="60" y="54"/>
                  </a:lnTo>
                  <a:lnTo>
                    <a:pt x="60" y="56"/>
                  </a:lnTo>
                  <a:lnTo>
                    <a:pt x="60" y="58"/>
                  </a:lnTo>
                  <a:lnTo>
                    <a:pt x="60" y="58"/>
                  </a:lnTo>
                  <a:lnTo>
                    <a:pt x="60" y="58"/>
                  </a:lnTo>
                  <a:lnTo>
                    <a:pt x="60" y="60"/>
                  </a:lnTo>
                  <a:lnTo>
                    <a:pt x="60" y="60"/>
                  </a:lnTo>
                  <a:lnTo>
                    <a:pt x="60" y="60"/>
                  </a:lnTo>
                  <a:lnTo>
                    <a:pt x="62" y="62"/>
                  </a:lnTo>
                  <a:lnTo>
                    <a:pt x="64" y="62"/>
                  </a:lnTo>
                  <a:lnTo>
                    <a:pt x="64" y="64"/>
                  </a:lnTo>
                  <a:lnTo>
                    <a:pt x="66" y="64"/>
                  </a:lnTo>
                  <a:lnTo>
                    <a:pt x="66" y="64"/>
                  </a:lnTo>
                  <a:lnTo>
                    <a:pt x="66" y="66"/>
                  </a:lnTo>
                  <a:lnTo>
                    <a:pt x="66" y="66"/>
                  </a:lnTo>
                  <a:lnTo>
                    <a:pt x="66" y="66"/>
                  </a:lnTo>
                  <a:lnTo>
                    <a:pt x="66" y="66"/>
                  </a:lnTo>
                  <a:lnTo>
                    <a:pt x="66" y="66"/>
                  </a:lnTo>
                  <a:lnTo>
                    <a:pt x="66" y="68"/>
                  </a:lnTo>
                  <a:lnTo>
                    <a:pt x="64" y="68"/>
                  </a:lnTo>
                  <a:lnTo>
                    <a:pt x="64" y="68"/>
                  </a:lnTo>
                  <a:lnTo>
                    <a:pt x="60" y="70"/>
                  </a:lnTo>
                  <a:lnTo>
                    <a:pt x="60" y="70"/>
                  </a:lnTo>
                  <a:lnTo>
                    <a:pt x="60" y="70"/>
                  </a:lnTo>
                  <a:lnTo>
                    <a:pt x="60" y="72"/>
                  </a:lnTo>
                  <a:lnTo>
                    <a:pt x="58" y="72"/>
                  </a:lnTo>
                  <a:lnTo>
                    <a:pt x="58" y="74"/>
                  </a:lnTo>
                  <a:lnTo>
                    <a:pt x="58" y="76"/>
                  </a:lnTo>
                  <a:lnTo>
                    <a:pt x="58" y="78"/>
                  </a:lnTo>
                  <a:lnTo>
                    <a:pt x="58" y="80"/>
                  </a:lnTo>
                  <a:lnTo>
                    <a:pt x="58" y="82"/>
                  </a:lnTo>
                  <a:lnTo>
                    <a:pt x="60" y="86"/>
                  </a:lnTo>
                  <a:lnTo>
                    <a:pt x="62" y="94"/>
                  </a:lnTo>
                  <a:lnTo>
                    <a:pt x="62" y="98"/>
                  </a:lnTo>
                  <a:lnTo>
                    <a:pt x="62" y="98"/>
                  </a:lnTo>
                  <a:lnTo>
                    <a:pt x="62" y="100"/>
                  </a:lnTo>
                  <a:lnTo>
                    <a:pt x="64" y="104"/>
                  </a:lnTo>
                  <a:lnTo>
                    <a:pt x="64" y="106"/>
                  </a:lnTo>
                  <a:lnTo>
                    <a:pt x="64" y="108"/>
                  </a:lnTo>
                  <a:lnTo>
                    <a:pt x="64" y="110"/>
                  </a:lnTo>
                  <a:lnTo>
                    <a:pt x="64" y="112"/>
                  </a:lnTo>
                  <a:lnTo>
                    <a:pt x="64" y="112"/>
                  </a:lnTo>
                  <a:lnTo>
                    <a:pt x="62" y="112"/>
                  </a:lnTo>
                  <a:lnTo>
                    <a:pt x="62" y="114"/>
                  </a:lnTo>
                  <a:lnTo>
                    <a:pt x="62" y="114"/>
                  </a:lnTo>
                  <a:lnTo>
                    <a:pt x="60" y="114"/>
                  </a:lnTo>
                  <a:lnTo>
                    <a:pt x="60" y="114"/>
                  </a:lnTo>
                  <a:lnTo>
                    <a:pt x="56" y="114"/>
                  </a:lnTo>
                  <a:lnTo>
                    <a:pt x="54" y="114"/>
                  </a:lnTo>
                  <a:lnTo>
                    <a:pt x="52" y="114"/>
                  </a:lnTo>
                  <a:lnTo>
                    <a:pt x="50" y="114"/>
                  </a:lnTo>
                  <a:lnTo>
                    <a:pt x="48" y="114"/>
                  </a:lnTo>
                  <a:lnTo>
                    <a:pt x="50" y="116"/>
                  </a:lnTo>
                  <a:lnTo>
                    <a:pt x="52" y="122"/>
                  </a:lnTo>
                  <a:lnTo>
                    <a:pt x="54" y="124"/>
                  </a:lnTo>
                  <a:lnTo>
                    <a:pt x="56" y="128"/>
                  </a:lnTo>
                  <a:lnTo>
                    <a:pt x="58" y="132"/>
                  </a:lnTo>
                  <a:lnTo>
                    <a:pt x="58" y="132"/>
                  </a:lnTo>
                  <a:lnTo>
                    <a:pt x="58" y="134"/>
                  </a:lnTo>
                  <a:lnTo>
                    <a:pt x="58" y="134"/>
                  </a:lnTo>
                  <a:lnTo>
                    <a:pt x="58" y="136"/>
                  </a:lnTo>
                  <a:lnTo>
                    <a:pt x="58" y="138"/>
                  </a:lnTo>
                  <a:lnTo>
                    <a:pt x="56" y="140"/>
                  </a:lnTo>
                  <a:lnTo>
                    <a:pt x="56" y="142"/>
                  </a:lnTo>
                  <a:lnTo>
                    <a:pt x="56" y="144"/>
                  </a:lnTo>
                  <a:lnTo>
                    <a:pt x="54" y="146"/>
                  </a:lnTo>
                  <a:lnTo>
                    <a:pt x="54" y="146"/>
                  </a:lnTo>
                  <a:lnTo>
                    <a:pt x="54" y="148"/>
                  </a:lnTo>
                  <a:lnTo>
                    <a:pt x="52" y="148"/>
                  </a:lnTo>
                  <a:lnTo>
                    <a:pt x="50" y="150"/>
                  </a:lnTo>
                  <a:lnTo>
                    <a:pt x="48" y="150"/>
                  </a:lnTo>
                  <a:lnTo>
                    <a:pt x="48" y="152"/>
                  </a:lnTo>
                  <a:lnTo>
                    <a:pt x="46" y="152"/>
                  </a:lnTo>
                  <a:lnTo>
                    <a:pt x="44" y="152"/>
                  </a:lnTo>
                  <a:lnTo>
                    <a:pt x="42" y="154"/>
                  </a:lnTo>
                  <a:lnTo>
                    <a:pt x="42" y="154"/>
                  </a:lnTo>
                  <a:lnTo>
                    <a:pt x="42" y="154"/>
                  </a:lnTo>
                  <a:lnTo>
                    <a:pt x="40" y="152"/>
                  </a:lnTo>
                  <a:lnTo>
                    <a:pt x="38" y="152"/>
                  </a:lnTo>
                  <a:lnTo>
                    <a:pt x="36" y="152"/>
                  </a:lnTo>
                  <a:lnTo>
                    <a:pt x="34" y="150"/>
                  </a:lnTo>
                  <a:lnTo>
                    <a:pt x="32" y="150"/>
                  </a:lnTo>
                  <a:lnTo>
                    <a:pt x="30" y="150"/>
                  </a:lnTo>
                  <a:lnTo>
                    <a:pt x="30" y="150"/>
                  </a:lnTo>
                  <a:lnTo>
                    <a:pt x="30" y="150"/>
                  </a:lnTo>
                  <a:lnTo>
                    <a:pt x="28" y="150"/>
                  </a:lnTo>
                  <a:lnTo>
                    <a:pt x="26" y="150"/>
                  </a:lnTo>
                  <a:lnTo>
                    <a:pt x="26" y="152"/>
                  </a:lnTo>
                  <a:lnTo>
                    <a:pt x="24" y="152"/>
                  </a:lnTo>
                  <a:lnTo>
                    <a:pt x="22" y="154"/>
                  </a:lnTo>
                  <a:lnTo>
                    <a:pt x="22" y="154"/>
                  </a:lnTo>
                  <a:lnTo>
                    <a:pt x="20" y="156"/>
                  </a:lnTo>
                  <a:lnTo>
                    <a:pt x="20" y="156"/>
                  </a:lnTo>
                  <a:lnTo>
                    <a:pt x="18" y="158"/>
                  </a:lnTo>
                  <a:lnTo>
                    <a:pt x="18" y="160"/>
                  </a:lnTo>
                  <a:lnTo>
                    <a:pt x="18" y="162"/>
                  </a:lnTo>
                  <a:lnTo>
                    <a:pt x="16" y="164"/>
                  </a:lnTo>
                  <a:lnTo>
                    <a:pt x="16" y="166"/>
                  </a:lnTo>
                  <a:lnTo>
                    <a:pt x="16" y="168"/>
                  </a:lnTo>
                  <a:lnTo>
                    <a:pt x="16" y="170"/>
                  </a:lnTo>
                  <a:lnTo>
                    <a:pt x="16" y="172"/>
                  </a:lnTo>
                  <a:lnTo>
                    <a:pt x="16" y="172"/>
                  </a:lnTo>
                  <a:lnTo>
                    <a:pt x="18" y="176"/>
                  </a:lnTo>
                  <a:lnTo>
                    <a:pt x="18" y="176"/>
                  </a:lnTo>
                  <a:lnTo>
                    <a:pt x="18" y="178"/>
                  </a:lnTo>
                  <a:lnTo>
                    <a:pt x="18" y="180"/>
                  </a:lnTo>
                  <a:lnTo>
                    <a:pt x="18" y="180"/>
                  </a:lnTo>
                  <a:lnTo>
                    <a:pt x="18" y="180"/>
                  </a:lnTo>
                  <a:lnTo>
                    <a:pt x="18" y="182"/>
                  </a:lnTo>
                  <a:lnTo>
                    <a:pt x="16" y="182"/>
                  </a:lnTo>
                  <a:lnTo>
                    <a:pt x="16" y="184"/>
                  </a:lnTo>
                  <a:lnTo>
                    <a:pt x="14" y="184"/>
                  </a:lnTo>
                  <a:lnTo>
                    <a:pt x="12" y="186"/>
                  </a:lnTo>
                  <a:lnTo>
                    <a:pt x="10" y="186"/>
                  </a:lnTo>
                  <a:lnTo>
                    <a:pt x="10" y="186"/>
                  </a:lnTo>
                  <a:lnTo>
                    <a:pt x="8" y="188"/>
                  </a:lnTo>
                  <a:lnTo>
                    <a:pt x="6" y="188"/>
                  </a:lnTo>
                  <a:lnTo>
                    <a:pt x="4" y="188"/>
                  </a:lnTo>
                  <a:lnTo>
                    <a:pt x="4" y="188"/>
                  </a:lnTo>
                  <a:lnTo>
                    <a:pt x="4" y="190"/>
                  </a:lnTo>
                  <a:lnTo>
                    <a:pt x="2" y="190"/>
                  </a:lnTo>
                  <a:lnTo>
                    <a:pt x="2" y="192"/>
                  </a:lnTo>
                  <a:lnTo>
                    <a:pt x="2" y="194"/>
                  </a:lnTo>
                  <a:lnTo>
                    <a:pt x="0" y="196"/>
                  </a:lnTo>
                  <a:lnTo>
                    <a:pt x="0" y="198"/>
                  </a:lnTo>
                  <a:lnTo>
                    <a:pt x="0" y="200"/>
                  </a:lnTo>
                  <a:lnTo>
                    <a:pt x="0" y="202"/>
                  </a:lnTo>
                  <a:lnTo>
                    <a:pt x="0" y="202"/>
                  </a:lnTo>
                  <a:lnTo>
                    <a:pt x="0" y="204"/>
                  </a:lnTo>
                  <a:lnTo>
                    <a:pt x="0" y="206"/>
                  </a:lnTo>
                  <a:lnTo>
                    <a:pt x="2" y="208"/>
                  </a:lnTo>
                  <a:lnTo>
                    <a:pt x="2" y="210"/>
                  </a:lnTo>
                  <a:lnTo>
                    <a:pt x="4" y="212"/>
                  </a:lnTo>
                  <a:lnTo>
                    <a:pt x="4" y="212"/>
                  </a:lnTo>
                  <a:lnTo>
                    <a:pt x="4" y="214"/>
                  </a:lnTo>
                  <a:lnTo>
                    <a:pt x="6" y="214"/>
                  </a:lnTo>
                  <a:lnTo>
                    <a:pt x="8" y="216"/>
                  </a:lnTo>
                  <a:lnTo>
                    <a:pt x="12" y="220"/>
                  </a:lnTo>
                  <a:lnTo>
                    <a:pt x="12" y="220"/>
                  </a:lnTo>
                  <a:lnTo>
                    <a:pt x="14" y="220"/>
                  </a:lnTo>
                  <a:lnTo>
                    <a:pt x="14" y="222"/>
                  </a:lnTo>
                  <a:lnTo>
                    <a:pt x="14" y="224"/>
                  </a:lnTo>
                  <a:lnTo>
                    <a:pt x="16" y="226"/>
                  </a:lnTo>
                  <a:lnTo>
                    <a:pt x="16" y="228"/>
                  </a:lnTo>
                  <a:lnTo>
                    <a:pt x="16" y="230"/>
                  </a:lnTo>
                  <a:lnTo>
                    <a:pt x="16" y="230"/>
                  </a:lnTo>
                  <a:lnTo>
                    <a:pt x="18" y="232"/>
                  </a:lnTo>
                  <a:lnTo>
                    <a:pt x="18" y="232"/>
                  </a:lnTo>
                  <a:lnTo>
                    <a:pt x="18" y="232"/>
                  </a:lnTo>
                  <a:lnTo>
                    <a:pt x="20" y="232"/>
                  </a:lnTo>
                  <a:lnTo>
                    <a:pt x="22" y="232"/>
                  </a:lnTo>
                  <a:lnTo>
                    <a:pt x="22" y="232"/>
                  </a:lnTo>
                  <a:lnTo>
                    <a:pt x="24" y="232"/>
                  </a:lnTo>
                  <a:lnTo>
                    <a:pt x="26" y="232"/>
                  </a:lnTo>
                  <a:lnTo>
                    <a:pt x="26" y="232"/>
                  </a:lnTo>
                  <a:lnTo>
                    <a:pt x="28" y="232"/>
                  </a:lnTo>
                  <a:lnTo>
                    <a:pt x="28" y="234"/>
                  </a:lnTo>
                  <a:lnTo>
                    <a:pt x="28" y="234"/>
                  </a:lnTo>
                  <a:lnTo>
                    <a:pt x="28" y="234"/>
                  </a:lnTo>
                  <a:lnTo>
                    <a:pt x="28" y="238"/>
                  </a:lnTo>
                  <a:lnTo>
                    <a:pt x="28" y="238"/>
                  </a:lnTo>
                  <a:lnTo>
                    <a:pt x="28" y="240"/>
                  </a:lnTo>
                  <a:lnTo>
                    <a:pt x="30" y="240"/>
                  </a:lnTo>
                  <a:lnTo>
                    <a:pt x="30" y="242"/>
                  </a:lnTo>
                  <a:lnTo>
                    <a:pt x="30" y="242"/>
                  </a:lnTo>
                  <a:lnTo>
                    <a:pt x="30" y="242"/>
                  </a:lnTo>
                  <a:lnTo>
                    <a:pt x="30" y="242"/>
                  </a:lnTo>
                  <a:lnTo>
                    <a:pt x="32" y="242"/>
                  </a:lnTo>
                  <a:lnTo>
                    <a:pt x="34" y="242"/>
                  </a:lnTo>
                  <a:lnTo>
                    <a:pt x="36" y="244"/>
                  </a:lnTo>
                  <a:lnTo>
                    <a:pt x="38" y="244"/>
                  </a:lnTo>
                  <a:lnTo>
                    <a:pt x="40" y="244"/>
                  </a:lnTo>
                  <a:lnTo>
                    <a:pt x="42" y="244"/>
                  </a:lnTo>
                  <a:lnTo>
                    <a:pt x="42" y="244"/>
                  </a:lnTo>
                  <a:lnTo>
                    <a:pt x="44" y="242"/>
                  </a:lnTo>
                  <a:lnTo>
                    <a:pt x="44" y="242"/>
                  </a:lnTo>
                  <a:lnTo>
                    <a:pt x="46" y="242"/>
                  </a:lnTo>
                  <a:lnTo>
                    <a:pt x="48" y="238"/>
                  </a:lnTo>
                  <a:lnTo>
                    <a:pt x="50" y="238"/>
                  </a:lnTo>
                  <a:lnTo>
                    <a:pt x="52" y="236"/>
                  </a:lnTo>
                  <a:lnTo>
                    <a:pt x="52" y="236"/>
                  </a:lnTo>
                  <a:lnTo>
                    <a:pt x="52" y="236"/>
                  </a:lnTo>
                  <a:lnTo>
                    <a:pt x="54" y="236"/>
                  </a:lnTo>
                  <a:lnTo>
                    <a:pt x="54" y="236"/>
                  </a:lnTo>
                  <a:lnTo>
                    <a:pt x="54" y="236"/>
                  </a:lnTo>
                  <a:lnTo>
                    <a:pt x="56" y="238"/>
                  </a:lnTo>
                  <a:lnTo>
                    <a:pt x="56" y="238"/>
                  </a:lnTo>
                  <a:lnTo>
                    <a:pt x="56" y="240"/>
                  </a:lnTo>
                  <a:lnTo>
                    <a:pt x="56" y="240"/>
                  </a:lnTo>
                  <a:lnTo>
                    <a:pt x="56" y="242"/>
                  </a:lnTo>
                  <a:lnTo>
                    <a:pt x="58" y="244"/>
                  </a:lnTo>
                  <a:lnTo>
                    <a:pt x="58" y="248"/>
                  </a:lnTo>
                  <a:lnTo>
                    <a:pt x="58" y="250"/>
                  </a:lnTo>
                  <a:lnTo>
                    <a:pt x="58" y="252"/>
                  </a:lnTo>
                  <a:lnTo>
                    <a:pt x="58" y="254"/>
                  </a:lnTo>
                  <a:lnTo>
                    <a:pt x="60" y="254"/>
                  </a:lnTo>
                  <a:lnTo>
                    <a:pt x="60" y="256"/>
                  </a:lnTo>
                  <a:lnTo>
                    <a:pt x="60" y="256"/>
                  </a:lnTo>
                  <a:lnTo>
                    <a:pt x="60" y="256"/>
                  </a:lnTo>
                  <a:lnTo>
                    <a:pt x="62" y="258"/>
                  </a:lnTo>
                  <a:lnTo>
                    <a:pt x="64" y="258"/>
                  </a:lnTo>
                  <a:lnTo>
                    <a:pt x="66" y="260"/>
                  </a:lnTo>
                  <a:lnTo>
                    <a:pt x="70" y="260"/>
                  </a:lnTo>
                  <a:lnTo>
                    <a:pt x="72" y="262"/>
                  </a:lnTo>
                  <a:lnTo>
                    <a:pt x="76" y="262"/>
                  </a:lnTo>
                  <a:lnTo>
                    <a:pt x="80" y="262"/>
                  </a:lnTo>
                  <a:lnTo>
                    <a:pt x="82" y="262"/>
                  </a:lnTo>
                  <a:lnTo>
                    <a:pt x="84" y="262"/>
                  </a:lnTo>
                  <a:lnTo>
                    <a:pt x="84" y="262"/>
                  </a:lnTo>
                  <a:lnTo>
                    <a:pt x="86" y="262"/>
                  </a:lnTo>
                  <a:lnTo>
                    <a:pt x="88" y="262"/>
                  </a:lnTo>
                  <a:lnTo>
                    <a:pt x="90" y="260"/>
                  </a:lnTo>
                  <a:lnTo>
                    <a:pt x="92" y="258"/>
                  </a:lnTo>
                  <a:lnTo>
                    <a:pt x="94" y="258"/>
                  </a:lnTo>
                  <a:lnTo>
                    <a:pt x="94" y="256"/>
                  </a:lnTo>
                  <a:lnTo>
                    <a:pt x="96" y="256"/>
                  </a:lnTo>
                  <a:lnTo>
                    <a:pt x="96" y="254"/>
                  </a:lnTo>
                  <a:lnTo>
                    <a:pt x="98" y="254"/>
                  </a:lnTo>
                  <a:lnTo>
                    <a:pt x="98" y="252"/>
                  </a:lnTo>
                  <a:lnTo>
                    <a:pt x="98" y="250"/>
                  </a:lnTo>
                  <a:lnTo>
                    <a:pt x="100" y="250"/>
                  </a:lnTo>
                  <a:lnTo>
                    <a:pt x="100" y="248"/>
                  </a:lnTo>
                  <a:lnTo>
                    <a:pt x="100" y="248"/>
                  </a:lnTo>
                  <a:lnTo>
                    <a:pt x="100" y="248"/>
                  </a:lnTo>
                  <a:lnTo>
                    <a:pt x="102" y="248"/>
                  </a:lnTo>
                  <a:lnTo>
                    <a:pt x="102" y="248"/>
                  </a:lnTo>
                  <a:lnTo>
                    <a:pt x="102" y="248"/>
                  </a:lnTo>
                  <a:lnTo>
                    <a:pt x="104" y="248"/>
                  </a:lnTo>
                  <a:lnTo>
                    <a:pt x="106" y="248"/>
                  </a:lnTo>
                  <a:lnTo>
                    <a:pt x="106" y="248"/>
                  </a:lnTo>
                  <a:lnTo>
                    <a:pt x="108" y="250"/>
                  </a:lnTo>
                  <a:lnTo>
                    <a:pt x="108" y="248"/>
                  </a:lnTo>
                  <a:lnTo>
                    <a:pt x="108" y="248"/>
                  </a:lnTo>
                  <a:lnTo>
                    <a:pt x="108" y="248"/>
                  </a:lnTo>
                  <a:lnTo>
                    <a:pt x="108" y="248"/>
                  </a:lnTo>
                  <a:lnTo>
                    <a:pt x="110" y="246"/>
                  </a:lnTo>
                  <a:lnTo>
                    <a:pt x="110" y="246"/>
                  </a:lnTo>
                  <a:lnTo>
                    <a:pt x="110" y="244"/>
                  </a:lnTo>
                  <a:lnTo>
                    <a:pt x="110" y="242"/>
                  </a:lnTo>
                  <a:lnTo>
                    <a:pt x="110" y="240"/>
                  </a:lnTo>
                  <a:lnTo>
                    <a:pt x="110" y="240"/>
                  </a:lnTo>
                  <a:lnTo>
                    <a:pt x="110" y="238"/>
                  </a:lnTo>
                  <a:lnTo>
                    <a:pt x="110" y="238"/>
                  </a:lnTo>
                  <a:lnTo>
                    <a:pt x="112" y="238"/>
                  </a:lnTo>
                  <a:lnTo>
                    <a:pt x="112" y="238"/>
                  </a:lnTo>
                  <a:lnTo>
                    <a:pt x="112" y="236"/>
                  </a:lnTo>
                  <a:lnTo>
                    <a:pt x="114" y="236"/>
                  </a:lnTo>
                  <a:lnTo>
                    <a:pt x="118" y="236"/>
                  </a:lnTo>
                  <a:lnTo>
                    <a:pt x="120" y="236"/>
                  </a:lnTo>
                  <a:lnTo>
                    <a:pt x="122" y="238"/>
                  </a:lnTo>
                  <a:lnTo>
                    <a:pt x="126" y="238"/>
                  </a:lnTo>
                  <a:lnTo>
                    <a:pt x="126" y="238"/>
                  </a:lnTo>
                  <a:lnTo>
                    <a:pt x="128" y="238"/>
                  </a:lnTo>
                  <a:lnTo>
                    <a:pt x="128" y="240"/>
                  </a:lnTo>
                  <a:lnTo>
                    <a:pt x="130" y="240"/>
                  </a:lnTo>
                  <a:lnTo>
                    <a:pt x="130" y="242"/>
                  </a:lnTo>
                  <a:lnTo>
                    <a:pt x="130" y="242"/>
                  </a:lnTo>
                  <a:lnTo>
                    <a:pt x="130" y="244"/>
                  </a:lnTo>
                  <a:lnTo>
                    <a:pt x="132" y="246"/>
                  </a:lnTo>
                  <a:lnTo>
                    <a:pt x="132" y="248"/>
                  </a:lnTo>
                  <a:lnTo>
                    <a:pt x="132" y="250"/>
                  </a:lnTo>
                  <a:lnTo>
                    <a:pt x="132" y="254"/>
                  </a:lnTo>
                  <a:lnTo>
                    <a:pt x="132" y="262"/>
                  </a:lnTo>
                  <a:lnTo>
                    <a:pt x="132" y="266"/>
                  </a:lnTo>
                  <a:lnTo>
                    <a:pt x="132" y="268"/>
                  </a:lnTo>
                  <a:lnTo>
                    <a:pt x="132" y="270"/>
                  </a:lnTo>
                  <a:lnTo>
                    <a:pt x="132" y="272"/>
                  </a:lnTo>
                  <a:lnTo>
                    <a:pt x="134" y="276"/>
                  </a:lnTo>
                  <a:lnTo>
                    <a:pt x="136" y="278"/>
                  </a:lnTo>
                  <a:lnTo>
                    <a:pt x="136" y="280"/>
                  </a:lnTo>
                  <a:lnTo>
                    <a:pt x="138" y="284"/>
                  </a:lnTo>
                  <a:lnTo>
                    <a:pt x="138" y="284"/>
                  </a:lnTo>
                  <a:lnTo>
                    <a:pt x="140" y="286"/>
                  </a:lnTo>
                  <a:lnTo>
                    <a:pt x="140" y="286"/>
                  </a:lnTo>
                  <a:lnTo>
                    <a:pt x="140" y="286"/>
                  </a:lnTo>
                  <a:lnTo>
                    <a:pt x="142" y="286"/>
                  </a:lnTo>
                  <a:lnTo>
                    <a:pt x="144" y="286"/>
                  </a:lnTo>
                  <a:lnTo>
                    <a:pt x="144" y="286"/>
                  </a:lnTo>
                  <a:lnTo>
                    <a:pt x="148" y="286"/>
                  </a:lnTo>
                  <a:lnTo>
                    <a:pt x="152" y="286"/>
                  </a:lnTo>
                  <a:lnTo>
                    <a:pt x="154" y="286"/>
                  </a:lnTo>
                  <a:lnTo>
                    <a:pt x="158" y="286"/>
                  </a:lnTo>
                  <a:lnTo>
                    <a:pt x="158" y="286"/>
                  </a:lnTo>
                  <a:lnTo>
                    <a:pt x="160" y="286"/>
                  </a:lnTo>
                  <a:lnTo>
                    <a:pt x="162" y="286"/>
                  </a:lnTo>
                  <a:lnTo>
                    <a:pt x="162" y="286"/>
                  </a:lnTo>
                  <a:lnTo>
                    <a:pt x="162" y="286"/>
                  </a:lnTo>
                  <a:lnTo>
                    <a:pt x="164" y="286"/>
                  </a:lnTo>
                  <a:lnTo>
                    <a:pt x="164" y="288"/>
                  </a:lnTo>
                  <a:lnTo>
                    <a:pt x="164" y="288"/>
                  </a:lnTo>
                  <a:lnTo>
                    <a:pt x="164" y="290"/>
                  </a:lnTo>
                  <a:lnTo>
                    <a:pt x="166" y="290"/>
                  </a:lnTo>
                  <a:lnTo>
                    <a:pt x="168" y="290"/>
                  </a:lnTo>
                  <a:lnTo>
                    <a:pt x="170" y="290"/>
                  </a:lnTo>
                  <a:lnTo>
                    <a:pt x="172" y="290"/>
                  </a:lnTo>
                  <a:lnTo>
                    <a:pt x="174" y="290"/>
                  </a:lnTo>
                  <a:lnTo>
                    <a:pt x="174" y="292"/>
                  </a:lnTo>
                  <a:lnTo>
                    <a:pt x="174" y="292"/>
                  </a:lnTo>
                  <a:lnTo>
                    <a:pt x="174" y="292"/>
                  </a:lnTo>
                  <a:lnTo>
                    <a:pt x="176" y="292"/>
                  </a:lnTo>
                  <a:lnTo>
                    <a:pt x="176" y="292"/>
                  </a:lnTo>
                  <a:lnTo>
                    <a:pt x="176" y="294"/>
                  </a:lnTo>
                  <a:lnTo>
                    <a:pt x="176" y="294"/>
                  </a:lnTo>
                  <a:lnTo>
                    <a:pt x="176" y="296"/>
                  </a:lnTo>
                  <a:lnTo>
                    <a:pt x="176" y="298"/>
                  </a:lnTo>
                  <a:lnTo>
                    <a:pt x="176" y="298"/>
                  </a:lnTo>
                  <a:lnTo>
                    <a:pt x="176" y="300"/>
                  </a:lnTo>
                  <a:lnTo>
                    <a:pt x="176" y="300"/>
                  </a:lnTo>
                  <a:lnTo>
                    <a:pt x="176" y="300"/>
                  </a:lnTo>
                  <a:lnTo>
                    <a:pt x="178" y="300"/>
                  </a:lnTo>
                  <a:lnTo>
                    <a:pt x="178" y="302"/>
                  </a:lnTo>
                  <a:lnTo>
                    <a:pt x="180" y="302"/>
                  </a:lnTo>
                  <a:lnTo>
                    <a:pt x="182" y="302"/>
                  </a:lnTo>
                  <a:lnTo>
                    <a:pt x="184" y="302"/>
                  </a:lnTo>
                  <a:lnTo>
                    <a:pt x="188" y="302"/>
                  </a:lnTo>
                  <a:lnTo>
                    <a:pt x="190" y="302"/>
                  </a:lnTo>
                  <a:lnTo>
                    <a:pt x="192" y="302"/>
                  </a:lnTo>
                  <a:lnTo>
                    <a:pt x="194" y="302"/>
                  </a:lnTo>
                  <a:lnTo>
                    <a:pt x="196" y="302"/>
                  </a:lnTo>
                  <a:lnTo>
                    <a:pt x="196" y="304"/>
                  </a:lnTo>
                  <a:lnTo>
                    <a:pt x="198" y="304"/>
                  </a:lnTo>
                  <a:lnTo>
                    <a:pt x="198" y="304"/>
                  </a:lnTo>
                  <a:lnTo>
                    <a:pt x="200" y="304"/>
                  </a:lnTo>
                  <a:lnTo>
                    <a:pt x="200" y="304"/>
                  </a:lnTo>
                  <a:lnTo>
                    <a:pt x="200" y="306"/>
                  </a:lnTo>
                  <a:lnTo>
                    <a:pt x="200" y="306"/>
                  </a:lnTo>
                  <a:lnTo>
                    <a:pt x="200" y="308"/>
                  </a:lnTo>
                  <a:lnTo>
                    <a:pt x="200" y="310"/>
                  </a:lnTo>
                  <a:lnTo>
                    <a:pt x="200" y="312"/>
                  </a:lnTo>
                  <a:lnTo>
                    <a:pt x="200" y="314"/>
                  </a:lnTo>
                  <a:lnTo>
                    <a:pt x="200" y="316"/>
                  </a:lnTo>
                  <a:lnTo>
                    <a:pt x="200" y="316"/>
                  </a:lnTo>
                  <a:lnTo>
                    <a:pt x="200" y="318"/>
                  </a:lnTo>
                  <a:lnTo>
                    <a:pt x="202" y="318"/>
                  </a:lnTo>
                  <a:lnTo>
                    <a:pt x="202" y="318"/>
                  </a:lnTo>
                  <a:lnTo>
                    <a:pt x="202" y="318"/>
                  </a:lnTo>
                  <a:lnTo>
                    <a:pt x="202" y="320"/>
                  </a:lnTo>
                  <a:lnTo>
                    <a:pt x="204" y="320"/>
                  </a:lnTo>
                  <a:lnTo>
                    <a:pt x="206" y="320"/>
                  </a:lnTo>
                  <a:lnTo>
                    <a:pt x="206" y="320"/>
                  </a:lnTo>
                  <a:lnTo>
                    <a:pt x="208" y="320"/>
                  </a:lnTo>
                  <a:lnTo>
                    <a:pt x="208" y="320"/>
                  </a:lnTo>
                  <a:lnTo>
                    <a:pt x="208" y="320"/>
                  </a:lnTo>
                  <a:lnTo>
                    <a:pt x="208" y="320"/>
                  </a:lnTo>
                  <a:lnTo>
                    <a:pt x="208" y="320"/>
                  </a:lnTo>
                  <a:lnTo>
                    <a:pt x="208" y="320"/>
                  </a:lnTo>
                  <a:lnTo>
                    <a:pt x="208" y="322"/>
                  </a:lnTo>
                  <a:lnTo>
                    <a:pt x="208" y="322"/>
                  </a:lnTo>
                  <a:lnTo>
                    <a:pt x="208" y="322"/>
                  </a:lnTo>
                  <a:lnTo>
                    <a:pt x="206" y="322"/>
                  </a:lnTo>
                  <a:lnTo>
                    <a:pt x="204" y="324"/>
                  </a:lnTo>
                  <a:lnTo>
                    <a:pt x="202" y="324"/>
                  </a:lnTo>
                  <a:lnTo>
                    <a:pt x="202" y="326"/>
                  </a:lnTo>
                  <a:lnTo>
                    <a:pt x="202" y="326"/>
                  </a:lnTo>
                  <a:lnTo>
                    <a:pt x="202" y="326"/>
                  </a:lnTo>
                  <a:lnTo>
                    <a:pt x="200" y="328"/>
                  </a:lnTo>
                  <a:lnTo>
                    <a:pt x="200" y="330"/>
                  </a:lnTo>
                  <a:lnTo>
                    <a:pt x="200" y="332"/>
                  </a:lnTo>
                  <a:lnTo>
                    <a:pt x="200" y="336"/>
                  </a:lnTo>
                  <a:lnTo>
                    <a:pt x="200" y="338"/>
                  </a:lnTo>
                  <a:lnTo>
                    <a:pt x="200" y="342"/>
                  </a:lnTo>
                  <a:lnTo>
                    <a:pt x="202" y="344"/>
                  </a:lnTo>
                  <a:lnTo>
                    <a:pt x="202" y="344"/>
                  </a:lnTo>
                  <a:lnTo>
                    <a:pt x="202" y="346"/>
                  </a:lnTo>
                  <a:lnTo>
                    <a:pt x="202" y="346"/>
                  </a:lnTo>
                  <a:lnTo>
                    <a:pt x="202" y="346"/>
                  </a:lnTo>
                  <a:lnTo>
                    <a:pt x="204" y="346"/>
                  </a:lnTo>
                  <a:lnTo>
                    <a:pt x="206" y="348"/>
                  </a:lnTo>
                  <a:lnTo>
                    <a:pt x="206" y="348"/>
                  </a:lnTo>
                  <a:lnTo>
                    <a:pt x="208" y="348"/>
                  </a:lnTo>
                  <a:lnTo>
                    <a:pt x="208" y="348"/>
                  </a:lnTo>
                  <a:lnTo>
                    <a:pt x="208" y="350"/>
                  </a:lnTo>
                  <a:lnTo>
                    <a:pt x="210" y="352"/>
                  </a:lnTo>
                  <a:lnTo>
                    <a:pt x="210" y="352"/>
                  </a:lnTo>
                  <a:lnTo>
                    <a:pt x="210" y="352"/>
                  </a:lnTo>
                  <a:lnTo>
                    <a:pt x="212" y="354"/>
                  </a:lnTo>
                  <a:lnTo>
                    <a:pt x="214" y="354"/>
                  </a:lnTo>
                  <a:lnTo>
                    <a:pt x="214" y="354"/>
                  </a:lnTo>
                  <a:lnTo>
                    <a:pt x="216" y="354"/>
                  </a:lnTo>
                  <a:lnTo>
                    <a:pt x="218" y="352"/>
                  </a:lnTo>
                  <a:lnTo>
                    <a:pt x="222" y="352"/>
                  </a:lnTo>
                  <a:lnTo>
                    <a:pt x="224" y="352"/>
                  </a:lnTo>
                  <a:lnTo>
                    <a:pt x="226" y="352"/>
                  </a:lnTo>
                  <a:lnTo>
                    <a:pt x="228" y="352"/>
                  </a:lnTo>
                  <a:lnTo>
                    <a:pt x="230" y="352"/>
                  </a:lnTo>
                  <a:lnTo>
                    <a:pt x="230" y="352"/>
                  </a:lnTo>
                  <a:lnTo>
                    <a:pt x="232" y="352"/>
                  </a:lnTo>
                  <a:lnTo>
                    <a:pt x="232" y="352"/>
                  </a:lnTo>
                  <a:lnTo>
                    <a:pt x="232" y="354"/>
                  </a:lnTo>
                  <a:lnTo>
                    <a:pt x="232" y="354"/>
                  </a:lnTo>
                  <a:lnTo>
                    <a:pt x="232" y="356"/>
                  </a:lnTo>
                  <a:lnTo>
                    <a:pt x="232" y="358"/>
                  </a:lnTo>
                  <a:lnTo>
                    <a:pt x="232" y="360"/>
                  </a:lnTo>
                  <a:lnTo>
                    <a:pt x="232" y="362"/>
                  </a:lnTo>
                  <a:lnTo>
                    <a:pt x="232" y="362"/>
                  </a:lnTo>
                  <a:lnTo>
                    <a:pt x="232" y="362"/>
                  </a:lnTo>
                  <a:lnTo>
                    <a:pt x="232" y="364"/>
                  </a:lnTo>
                  <a:lnTo>
                    <a:pt x="232" y="364"/>
                  </a:lnTo>
                  <a:lnTo>
                    <a:pt x="234" y="364"/>
                  </a:lnTo>
                  <a:lnTo>
                    <a:pt x="234" y="364"/>
                  </a:lnTo>
                  <a:lnTo>
                    <a:pt x="236" y="364"/>
                  </a:lnTo>
                  <a:lnTo>
                    <a:pt x="236" y="364"/>
                  </a:lnTo>
                  <a:lnTo>
                    <a:pt x="238" y="364"/>
                  </a:lnTo>
                  <a:lnTo>
                    <a:pt x="238" y="364"/>
                  </a:lnTo>
                  <a:lnTo>
                    <a:pt x="240" y="364"/>
                  </a:lnTo>
                  <a:lnTo>
                    <a:pt x="240" y="364"/>
                  </a:lnTo>
                  <a:lnTo>
                    <a:pt x="240" y="364"/>
                  </a:lnTo>
                  <a:lnTo>
                    <a:pt x="240" y="366"/>
                  </a:lnTo>
                  <a:lnTo>
                    <a:pt x="242" y="366"/>
                  </a:lnTo>
                  <a:lnTo>
                    <a:pt x="242" y="368"/>
                  </a:lnTo>
                  <a:lnTo>
                    <a:pt x="242" y="368"/>
                  </a:lnTo>
                  <a:lnTo>
                    <a:pt x="242" y="370"/>
                  </a:lnTo>
                  <a:lnTo>
                    <a:pt x="242" y="374"/>
                  </a:lnTo>
                  <a:lnTo>
                    <a:pt x="242" y="374"/>
                  </a:lnTo>
                  <a:lnTo>
                    <a:pt x="242" y="376"/>
                  </a:lnTo>
                  <a:lnTo>
                    <a:pt x="242" y="376"/>
                  </a:lnTo>
                  <a:lnTo>
                    <a:pt x="242" y="376"/>
                  </a:lnTo>
                  <a:lnTo>
                    <a:pt x="244" y="378"/>
                  </a:lnTo>
                  <a:lnTo>
                    <a:pt x="246" y="378"/>
                  </a:lnTo>
                  <a:lnTo>
                    <a:pt x="246" y="378"/>
                  </a:lnTo>
                  <a:lnTo>
                    <a:pt x="248" y="380"/>
                  </a:lnTo>
                  <a:lnTo>
                    <a:pt x="248" y="380"/>
                  </a:lnTo>
                  <a:lnTo>
                    <a:pt x="248" y="380"/>
                  </a:lnTo>
                  <a:lnTo>
                    <a:pt x="248" y="382"/>
                  </a:lnTo>
                  <a:lnTo>
                    <a:pt x="248" y="384"/>
                  </a:lnTo>
                  <a:lnTo>
                    <a:pt x="248" y="386"/>
                  </a:lnTo>
                  <a:lnTo>
                    <a:pt x="248" y="390"/>
                  </a:lnTo>
                  <a:lnTo>
                    <a:pt x="248" y="392"/>
                  </a:lnTo>
                  <a:lnTo>
                    <a:pt x="248" y="394"/>
                  </a:lnTo>
                  <a:lnTo>
                    <a:pt x="246" y="396"/>
                  </a:lnTo>
                  <a:lnTo>
                    <a:pt x="246" y="398"/>
                  </a:lnTo>
                  <a:lnTo>
                    <a:pt x="246" y="400"/>
                  </a:lnTo>
                  <a:lnTo>
                    <a:pt x="244" y="404"/>
                  </a:lnTo>
                  <a:lnTo>
                    <a:pt x="242" y="406"/>
                  </a:lnTo>
                  <a:lnTo>
                    <a:pt x="242" y="406"/>
                  </a:lnTo>
                  <a:lnTo>
                    <a:pt x="240" y="408"/>
                  </a:lnTo>
                  <a:lnTo>
                    <a:pt x="240" y="408"/>
                  </a:lnTo>
                  <a:lnTo>
                    <a:pt x="238" y="408"/>
                  </a:lnTo>
                  <a:lnTo>
                    <a:pt x="236" y="408"/>
                  </a:lnTo>
                  <a:lnTo>
                    <a:pt x="232" y="410"/>
                  </a:lnTo>
                  <a:lnTo>
                    <a:pt x="232" y="410"/>
                  </a:lnTo>
                  <a:lnTo>
                    <a:pt x="232" y="414"/>
                  </a:lnTo>
                  <a:lnTo>
                    <a:pt x="234" y="416"/>
                  </a:lnTo>
                  <a:lnTo>
                    <a:pt x="234" y="418"/>
                  </a:lnTo>
                  <a:lnTo>
                    <a:pt x="234" y="420"/>
                  </a:lnTo>
                  <a:lnTo>
                    <a:pt x="234" y="420"/>
                  </a:lnTo>
                  <a:lnTo>
                    <a:pt x="234" y="420"/>
                  </a:lnTo>
                  <a:lnTo>
                    <a:pt x="234" y="420"/>
                  </a:lnTo>
                  <a:lnTo>
                    <a:pt x="236" y="420"/>
                  </a:lnTo>
                  <a:lnTo>
                    <a:pt x="236" y="422"/>
                  </a:lnTo>
                  <a:lnTo>
                    <a:pt x="238" y="422"/>
                  </a:lnTo>
                  <a:lnTo>
                    <a:pt x="240" y="422"/>
                  </a:lnTo>
                  <a:lnTo>
                    <a:pt x="240" y="422"/>
                  </a:lnTo>
                  <a:lnTo>
                    <a:pt x="242" y="422"/>
                  </a:lnTo>
                  <a:lnTo>
                    <a:pt x="244" y="424"/>
                  </a:lnTo>
                  <a:lnTo>
                    <a:pt x="244" y="424"/>
                  </a:lnTo>
                  <a:lnTo>
                    <a:pt x="244" y="424"/>
                  </a:lnTo>
                  <a:lnTo>
                    <a:pt x="244" y="424"/>
                  </a:lnTo>
                  <a:lnTo>
                    <a:pt x="244" y="426"/>
                  </a:lnTo>
                  <a:lnTo>
                    <a:pt x="246" y="426"/>
                  </a:lnTo>
                  <a:lnTo>
                    <a:pt x="246" y="428"/>
                  </a:lnTo>
                  <a:lnTo>
                    <a:pt x="244" y="430"/>
                  </a:lnTo>
                  <a:lnTo>
                    <a:pt x="244" y="432"/>
                  </a:lnTo>
                  <a:lnTo>
                    <a:pt x="244" y="434"/>
                  </a:lnTo>
                  <a:lnTo>
                    <a:pt x="246" y="436"/>
                  </a:lnTo>
                  <a:lnTo>
                    <a:pt x="246" y="436"/>
                  </a:lnTo>
                  <a:lnTo>
                    <a:pt x="246" y="436"/>
                  </a:lnTo>
                  <a:lnTo>
                    <a:pt x="246" y="436"/>
                  </a:lnTo>
                  <a:lnTo>
                    <a:pt x="246" y="438"/>
                  </a:lnTo>
                  <a:lnTo>
                    <a:pt x="248" y="438"/>
                  </a:lnTo>
                  <a:lnTo>
                    <a:pt x="250" y="438"/>
                  </a:lnTo>
                  <a:lnTo>
                    <a:pt x="252" y="438"/>
                  </a:lnTo>
                  <a:lnTo>
                    <a:pt x="254" y="438"/>
                  </a:lnTo>
                  <a:lnTo>
                    <a:pt x="256" y="438"/>
                  </a:lnTo>
                  <a:lnTo>
                    <a:pt x="258" y="438"/>
                  </a:lnTo>
                  <a:lnTo>
                    <a:pt x="258" y="438"/>
                  </a:lnTo>
                  <a:lnTo>
                    <a:pt x="258" y="440"/>
                  </a:lnTo>
                  <a:lnTo>
                    <a:pt x="260" y="440"/>
                  </a:lnTo>
                  <a:lnTo>
                    <a:pt x="260" y="440"/>
                  </a:lnTo>
                  <a:lnTo>
                    <a:pt x="260" y="442"/>
                  </a:lnTo>
                  <a:lnTo>
                    <a:pt x="262" y="444"/>
                  </a:lnTo>
                  <a:lnTo>
                    <a:pt x="262" y="446"/>
                  </a:lnTo>
                  <a:lnTo>
                    <a:pt x="262" y="446"/>
                  </a:lnTo>
                  <a:lnTo>
                    <a:pt x="264" y="448"/>
                  </a:lnTo>
                  <a:lnTo>
                    <a:pt x="264" y="448"/>
                  </a:lnTo>
                  <a:lnTo>
                    <a:pt x="266" y="448"/>
                  </a:lnTo>
                  <a:lnTo>
                    <a:pt x="268" y="450"/>
                  </a:lnTo>
                  <a:lnTo>
                    <a:pt x="270" y="450"/>
                  </a:lnTo>
                  <a:lnTo>
                    <a:pt x="272" y="450"/>
                  </a:lnTo>
                  <a:lnTo>
                    <a:pt x="274" y="450"/>
                  </a:lnTo>
                  <a:lnTo>
                    <a:pt x="278" y="450"/>
                  </a:lnTo>
                  <a:lnTo>
                    <a:pt x="280" y="450"/>
                  </a:lnTo>
                  <a:lnTo>
                    <a:pt x="282" y="450"/>
                  </a:lnTo>
                  <a:lnTo>
                    <a:pt x="282" y="450"/>
                  </a:lnTo>
                  <a:lnTo>
                    <a:pt x="282" y="450"/>
                  </a:lnTo>
                  <a:lnTo>
                    <a:pt x="284" y="450"/>
                  </a:lnTo>
                  <a:lnTo>
                    <a:pt x="284" y="450"/>
                  </a:lnTo>
                  <a:lnTo>
                    <a:pt x="284" y="452"/>
                  </a:lnTo>
                  <a:lnTo>
                    <a:pt x="284" y="452"/>
                  </a:lnTo>
                  <a:lnTo>
                    <a:pt x="286" y="452"/>
                  </a:lnTo>
                  <a:lnTo>
                    <a:pt x="286" y="454"/>
                  </a:lnTo>
                  <a:lnTo>
                    <a:pt x="286" y="456"/>
                  </a:lnTo>
                  <a:lnTo>
                    <a:pt x="284" y="458"/>
                  </a:lnTo>
                  <a:lnTo>
                    <a:pt x="284" y="462"/>
                  </a:lnTo>
                  <a:lnTo>
                    <a:pt x="284" y="464"/>
                  </a:lnTo>
                  <a:lnTo>
                    <a:pt x="284" y="464"/>
                  </a:lnTo>
                  <a:lnTo>
                    <a:pt x="284" y="466"/>
                  </a:lnTo>
                  <a:lnTo>
                    <a:pt x="284" y="466"/>
                  </a:lnTo>
                  <a:lnTo>
                    <a:pt x="286" y="468"/>
                  </a:lnTo>
                  <a:lnTo>
                    <a:pt x="286" y="468"/>
                  </a:lnTo>
                  <a:lnTo>
                    <a:pt x="286" y="468"/>
                  </a:lnTo>
                  <a:lnTo>
                    <a:pt x="288" y="468"/>
                  </a:lnTo>
                  <a:lnTo>
                    <a:pt x="288" y="468"/>
                  </a:lnTo>
                  <a:lnTo>
                    <a:pt x="290" y="468"/>
                  </a:lnTo>
                  <a:lnTo>
                    <a:pt x="292" y="468"/>
                  </a:lnTo>
                  <a:lnTo>
                    <a:pt x="294" y="468"/>
                  </a:lnTo>
                  <a:lnTo>
                    <a:pt x="296" y="468"/>
                  </a:lnTo>
                  <a:lnTo>
                    <a:pt x="296" y="468"/>
                  </a:lnTo>
                  <a:lnTo>
                    <a:pt x="296" y="468"/>
                  </a:lnTo>
                  <a:lnTo>
                    <a:pt x="298" y="468"/>
                  </a:lnTo>
                  <a:lnTo>
                    <a:pt x="298" y="468"/>
                  </a:lnTo>
                  <a:lnTo>
                    <a:pt x="298" y="470"/>
                  </a:lnTo>
                  <a:lnTo>
                    <a:pt x="300" y="470"/>
                  </a:lnTo>
                  <a:lnTo>
                    <a:pt x="300" y="472"/>
                  </a:lnTo>
                  <a:lnTo>
                    <a:pt x="300" y="474"/>
                  </a:lnTo>
                  <a:lnTo>
                    <a:pt x="300" y="476"/>
                  </a:lnTo>
                  <a:lnTo>
                    <a:pt x="300" y="478"/>
                  </a:lnTo>
                  <a:lnTo>
                    <a:pt x="302" y="482"/>
                  </a:lnTo>
                  <a:lnTo>
                    <a:pt x="300" y="486"/>
                  </a:lnTo>
                  <a:lnTo>
                    <a:pt x="300" y="492"/>
                  </a:lnTo>
                  <a:lnTo>
                    <a:pt x="300" y="498"/>
                  </a:lnTo>
                  <a:lnTo>
                    <a:pt x="300" y="500"/>
                  </a:lnTo>
                  <a:lnTo>
                    <a:pt x="300" y="502"/>
                  </a:lnTo>
                  <a:lnTo>
                    <a:pt x="300" y="504"/>
                  </a:lnTo>
                  <a:lnTo>
                    <a:pt x="302" y="506"/>
                  </a:lnTo>
                  <a:lnTo>
                    <a:pt x="302" y="508"/>
                  </a:lnTo>
                  <a:lnTo>
                    <a:pt x="302" y="508"/>
                  </a:lnTo>
                  <a:lnTo>
                    <a:pt x="302" y="510"/>
                  </a:lnTo>
                  <a:lnTo>
                    <a:pt x="302" y="512"/>
                  </a:lnTo>
                  <a:lnTo>
                    <a:pt x="302" y="514"/>
                  </a:lnTo>
                  <a:lnTo>
                    <a:pt x="302" y="516"/>
                  </a:lnTo>
                  <a:lnTo>
                    <a:pt x="302" y="520"/>
                  </a:lnTo>
                  <a:lnTo>
                    <a:pt x="304" y="522"/>
                  </a:lnTo>
                  <a:lnTo>
                    <a:pt x="304" y="522"/>
                  </a:lnTo>
                  <a:lnTo>
                    <a:pt x="304" y="524"/>
                  </a:lnTo>
                  <a:lnTo>
                    <a:pt x="304" y="524"/>
                  </a:lnTo>
                  <a:lnTo>
                    <a:pt x="304" y="526"/>
                  </a:lnTo>
                  <a:lnTo>
                    <a:pt x="306" y="526"/>
                  </a:lnTo>
                  <a:lnTo>
                    <a:pt x="306" y="526"/>
                  </a:lnTo>
                  <a:lnTo>
                    <a:pt x="306" y="526"/>
                  </a:lnTo>
                  <a:lnTo>
                    <a:pt x="308" y="526"/>
                  </a:lnTo>
                  <a:lnTo>
                    <a:pt x="308" y="526"/>
                  </a:lnTo>
                  <a:lnTo>
                    <a:pt x="310" y="526"/>
                  </a:lnTo>
                  <a:lnTo>
                    <a:pt x="310" y="526"/>
                  </a:lnTo>
                  <a:lnTo>
                    <a:pt x="312" y="526"/>
                  </a:lnTo>
                  <a:lnTo>
                    <a:pt x="312" y="526"/>
                  </a:lnTo>
                  <a:lnTo>
                    <a:pt x="312" y="526"/>
                  </a:lnTo>
                  <a:lnTo>
                    <a:pt x="312" y="526"/>
                  </a:lnTo>
                  <a:lnTo>
                    <a:pt x="314" y="526"/>
                  </a:lnTo>
                  <a:lnTo>
                    <a:pt x="314" y="528"/>
                  </a:lnTo>
                  <a:lnTo>
                    <a:pt x="314" y="530"/>
                  </a:lnTo>
                  <a:lnTo>
                    <a:pt x="314" y="532"/>
                  </a:lnTo>
                  <a:lnTo>
                    <a:pt x="314" y="532"/>
                  </a:lnTo>
                  <a:lnTo>
                    <a:pt x="314" y="534"/>
                  </a:lnTo>
                  <a:lnTo>
                    <a:pt x="314" y="536"/>
                  </a:lnTo>
                  <a:lnTo>
                    <a:pt x="314" y="536"/>
                  </a:lnTo>
                  <a:lnTo>
                    <a:pt x="314" y="538"/>
                  </a:lnTo>
                  <a:lnTo>
                    <a:pt x="312" y="538"/>
                  </a:lnTo>
                  <a:lnTo>
                    <a:pt x="312" y="538"/>
                  </a:lnTo>
                  <a:lnTo>
                    <a:pt x="310" y="538"/>
                  </a:lnTo>
                  <a:lnTo>
                    <a:pt x="310" y="538"/>
                  </a:lnTo>
                  <a:lnTo>
                    <a:pt x="308" y="538"/>
                  </a:lnTo>
                  <a:lnTo>
                    <a:pt x="304" y="538"/>
                  </a:lnTo>
                  <a:lnTo>
                    <a:pt x="304" y="538"/>
                  </a:lnTo>
                  <a:lnTo>
                    <a:pt x="302" y="538"/>
                  </a:lnTo>
                  <a:lnTo>
                    <a:pt x="302" y="538"/>
                  </a:lnTo>
                  <a:lnTo>
                    <a:pt x="302" y="540"/>
                  </a:lnTo>
                  <a:lnTo>
                    <a:pt x="300" y="540"/>
                  </a:lnTo>
                  <a:lnTo>
                    <a:pt x="300" y="542"/>
                  </a:lnTo>
                  <a:lnTo>
                    <a:pt x="298" y="544"/>
                  </a:lnTo>
                  <a:lnTo>
                    <a:pt x="296" y="546"/>
                  </a:lnTo>
                  <a:lnTo>
                    <a:pt x="296" y="548"/>
                  </a:lnTo>
                  <a:lnTo>
                    <a:pt x="294" y="548"/>
                  </a:lnTo>
                  <a:lnTo>
                    <a:pt x="294" y="550"/>
                  </a:lnTo>
                  <a:lnTo>
                    <a:pt x="294" y="550"/>
                  </a:lnTo>
                  <a:lnTo>
                    <a:pt x="292" y="550"/>
                  </a:lnTo>
                  <a:lnTo>
                    <a:pt x="290" y="550"/>
                  </a:lnTo>
                  <a:lnTo>
                    <a:pt x="288" y="552"/>
                  </a:lnTo>
                  <a:lnTo>
                    <a:pt x="288" y="552"/>
                  </a:lnTo>
                  <a:lnTo>
                    <a:pt x="286" y="552"/>
                  </a:lnTo>
                  <a:lnTo>
                    <a:pt x="286" y="554"/>
                  </a:lnTo>
                  <a:lnTo>
                    <a:pt x="284" y="556"/>
                  </a:lnTo>
                  <a:lnTo>
                    <a:pt x="282" y="560"/>
                  </a:lnTo>
                  <a:lnTo>
                    <a:pt x="280" y="562"/>
                  </a:lnTo>
                  <a:lnTo>
                    <a:pt x="278" y="564"/>
                  </a:lnTo>
                  <a:lnTo>
                    <a:pt x="276" y="566"/>
                  </a:lnTo>
                  <a:lnTo>
                    <a:pt x="274" y="570"/>
                  </a:lnTo>
                  <a:lnTo>
                    <a:pt x="272" y="572"/>
                  </a:lnTo>
                  <a:lnTo>
                    <a:pt x="270" y="574"/>
                  </a:lnTo>
                  <a:lnTo>
                    <a:pt x="268" y="578"/>
                  </a:lnTo>
                  <a:lnTo>
                    <a:pt x="266" y="582"/>
                  </a:lnTo>
                  <a:lnTo>
                    <a:pt x="268" y="586"/>
                  </a:lnTo>
                  <a:lnTo>
                    <a:pt x="270" y="588"/>
                  </a:lnTo>
                  <a:lnTo>
                    <a:pt x="272" y="588"/>
                  </a:lnTo>
                  <a:lnTo>
                    <a:pt x="272" y="590"/>
                  </a:lnTo>
                  <a:lnTo>
                    <a:pt x="274" y="590"/>
                  </a:lnTo>
                  <a:lnTo>
                    <a:pt x="274" y="592"/>
                  </a:lnTo>
                  <a:lnTo>
                    <a:pt x="278" y="592"/>
                  </a:lnTo>
                  <a:lnTo>
                    <a:pt x="282" y="594"/>
                  </a:lnTo>
                  <a:lnTo>
                    <a:pt x="284" y="594"/>
                  </a:lnTo>
                  <a:lnTo>
                    <a:pt x="286" y="596"/>
                  </a:lnTo>
                  <a:lnTo>
                    <a:pt x="290" y="598"/>
                  </a:lnTo>
                  <a:lnTo>
                    <a:pt x="294" y="600"/>
                  </a:lnTo>
                  <a:lnTo>
                    <a:pt x="298" y="604"/>
                  </a:lnTo>
                  <a:lnTo>
                    <a:pt x="302" y="608"/>
                  </a:lnTo>
                  <a:lnTo>
                    <a:pt x="306" y="612"/>
                  </a:lnTo>
                  <a:lnTo>
                    <a:pt x="310" y="616"/>
                  </a:lnTo>
                  <a:lnTo>
                    <a:pt x="314" y="620"/>
                  </a:lnTo>
                  <a:lnTo>
                    <a:pt x="316" y="624"/>
                  </a:lnTo>
                  <a:lnTo>
                    <a:pt x="318" y="626"/>
                  </a:lnTo>
                  <a:lnTo>
                    <a:pt x="320" y="630"/>
                  </a:lnTo>
                  <a:lnTo>
                    <a:pt x="322" y="632"/>
                  </a:lnTo>
                  <a:lnTo>
                    <a:pt x="324" y="634"/>
                  </a:lnTo>
                  <a:lnTo>
                    <a:pt x="324" y="636"/>
                  </a:lnTo>
                  <a:lnTo>
                    <a:pt x="324" y="636"/>
                  </a:lnTo>
                  <a:lnTo>
                    <a:pt x="324" y="638"/>
                  </a:lnTo>
                  <a:lnTo>
                    <a:pt x="324" y="642"/>
                  </a:lnTo>
                  <a:lnTo>
                    <a:pt x="326" y="646"/>
                  </a:lnTo>
                  <a:lnTo>
                    <a:pt x="326" y="646"/>
                  </a:lnTo>
                  <a:lnTo>
                    <a:pt x="330" y="642"/>
                  </a:lnTo>
                  <a:lnTo>
                    <a:pt x="332" y="640"/>
                  </a:lnTo>
                  <a:lnTo>
                    <a:pt x="332" y="638"/>
                  </a:lnTo>
                  <a:lnTo>
                    <a:pt x="334" y="636"/>
                  </a:lnTo>
                  <a:lnTo>
                    <a:pt x="334" y="634"/>
                  </a:lnTo>
                  <a:lnTo>
                    <a:pt x="334" y="634"/>
                  </a:lnTo>
                  <a:lnTo>
                    <a:pt x="336" y="632"/>
                  </a:lnTo>
                  <a:lnTo>
                    <a:pt x="336" y="628"/>
                  </a:lnTo>
                  <a:lnTo>
                    <a:pt x="336" y="626"/>
                  </a:lnTo>
                  <a:lnTo>
                    <a:pt x="334" y="622"/>
                  </a:lnTo>
                  <a:lnTo>
                    <a:pt x="334" y="620"/>
                  </a:lnTo>
                  <a:lnTo>
                    <a:pt x="336" y="618"/>
                  </a:lnTo>
                  <a:lnTo>
                    <a:pt x="336" y="614"/>
                  </a:lnTo>
                  <a:lnTo>
                    <a:pt x="336" y="612"/>
                  </a:lnTo>
                  <a:lnTo>
                    <a:pt x="338" y="608"/>
                  </a:lnTo>
                  <a:lnTo>
                    <a:pt x="338" y="606"/>
                  </a:lnTo>
                  <a:lnTo>
                    <a:pt x="338" y="604"/>
                  </a:lnTo>
                  <a:lnTo>
                    <a:pt x="338" y="604"/>
                  </a:lnTo>
                  <a:lnTo>
                    <a:pt x="338" y="600"/>
                  </a:lnTo>
                  <a:lnTo>
                    <a:pt x="338" y="594"/>
                  </a:lnTo>
                  <a:lnTo>
                    <a:pt x="338" y="592"/>
                  </a:lnTo>
                  <a:lnTo>
                    <a:pt x="338" y="590"/>
                  </a:lnTo>
                  <a:lnTo>
                    <a:pt x="338" y="590"/>
                  </a:lnTo>
                  <a:lnTo>
                    <a:pt x="338" y="588"/>
                  </a:lnTo>
                  <a:lnTo>
                    <a:pt x="338" y="588"/>
                  </a:lnTo>
                  <a:lnTo>
                    <a:pt x="338" y="586"/>
                  </a:lnTo>
                  <a:lnTo>
                    <a:pt x="338" y="586"/>
                  </a:lnTo>
                  <a:lnTo>
                    <a:pt x="340" y="586"/>
                  </a:lnTo>
                  <a:lnTo>
                    <a:pt x="340" y="586"/>
                  </a:lnTo>
                  <a:lnTo>
                    <a:pt x="340" y="586"/>
                  </a:lnTo>
                  <a:lnTo>
                    <a:pt x="342" y="586"/>
                  </a:lnTo>
                  <a:lnTo>
                    <a:pt x="344" y="586"/>
                  </a:lnTo>
                  <a:lnTo>
                    <a:pt x="344" y="586"/>
                  </a:lnTo>
                  <a:lnTo>
                    <a:pt x="346" y="588"/>
                  </a:lnTo>
                  <a:lnTo>
                    <a:pt x="346" y="588"/>
                  </a:lnTo>
                  <a:lnTo>
                    <a:pt x="348" y="590"/>
                  </a:lnTo>
                  <a:lnTo>
                    <a:pt x="348" y="590"/>
                  </a:lnTo>
                  <a:lnTo>
                    <a:pt x="348" y="590"/>
                  </a:lnTo>
                  <a:lnTo>
                    <a:pt x="348" y="592"/>
                  </a:lnTo>
                  <a:lnTo>
                    <a:pt x="348" y="592"/>
                  </a:lnTo>
                  <a:lnTo>
                    <a:pt x="348" y="594"/>
                  </a:lnTo>
                  <a:lnTo>
                    <a:pt x="348" y="596"/>
                  </a:lnTo>
                  <a:lnTo>
                    <a:pt x="348" y="598"/>
                  </a:lnTo>
                  <a:lnTo>
                    <a:pt x="346" y="600"/>
                  </a:lnTo>
                  <a:lnTo>
                    <a:pt x="346" y="602"/>
                  </a:lnTo>
                  <a:lnTo>
                    <a:pt x="346" y="602"/>
                  </a:lnTo>
                  <a:lnTo>
                    <a:pt x="344" y="604"/>
                  </a:lnTo>
                  <a:lnTo>
                    <a:pt x="342" y="606"/>
                  </a:lnTo>
                  <a:lnTo>
                    <a:pt x="342" y="606"/>
                  </a:lnTo>
                  <a:lnTo>
                    <a:pt x="342" y="608"/>
                  </a:lnTo>
                  <a:lnTo>
                    <a:pt x="342" y="608"/>
                  </a:lnTo>
                  <a:lnTo>
                    <a:pt x="342" y="608"/>
                  </a:lnTo>
                  <a:lnTo>
                    <a:pt x="344" y="608"/>
                  </a:lnTo>
                  <a:lnTo>
                    <a:pt x="344" y="610"/>
                  </a:lnTo>
                  <a:lnTo>
                    <a:pt x="344" y="610"/>
                  </a:lnTo>
                  <a:lnTo>
                    <a:pt x="346" y="610"/>
                  </a:lnTo>
                  <a:lnTo>
                    <a:pt x="348" y="608"/>
                  </a:lnTo>
                  <a:lnTo>
                    <a:pt x="350" y="608"/>
                  </a:lnTo>
                  <a:lnTo>
                    <a:pt x="352" y="606"/>
                  </a:lnTo>
                  <a:lnTo>
                    <a:pt x="354" y="606"/>
                  </a:lnTo>
                  <a:lnTo>
                    <a:pt x="354" y="604"/>
                  </a:lnTo>
                  <a:lnTo>
                    <a:pt x="356" y="604"/>
                  </a:lnTo>
                  <a:lnTo>
                    <a:pt x="356" y="602"/>
                  </a:lnTo>
                  <a:lnTo>
                    <a:pt x="356" y="602"/>
                  </a:lnTo>
                  <a:lnTo>
                    <a:pt x="356" y="600"/>
                  </a:lnTo>
                  <a:lnTo>
                    <a:pt x="358" y="598"/>
                  </a:lnTo>
                  <a:lnTo>
                    <a:pt x="358" y="596"/>
                  </a:lnTo>
                  <a:lnTo>
                    <a:pt x="358" y="594"/>
                  </a:lnTo>
                  <a:lnTo>
                    <a:pt x="358" y="594"/>
                  </a:lnTo>
                  <a:lnTo>
                    <a:pt x="358" y="592"/>
                  </a:lnTo>
                  <a:lnTo>
                    <a:pt x="358" y="590"/>
                  </a:lnTo>
                  <a:lnTo>
                    <a:pt x="358" y="590"/>
                  </a:lnTo>
                  <a:lnTo>
                    <a:pt x="360" y="590"/>
                  </a:lnTo>
                  <a:lnTo>
                    <a:pt x="360" y="588"/>
                  </a:lnTo>
                  <a:lnTo>
                    <a:pt x="364" y="588"/>
                  </a:lnTo>
                  <a:lnTo>
                    <a:pt x="364" y="586"/>
                  </a:lnTo>
                  <a:lnTo>
                    <a:pt x="366" y="586"/>
                  </a:lnTo>
                  <a:lnTo>
                    <a:pt x="366" y="586"/>
                  </a:lnTo>
                  <a:lnTo>
                    <a:pt x="368" y="584"/>
                  </a:lnTo>
                  <a:lnTo>
                    <a:pt x="368" y="584"/>
                  </a:lnTo>
                  <a:lnTo>
                    <a:pt x="368" y="582"/>
                  </a:lnTo>
                  <a:lnTo>
                    <a:pt x="368" y="582"/>
                  </a:lnTo>
                  <a:lnTo>
                    <a:pt x="368" y="580"/>
                  </a:lnTo>
                  <a:lnTo>
                    <a:pt x="366" y="576"/>
                  </a:lnTo>
                  <a:lnTo>
                    <a:pt x="366" y="574"/>
                  </a:lnTo>
                  <a:lnTo>
                    <a:pt x="366" y="570"/>
                  </a:lnTo>
                  <a:lnTo>
                    <a:pt x="364" y="568"/>
                  </a:lnTo>
                  <a:lnTo>
                    <a:pt x="364" y="566"/>
                  </a:lnTo>
                  <a:lnTo>
                    <a:pt x="364" y="566"/>
                  </a:lnTo>
                  <a:lnTo>
                    <a:pt x="364" y="564"/>
                  </a:lnTo>
                  <a:lnTo>
                    <a:pt x="366" y="564"/>
                  </a:lnTo>
                  <a:lnTo>
                    <a:pt x="366" y="562"/>
                  </a:lnTo>
                  <a:lnTo>
                    <a:pt x="366" y="562"/>
                  </a:lnTo>
                  <a:lnTo>
                    <a:pt x="368" y="562"/>
                  </a:lnTo>
                  <a:lnTo>
                    <a:pt x="368" y="560"/>
                  </a:lnTo>
                  <a:lnTo>
                    <a:pt x="370" y="560"/>
                  </a:lnTo>
                  <a:lnTo>
                    <a:pt x="374" y="558"/>
                  </a:lnTo>
                  <a:lnTo>
                    <a:pt x="376" y="558"/>
                  </a:lnTo>
                  <a:lnTo>
                    <a:pt x="378" y="556"/>
                  </a:lnTo>
                  <a:lnTo>
                    <a:pt x="378" y="556"/>
                  </a:lnTo>
                  <a:lnTo>
                    <a:pt x="380" y="556"/>
                  </a:lnTo>
                  <a:lnTo>
                    <a:pt x="380" y="554"/>
                  </a:lnTo>
                  <a:lnTo>
                    <a:pt x="380" y="554"/>
                  </a:lnTo>
                  <a:lnTo>
                    <a:pt x="382" y="554"/>
                  </a:lnTo>
                  <a:lnTo>
                    <a:pt x="382" y="552"/>
                  </a:lnTo>
                  <a:lnTo>
                    <a:pt x="384" y="550"/>
                  </a:lnTo>
                  <a:lnTo>
                    <a:pt x="384" y="548"/>
                  </a:lnTo>
                  <a:lnTo>
                    <a:pt x="384" y="544"/>
                  </a:lnTo>
                  <a:lnTo>
                    <a:pt x="384" y="540"/>
                  </a:lnTo>
                  <a:lnTo>
                    <a:pt x="386" y="538"/>
                  </a:lnTo>
                  <a:lnTo>
                    <a:pt x="386" y="530"/>
                  </a:lnTo>
                  <a:lnTo>
                    <a:pt x="386" y="516"/>
                  </a:lnTo>
                  <a:lnTo>
                    <a:pt x="386" y="514"/>
                  </a:lnTo>
                  <a:lnTo>
                    <a:pt x="386" y="510"/>
                  </a:lnTo>
                  <a:lnTo>
                    <a:pt x="386" y="508"/>
                  </a:lnTo>
                  <a:lnTo>
                    <a:pt x="386" y="506"/>
                  </a:lnTo>
                  <a:lnTo>
                    <a:pt x="388" y="502"/>
                  </a:lnTo>
                  <a:lnTo>
                    <a:pt x="388" y="500"/>
                  </a:lnTo>
                  <a:lnTo>
                    <a:pt x="388" y="498"/>
                  </a:lnTo>
                  <a:lnTo>
                    <a:pt x="390" y="496"/>
                  </a:lnTo>
                  <a:lnTo>
                    <a:pt x="390" y="494"/>
                  </a:lnTo>
                  <a:lnTo>
                    <a:pt x="390" y="494"/>
                  </a:lnTo>
                  <a:lnTo>
                    <a:pt x="392" y="494"/>
                  </a:lnTo>
                  <a:lnTo>
                    <a:pt x="392" y="494"/>
                  </a:lnTo>
                  <a:lnTo>
                    <a:pt x="392" y="492"/>
                  </a:lnTo>
                  <a:lnTo>
                    <a:pt x="394" y="492"/>
                  </a:lnTo>
                  <a:lnTo>
                    <a:pt x="396" y="492"/>
                  </a:lnTo>
                  <a:lnTo>
                    <a:pt x="398" y="490"/>
                  </a:lnTo>
                  <a:lnTo>
                    <a:pt x="400" y="490"/>
                  </a:lnTo>
                  <a:lnTo>
                    <a:pt x="402" y="490"/>
                  </a:lnTo>
                  <a:lnTo>
                    <a:pt x="402" y="490"/>
                  </a:lnTo>
                  <a:lnTo>
                    <a:pt x="402" y="488"/>
                  </a:lnTo>
                  <a:lnTo>
                    <a:pt x="404" y="488"/>
                  </a:lnTo>
                  <a:lnTo>
                    <a:pt x="404" y="488"/>
                  </a:lnTo>
                  <a:lnTo>
                    <a:pt x="404" y="484"/>
                  </a:lnTo>
                  <a:lnTo>
                    <a:pt x="406" y="482"/>
                  </a:lnTo>
                  <a:lnTo>
                    <a:pt x="406" y="482"/>
                  </a:lnTo>
                  <a:lnTo>
                    <a:pt x="406" y="480"/>
                  </a:lnTo>
                  <a:lnTo>
                    <a:pt x="408" y="480"/>
                  </a:lnTo>
                  <a:lnTo>
                    <a:pt x="408" y="478"/>
                  </a:lnTo>
                  <a:lnTo>
                    <a:pt x="410" y="478"/>
                  </a:lnTo>
                  <a:lnTo>
                    <a:pt x="414" y="474"/>
                  </a:lnTo>
                  <a:lnTo>
                    <a:pt x="418" y="472"/>
                  </a:lnTo>
                  <a:lnTo>
                    <a:pt x="422" y="468"/>
                  </a:lnTo>
                  <a:lnTo>
                    <a:pt x="426" y="466"/>
                  </a:lnTo>
                  <a:lnTo>
                    <a:pt x="428" y="466"/>
                  </a:lnTo>
                  <a:lnTo>
                    <a:pt x="430" y="464"/>
                  </a:lnTo>
                  <a:lnTo>
                    <a:pt x="432" y="464"/>
                  </a:lnTo>
                  <a:lnTo>
                    <a:pt x="434" y="464"/>
                  </a:lnTo>
                  <a:lnTo>
                    <a:pt x="436" y="462"/>
                  </a:lnTo>
                  <a:lnTo>
                    <a:pt x="442" y="462"/>
                  </a:lnTo>
                  <a:lnTo>
                    <a:pt x="446" y="462"/>
                  </a:lnTo>
                  <a:lnTo>
                    <a:pt x="450" y="462"/>
                  </a:lnTo>
                  <a:lnTo>
                    <a:pt x="454" y="462"/>
                  </a:lnTo>
                  <a:lnTo>
                    <a:pt x="456" y="462"/>
                  </a:lnTo>
                  <a:lnTo>
                    <a:pt x="458" y="462"/>
                  </a:lnTo>
                  <a:lnTo>
                    <a:pt x="458" y="460"/>
                  </a:lnTo>
                  <a:lnTo>
                    <a:pt x="460" y="460"/>
                  </a:lnTo>
                  <a:lnTo>
                    <a:pt x="460" y="460"/>
                  </a:lnTo>
                  <a:lnTo>
                    <a:pt x="460" y="458"/>
                  </a:lnTo>
                  <a:lnTo>
                    <a:pt x="462" y="456"/>
                  </a:lnTo>
                  <a:lnTo>
                    <a:pt x="462" y="454"/>
                  </a:lnTo>
                  <a:lnTo>
                    <a:pt x="464" y="454"/>
                  </a:lnTo>
                  <a:lnTo>
                    <a:pt x="464" y="452"/>
                  </a:lnTo>
                  <a:lnTo>
                    <a:pt x="464" y="452"/>
                  </a:lnTo>
                  <a:lnTo>
                    <a:pt x="466" y="452"/>
                  </a:lnTo>
                  <a:lnTo>
                    <a:pt x="466" y="450"/>
                  </a:lnTo>
                  <a:lnTo>
                    <a:pt x="468" y="450"/>
                  </a:lnTo>
                  <a:lnTo>
                    <a:pt x="470" y="450"/>
                  </a:lnTo>
                  <a:lnTo>
                    <a:pt x="472" y="450"/>
                  </a:lnTo>
                  <a:lnTo>
                    <a:pt x="476" y="452"/>
                  </a:lnTo>
                  <a:lnTo>
                    <a:pt x="480" y="452"/>
                  </a:lnTo>
                  <a:lnTo>
                    <a:pt x="480" y="452"/>
                  </a:lnTo>
                  <a:lnTo>
                    <a:pt x="482" y="452"/>
                  </a:lnTo>
                  <a:lnTo>
                    <a:pt x="484" y="452"/>
                  </a:lnTo>
                  <a:lnTo>
                    <a:pt x="484" y="452"/>
                  </a:lnTo>
                  <a:lnTo>
                    <a:pt x="486" y="452"/>
                  </a:lnTo>
                  <a:lnTo>
                    <a:pt x="486" y="450"/>
                  </a:lnTo>
                  <a:lnTo>
                    <a:pt x="488" y="450"/>
                  </a:lnTo>
                  <a:lnTo>
                    <a:pt x="488" y="448"/>
                  </a:lnTo>
                  <a:lnTo>
                    <a:pt x="488" y="446"/>
                  </a:lnTo>
                  <a:lnTo>
                    <a:pt x="490" y="446"/>
                  </a:lnTo>
                  <a:lnTo>
                    <a:pt x="490" y="444"/>
                  </a:lnTo>
                  <a:lnTo>
                    <a:pt x="490" y="442"/>
                  </a:lnTo>
                  <a:lnTo>
                    <a:pt x="490" y="438"/>
                  </a:lnTo>
                  <a:lnTo>
                    <a:pt x="490" y="434"/>
                  </a:lnTo>
                  <a:lnTo>
                    <a:pt x="490" y="430"/>
                  </a:lnTo>
                  <a:lnTo>
                    <a:pt x="490" y="428"/>
                  </a:lnTo>
                  <a:lnTo>
                    <a:pt x="490" y="426"/>
                  </a:lnTo>
                  <a:lnTo>
                    <a:pt x="490" y="426"/>
                  </a:lnTo>
                  <a:lnTo>
                    <a:pt x="490" y="424"/>
                  </a:lnTo>
                  <a:lnTo>
                    <a:pt x="490" y="422"/>
                  </a:lnTo>
                  <a:lnTo>
                    <a:pt x="492" y="422"/>
                  </a:lnTo>
                  <a:lnTo>
                    <a:pt x="494" y="418"/>
                  </a:lnTo>
                  <a:lnTo>
                    <a:pt x="496" y="414"/>
                  </a:lnTo>
                  <a:lnTo>
                    <a:pt x="498" y="414"/>
                  </a:lnTo>
                  <a:lnTo>
                    <a:pt x="498" y="412"/>
                  </a:lnTo>
                  <a:lnTo>
                    <a:pt x="500" y="408"/>
                  </a:lnTo>
                  <a:lnTo>
                    <a:pt x="502" y="404"/>
                  </a:lnTo>
                  <a:lnTo>
                    <a:pt x="502" y="400"/>
                  </a:lnTo>
                  <a:lnTo>
                    <a:pt x="504" y="396"/>
                  </a:lnTo>
                  <a:lnTo>
                    <a:pt x="504" y="396"/>
                  </a:lnTo>
                  <a:lnTo>
                    <a:pt x="504" y="394"/>
                  </a:lnTo>
                  <a:lnTo>
                    <a:pt x="504" y="390"/>
                  </a:lnTo>
                  <a:lnTo>
                    <a:pt x="504" y="382"/>
                  </a:lnTo>
                  <a:lnTo>
                    <a:pt x="504" y="378"/>
                  </a:lnTo>
                  <a:lnTo>
                    <a:pt x="504" y="374"/>
                  </a:lnTo>
                  <a:lnTo>
                    <a:pt x="504" y="374"/>
                  </a:lnTo>
                  <a:lnTo>
                    <a:pt x="504" y="372"/>
                  </a:lnTo>
                  <a:lnTo>
                    <a:pt x="506" y="370"/>
                  </a:lnTo>
                  <a:lnTo>
                    <a:pt x="506" y="370"/>
                  </a:lnTo>
                  <a:lnTo>
                    <a:pt x="506" y="368"/>
                  </a:lnTo>
                  <a:lnTo>
                    <a:pt x="508" y="368"/>
                  </a:lnTo>
                  <a:lnTo>
                    <a:pt x="510" y="366"/>
                  </a:lnTo>
                  <a:lnTo>
                    <a:pt x="512" y="366"/>
                  </a:lnTo>
                  <a:lnTo>
                    <a:pt x="512" y="366"/>
                  </a:lnTo>
                  <a:lnTo>
                    <a:pt x="514" y="364"/>
                  </a:lnTo>
                  <a:lnTo>
                    <a:pt x="514" y="364"/>
                  </a:lnTo>
                  <a:lnTo>
                    <a:pt x="514" y="362"/>
                  </a:lnTo>
                  <a:lnTo>
                    <a:pt x="516" y="360"/>
                  </a:lnTo>
                  <a:lnTo>
                    <a:pt x="516" y="358"/>
                  </a:lnTo>
                  <a:lnTo>
                    <a:pt x="516" y="356"/>
                  </a:lnTo>
                  <a:lnTo>
                    <a:pt x="516" y="352"/>
                  </a:lnTo>
                  <a:lnTo>
                    <a:pt x="516" y="350"/>
                  </a:lnTo>
                  <a:lnTo>
                    <a:pt x="516" y="348"/>
                  </a:lnTo>
                  <a:lnTo>
                    <a:pt x="516" y="342"/>
                  </a:lnTo>
                  <a:lnTo>
                    <a:pt x="516" y="338"/>
                  </a:lnTo>
                  <a:lnTo>
                    <a:pt x="514" y="326"/>
                  </a:lnTo>
                  <a:lnTo>
                    <a:pt x="514" y="320"/>
                  </a:lnTo>
                  <a:lnTo>
                    <a:pt x="514" y="314"/>
                  </a:lnTo>
                  <a:lnTo>
                    <a:pt x="512" y="310"/>
                  </a:lnTo>
                  <a:lnTo>
                    <a:pt x="512" y="304"/>
                  </a:lnTo>
                  <a:lnTo>
                    <a:pt x="512" y="302"/>
                  </a:lnTo>
                  <a:lnTo>
                    <a:pt x="512" y="300"/>
                  </a:lnTo>
                  <a:lnTo>
                    <a:pt x="514" y="298"/>
                  </a:lnTo>
                  <a:lnTo>
                    <a:pt x="514" y="296"/>
                  </a:lnTo>
                  <a:lnTo>
                    <a:pt x="514" y="292"/>
                  </a:lnTo>
                  <a:lnTo>
                    <a:pt x="514" y="292"/>
                  </a:lnTo>
                  <a:lnTo>
                    <a:pt x="516" y="290"/>
                  </a:lnTo>
                  <a:lnTo>
                    <a:pt x="516" y="288"/>
                  </a:lnTo>
                  <a:lnTo>
                    <a:pt x="516" y="288"/>
                  </a:lnTo>
                  <a:lnTo>
                    <a:pt x="518" y="286"/>
                  </a:lnTo>
                  <a:lnTo>
                    <a:pt x="520" y="286"/>
                  </a:lnTo>
                  <a:lnTo>
                    <a:pt x="522" y="286"/>
                  </a:lnTo>
                  <a:lnTo>
                    <a:pt x="524" y="286"/>
                  </a:lnTo>
                  <a:lnTo>
                    <a:pt x="526" y="286"/>
                  </a:lnTo>
                  <a:lnTo>
                    <a:pt x="528" y="284"/>
                  </a:lnTo>
                  <a:lnTo>
                    <a:pt x="528" y="284"/>
                  </a:lnTo>
                  <a:lnTo>
                    <a:pt x="530" y="284"/>
                  </a:lnTo>
                  <a:lnTo>
                    <a:pt x="530" y="282"/>
                  </a:lnTo>
                  <a:lnTo>
                    <a:pt x="530" y="282"/>
                  </a:lnTo>
                  <a:lnTo>
                    <a:pt x="530" y="282"/>
                  </a:lnTo>
                  <a:lnTo>
                    <a:pt x="530" y="280"/>
                  </a:lnTo>
                  <a:lnTo>
                    <a:pt x="530" y="278"/>
                  </a:lnTo>
                  <a:lnTo>
                    <a:pt x="530" y="276"/>
                  </a:lnTo>
                  <a:lnTo>
                    <a:pt x="530" y="274"/>
                  </a:lnTo>
                  <a:lnTo>
                    <a:pt x="530" y="272"/>
                  </a:lnTo>
                  <a:lnTo>
                    <a:pt x="530" y="270"/>
                  </a:lnTo>
                  <a:lnTo>
                    <a:pt x="530" y="270"/>
                  </a:lnTo>
                  <a:lnTo>
                    <a:pt x="532" y="268"/>
                  </a:lnTo>
                  <a:lnTo>
                    <a:pt x="532" y="268"/>
                  </a:lnTo>
                  <a:lnTo>
                    <a:pt x="532" y="268"/>
                  </a:lnTo>
                  <a:lnTo>
                    <a:pt x="534" y="266"/>
                  </a:lnTo>
                  <a:lnTo>
                    <a:pt x="536" y="264"/>
                  </a:lnTo>
                  <a:lnTo>
                    <a:pt x="536" y="264"/>
                  </a:lnTo>
                  <a:lnTo>
                    <a:pt x="536" y="264"/>
                  </a:lnTo>
                  <a:lnTo>
                    <a:pt x="536" y="264"/>
                  </a:lnTo>
                  <a:lnTo>
                    <a:pt x="538" y="262"/>
                  </a:lnTo>
                  <a:lnTo>
                    <a:pt x="538" y="260"/>
                  </a:lnTo>
                  <a:lnTo>
                    <a:pt x="538" y="258"/>
                  </a:lnTo>
                  <a:lnTo>
                    <a:pt x="538" y="256"/>
                  </a:lnTo>
                  <a:lnTo>
                    <a:pt x="538" y="254"/>
                  </a:lnTo>
                  <a:lnTo>
                    <a:pt x="540" y="252"/>
                  </a:lnTo>
                  <a:lnTo>
                    <a:pt x="540" y="250"/>
                  </a:lnTo>
                  <a:lnTo>
                    <a:pt x="540" y="250"/>
                  </a:lnTo>
                  <a:lnTo>
                    <a:pt x="540" y="250"/>
                  </a:lnTo>
                  <a:lnTo>
                    <a:pt x="542" y="248"/>
                  </a:lnTo>
                  <a:lnTo>
                    <a:pt x="542" y="248"/>
                  </a:lnTo>
                  <a:lnTo>
                    <a:pt x="544" y="248"/>
                  </a:lnTo>
                  <a:lnTo>
                    <a:pt x="546" y="248"/>
                  </a:lnTo>
                  <a:lnTo>
                    <a:pt x="548" y="248"/>
                  </a:lnTo>
                  <a:lnTo>
                    <a:pt x="548" y="246"/>
                  </a:lnTo>
                  <a:lnTo>
                    <a:pt x="548" y="246"/>
                  </a:lnTo>
                  <a:lnTo>
                    <a:pt x="548" y="246"/>
                  </a:lnTo>
                  <a:lnTo>
                    <a:pt x="550" y="244"/>
                  </a:lnTo>
                  <a:lnTo>
                    <a:pt x="550" y="242"/>
                  </a:lnTo>
                  <a:lnTo>
                    <a:pt x="550" y="240"/>
                  </a:lnTo>
                  <a:lnTo>
                    <a:pt x="550" y="238"/>
                  </a:lnTo>
                  <a:lnTo>
                    <a:pt x="550" y="236"/>
                  </a:lnTo>
                  <a:lnTo>
                    <a:pt x="550" y="234"/>
                  </a:lnTo>
                  <a:lnTo>
                    <a:pt x="552" y="234"/>
                  </a:lnTo>
                  <a:lnTo>
                    <a:pt x="552" y="232"/>
                  </a:lnTo>
                  <a:lnTo>
                    <a:pt x="552" y="232"/>
                  </a:lnTo>
                  <a:lnTo>
                    <a:pt x="552" y="232"/>
                  </a:lnTo>
                  <a:lnTo>
                    <a:pt x="554" y="232"/>
                  </a:lnTo>
                  <a:lnTo>
                    <a:pt x="556" y="230"/>
                  </a:lnTo>
                  <a:lnTo>
                    <a:pt x="558" y="230"/>
                  </a:lnTo>
                  <a:lnTo>
                    <a:pt x="558" y="230"/>
                  </a:lnTo>
                  <a:lnTo>
                    <a:pt x="560" y="230"/>
                  </a:lnTo>
                  <a:lnTo>
                    <a:pt x="562" y="230"/>
                  </a:lnTo>
                  <a:lnTo>
                    <a:pt x="562" y="230"/>
                  </a:lnTo>
                  <a:lnTo>
                    <a:pt x="562" y="228"/>
                  </a:lnTo>
                  <a:lnTo>
                    <a:pt x="562" y="228"/>
                  </a:lnTo>
                  <a:lnTo>
                    <a:pt x="562" y="228"/>
                  </a:lnTo>
                  <a:lnTo>
                    <a:pt x="564" y="226"/>
                  </a:lnTo>
                  <a:lnTo>
                    <a:pt x="562" y="224"/>
                  </a:lnTo>
                  <a:lnTo>
                    <a:pt x="562" y="222"/>
                  </a:lnTo>
                  <a:lnTo>
                    <a:pt x="562" y="220"/>
                  </a:lnTo>
                  <a:lnTo>
                    <a:pt x="562" y="218"/>
                  </a:lnTo>
                  <a:lnTo>
                    <a:pt x="562" y="218"/>
                  </a:lnTo>
                  <a:lnTo>
                    <a:pt x="562" y="216"/>
                  </a:lnTo>
                  <a:lnTo>
                    <a:pt x="564" y="216"/>
                  </a:lnTo>
                  <a:lnTo>
                    <a:pt x="564" y="216"/>
                  </a:lnTo>
                  <a:lnTo>
                    <a:pt x="564" y="216"/>
                  </a:lnTo>
                  <a:lnTo>
                    <a:pt x="566" y="216"/>
                  </a:lnTo>
                  <a:lnTo>
                    <a:pt x="568" y="216"/>
                  </a:lnTo>
                  <a:lnTo>
                    <a:pt x="568" y="216"/>
                  </a:lnTo>
                  <a:lnTo>
                    <a:pt x="570" y="214"/>
                  </a:lnTo>
                  <a:lnTo>
                    <a:pt x="570" y="214"/>
                  </a:lnTo>
                  <a:lnTo>
                    <a:pt x="570" y="214"/>
                  </a:lnTo>
                  <a:lnTo>
                    <a:pt x="570" y="212"/>
                  </a:lnTo>
                  <a:lnTo>
                    <a:pt x="570" y="212"/>
                  </a:lnTo>
                  <a:lnTo>
                    <a:pt x="570" y="210"/>
                  </a:lnTo>
                  <a:lnTo>
                    <a:pt x="568" y="208"/>
                  </a:lnTo>
                  <a:lnTo>
                    <a:pt x="568" y="206"/>
                  </a:lnTo>
                  <a:lnTo>
                    <a:pt x="568" y="204"/>
                  </a:lnTo>
                  <a:lnTo>
                    <a:pt x="568" y="204"/>
                  </a:lnTo>
                  <a:lnTo>
                    <a:pt x="568" y="202"/>
                  </a:lnTo>
                  <a:lnTo>
                    <a:pt x="568" y="202"/>
                  </a:lnTo>
                  <a:lnTo>
                    <a:pt x="568" y="202"/>
                  </a:lnTo>
                  <a:lnTo>
                    <a:pt x="568" y="200"/>
                  </a:lnTo>
                  <a:lnTo>
                    <a:pt x="570" y="200"/>
                  </a:lnTo>
                  <a:lnTo>
                    <a:pt x="570" y="200"/>
                  </a:lnTo>
                  <a:lnTo>
                    <a:pt x="572" y="200"/>
                  </a:lnTo>
                  <a:lnTo>
                    <a:pt x="574" y="200"/>
                  </a:lnTo>
                  <a:lnTo>
                    <a:pt x="574" y="200"/>
                  </a:lnTo>
                  <a:lnTo>
                    <a:pt x="576" y="200"/>
                  </a:lnTo>
                  <a:lnTo>
                    <a:pt x="576" y="198"/>
                  </a:lnTo>
                  <a:lnTo>
                    <a:pt x="576" y="198"/>
                  </a:lnTo>
                  <a:lnTo>
                    <a:pt x="578" y="196"/>
                  </a:lnTo>
                  <a:lnTo>
                    <a:pt x="578" y="194"/>
                  </a:lnTo>
                  <a:lnTo>
                    <a:pt x="578" y="192"/>
                  </a:lnTo>
                  <a:lnTo>
                    <a:pt x="578" y="190"/>
                  </a:lnTo>
                  <a:lnTo>
                    <a:pt x="578" y="188"/>
                  </a:lnTo>
                  <a:lnTo>
                    <a:pt x="578" y="188"/>
                  </a:lnTo>
                  <a:lnTo>
                    <a:pt x="576" y="188"/>
                  </a:lnTo>
                  <a:lnTo>
                    <a:pt x="576" y="186"/>
                  </a:lnTo>
                  <a:lnTo>
                    <a:pt x="576" y="186"/>
                  </a:lnTo>
                  <a:lnTo>
                    <a:pt x="576" y="186"/>
                  </a:lnTo>
                  <a:lnTo>
                    <a:pt x="574" y="186"/>
                  </a:lnTo>
                  <a:lnTo>
                    <a:pt x="572" y="186"/>
                  </a:lnTo>
                  <a:lnTo>
                    <a:pt x="570" y="186"/>
                  </a:lnTo>
                  <a:lnTo>
                    <a:pt x="570" y="186"/>
                  </a:lnTo>
                  <a:lnTo>
                    <a:pt x="568" y="186"/>
                  </a:lnTo>
                  <a:lnTo>
                    <a:pt x="568" y="186"/>
                  </a:lnTo>
                  <a:lnTo>
                    <a:pt x="568" y="186"/>
                  </a:lnTo>
                  <a:lnTo>
                    <a:pt x="566" y="186"/>
                  </a:lnTo>
                  <a:lnTo>
                    <a:pt x="566" y="184"/>
                  </a:lnTo>
                  <a:lnTo>
                    <a:pt x="566" y="182"/>
                  </a:lnTo>
                  <a:lnTo>
                    <a:pt x="566" y="180"/>
                  </a:lnTo>
                  <a:lnTo>
                    <a:pt x="566" y="178"/>
                  </a:lnTo>
                  <a:lnTo>
                    <a:pt x="566" y="178"/>
                  </a:lnTo>
                  <a:lnTo>
                    <a:pt x="566" y="172"/>
                  </a:lnTo>
                  <a:lnTo>
                    <a:pt x="566" y="168"/>
                  </a:lnTo>
                  <a:lnTo>
                    <a:pt x="566" y="164"/>
                  </a:lnTo>
                  <a:lnTo>
                    <a:pt x="566" y="162"/>
                  </a:lnTo>
                  <a:lnTo>
                    <a:pt x="566" y="162"/>
                  </a:lnTo>
                  <a:lnTo>
                    <a:pt x="566" y="160"/>
                  </a:lnTo>
                  <a:lnTo>
                    <a:pt x="564" y="158"/>
                  </a:lnTo>
                  <a:lnTo>
                    <a:pt x="564" y="158"/>
                  </a:lnTo>
                  <a:lnTo>
                    <a:pt x="564" y="156"/>
                  </a:lnTo>
                  <a:lnTo>
                    <a:pt x="562" y="154"/>
                  </a:lnTo>
                  <a:lnTo>
                    <a:pt x="560" y="154"/>
                  </a:lnTo>
                  <a:lnTo>
                    <a:pt x="558" y="152"/>
                  </a:lnTo>
                  <a:lnTo>
                    <a:pt x="556" y="152"/>
                  </a:lnTo>
                  <a:lnTo>
                    <a:pt x="556" y="152"/>
                  </a:lnTo>
                  <a:lnTo>
                    <a:pt x="552" y="152"/>
                  </a:lnTo>
                  <a:lnTo>
                    <a:pt x="550" y="150"/>
                  </a:lnTo>
                  <a:lnTo>
                    <a:pt x="548" y="150"/>
                  </a:lnTo>
                  <a:lnTo>
                    <a:pt x="548" y="150"/>
                  </a:lnTo>
                  <a:lnTo>
                    <a:pt x="546" y="150"/>
                  </a:lnTo>
                  <a:lnTo>
                    <a:pt x="544" y="150"/>
                  </a:lnTo>
                  <a:lnTo>
                    <a:pt x="542" y="148"/>
                  </a:lnTo>
                  <a:lnTo>
                    <a:pt x="540" y="146"/>
                  </a:lnTo>
                  <a:lnTo>
                    <a:pt x="538" y="144"/>
                  </a:lnTo>
                  <a:lnTo>
                    <a:pt x="538" y="142"/>
                  </a:lnTo>
                  <a:lnTo>
                    <a:pt x="536" y="140"/>
                  </a:lnTo>
                  <a:lnTo>
                    <a:pt x="534" y="138"/>
                  </a:lnTo>
                  <a:lnTo>
                    <a:pt x="534" y="136"/>
                  </a:lnTo>
                  <a:lnTo>
                    <a:pt x="534" y="134"/>
                  </a:lnTo>
                  <a:lnTo>
                    <a:pt x="532" y="132"/>
                  </a:lnTo>
                  <a:lnTo>
                    <a:pt x="532" y="132"/>
                  </a:lnTo>
                  <a:lnTo>
                    <a:pt x="532" y="132"/>
                  </a:lnTo>
                  <a:lnTo>
                    <a:pt x="530" y="132"/>
                  </a:lnTo>
                  <a:lnTo>
                    <a:pt x="530" y="132"/>
                  </a:lnTo>
                  <a:lnTo>
                    <a:pt x="528" y="132"/>
                  </a:lnTo>
                  <a:lnTo>
                    <a:pt x="526" y="132"/>
                  </a:lnTo>
                  <a:lnTo>
                    <a:pt x="524" y="132"/>
                  </a:lnTo>
                  <a:lnTo>
                    <a:pt x="522" y="132"/>
                  </a:lnTo>
                  <a:lnTo>
                    <a:pt x="520" y="132"/>
                  </a:lnTo>
                  <a:lnTo>
                    <a:pt x="520" y="132"/>
                  </a:lnTo>
                  <a:lnTo>
                    <a:pt x="518" y="132"/>
                  </a:lnTo>
                  <a:lnTo>
                    <a:pt x="518" y="132"/>
                  </a:lnTo>
                  <a:lnTo>
                    <a:pt x="518" y="132"/>
                  </a:lnTo>
                  <a:lnTo>
                    <a:pt x="518" y="132"/>
                  </a:lnTo>
                  <a:lnTo>
                    <a:pt x="516" y="130"/>
                  </a:lnTo>
                  <a:lnTo>
                    <a:pt x="516" y="130"/>
                  </a:lnTo>
                  <a:lnTo>
                    <a:pt x="516" y="128"/>
                  </a:lnTo>
                  <a:lnTo>
                    <a:pt x="516" y="126"/>
                  </a:lnTo>
                  <a:lnTo>
                    <a:pt x="516" y="122"/>
                  </a:lnTo>
                  <a:lnTo>
                    <a:pt x="516" y="122"/>
                  </a:lnTo>
                  <a:lnTo>
                    <a:pt x="514" y="120"/>
                  </a:lnTo>
                  <a:lnTo>
                    <a:pt x="514" y="120"/>
                  </a:lnTo>
                  <a:lnTo>
                    <a:pt x="514" y="120"/>
                  </a:lnTo>
                  <a:lnTo>
                    <a:pt x="512" y="118"/>
                  </a:lnTo>
                  <a:lnTo>
                    <a:pt x="512" y="118"/>
                  </a:lnTo>
                  <a:lnTo>
                    <a:pt x="510" y="118"/>
                  </a:lnTo>
                  <a:lnTo>
                    <a:pt x="508" y="116"/>
                  </a:lnTo>
                  <a:lnTo>
                    <a:pt x="506" y="116"/>
                  </a:lnTo>
                  <a:lnTo>
                    <a:pt x="504" y="116"/>
                  </a:lnTo>
                  <a:lnTo>
                    <a:pt x="502" y="116"/>
                  </a:lnTo>
                  <a:lnTo>
                    <a:pt x="498" y="116"/>
                  </a:lnTo>
                  <a:lnTo>
                    <a:pt x="494" y="116"/>
                  </a:lnTo>
                  <a:lnTo>
                    <a:pt x="492" y="116"/>
                  </a:lnTo>
                  <a:lnTo>
                    <a:pt x="490" y="116"/>
                  </a:lnTo>
                  <a:lnTo>
                    <a:pt x="488" y="116"/>
                  </a:lnTo>
                  <a:lnTo>
                    <a:pt x="484" y="114"/>
                  </a:lnTo>
                  <a:lnTo>
                    <a:pt x="482" y="114"/>
                  </a:lnTo>
                  <a:lnTo>
                    <a:pt x="480" y="114"/>
                  </a:lnTo>
                  <a:lnTo>
                    <a:pt x="478" y="114"/>
                  </a:lnTo>
                  <a:lnTo>
                    <a:pt x="476" y="112"/>
                  </a:lnTo>
                  <a:lnTo>
                    <a:pt x="476" y="112"/>
                  </a:lnTo>
                  <a:lnTo>
                    <a:pt x="474" y="112"/>
                  </a:lnTo>
                  <a:lnTo>
                    <a:pt x="472" y="110"/>
                  </a:lnTo>
                  <a:lnTo>
                    <a:pt x="472" y="108"/>
                  </a:lnTo>
                  <a:lnTo>
                    <a:pt x="470" y="106"/>
                  </a:lnTo>
                  <a:lnTo>
                    <a:pt x="470" y="106"/>
                  </a:lnTo>
                  <a:lnTo>
                    <a:pt x="470" y="106"/>
                  </a:lnTo>
                  <a:lnTo>
                    <a:pt x="470" y="106"/>
                  </a:lnTo>
                  <a:lnTo>
                    <a:pt x="468" y="106"/>
                  </a:lnTo>
                  <a:lnTo>
                    <a:pt x="468" y="106"/>
                  </a:lnTo>
                  <a:lnTo>
                    <a:pt x="466" y="106"/>
                  </a:lnTo>
                  <a:lnTo>
                    <a:pt x="466" y="108"/>
                  </a:lnTo>
                  <a:lnTo>
                    <a:pt x="464" y="108"/>
                  </a:lnTo>
                  <a:lnTo>
                    <a:pt x="462" y="110"/>
                  </a:lnTo>
                  <a:lnTo>
                    <a:pt x="460" y="110"/>
                  </a:lnTo>
                  <a:lnTo>
                    <a:pt x="460" y="112"/>
                  </a:lnTo>
                  <a:lnTo>
                    <a:pt x="458" y="112"/>
                  </a:lnTo>
                  <a:lnTo>
                    <a:pt x="456" y="112"/>
                  </a:lnTo>
                  <a:lnTo>
                    <a:pt x="454" y="112"/>
                  </a:lnTo>
                  <a:lnTo>
                    <a:pt x="452" y="112"/>
                  </a:lnTo>
                  <a:lnTo>
                    <a:pt x="452" y="112"/>
                  </a:lnTo>
                  <a:lnTo>
                    <a:pt x="450" y="112"/>
                  </a:lnTo>
                  <a:lnTo>
                    <a:pt x="448" y="110"/>
                  </a:lnTo>
                  <a:lnTo>
                    <a:pt x="446" y="110"/>
                  </a:lnTo>
                  <a:lnTo>
                    <a:pt x="444" y="110"/>
                  </a:lnTo>
                  <a:lnTo>
                    <a:pt x="442" y="106"/>
                  </a:lnTo>
                  <a:lnTo>
                    <a:pt x="438" y="104"/>
                  </a:lnTo>
                  <a:lnTo>
                    <a:pt x="438" y="104"/>
                  </a:lnTo>
                  <a:lnTo>
                    <a:pt x="436" y="102"/>
                  </a:lnTo>
                  <a:lnTo>
                    <a:pt x="434" y="98"/>
                  </a:lnTo>
                  <a:lnTo>
                    <a:pt x="432" y="96"/>
                  </a:lnTo>
                  <a:lnTo>
                    <a:pt x="432" y="94"/>
                  </a:lnTo>
                  <a:lnTo>
                    <a:pt x="430" y="92"/>
                  </a:lnTo>
                  <a:lnTo>
                    <a:pt x="430" y="92"/>
                  </a:lnTo>
                  <a:lnTo>
                    <a:pt x="428" y="90"/>
                  </a:lnTo>
                  <a:lnTo>
                    <a:pt x="424" y="88"/>
                  </a:lnTo>
                  <a:lnTo>
                    <a:pt x="420" y="88"/>
                  </a:lnTo>
                  <a:lnTo>
                    <a:pt x="418" y="86"/>
                  </a:lnTo>
                  <a:lnTo>
                    <a:pt x="414" y="86"/>
                  </a:lnTo>
                  <a:lnTo>
                    <a:pt x="412" y="84"/>
                  </a:lnTo>
                  <a:lnTo>
                    <a:pt x="408" y="84"/>
                  </a:lnTo>
                  <a:lnTo>
                    <a:pt x="404" y="84"/>
                  </a:lnTo>
                  <a:lnTo>
                    <a:pt x="402" y="84"/>
                  </a:lnTo>
                  <a:lnTo>
                    <a:pt x="396" y="84"/>
                  </a:lnTo>
                  <a:lnTo>
                    <a:pt x="392" y="84"/>
                  </a:lnTo>
                  <a:lnTo>
                    <a:pt x="388" y="86"/>
                  </a:lnTo>
                  <a:lnTo>
                    <a:pt x="386" y="86"/>
                  </a:lnTo>
                  <a:lnTo>
                    <a:pt x="382" y="86"/>
                  </a:lnTo>
                  <a:lnTo>
                    <a:pt x="382" y="88"/>
                  </a:lnTo>
                  <a:lnTo>
                    <a:pt x="380" y="88"/>
                  </a:lnTo>
                  <a:lnTo>
                    <a:pt x="378" y="88"/>
                  </a:lnTo>
                  <a:lnTo>
                    <a:pt x="378" y="88"/>
                  </a:lnTo>
                  <a:lnTo>
                    <a:pt x="378" y="90"/>
                  </a:lnTo>
                  <a:lnTo>
                    <a:pt x="376" y="90"/>
                  </a:lnTo>
                  <a:lnTo>
                    <a:pt x="376" y="92"/>
                  </a:lnTo>
                  <a:lnTo>
                    <a:pt x="376" y="94"/>
                  </a:lnTo>
                  <a:lnTo>
                    <a:pt x="376" y="96"/>
                  </a:lnTo>
                  <a:lnTo>
                    <a:pt x="374" y="96"/>
                  </a:lnTo>
                  <a:lnTo>
                    <a:pt x="374" y="98"/>
                  </a:lnTo>
                  <a:lnTo>
                    <a:pt x="372" y="100"/>
                  </a:lnTo>
                  <a:lnTo>
                    <a:pt x="370" y="100"/>
                  </a:lnTo>
                  <a:lnTo>
                    <a:pt x="368" y="102"/>
                  </a:lnTo>
                  <a:lnTo>
                    <a:pt x="366" y="104"/>
                  </a:lnTo>
                  <a:lnTo>
                    <a:pt x="364" y="104"/>
                  </a:lnTo>
                  <a:lnTo>
                    <a:pt x="364" y="104"/>
                  </a:lnTo>
                  <a:lnTo>
                    <a:pt x="362" y="104"/>
                  </a:lnTo>
                  <a:lnTo>
                    <a:pt x="362" y="104"/>
                  </a:lnTo>
                  <a:lnTo>
                    <a:pt x="362" y="104"/>
                  </a:lnTo>
                  <a:lnTo>
                    <a:pt x="360" y="104"/>
                  </a:lnTo>
                  <a:lnTo>
                    <a:pt x="360" y="102"/>
                  </a:lnTo>
                  <a:lnTo>
                    <a:pt x="360" y="102"/>
                  </a:lnTo>
                  <a:lnTo>
                    <a:pt x="360" y="102"/>
                  </a:lnTo>
                  <a:lnTo>
                    <a:pt x="360" y="102"/>
                  </a:lnTo>
                  <a:lnTo>
                    <a:pt x="362" y="100"/>
                  </a:lnTo>
                  <a:lnTo>
                    <a:pt x="362" y="98"/>
                  </a:lnTo>
                  <a:lnTo>
                    <a:pt x="364" y="96"/>
                  </a:lnTo>
                  <a:lnTo>
                    <a:pt x="366" y="94"/>
                  </a:lnTo>
                  <a:lnTo>
                    <a:pt x="366" y="92"/>
                  </a:lnTo>
                  <a:lnTo>
                    <a:pt x="368" y="92"/>
                  </a:lnTo>
                  <a:lnTo>
                    <a:pt x="368" y="90"/>
                  </a:lnTo>
                  <a:lnTo>
                    <a:pt x="370" y="86"/>
                  </a:lnTo>
                  <a:lnTo>
                    <a:pt x="372" y="86"/>
                  </a:lnTo>
                  <a:lnTo>
                    <a:pt x="374" y="84"/>
                  </a:lnTo>
                  <a:lnTo>
                    <a:pt x="374" y="82"/>
                  </a:lnTo>
                  <a:lnTo>
                    <a:pt x="374" y="82"/>
                  </a:lnTo>
                  <a:lnTo>
                    <a:pt x="374" y="82"/>
                  </a:lnTo>
                  <a:lnTo>
                    <a:pt x="374" y="80"/>
                  </a:lnTo>
                  <a:lnTo>
                    <a:pt x="374" y="80"/>
                  </a:lnTo>
                  <a:lnTo>
                    <a:pt x="372" y="78"/>
                  </a:lnTo>
                  <a:lnTo>
                    <a:pt x="372" y="78"/>
                  </a:lnTo>
                  <a:lnTo>
                    <a:pt x="370" y="78"/>
                  </a:lnTo>
                  <a:lnTo>
                    <a:pt x="368" y="76"/>
                  </a:lnTo>
                  <a:lnTo>
                    <a:pt x="368" y="76"/>
                  </a:lnTo>
                  <a:lnTo>
                    <a:pt x="366" y="76"/>
                  </a:lnTo>
                  <a:lnTo>
                    <a:pt x="364" y="74"/>
                  </a:lnTo>
                  <a:lnTo>
                    <a:pt x="362" y="74"/>
                  </a:lnTo>
                  <a:lnTo>
                    <a:pt x="360" y="74"/>
                  </a:lnTo>
                  <a:lnTo>
                    <a:pt x="356" y="74"/>
                  </a:lnTo>
                  <a:lnTo>
                    <a:pt x="356" y="74"/>
                  </a:lnTo>
                  <a:lnTo>
                    <a:pt x="354" y="76"/>
                  </a:lnTo>
                  <a:lnTo>
                    <a:pt x="354" y="76"/>
                  </a:lnTo>
                  <a:lnTo>
                    <a:pt x="352" y="76"/>
                  </a:lnTo>
                  <a:lnTo>
                    <a:pt x="350" y="78"/>
                  </a:lnTo>
                  <a:lnTo>
                    <a:pt x="348" y="80"/>
                  </a:lnTo>
                  <a:lnTo>
                    <a:pt x="346" y="82"/>
                  </a:lnTo>
                  <a:lnTo>
                    <a:pt x="344" y="84"/>
                  </a:lnTo>
                  <a:lnTo>
                    <a:pt x="340" y="88"/>
                  </a:lnTo>
                  <a:lnTo>
                    <a:pt x="336" y="92"/>
                  </a:lnTo>
                  <a:lnTo>
                    <a:pt x="336" y="94"/>
                  </a:lnTo>
                  <a:lnTo>
                    <a:pt x="334" y="96"/>
                  </a:lnTo>
                  <a:lnTo>
                    <a:pt x="332" y="98"/>
                  </a:lnTo>
                  <a:lnTo>
                    <a:pt x="330" y="100"/>
                  </a:lnTo>
                  <a:lnTo>
                    <a:pt x="330" y="100"/>
                  </a:lnTo>
                  <a:lnTo>
                    <a:pt x="328" y="102"/>
                  </a:lnTo>
                  <a:lnTo>
                    <a:pt x="326" y="104"/>
                  </a:lnTo>
                  <a:lnTo>
                    <a:pt x="326" y="104"/>
                  </a:lnTo>
                  <a:lnTo>
                    <a:pt x="324" y="106"/>
                  </a:lnTo>
                  <a:lnTo>
                    <a:pt x="322" y="106"/>
                  </a:lnTo>
                  <a:lnTo>
                    <a:pt x="322" y="106"/>
                  </a:lnTo>
                  <a:lnTo>
                    <a:pt x="322" y="106"/>
                  </a:lnTo>
                  <a:lnTo>
                    <a:pt x="320" y="106"/>
                  </a:lnTo>
                  <a:lnTo>
                    <a:pt x="320" y="106"/>
                  </a:lnTo>
                  <a:lnTo>
                    <a:pt x="320" y="104"/>
                  </a:lnTo>
                  <a:lnTo>
                    <a:pt x="320" y="104"/>
                  </a:lnTo>
                  <a:lnTo>
                    <a:pt x="320" y="104"/>
                  </a:lnTo>
                  <a:lnTo>
                    <a:pt x="320" y="104"/>
                  </a:lnTo>
                  <a:lnTo>
                    <a:pt x="320" y="102"/>
                  </a:lnTo>
                  <a:lnTo>
                    <a:pt x="320" y="100"/>
                  </a:lnTo>
                  <a:lnTo>
                    <a:pt x="320" y="98"/>
                  </a:lnTo>
                  <a:lnTo>
                    <a:pt x="322" y="98"/>
                  </a:lnTo>
                  <a:lnTo>
                    <a:pt x="322" y="96"/>
                  </a:lnTo>
                  <a:lnTo>
                    <a:pt x="324" y="94"/>
                  </a:lnTo>
                  <a:lnTo>
                    <a:pt x="326" y="90"/>
                  </a:lnTo>
                  <a:lnTo>
                    <a:pt x="330" y="88"/>
                  </a:lnTo>
                  <a:lnTo>
                    <a:pt x="332" y="84"/>
                  </a:lnTo>
                  <a:lnTo>
                    <a:pt x="334" y="82"/>
                  </a:lnTo>
                  <a:lnTo>
                    <a:pt x="336" y="80"/>
                  </a:lnTo>
                  <a:lnTo>
                    <a:pt x="338" y="76"/>
                  </a:lnTo>
                  <a:lnTo>
                    <a:pt x="340" y="74"/>
                  </a:lnTo>
                  <a:lnTo>
                    <a:pt x="342" y="72"/>
                  </a:lnTo>
                  <a:lnTo>
                    <a:pt x="344" y="68"/>
                  </a:lnTo>
                  <a:lnTo>
                    <a:pt x="346" y="64"/>
                  </a:lnTo>
                  <a:lnTo>
                    <a:pt x="346" y="60"/>
                  </a:lnTo>
                  <a:lnTo>
                    <a:pt x="348" y="58"/>
                  </a:lnTo>
                  <a:lnTo>
                    <a:pt x="350" y="56"/>
                  </a:lnTo>
                  <a:lnTo>
                    <a:pt x="350" y="54"/>
                  </a:lnTo>
                  <a:lnTo>
                    <a:pt x="352" y="52"/>
                  </a:lnTo>
                  <a:lnTo>
                    <a:pt x="352" y="50"/>
                  </a:lnTo>
                  <a:lnTo>
                    <a:pt x="352" y="50"/>
                  </a:lnTo>
                  <a:lnTo>
                    <a:pt x="352" y="48"/>
                  </a:lnTo>
                  <a:lnTo>
                    <a:pt x="352" y="48"/>
                  </a:lnTo>
                  <a:lnTo>
                    <a:pt x="352" y="46"/>
                  </a:lnTo>
                  <a:lnTo>
                    <a:pt x="352" y="44"/>
                  </a:lnTo>
                  <a:lnTo>
                    <a:pt x="350" y="40"/>
                  </a:lnTo>
                  <a:lnTo>
                    <a:pt x="348" y="36"/>
                  </a:lnTo>
                  <a:lnTo>
                    <a:pt x="346" y="32"/>
                  </a:lnTo>
                  <a:lnTo>
                    <a:pt x="344" y="30"/>
                  </a:lnTo>
                  <a:lnTo>
                    <a:pt x="342" y="26"/>
                  </a:lnTo>
                  <a:lnTo>
                    <a:pt x="340" y="24"/>
                  </a:lnTo>
                  <a:lnTo>
                    <a:pt x="340" y="22"/>
                  </a:lnTo>
                  <a:lnTo>
                    <a:pt x="338" y="22"/>
                  </a:lnTo>
                  <a:lnTo>
                    <a:pt x="336" y="20"/>
                  </a:lnTo>
                  <a:lnTo>
                    <a:pt x="332" y="16"/>
                  </a:lnTo>
                  <a:lnTo>
                    <a:pt x="332" y="16"/>
                  </a:lnTo>
                  <a:lnTo>
                    <a:pt x="328" y="16"/>
                  </a:lnTo>
                  <a:lnTo>
                    <a:pt x="326" y="14"/>
                  </a:lnTo>
                  <a:lnTo>
                    <a:pt x="324" y="14"/>
                  </a:lnTo>
                  <a:lnTo>
                    <a:pt x="322" y="14"/>
                  </a:lnTo>
                  <a:lnTo>
                    <a:pt x="322" y="16"/>
                  </a:lnTo>
                  <a:lnTo>
                    <a:pt x="320" y="16"/>
                  </a:lnTo>
                  <a:lnTo>
                    <a:pt x="320" y="16"/>
                  </a:lnTo>
                  <a:lnTo>
                    <a:pt x="318" y="18"/>
                  </a:lnTo>
                  <a:lnTo>
                    <a:pt x="316" y="18"/>
                  </a:lnTo>
                  <a:lnTo>
                    <a:pt x="314" y="22"/>
                  </a:lnTo>
                  <a:lnTo>
                    <a:pt x="314" y="24"/>
                  </a:lnTo>
                  <a:lnTo>
                    <a:pt x="312" y="26"/>
                  </a:lnTo>
                  <a:lnTo>
                    <a:pt x="310" y="28"/>
                  </a:lnTo>
                  <a:lnTo>
                    <a:pt x="308" y="32"/>
                  </a:lnTo>
                  <a:lnTo>
                    <a:pt x="308" y="34"/>
                  </a:lnTo>
                  <a:lnTo>
                    <a:pt x="306" y="36"/>
                  </a:lnTo>
                  <a:lnTo>
                    <a:pt x="306" y="38"/>
                  </a:lnTo>
                  <a:lnTo>
                    <a:pt x="306" y="38"/>
                  </a:lnTo>
                  <a:lnTo>
                    <a:pt x="304" y="40"/>
                  </a:lnTo>
                  <a:lnTo>
                    <a:pt x="304" y="40"/>
                  </a:lnTo>
                  <a:lnTo>
                    <a:pt x="304" y="40"/>
                  </a:lnTo>
                  <a:lnTo>
                    <a:pt x="302" y="40"/>
                  </a:lnTo>
                  <a:lnTo>
                    <a:pt x="302" y="42"/>
                  </a:lnTo>
                  <a:lnTo>
                    <a:pt x="300" y="42"/>
                  </a:lnTo>
                  <a:lnTo>
                    <a:pt x="296" y="42"/>
                  </a:lnTo>
                  <a:lnTo>
                    <a:pt x="294" y="40"/>
                  </a:lnTo>
                  <a:lnTo>
                    <a:pt x="292" y="40"/>
                  </a:lnTo>
                  <a:lnTo>
                    <a:pt x="292" y="40"/>
                  </a:lnTo>
                  <a:lnTo>
                    <a:pt x="290" y="40"/>
                  </a:lnTo>
                  <a:lnTo>
                    <a:pt x="288" y="38"/>
                  </a:lnTo>
                  <a:lnTo>
                    <a:pt x="288" y="38"/>
                  </a:lnTo>
                  <a:lnTo>
                    <a:pt x="286" y="36"/>
                  </a:lnTo>
                  <a:lnTo>
                    <a:pt x="284" y="34"/>
                  </a:lnTo>
                  <a:lnTo>
                    <a:pt x="284" y="32"/>
                  </a:lnTo>
                  <a:lnTo>
                    <a:pt x="280" y="32"/>
                  </a:lnTo>
                  <a:lnTo>
                    <a:pt x="278" y="32"/>
                  </a:lnTo>
                  <a:lnTo>
                    <a:pt x="274" y="32"/>
                  </a:lnTo>
                  <a:lnTo>
                    <a:pt x="270" y="32"/>
                  </a:lnTo>
                  <a:lnTo>
                    <a:pt x="268" y="32"/>
                  </a:lnTo>
                  <a:lnTo>
                    <a:pt x="266" y="32"/>
                  </a:lnTo>
                  <a:lnTo>
                    <a:pt x="266" y="32"/>
                  </a:lnTo>
                  <a:lnTo>
                    <a:pt x="264" y="32"/>
                  </a:lnTo>
                  <a:lnTo>
                    <a:pt x="262" y="32"/>
                  </a:lnTo>
                  <a:lnTo>
                    <a:pt x="262" y="34"/>
                  </a:lnTo>
                  <a:lnTo>
                    <a:pt x="262" y="34"/>
                  </a:lnTo>
                  <a:lnTo>
                    <a:pt x="262" y="34"/>
                  </a:lnTo>
                  <a:lnTo>
                    <a:pt x="262" y="36"/>
                  </a:lnTo>
                  <a:lnTo>
                    <a:pt x="262" y="36"/>
                  </a:lnTo>
                  <a:lnTo>
                    <a:pt x="262" y="38"/>
                  </a:lnTo>
                  <a:lnTo>
                    <a:pt x="262" y="40"/>
                  </a:lnTo>
                  <a:lnTo>
                    <a:pt x="262" y="42"/>
                  </a:lnTo>
                  <a:lnTo>
                    <a:pt x="262" y="44"/>
                  </a:lnTo>
                  <a:lnTo>
                    <a:pt x="262" y="44"/>
                  </a:lnTo>
                  <a:lnTo>
                    <a:pt x="262" y="46"/>
                  </a:lnTo>
                  <a:lnTo>
                    <a:pt x="262" y="46"/>
                  </a:lnTo>
                  <a:lnTo>
                    <a:pt x="262" y="46"/>
                  </a:lnTo>
                  <a:lnTo>
                    <a:pt x="260" y="48"/>
                  </a:lnTo>
                  <a:lnTo>
                    <a:pt x="260" y="48"/>
                  </a:lnTo>
                  <a:lnTo>
                    <a:pt x="258" y="48"/>
                  </a:lnTo>
                  <a:lnTo>
                    <a:pt x="258" y="48"/>
                  </a:lnTo>
                  <a:lnTo>
                    <a:pt x="254" y="48"/>
                  </a:lnTo>
                  <a:lnTo>
                    <a:pt x="252" y="48"/>
                  </a:lnTo>
                  <a:lnTo>
                    <a:pt x="248" y="48"/>
                  </a:lnTo>
                  <a:lnTo>
                    <a:pt x="246" y="48"/>
                  </a:lnTo>
                  <a:lnTo>
                    <a:pt x="244" y="48"/>
                  </a:lnTo>
                  <a:lnTo>
                    <a:pt x="242" y="48"/>
                  </a:lnTo>
                  <a:lnTo>
                    <a:pt x="238" y="48"/>
                  </a:lnTo>
                  <a:lnTo>
                    <a:pt x="236" y="48"/>
                  </a:lnTo>
                  <a:lnTo>
                    <a:pt x="234" y="48"/>
                  </a:lnTo>
                  <a:lnTo>
                    <a:pt x="232" y="48"/>
                  </a:lnTo>
                  <a:lnTo>
                    <a:pt x="232" y="48"/>
                  </a:lnTo>
                  <a:lnTo>
                    <a:pt x="232" y="48"/>
                  </a:lnTo>
                  <a:lnTo>
                    <a:pt x="232" y="48"/>
                  </a:lnTo>
                  <a:lnTo>
                    <a:pt x="230" y="50"/>
                  </a:lnTo>
                  <a:lnTo>
                    <a:pt x="230" y="52"/>
                  </a:lnTo>
                  <a:lnTo>
                    <a:pt x="230" y="54"/>
                  </a:lnTo>
                  <a:lnTo>
                    <a:pt x="228" y="54"/>
                  </a:lnTo>
                  <a:lnTo>
                    <a:pt x="228" y="54"/>
                  </a:lnTo>
                  <a:lnTo>
                    <a:pt x="226" y="54"/>
                  </a:lnTo>
                  <a:lnTo>
                    <a:pt x="226" y="54"/>
                  </a:lnTo>
                  <a:lnTo>
                    <a:pt x="224" y="56"/>
                  </a:lnTo>
                  <a:lnTo>
                    <a:pt x="224" y="56"/>
                  </a:lnTo>
                  <a:lnTo>
                    <a:pt x="222" y="56"/>
                  </a:lnTo>
                  <a:lnTo>
                    <a:pt x="220" y="56"/>
                  </a:lnTo>
                  <a:lnTo>
                    <a:pt x="218" y="56"/>
                  </a:lnTo>
                  <a:lnTo>
                    <a:pt x="218" y="54"/>
                  </a:lnTo>
                  <a:lnTo>
                    <a:pt x="216" y="54"/>
                  </a:lnTo>
                  <a:lnTo>
                    <a:pt x="216" y="54"/>
                  </a:lnTo>
                  <a:lnTo>
                    <a:pt x="214" y="52"/>
                  </a:lnTo>
                  <a:lnTo>
                    <a:pt x="214" y="52"/>
                  </a:lnTo>
                  <a:lnTo>
                    <a:pt x="212" y="48"/>
                  </a:lnTo>
                  <a:lnTo>
                    <a:pt x="210" y="46"/>
                  </a:lnTo>
                  <a:lnTo>
                    <a:pt x="208" y="44"/>
                  </a:lnTo>
                  <a:lnTo>
                    <a:pt x="206" y="40"/>
                  </a:lnTo>
                  <a:lnTo>
                    <a:pt x="206" y="38"/>
                  </a:lnTo>
                  <a:lnTo>
                    <a:pt x="204" y="36"/>
                  </a:lnTo>
                  <a:lnTo>
                    <a:pt x="204" y="34"/>
                  </a:lnTo>
                  <a:lnTo>
                    <a:pt x="204" y="32"/>
                  </a:lnTo>
                  <a:lnTo>
                    <a:pt x="204" y="32"/>
                  </a:lnTo>
                  <a:lnTo>
                    <a:pt x="204" y="30"/>
                  </a:lnTo>
                  <a:lnTo>
                    <a:pt x="206" y="28"/>
                  </a:lnTo>
                  <a:lnTo>
                    <a:pt x="206" y="26"/>
                  </a:lnTo>
                  <a:lnTo>
                    <a:pt x="208" y="24"/>
                  </a:lnTo>
                  <a:lnTo>
                    <a:pt x="208" y="22"/>
                  </a:lnTo>
                  <a:lnTo>
                    <a:pt x="208" y="20"/>
                  </a:lnTo>
                  <a:lnTo>
                    <a:pt x="208" y="16"/>
                  </a:lnTo>
                  <a:lnTo>
                    <a:pt x="208" y="14"/>
                  </a:lnTo>
                  <a:lnTo>
                    <a:pt x="208" y="12"/>
                  </a:lnTo>
                  <a:lnTo>
                    <a:pt x="208" y="10"/>
                  </a:lnTo>
                  <a:lnTo>
                    <a:pt x="206" y="8"/>
                  </a:lnTo>
                  <a:lnTo>
                    <a:pt x="206" y="6"/>
                  </a:lnTo>
                  <a:lnTo>
                    <a:pt x="206" y="6"/>
                  </a:lnTo>
                  <a:lnTo>
                    <a:pt x="206" y="4"/>
                  </a:lnTo>
                  <a:lnTo>
                    <a:pt x="204" y="4"/>
                  </a:lnTo>
                  <a:lnTo>
                    <a:pt x="204" y="4"/>
                  </a:lnTo>
                  <a:lnTo>
                    <a:pt x="202" y="2"/>
                  </a:lnTo>
                  <a:lnTo>
                    <a:pt x="200" y="2"/>
                  </a:lnTo>
                  <a:lnTo>
                    <a:pt x="198" y="2"/>
                  </a:lnTo>
                  <a:lnTo>
                    <a:pt x="194" y="0"/>
                  </a:lnTo>
                  <a:lnTo>
                    <a:pt x="194" y="0"/>
                  </a:lnTo>
                  <a:lnTo>
                    <a:pt x="192" y="2"/>
                  </a:lnTo>
                  <a:lnTo>
                    <a:pt x="192" y="4"/>
                  </a:lnTo>
                  <a:lnTo>
                    <a:pt x="192" y="6"/>
                  </a:lnTo>
                  <a:lnTo>
                    <a:pt x="190" y="8"/>
                  </a:lnTo>
                  <a:lnTo>
                    <a:pt x="190" y="10"/>
                  </a:lnTo>
                  <a:lnTo>
                    <a:pt x="190" y="10"/>
                  </a:lnTo>
                  <a:lnTo>
                    <a:pt x="188" y="10"/>
                  </a:lnTo>
                  <a:lnTo>
                    <a:pt x="188" y="10"/>
                  </a:lnTo>
                  <a:lnTo>
                    <a:pt x="186" y="12"/>
                  </a:lnTo>
                  <a:lnTo>
                    <a:pt x="186" y="12"/>
                  </a:lnTo>
                  <a:lnTo>
                    <a:pt x="184" y="12"/>
                  </a:lnTo>
                  <a:lnTo>
                    <a:pt x="180" y="12"/>
                  </a:lnTo>
                  <a:lnTo>
                    <a:pt x="176" y="12"/>
                  </a:lnTo>
                  <a:lnTo>
                    <a:pt x="174" y="10"/>
                  </a:lnTo>
                  <a:lnTo>
                    <a:pt x="170" y="10"/>
                  </a:lnTo>
                  <a:lnTo>
                    <a:pt x="168" y="10"/>
                  </a:lnTo>
                  <a:lnTo>
                    <a:pt x="166" y="10"/>
                  </a:lnTo>
                  <a:lnTo>
                    <a:pt x="164" y="12"/>
                  </a:lnTo>
                  <a:lnTo>
                    <a:pt x="164" y="12"/>
                  </a:lnTo>
                  <a:lnTo>
                    <a:pt x="162" y="12"/>
                  </a:lnTo>
                  <a:lnTo>
                    <a:pt x="162" y="12"/>
                  </a:lnTo>
                  <a:lnTo>
                    <a:pt x="160" y="14"/>
                  </a:lnTo>
                  <a:lnTo>
                    <a:pt x="158" y="16"/>
                  </a:lnTo>
                  <a:lnTo>
                    <a:pt x="158" y="16"/>
                  </a:lnTo>
                  <a:lnTo>
                    <a:pt x="156" y="16"/>
                  </a:lnTo>
                  <a:lnTo>
                    <a:pt x="156" y="18"/>
                  </a:lnTo>
                  <a:lnTo>
                    <a:pt x="156" y="18"/>
                  </a:lnTo>
                  <a:lnTo>
                    <a:pt x="154" y="16"/>
                  </a:lnTo>
                  <a:lnTo>
                    <a:pt x="154" y="16"/>
                  </a:lnTo>
                  <a:lnTo>
                    <a:pt x="154" y="16"/>
                  </a:lnTo>
                  <a:lnTo>
                    <a:pt x="152" y="16"/>
                  </a:lnTo>
                  <a:lnTo>
                    <a:pt x="150" y="14"/>
                  </a:lnTo>
                  <a:lnTo>
                    <a:pt x="150" y="12"/>
                  </a:lnTo>
                  <a:lnTo>
                    <a:pt x="148" y="10"/>
                  </a:lnTo>
                  <a:lnTo>
                    <a:pt x="146" y="8"/>
                  </a:lnTo>
                  <a:lnTo>
                    <a:pt x="146" y="8"/>
                  </a:lnTo>
                  <a:lnTo>
                    <a:pt x="144" y="6"/>
                  </a:lnTo>
                  <a:lnTo>
                    <a:pt x="144" y="6"/>
                  </a:lnTo>
                  <a:lnTo>
                    <a:pt x="142" y="6"/>
                  </a:lnTo>
                  <a:lnTo>
                    <a:pt x="142" y="6"/>
                  </a:lnTo>
                  <a:lnTo>
                    <a:pt x="142" y="6"/>
                  </a:lnTo>
                  <a:lnTo>
                    <a:pt x="140" y="6"/>
                  </a:lnTo>
                  <a:lnTo>
                    <a:pt x="138" y="8"/>
                  </a:lnTo>
                  <a:lnTo>
                    <a:pt x="138" y="8"/>
                  </a:lnTo>
                  <a:lnTo>
                    <a:pt x="136" y="8"/>
                  </a:lnTo>
                  <a:lnTo>
                    <a:pt x="136" y="10"/>
                  </a:lnTo>
                  <a:lnTo>
                    <a:pt x="136" y="10"/>
                  </a:lnTo>
                  <a:lnTo>
                    <a:pt x="134" y="12"/>
                  </a:lnTo>
                  <a:lnTo>
                    <a:pt x="134" y="14"/>
                  </a:lnTo>
                  <a:lnTo>
                    <a:pt x="134" y="18"/>
                  </a:lnTo>
                  <a:lnTo>
                    <a:pt x="134" y="22"/>
                  </a:lnTo>
                  <a:lnTo>
                    <a:pt x="134" y="24"/>
                  </a:lnTo>
                  <a:lnTo>
                    <a:pt x="134" y="26"/>
                  </a:lnTo>
                  <a:lnTo>
                    <a:pt x="134" y="28"/>
                  </a:lnTo>
                  <a:lnTo>
                    <a:pt x="134" y="30"/>
                  </a:lnTo>
                  <a:lnTo>
                    <a:pt x="136" y="30"/>
                  </a:lnTo>
                  <a:lnTo>
                    <a:pt x="136" y="30"/>
                  </a:lnTo>
                  <a:lnTo>
                    <a:pt x="136" y="32"/>
                  </a:lnTo>
                  <a:lnTo>
                    <a:pt x="138" y="32"/>
                  </a:lnTo>
                  <a:lnTo>
                    <a:pt x="138" y="32"/>
                  </a:lnTo>
                  <a:lnTo>
                    <a:pt x="140" y="34"/>
                  </a:lnTo>
                  <a:lnTo>
                    <a:pt x="142" y="34"/>
                  </a:lnTo>
                  <a:lnTo>
                    <a:pt x="144" y="34"/>
                  </a:lnTo>
                  <a:lnTo>
                    <a:pt x="144" y="36"/>
                  </a:lnTo>
                  <a:lnTo>
                    <a:pt x="146" y="36"/>
                  </a:lnTo>
                  <a:lnTo>
                    <a:pt x="146" y="36"/>
                  </a:lnTo>
                  <a:lnTo>
                    <a:pt x="146" y="38"/>
                  </a:lnTo>
                  <a:lnTo>
                    <a:pt x="146" y="38"/>
                  </a:lnTo>
                  <a:lnTo>
                    <a:pt x="146" y="40"/>
                  </a:lnTo>
                  <a:lnTo>
                    <a:pt x="146" y="42"/>
                  </a:lnTo>
                  <a:lnTo>
                    <a:pt x="146" y="44"/>
                  </a:lnTo>
                  <a:lnTo>
                    <a:pt x="146" y="44"/>
                  </a:lnTo>
                  <a:lnTo>
                    <a:pt x="146" y="46"/>
                  </a:lnTo>
                  <a:lnTo>
                    <a:pt x="146" y="48"/>
                  </a:lnTo>
                  <a:lnTo>
                    <a:pt x="146" y="48"/>
                  </a:lnTo>
                  <a:lnTo>
                    <a:pt x="144" y="50"/>
                  </a:lnTo>
                  <a:lnTo>
                    <a:pt x="142" y="52"/>
                  </a:lnTo>
                  <a:lnTo>
                    <a:pt x="140" y="54"/>
                  </a:lnTo>
                  <a:lnTo>
                    <a:pt x="138" y="54"/>
                  </a:lnTo>
                  <a:lnTo>
                    <a:pt x="136" y="56"/>
                  </a:lnTo>
                  <a:lnTo>
                    <a:pt x="134" y="56"/>
                  </a:lnTo>
                  <a:lnTo>
                    <a:pt x="134" y="58"/>
                  </a:lnTo>
                  <a:lnTo>
                    <a:pt x="132" y="58"/>
                  </a:lnTo>
                  <a:lnTo>
                    <a:pt x="130" y="58"/>
                  </a:lnTo>
                  <a:lnTo>
                    <a:pt x="128" y="58"/>
                  </a:lnTo>
                  <a:lnTo>
                    <a:pt x="126" y="60"/>
                  </a:lnTo>
                  <a:lnTo>
                    <a:pt x="124" y="60"/>
                  </a:lnTo>
                  <a:lnTo>
                    <a:pt x="122" y="60"/>
                  </a:lnTo>
                  <a:lnTo>
                    <a:pt x="120" y="60"/>
                  </a:lnTo>
                  <a:lnTo>
                    <a:pt x="118" y="60"/>
                  </a:lnTo>
                  <a:lnTo>
                    <a:pt x="118" y="60"/>
                  </a:lnTo>
                  <a:lnTo>
                    <a:pt x="116" y="58"/>
                  </a:lnTo>
                  <a:lnTo>
                    <a:pt x="112" y="58"/>
                  </a:lnTo>
                  <a:lnTo>
                    <a:pt x="110" y="56"/>
                  </a:lnTo>
                  <a:lnTo>
                    <a:pt x="108" y="54"/>
                  </a:lnTo>
                  <a:lnTo>
                    <a:pt x="108" y="54"/>
                  </a:lnTo>
                  <a:lnTo>
                    <a:pt x="106" y="52"/>
                  </a:lnTo>
                  <a:lnTo>
                    <a:pt x="106" y="52"/>
                  </a:lnTo>
                  <a:lnTo>
                    <a:pt x="104" y="48"/>
                  </a:lnTo>
                  <a:lnTo>
                    <a:pt x="102" y="46"/>
                  </a:lnTo>
                  <a:lnTo>
                    <a:pt x="100" y="44"/>
                  </a:lnTo>
                  <a:lnTo>
                    <a:pt x="100" y="44"/>
                  </a:lnTo>
                  <a:lnTo>
                    <a:pt x="98" y="42"/>
                  </a:lnTo>
                  <a:lnTo>
                    <a:pt x="98" y="42"/>
                  </a:lnTo>
                  <a:lnTo>
                    <a:pt x="94" y="42"/>
                  </a:lnTo>
                  <a:lnTo>
                    <a:pt x="90" y="4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0" name="Freeform 468"/>
            <p:cNvSpPr>
              <a:spLocks/>
            </p:cNvSpPr>
            <p:nvPr/>
          </p:nvSpPr>
          <p:spPr bwMode="auto">
            <a:xfrm>
              <a:off x="2429748" y="4535358"/>
              <a:ext cx="1001139" cy="1118920"/>
            </a:xfrm>
            <a:custGeom>
              <a:avLst/>
              <a:gdLst>
                <a:gd name="T0" fmla="*/ 64 w 578"/>
                <a:gd name="T1" fmla="*/ 62 h 646"/>
                <a:gd name="T2" fmla="*/ 62 w 578"/>
                <a:gd name="T3" fmla="*/ 94 h 646"/>
                <a:gd name="T4" fmla="*/ 56 w 578"/>
                <a:gd name="T5" fmla="*/ 128 h 646"/>
                <a:gd name="T6" fmla="*/ 38 w 578"/>
                <a:gd name="T7" fmla="*/ 152 h 646"/>
                <a:gd name="T8" fmla="*/ 16 w 578"/>
                <a:gd name="T9" fmla="*/ 172 h 646"/>
                <a:gd name="T10" fmla="*/ 0 w 578"/>
                <a:gd name="T11" fmla="*/ 198 h 646"/>
                <a:gd name="T12" fmla="*/ 18 w 578"/>
                <a:gd name="T13" fmla="*/ 232 h 646"/>
                <a:gd name="T14" fmla="*/ 38 w 578"/>
                <a:gd name="T15" fmla="*/ 244 h 646"/>
                <a:gd name="T16" fmla="*/ 58 w 578"/>
                <a:gd name="T17" fmla="*/ 252 h 646"/>
                <a:gd name="T18" fmla="*/ 96 w 578"/>
                <a:gd name="T19" fmla="*/ 254 h 646"/>
                <a:gd name="T20" fmla="*/ 110 w 578"/>
                <a:gd name="T21" fmla="*/ 240 h 646"/>
                <a:gd name="T22" fmla="*/ 132 w 578"/>
                <a:gd name="T23" fmla="*/ 262 h 646"/>
                <a:gd name="T24" fmla="*/ 162 w 578"/>
                <a:gd name="T25" fmla="*/ 286 h 646"/>
                <a:gd name="T26" fmla="*/ 176 w 578"/>
                <a:gd name="T27" fmla="*/ 300 h 646"/>
                <a:gd name="T28" fmla="*/ 200 w 578"/>
                <a:gd name="T29" fmla="*/ 316 h 646"/>
                <a:gd name="T30" fmla="*/ 202 w 578"/>
                <a:gd name="T31" fmla="*/ 326 h 646"/>
                <a:gd name="T32" fmla="*/ 214 w 578"/>
                <a:gd name="T33" fmla="*/ 354 h 646"/>
                <a:gd name="T34" fmla="*/ 236 w 578"/>
                <a:gd name="T35" fmla="*/ 364 h 646"/>
                <a:gd name="T36" fmla="*/ 248 w 578"/>
                <a:gd name="T37" fmla="*/ 382 h 646"/>
                <a:gd name="T38" fmla="*/ 234 w 578"/>
                <a:gd name="T39" fmla="*/ 420 h 646"/>
                <a:gd name="T40" fmla="*/ 248 w 578"/>
                <a:gd name="T41" fmla="*/ 438 h 646"/>
                <a:gd name="T42" fmla="*/ 282 w 578"/>
                <a:gd name="T43" fmla="*/ 450 h 646"/>
                <a:gd name="T44" fmla="*/ 294 w 578"/>
                <a:gd name="T45" fmla="*/ 468 h 646"/>
                <a:gd name="T46" fmla="*/ 302 w 578"/>
                <a:gd name="T47" fmla="*/ 512 h 646"/>
                <a:gd name="T48" fmla="*/ 314 w 578"/>
                <a:gd name="T49" fmla="*/ 532 h 646"/>
                <a:gd name="T50" fmla="*/ 294 w 578"/>
                <a:gd name="T51" fmla="*/ 550 h 646"/>
                <a:gd name="T52" fmla="*/ 278 w 578"/>
                <a:gd name="T53" fmla="*/ 592 h 646"/>
                <a:gd name="T54" fmla="*/ 332 w 578"/>
                <a:gd name="T55" fmla="*/ 640 h 646"/>
                <a:gd name="T56" fmla="*/ 338 w 578"/>
                <a:gd name="T57" fmla="*/ 588 h 646"/>
                <a:gd name="T58" fmla="*/ 342 w 578"/>
                <a:gd name="T59" fmla="*/ 606 h 646"/>
                <a:gd name="T60" fmla="*/ 358 w 578"/>
                <a:gd name="T61" fmla="*/ 590 h 646"/>
                <a:gd name="T62" fmla="*/ 368 w 578"/>
                <a:gd name="T63" fmla="*/ 562 h 646"/>
                <a:gd name="T64" fmla="*/ 388 w 578"/>
                <a:gd name="T65" fmla="*/ 502 h 646"/>
                <a:gd name="T66" fmla="*/ 408 w 578"/>
                <a:gd name="T67" fmla="*/ 478 h 646"/>
                <a:gd name="T68" fmla="*/ 464 w 578"/>
                <a:gd name="T69" fmla="*/ 454 h 646"/>
                <a:gd name="T70" fmla="*/ 490 w 578"/>
                <a:gd name="T71" fmla="*/ 434 h 646"/>
                <a:gd name="T72" fmla="*/ 504 w 578"/>
                <a:gd name="T73" fmla="*/ 372 h 646"/>
                <a:gd name="T74" fmla="*/ 512 w 578"/>
                <a:gd name="T75" fmla="*/ 304 h 646"/>
                <a:gd name="T76" fmla="*/ 530 w 578"/>
                <a:gd name="T77" fmla="*/ 276 h 646"/>
                <a:gd name="T78" fmla="*/ 542 w 578"/>
                <a:gd name="T79" fmla="*/ 248 h 646"/>
                <a:gd name="T80" fmla="*/ 562 w 578"/>
                <a:gd name="T81" fmla="*/ 230 h 646"/>
                <a:gd name="T82" fmla="*/ 568 w 578"/>
                <a:gd name="T83" fmla="*/ 208 h 646"/>
                <a:gd name="T84" fmla="*/ 576 w 578"/>
                <a:gd name="T85" fmla="*/ 186 h 646"/>
                <a:gd name="T86" fmla="*/ 564 w 578"/>
                <a:gd name="T87" fmla="*/ 158 h 646"/>
                <a:gd name="T88" fmla="*/ 532 w 578"/>
                <a:gd name="T89" fmla="*/ 132 h 646"/>
                <a:gd name="T90" fmla="*/ 512 w 578"/>
                <a:gd name="T91" fmla="*/ 118 h 646"/>
                <a:gd name="T92" fmla="*/ 470 w 578"/>
                <a:gd name="T93" fmla="*/ 106 h 646"/>
                <a:gd name="T94" fmla="*/ 432 w 578"/>
                <a:gd name="T95" fmla="*/ 96 h 646"/>
                <a:gd name="T96" fmla="*/ 376 w 578"/>
                <a:gd name="T97" fmla="*/ 90 h 646"/>
                <a:gd name="T98" fmla="*/ 366 w 578"/>
                <a:gd name="T99" fmla="*/ 94 h 646"/>
                <a:gd name="T100" fmla="*/ 354 w 578"/>
                <a:gd name="T101" fmla="*/ 76 h 646"/>
                <a:gd name="T102" fmla="*/ 320 w 578"/>
                <a:gd name="T103" fmla="*/ 104 h 646"/>
                <a:gd name="T104" fmla="*/ 350 w 578"/>
                <a:gd name="T105" fmla="*/ 54 h 646"/>
                <a:gd name="T106" fmla="*/ 322 w 578"/>
                <a:gd name="T107" fmla="*/ 16 h 646"/>
                <a:gd name="T108" fmla="*/ 292 w 578"/>
                <a:gd name="T109" fmla="*/ 40 h 646"/>
                <a:gd name="T110" fmla="*/ 262 w 578"/>
                <a:gd name="T111" fmla="*/ 42 h 646"/>
                <a:gd name="T112" fmla="*/ 230 w 578"/>
                <a:gd name="T113" fmla="*/ 50 h 646"/>
                <a:gd name="T114" fmla="*/ 204 w 578"/>
                <a:gd name="T115" fmla="*/ 34 h 646"/>
                <a:gd name="T116" fmla="*/ 194 w 578"/>
                <a:gd name="T117" fmla="*/ 0 h 646"/>
                <a:gd name="T118" fmla="*/ 158 w 578"/>
                <a:gd name="T119" fmla="*/ 16 h 646"/>
                <a:gd name="T120" fmla="*/ 136 w 578"/>
                <a:gd name="T121" fmla="*/ 10 h 646"/>
                <a:gd name="T122" fmla="*/ 146 w 578"/>
                <a:gd name="T123" fmla="*/ 40 h 646"/>
                <a:gd name="T124" fmla="*/ 116 w 578"/>
                <a:gd name="T125" fmla="*/ 5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646">
                  <a:moveTo>
                    <a:pt x="90" y="40"/>
                  </a:moveTo>
                  <a:lnTo>
                    <a:pt x="90" y="40"/>
                  </a:lnTo>
                  <a:lnTo>
                    <a:pt x="88" y="40"/>
                  </a:lnTo>
                  <a:lnTo>
                    <a:pt x="80" y="42"/>
                  </a:lnTo>
                  <a:lnTo>
                    <a:pt x="76" y="44"/>
                  </a:lnTo>
                  <a:lnTo>
                    <a:pt x="72" y="46"/>
                  </a:lnTo>
                  <a:lnTo>
                    <a:pt x="68" y="48"/>
                  </a:lnTo>
                  <a:lnTo>
                    <a:pt x="66" y="48"/>
                  </a:lnTo>
                  <a:lnTo>
                    <a:pt x="66" y="48"/>
                  </a:lnTo>
                  <a:lnTo>
                    <a:pt x="64" y="50"/>
                  </a:lnTo>
                  <a:lnTo>
                    <a:pt x="64" y="50"/>
                  </a:lnTo>
                  <a:lnTo>
                    <a:pt x="62" y="52"/>
                  </a:lnTo>
                  <a:lnTo>
                    <a:pt x="62" y="54"/>
                  </a:lnTo>
                  <a:lnTo>
                    <a:pt x="60" y="54"/>
                  </a:lnTo>
                  <a:lnTo>
                    <a:pt x="60" y="56"/>
                  </a:lnTo>
                  <a:lnTo>
                    <a:pt x="60" y="58"/>
                  </a:lnTo>
                  <a:lnTo>
                    <a:pt x="60" y="58"/>
                  </a:lnTo>
                  <a:lnTo>
                    <a:pt x="60" y="58"/>
                  </a:lnTo>
                  <a:lnTo>
                    <a:pt x="60" y="60"/>
                  </a:lnTo>
                  <a:lnTo>
                    <a:pt x="60" y="60"/>
                  </a:lnTo>
                  <a:lnTo>
                    <a:pt x="60" y="60"/>
                  </a:lnTo>
                  <a:lnTo>
                    <a:pt x="62" y="62"/>
                  </a:lnTo>
                  <a:lnTo>
                    <a:pt x="64" y="62"/>
                  </a:lnTo>
                  <a:lnTo>
                    <a:pt x="64" y="64"/>
                  </a:lnTo>
                  <a:lnTo>
                    <a:pt x="66" y="64"/>
                  </a:lnTo>
                  <a:lnTo>
                    <a:pt x="66" y="64"/>
                  </a:lnTo>
                  <a:lnTo>
                    <a:pt x="66" y="66"/>
                  </a:lnTo>
                  <a:lnTo>
                    <a:pt x="66" y="66"/>
                  </a:lnTo>
                  <a:lnTo>
                    <a:pt x="66" y="66"/>
                  </a:lnTo>
                  <a:lnTo>
                    <a:pt x="66" y="66"/>
                  </a:lnTo>
                  <a:lnTo>
                    <a:pt x="66" y="66"/>
                  </a:lnTo>
                  <a:lnTo>
                    <a:pt x="66" y="68"/>
                  </a:lnTo>
                  <a:lnTo>
                    <a:pt x="64" y="68"/>
                  </a:lnTo>
                  <a:lnTo>
                    <a:pt x="64" y="68"/>
                  </a:lnTo>
                  <a:lnTo>
                    <a:pt x="60" y="70"/>
                  </a:lnTo>
                  <a:lnTo>
                    <a:pt x="60" y="70"/>
                  </a:lnTo>
                  <a:lnTo>
                    <a:pt x="60" y="70"/>
                  </a:lnTo>
                  <a:lnTo>
                    <a:pt x="60" y="72"/>
                  </a:lnTo>
                  <a:lnTo>
                    <a:pt x="58" y="72"/>
                  </a:lnTo>
                  <a:lnTo>
                    <a:pt x="58" y="74"/>
                  </a:lnTo>
                  <a:lnTo>
                    <a:pt x="58" y="76"/>
                  </a:lnTo>
                  <a:lnTo>
                    <a:pt x="58" y="78"/>
                  </a:lnTo>
                  <a:lnTo>
                    <a:pt x="58" y="80"/>
                  </a:lnTo>
                  <a:lnTo>
                    <a:pt x="58" y="82"/>
                  </a:lnTo>
                  <a:lnTo>
                    <a:pt x="60" y="86"/>
                  </a:lnTo>
                  <a:lnTo>
                    <a:pt x="62" y="94"/>
                  </a:lnTo>
                  <a:lnTo>
                    <a:pt x="62" y="98"/>
                  </a:lnTo>
                  <a:lnTo>
                    <a:pt x="62" y="98"/>
                  </a:lnTo>
                  <a:lnTo>
                    <a:pt x="62" y="100"/>
                  </a:lnTo>
                  <a:lnTo>
                    <a:pt x="64" y="104"/>
                  </a:lnTo>
                  <a:lnTo>
                    <a:pt x="64" y="106"/>
                  </a:lnTo>
                  <a:lnTo>
                    <a:pt x="64" y="108"/>
                  </a:lnTo>
                  <a:lnTo>
                    <a:pt x="64" y="110"/>
                  </a:lnTo>
                  <a:lnTo>
                    <a:pt x="64" y="112"/>
                  </a:lnTo>
                  <a:lnTo>
                    <a:pt x="64" y="112"/>
                  </a:lnTo>
                  <a:lnTo>
                    <a:pt x="62" y="112"/>
                  </a:lnTo>
                  <a:lnTo>
                    <a:pt x="62" y="114"/>
                  </a:lnTo>
                  <a:lnTo>
                    <a:pt x="62" y="114"/>
                  </a:lnTo>
                  <a:lnTo>
                    <a:pt x="60" y="114"/>
                  </a:lnTo>
                  <a:lnTo>
                    <a:pt x="60" y="114"/>
                  </a:lnTo>
                  <a:lnTo>
                    <a:pt x="56" y="114"/>
                  </a:lnTo>
                  <a:lnTo>
                    <a:pt x="54" y="114"/>
                  </a:lnTo>
                  <a:lnTo>
                    <a:pt x="52" y="114"/>
                  </a:lnTo>
                  <a:lnTo>
                    <a:pt x="50" y="114"/>
                  </a:lnTo>
                  <a:lnTo>
                    <a:pt x="48" y="114"/>
                  </a:lnTo>
                  <a:lnTo>
                    <a:pt x="50" y="116"/>
                  </a:lnTo>
                  <a:lnTo>
                    <a:pt x="52" y="122"/>
                  </a:lnTo>
                  <a:lnTo>
                    <a:pt x="54" y="124"/>
                  </a:lnTo>
                  <a:lnTo>
                    <a:pt x="56" y="128"/>
                  </a:lnTo>
                  <a:lnTo>
                    <a:pt x="58" y="132"/>
                  </a:lnTo>
                  <a:lnTo>
                    <a:pt x="58" y="132"/>
                  </a:lnTo>
                  <a:lnTo>
                    <a:pt x="58" y="134"/>
                  </a:lnTo>
                  <a:lnTo>
                    <a:pt x="58" y="134"/>
                  </a:lnTo>
                  <a:lnTo>
                    <a:pt x="58" y="136"/>
                  </a:lnTo>
                  <a:lnTo>
                    <a:pt x="58" y="138"/>
                  </a:lnTo>
                  <a:lnTo>
                    <a:pt x="56" y="140"/>
                  </a:lnTo>
                  <a:lnTo>
                    <a:pt x="56" y="142"/>
                  </a:lnTo>
                  <a:lnTo>
                    <a:pt x="56" y="144"/>
                  </a:lnTo>
                  <a:lnTo>
                    <a:pt x="54" y="146"/>
                  </a:lnTo>
                  <a:lnTo>
                    <a:pt x="54" y="146"/>
                  </a:lnTo>
                  <a:lnTo>
                    <a:pt x="54" y="148"/>
                  </a:lnTo>
                  <a:lnTo>
                    <a:pt x="52" y="148"/>
                  </a:lnTo>
                  <a:lnTo>
                    <a:pt x="50" y="150"/>
                  </a:lnTo>
                  <a:lnTo>
                    <a:pt x="48" y="150"/>
                  </a:lnTo>
                  <a:lnTo>
                    <a:pt x="48" y="152"/>
                  </a:lnTo>
                  <a:lnTo>
                    <a:pt x="46" y="152"/>
                  </a:lnTo>
                  <a:lnTo>
                    <a:pt x="44" y="152"/>
                  </a:lnTo>
                  <a:lnTo>
                    <a:pt x="42" y="154"/>
                  </a:lnTo>
                  <a:lnTo>
                    <a:pt x="42" y="154"/>
                  </a:lnTo>
                  <a:lnTo>
                    <a:pt x="42" y="154"/>
                  </a:lnTo>
                  <a:lnTo>
                    <a:pt x="40" y="152"/>
                  </a:lnTo>
                  <a:lnTo>
                    <a:pt x="38" y="152"/>
                  </a:lnTo>
                  <a:lnTo>
                    <a:pt x="36" y="152"/>
                  </a:lnTo>
                  <a:lnTo>
                    <a:pt x="34" y="150"/>
                  </a:lnTo>
                  <a:lnTo>
                    <a:pt x="32" y="150"/>
                  </a:lnTo>
                  <a:lnTo>
                    <a:pt x="30" y="150"/>
                  </a:lnTo>
                  <a:lnTo>
                    <a:pt x="30" y="150"/>
                  </a:lnTo>
                  <a:lnTo>
                    <a:pt x="30" y="150"/>
                  </a:lnTo>
                  <a:lnTo>
                    <a:pt x="28" y="150"/>
                  </a:lnTo>
                  <a:lnTo>
                    <a:pt x="26" y="150"/>
                  </a:lnTo>
                  <a:lnTo>
                    <a:pt x="26" y="152"/>
                  </a:lnTo>
                  <a:lnTo>
                    <a:pt x="24" y="152"/>
                  </a:lnTo>
                  <a:lnTo>
                    <a:pt x="22" y="154"/>
                  </a:lnTo>
                  <a:lnTo>
                    <a:pt x="22" y="154"/>
                  </a:lnTo>
                  <a:lnTo>
                    <a:pt x="20" y="156"/>
                  </a:lnTo>
                  <a:lnTo>
                    <a:pt x="20" y="156"/>
                  </a:lnTo>
                  <a:lnTo>
                    <a:pt x="18" y="158"/>
                  </a:lnTo>
                  <a:lnTo>
                    <a:pt x="18" y="160"/>
                  </a:lnTo>
                  <a:lnTo>
                    <a:pt x="18" y="162"/>
                  </a:lnTo>
                  <a:lnTo>
                    <a:pt x="16" y="164"/>
                  </a:lnTo>
                  <a:lnTo>
                    <a:pt x="16" y="166"/>
                  </a:lnTo>
                  <a:lnTo>
                    <a:pt x="16" y="168"/>
                  </a:lnTo>
                  <a:lnTo>
                    <a:pt x="16" y="170"/>
                  </a:lnTo>
                  <a:lnTo>
                    <a:pt x="16" y="172"/>
                  </a:lnTo>
                  <a:lnTo>
                    <a:pt x="16" y="172"/>
                  </a:lnTo>
                  <a:lnTo>
                    <a:pt x="18" y="176"/>
                  </a:lnTo>
                  <a:lnTo>
                    <a:pt x="18" y="176"/>
                  </a:lnTo>
                  <a:lnTo>
                    <a:pt x="18" y="178"/>
                  </a:lnTo>
                  <a:lnTo>
                    <a:pt x="18" y="180"/>
                  </a:lnTo>
                  <a:lnTo>
                    <a:pt x="18" y="180"/>
                  </a:lnTo>
                  <a:lnTo>
                    <a:pt x="18" y="180"/>
                  </a:lnTo>
                  <a:lnTo>
                    <a:pt x="18" y="182"/>
                  </a:lnTo>
                  <a:lnTo>
                    <a:pt x="16" y="182"/>
                  </a:lnTo>
                  <a:lnTo>
                    <a:pt x="16" y="184"/>
                  </a:lnTo>
                  <a:lnTo>
                    <a:pt x="14" y="184"/>
                  </a:lnTo>
                  <a:lnTo>
                    <a:pt x="12" y="186"/>
                  </a:lnTo>
                  <a:lnTo>
                    <a:pt x="10" y="186"/>
                  </a:lnTo>
                  <a:lnTo>
                    <a:pt x="10" y="186"/>
                  </a:lnTo>
                  <a:lnTo>
                    <a:pt x="8" y="188"/>
                  </a:lnTo>
                  <a:lnTo>
                    <a:pt x="6" y="188"/>
                  </a:lnTo>
                  <a:lnTo>
                    <a:pt x="4" y="188"/>
                  </a:lnTo>
                  <a:lnTo>
                    <a:pt x="4" y="188"/>
                  </a:lnTo>
                  <a:lnTo>
                    <a:pt x="4" y="190"/>
                  </a:lnTo>
                  <a:lnTo>
                    <a:pt x="2" y="190"/>
                  </a:lnTo>
                  <a:lnTo>
                    <a:pt x="2" y="192"/>
                  </a:lnTo>
                  <a:lnTo>
                    <a:pt x="2" y="194"/>
                  </a:lnTo>
                  <a:lnTo>
                    <a:pt x="0" y="196"/>
                  </a:lnTo>
                  <a:lnTo>
                    <a:pt x="0" y="198"/>
                  </a:lnTo>
                  <a:lnTo>
                    <a:pt x="0" y="200"/>
                  </a:lnTo>
                  <a:lnTo>
                    <a:pt x="0" y="202"/>
                  </a:lnTo>
                  <a:lnTo>
                    <a:pt x="0" y="202"/>
                  </a:lnTo>
                  <a:lnTo>
                    <a:pt x="0" y="204"/>
                  </a:lnTo>
                  <a:lnTo>
                    <a:pt x="0" y="206"/>
                  </a:lnTo>
                  <a:lnTo>
                    <a:pt x="2" y="208"/>
                  </a:lnTo>
                  <a:lnTo>
                    <a:pt x="2" y="210"/>
                  </a:lnTo>
                  <a:lnTo>
                    <a:pt x="4" y="212"/>
                  </a:lnTo>
                  <a:lnTo>
                    <a:pt x="4" y="212"/>
                  </a:lnTo>
                  <a:lnTo>
                    <a:pt x="4" y="214"/>
                  </a:lnTo>
                  <a:lnTo>
                    <a:pt x="6" y="214"/>
                  </a:lnTo>
                  <a:lnTo>
                    <a:pt x="8" y="216"/>
                  </a:lnTo>
                  <a:lnTo>
                    <a:pt x="12" y="220"/>
                  </a:lnTo>
                  <a:lnTo>
                    <a:pt x="12" y="220"/>
                  </a:lnTo>
                  <a:lnTo>
                    <a:pt x="14" y="220"/>
                  </a:lnTo>
                  <a:lnTo>
                    <a:pt x="14" y="222"/>
                  </a:lnTo>
                  <a:lnTo>
                    <a:pt x="14" y="224"/>
                  </a:lnTo>
                  <a:lnTo>
                    <a:pt x="16" y="226"/>
                  </a:lnTo>
                  <a:lnTo>
                    <a:pt x="16" y="228"/>
                  </a:lnTo>
                  <a:lnTo>
                    <a:pt x="16" y="230"/>
                  </a:lnTo>
                  <a:lnTo>
                    <a:pt x="16" y="230"/>
                  </a:lnTo>
                  <a:lnTo>
                    <a:pt x="18" y="232"/>
                  </a:lnTo>
                  <a:lnTo>
                    <a:pt x="18" y="232"/>
                  </a:lnTo>
                  <a:lnTo>
                    <a:pt x="18" y="232"/>
                  </a:lnTo>
                  <a:lnTo>
                    <a:pt x="20" y="232"/>
                  </a:lnTo>
                  <a:lnTo>
                    <a:pt x="22" y="232"/>
                  </a:lnTo>
                  <a:lnTo>
                    <a:pt x="22" y="232"/>
                  </a:lnTo>
                  <a:lnTo>
                    <a:pt x="24" y="232"/>
                  </a:lnTo>
                  <a:lnTo>
                    <a:pt x="26" y="232"/>
                  </a:lnTo>
                  <a:lnTo>
                    <a:pt x="26" y="232"/>
                  </a:lnTo>
                  <a:lnTo>
                    <a:pt x="28" y="232"/>
                  </a:lnTo>
                  <a:lnTo>
                    <a:pt x="28" y="234"/>
                  </a:lnTo>
                  <a:lnTo>
                    <a:pt x="28" y="234"/>
                  </a:lnTo>
                  <a:lnTo>
                    <a:pt x="28" y="234"/>
                  </a:lnTo>
                  <a:lnTo>
                    <a:pt x="28" y="238"/>
                  </a:lnTo>
                  <a:lnTo>
                    <a:pt x="28" y="238"/>
                  </a:lnTo>
                  <a:lnTo>
                    <a:pt x="28" y="240"/>
                  </a:lnTo>
                  <a:lnTo>
                    <a:pt x="30" y="240"/>
                  </a:lnTo>
                  <a:lnTo>
                    <a:pt x="30" y="242"/>
                  </a:lnTo>
                  <a:lnTo>
                    <a:pt x="30" y="242"/>
                  </a:lnTo>
                  <a:lnTo>
                    <a:pt x="30" y="242"/>
                  </a:lnTo>
                  <a:lnTo>
                    <a:pt x="30" y="242"/>
                  </a:lnTo>
                  <a:lnTo>
                    <a:pt x="32" y="242"/>
                  </a:lnTo>
                  <a:lnTo>
                    <a:pt x="34" y="242"/>
                  </a:lnTo>
                  <a:lnTo>
                    <a:pt x="36" y="244"/>
                  </a:lnTo>
                  <a:lnTo>
                    <a:pt x="38" y="244"/>
                  </a:lnTo>
                  <a:lnTo>
                    <a:pt x="40" y="244"/>
                  </a:lnTo>
                  <a:lnTo>
                    <a:pt x="42" y="244"/>
                  </a:lnTo>
                  <a:lnTo>
                    <a:pt x="42" y="244"/>
                  </a:lnTo>
                  <a:lnTo>
                    <a:pt x="44" y="242"/>
                  </a:lnTo>
                  <a:lnTo>
                    <a:pt x="44" y="242"/>
                  </a:lnTo>
                  <a:lnTo>
                    <a:pt x="46" y="242"/>
                  </a:lnTo>
                  <a:lnTo>
                    <a:pt x="48" y="238"/>
                  </a:lnTo>
                  <a:lnTo>
                    <a:pt x="50" y="238"/>
                  </a:lnTo>
                  <a:lnTo>
                    <a:pt x="52" y="236"/>
                  </a:lnTo>
                  <a:lnTo>
                    <a:pt x="52" y="236"/>
                  </a:lnTo>
                  <a:lnTo>
                    <a:pt x="52" y="236"/>
                  </a:lnTo>
                  <a:lnTo>
                    <a:pt x="54" y="236"/>
                  </a:lnTo>
                  <a:lnTo>
                    <a:pt x="54" y="236"/>
                  </a:lnTo>
                  <a:lnTo>
                    <a:pt x="54" y="236"/>
                  </a:lnTo>
                  <a:lnTo>
                    <a:pt x="56" y="238"/>
                  </a:lnTo>
                  <a:lnTo>
                    <a:pt x="56" y="238"/>
                  </a:lnTo>
                  <a:lnTo>
                    <a:pt x="56" y="240"/>
                  </a:lnTo>
                  <a:lnTo>
                    <a:pt x="56" y="240"/>
                  </a:lnTo>
                  <a:lnTo>
                    <a:pt x="56" y="242"/>
                  </a:lnTo>
                  <a:lnTo>
                    <a:pt x="58" y="244"/>
                  </a:lnTo>
                  <a:lnTo>
                    <a:pt x="58" y="248"/>
                  </a:lnTo>
                  <a:lnTo>
                    <a:pt x="58" y="250"/>
                  </a:lnTo>
                  <a:lnTo>
                    <a:pt x="58" y="252"/>
                  </a:lnTo>
                  <a:lnTo>
                    <a:pt x="58" y="254"/>
                  </a:lnTo>
                  <a:lnTo>
                    <a:pt x="60" y="254"/>
                  </a:lnTo>
                  <a:lnTo>
                    <a:pt x="60" y="256"/>
                  </a:lnTo>
                  <a:lnTo>
                    <a:pt x="60" y="256"/>
                  </a:lnTo>
                  <a:lnTo>
                    <a:pt x="60" y="256"/>
                  </a:lnTo>
                  <a:lnTo>
                    <a:pt x="62" y="258"/>
                  </a:lnTo>
                  <a:lnTo>
                    <a:pt x="64" y="258"/>
                  </a:lnTo>
                  <a:lnTo>
                    <a:pt x="66" y="260"/>
                  </a:lnTo>
                  <a:lnTo>
                    <a:pt x="70" y="260"/>
                  </a:lnTo>
                  <a:lnTo>
                    <a:pt x="72" y="262"/>
                  </a:lnTo>
                  <a:lnTo>
                    <a:pt x="76" y="262"/>
                  </a:lnTo>
                  <a:lnTo>
                    <a:pt x="80" y="262"/>
                  </a:lnTo>
                  <a:lnTo>
                    <a:pt x="82" y="262"/>
                  </a:lnTo>
                  <a:lnTo>
                    <a:pt x="84" y="262"/>
                  </a:lnTo>
                  <a:lnTo>
                    <a:pt x="84" y="262"/>
                  </a:lnTo>
                  <a:lnTo>
                    <a:pt x="86" y="262"/>
                  </a:lnTo>
                  <a:lnTo>
                    <a:pt x="88" y="262"/>
                  </a:lnTo>
                  <a:lnTo>
                    <a:pt x="90" y="260"/>
                  </a:lnTo>
                  <a:lnTo>
                    <a:pt x="92" y="258"/>
                  </a:lnTo>
                  <a:lnTo>
                    <a:pt x="94" y="258"/>
                  </a:lnTo>
                  <a:lnTo>
                    <a:pt x="94" y="256"/>
                  </a:lnTo>
                  <a:lnTo>
                    <a:pt x="96" y="256"/>
                  </a:lnTo>
                  <a:lnTo>
                    <a:pt x="96" y="254"/>
                  </a:lnTo>
                  <a:lnTo>
                    <a:pt x="98" y="254"/>
                  </a:lnTo>
                  <a:lnTo>
                    <a:pt x="98" y="252"/>
                  </a:lnTo>
                  <a:lnTo>
                    <a:pt x="98" y="250"/>
                  </a:lnTo>
                  <a:lnTo>
                    <a:pt x="100" y="250"/>
                  </a:lnTo>
                  <a:lnTo>
                    <a:pt x="100" y="248"/>
                  </a:lnTo>
                  <a:lnTo>
                    <a:pt x="100" y="248"/>
                  </a:lnTo>
                  <a:lnTo>
                    <a:pt x="100" y="248"/>
                  </a:lnTo>
                  <a:lnTo>
                    <a:pt x="102" y="248"/>
                  </a:lnTo>
                  <a:lnTo>
                    <a:pt x="102" y="248"/>
                  </a:lnTo>
                  <a:lnTo>
                    <a:pt x="102" y="248"/>
                  </a:lnTo>
                  <a:lnTo>
                    <a:pt x="104" y="248"/>
                  </a:lnTo>
                  <a:lnTo>
                    <a:pt x="106" y="248"/>
                  </a:lnTo>
                  <a:lnTo>
                    <a:pt x="106" y="248"/>
                  </a:lnTo>
                  <a:lnTo>
                    <a:pt x="108" y="250"/>
                  </a:lnTo>
                  <a:lnTo>
                    <a:pt x="108" y="248"/>
                  </a:lnTo>
                  <a:lnTo>
                    <a:pt x="108" y="248"/>
                  </a:lnTo>
                  <a:lnTo>
                    <a:pt x="108" y="248"/>
                  </a:lnTo>
                  <a:lnTo>
                    <a:pt x="108" y="248"/>
                  </a:lnTo>
                  <a:lnTo>
                    <a:pt x="110" y="246"/>
                  </a:lnTo>
                  <a:lnTo>
                    <a:pt x="110" y="246"/>
                  </a:lnTo>
                  <a:lnTo>
                    <a:pt x="110" y="244"/>
                  </a:lnTo>
                  <a:lnTo>
                    <a:pt x="110" y="242"/>
                  </a:lnTo>
                  <a:lnTo>
                    <a:pt x="110" y="240"/>
                  </a:lnTo>
                  <a:lnTo>
                    <a:pt x="110" y="240"/>
                  </a:lnTo>
                  <a:lnTo>
                    <a:pt x="110" y="238"/>
                  </a:lnTo>
                  <a:lnTo>
                    <a:pt x="110" y="238"/>
                  </a:lnTo>
                  <a:lnTo>
                    <a:pt x="112" y="238"/>
                  </a:lnTo>
                  <a:lnTo>
                    <a:pt x="112" y="238"/>
                  </a:lnTo>
                  <a:lnTo>
                    <a:pt x="112" y="236"/>
                  </a:lnTo>
                  <a:lnTo>
                    <a:pt x="114" y="236"/>
                  </a:lnTo>
                  <a:lnTo>
                    <a:pt x="118" y="236"/>
                  </a:lnTo>
                  <a:lnTo>
                    <a:pt x="120" y="236"/>
                  </a:lnTo>
                  <a:lnTo>
                    <a:pt x="122" y="238"/>
                  </a:lnTo>
                  <a:lnTo>
                    <a:pt x="126" y="238"/>
                  </a:lnTo>
                  <a:lnTo>
                    <a:pt x="126" y="238"/>
                  </a:lnTo>
                  <a:lnTo>
                    <a:pt x="128" y="238"/>
                  </a:lnTo>
                  <a:lnTo>
                    <a:pt x="128" y="240"/>
                  </a:lnTo>
                  <a:lnTo>
                    <a:pt x="130" y="240"/>
                  </a:lnTo>
                  <a:lnTo>
                    <a:pt x="130" y="242"/>
                  </a:lnTo>
                  <a:lnTo>
                    <a:pt x="130" y="242"/>
                  </a:lnTo>
                  <a:lnTo>
                    <a:pt x="130" y="244"/>
                  </a:lnTo>
                  <a:lnTo>
                    <a:pt x="132" y="246"/>
                  </a:lnTo>
                  <a:lnTo>
                    <a:pt x="132" y="248"/>
                  </a:lnTo>
                  <a:lnTo>
                    <a:pt x="132" y="250"/>
                  </a:lnTo>
                  <a:lnTo>
                    <a:pt x="132" y="254"/>
                  </a:lnTo>
                  <a:lnTo>
                    <a:pt x="132" y="262"/>
                  </a:lnTo>
                  <a:lnTo>
                    <a:pt x="132" y="266"/>
                  </a:lnTo>
                  <a:lnTo>
                    <a:pt x="132" y="268"/>
                  </a:lnTo>
                  <a:lnTo>
                    <a:pt x="132" y="270"/>
                  </a:lnTo>
                  <a:lnTo>
                    <a:pt x="132" y="272"/>
                  </a:lnTo>
                  <a:lnTo>
                    <a:pt x="134" y="276"/>
                  </a:lnTo>
                  <a:lnTo>
                    <a:pt x="136" y="278"/>
                  </a:lnTo>
                  <a:lnTo>
                    <a:pt x="136" y="280"/>
                  </a:lnTo>
                  <a:lnTo>
                    <a:pt x="138" y="284"/>
                  </a:lnTo>
                  <a:lnTo>
                    <a:pt x="138" y="284"/>
                  </a:lnTo>
                  <a:lnTo>
                    <a:pt x="140" y="286"/>
                  </a:lnTo>
                  <a:lnTo>
                    <a:pt x="140" y="286"/>
                  </a:lnTo>
                  <a:lnTo>
                    <a:pt x="140" y="286"/>
                  </a:lnTo>
                  <a:lnTo>
                    <a:pt x="142" y="286"/>
                  </a:lnTo>
                  <a:lnTo>
                    <a:pt x="144" y="286"/>
                  </a:lnTo>
                  <a:lnTo>
                    <a:pt x="144" y="286"/>
                  </a:lnTo>
                  <a:lnTo>
                    <a:pt x="148" y="286"/>
                  </a:lnTo>
                  <a:lnTo>
                    <a:pt x="152" y="286"/>
                  </a:lnTo>
                  <a:lnTo>
                    <a:pt x="154" y="286"/>
                  </a:lnTo>
                  <a:lnTo>
                    <a:pt x="158" y="286"/>
                  </a:lnTo>
                  <a:lnTo>
                    <a:pt x="158" y="286"/>
                  </a:lnTo>
                  <a:lnTo>
                    <a:pt x="160" y="286"/>
                  </a:lnTo>
                  <a:lnTo>
                    <a:pt x="162" y="286"/>
                  </a:lnTo>
                  <a:lnTo>
                    <a:pt x="162" y="286"/>
                  </a:lnTo>
                  <a:lnTo>
                    <a:pt x="162" y="286"/>
                  </a:lnTo>
                  <a:lnTo>
                    <a:pt x="164" y="286"/>
                  </a:lnTo>
                  <a:lnTo>
                    <a:pt x="164" y="288"/>
                  </a:lnTo>
                  <a:lnTo>
                    <a:pt x="164" y="288"/>
                  </a:lnTo>
                  <a:lnTo>
                    <a:pt x="164" y="290"/>
                  </a:lnTo>
                  <a:lnTo>
                    <a:pt x="166" y="290"/>
                  </a:lnTo>
                  <a:lnTo>
                    <a:pt x="168" y="290"/>
                  </a:lnTo>
                  <a:lnTo>
                    <a:pt x="170" y="290"/>
                  </a:lnTo>
                  <a:lnTo>
                    <a:pt x="172" y="290"/>
                  </a:lnTo>
                  <a:lnTo>
                    <a:pt x="174" y="290"/>
                  </a:lnTo>
                  <a:lnTo>
                    <a:pt x="174" y="292"/>
                  </a:lnTo>
                  <a:lnTo>
                    <a:pt x="174" y="292"/>
                  </a:lnTo>
                  <a:lnTo>
                    <a:pt x="174" y="292"/>
                  </a:lnTo>
                  <a:lnTo>
                    <a:pt x="176" y="292"/>
                  </a:lnTo>
                  <a:lnTo>
                    <a:pt x="176" y="292"/>
                  </a:lnTo>
                  <a:lnTo>
                    <a:pt x="176" y="294"/>
                  </a:lnTo>
                  <a:lnTo>
                    <a:pt x="176" y="294"/>
                  </a:lnTo>
                  <a:lnTo>
                    <a:pt x="176" y="296"/>
                  </a:lnTo>
                  <a:lnTo>
                    <a:pt x="176" y="298"/>
                  </a:lnTo>
                  <a:lnTo>
                    <a:pt x="176" y="298"/>
                  </a:lnTo>
                  <a:lnTo>
                    <a:pt x="176" y="300"/>
                  </a:lnTo>
                  <a:lnTo>
                    <a:pt x="176" y="300"/>
                  </a:lnTo>
                  <a:lnTo>
                    <a:pt x="176" y="300"/>
                  </a:lnTo>
                  <a:lnTo>
                    <a:pt x="178" y="300"/>
                  </a:lnTo>
                  <a:lnTo>
                    <a:pt x="178" y="302"/>
                  </a:lnTo>
                  <a:lnTo>
                    <a:pt x="180" y="302"/>
                  </a:lnTo>
                  <a:lnTo>
                    <a:pt x="182" y="302"/>
                  </a:lnTo>
                  <a:lnTo>
                    <a:pt x="184" y="302"/>
                  </a:lnTo>
                  <a:lnTo>
                    <a:pt x="188" y="302"/>
                  </a:lnTo>
                  <a:lnTo>
                    <a:pt x="190" y="302"/>
                  </a:lnTo>
                  <a:lnTo>
                    <a:pt x="192" y="302"/>
                  </a:lnTo>
                  <a:lnTo>
                    <a:pt x="194" y="302"/>
                  </a:lnTo>
                  <a:lnTo>
                    <a:pt x="196" y="302"/>
                  </a:lnTo>
                  <a:lnTo>
                    <a:pt x="196" y="304"/>
                  </a:lnTo>
                  <a:lnTo>
                    <a:pt x="198" y="304"/>
                  </a:lnTo>
                  <a:lnTo>
                    <a:pt x="198" y="304"/>
                  </a:lnTo>
                  <a:lnTo>
                    <a:pt x="200" y="304"/>
                  </a:lnTo>
                  <a:lnTo>
                    <a:pt x="200" y="304"/>
                  </a:lnTo>
                  <a:lnTo>
                    <a:pt x="200" y="306"/>
                  </a:lnTo>
                  <a:lnTo>
                    <a:pt x="200" y="306"/>
                  </a:lnTo>
                  <a:lnTo>
                    <a:pt x="200" y="308"/>
                  </a:lnTo>
                  <a:lnTo>
                    <a:pt x="200" y="310"/>
                  </a:lnTo>
                  <a:lnTo>
                    <a:pt x="200" y="312"/>
                  </a:lnTo>
                  <a:lnTo>
                    <a:pt x="200" y="314"/>
                  </a:lnTo>
                  <a:lnTo>
                    <a:pt x="200" y="316"/>
                  </a:lnTo>
                  <a:lnTo>
                    <a:pt x="200" y="316"/>
                  </a:lnTo>
                  <a:lnTo>
                    <a:pt x="200" y="318"/>
                  </a:lnTo>
                  <a:lnTo>
                    <a:pt x="202" y="318"/>
                  </a:lnTo>
                  <a:lnTo>
                    <a:pt x="202" y="318"/>
                  </a:lnTo>
                  <a:lnTo>
                    <a:pt x="202" y="318"/>
                  </a:lnTo>
                  <a:lnTo>
                    <a:pt x="202" y="320"/>
                  </a:lnTo>
                  <a:lnTo>
                    <a:pt x="204" y="320"/>
                  </a:lnTo>
                  <a:lnTo>
                    <a:pt x="206" y="320"/>
                  </a:lnTo>
                  <a:lnTo>
                    <a:pt x="206" y="320"/>
                  </a:lnTo>
                  <a:lnTo>
                    <a:pt x="208" y="320"/>
                  </a:lnTo>
                  <a:lnTo>
                    <a:pt x="208" y="320"/>
                  </a:lnTo>
                  <a:lnTo>
                    <a:pt x="208" y="320"/>
                  </a:lnTo>
                  <a:lnTo>
                    <a:pt x="208" y="320"/>
                  </a:lnTo>
                  <a:lnTo>
                    <a:pt x="208" y="320"/>
                  </a:lnTo>
                  <a:lnTo>
                    <a:pt x="208" y="320"/>
                  </a:lnTo>
                  <a:lnTo>
                    <a:pt x="208" y="322"/>
                  </a:lnTo>
                  <a:lnTo>
                    <a:pt x="208" y="322"/>
                  </a:lnTo>
                  <a:lnTo>
                    <a:pt x="208" y="322"/>
                  </a:lnTo>
                  <a:lnTo>
                    <a:pt x="206" y="322"/>
                  </a:lnTo>
                  <a:lnTo>
                    <a:pt x="204" y="324"/>
                  </a:lnTo>
                  <a:lnTo>
                    <a:pt x="202" y="324"/>
                  </a:lnTo>
                  <a:lnTo>
                    <a:pt x="202" y="326"/>
                  </a:lnTo>
                  <a:lnTo>
                    <a:pt x="202" y="326"/>
                  </a:lnTo>
                  <a:lnTo>
                    <a:pt x="202" y="326"/>
                  </a:lnTo>
                  <a:lnTo>
                    <a:pt x="200" y="328"/>
                  </a:lnTo>
                  <a:lnTo>
                    <a:pt x="200" y="330"/>
                  </a:lnTo>
                  <a:lnTo>
                    <a:pt x="200" y="332"/>
                  </a:lnTo>
                  <a:lnTo>
                    <a:pt x="200" y="336"/>
                  </a:lnTo>
                  <a:lnTo>
                    <a:pt x="200" y="338"/>
                  </a:lnTo>
                  <a:lnTo>
                    <a:pt x="200" y="342"/>
                  </a:lnTo>
                  <a:lnTo>
                    <a:pt x="202" y="344"/>
                  </a:lnTo>
                  <a:lnTo>
                    <a:pt x="202" y="344"/>
                  </a:lnTo>
                  <a:lnTo>
                    <a:pt x="202" y="346"/>
                  </a:lnTo>
                  <a:lnTo>
                    <a:pt x="202" y="346"/>
                  </a:lnTo>
                  <a:lnTo>
                    <a:pt x="202" y="346"/>
                  </a:lnTo>
                  <a:lnTo>
                    <a:pt x="204" y="346"/>
                  </a:lnTo>
                  <a:lnTo>
                    <a:pt x="206" y="348"/>
                  </a:lnTo>
                  <a:lnTo>
                    <a:pt x="206" y="348"/>
                  </a:lnTo>
                  <a:lnTo>
                    <a:pt x="208" y="348"/>
                  </a:lnTo>
                  <a:lnTo>
                    <a:pt x="208" y="348"/>
                  </a:lnTo>
                  <a:lnTo>
                    <a:pt x="208" y="350"/>
                  </a:lnTo>
                  <a:lnTo>
                    <a:pt x="210" y="352"/>
                  </a:lnTo>
                  <a:lnTo>
                    <a:pt x="210" y="352"/>
                  </a:lnTo>
                  <a:lnTo>
                    <a:pt x="210" y="352"/>
                  </a:lnTo>
                  <a:lnTo>
                    <a:pt x="212" y="354"/>
                  </a:lnTo>
                  <a:lnTo>
                    <a:pt x="214" y="354"/>
                  </a:lnTo>
                  <a:lnTo>
                    <a:pt x="214" y="354"/>
                  </a:lnTo>
                  <a:lnTo>
                    <a:pt x="216" y="354"/>
                  </a:lnTo>
                  <a:lnTo>
                    <a:pt x="218" y="352"/>
                  </a:lnTo>
                  <a:lnTo>
                    <a:pt x="222" y="352"/>
                  </a:lnTo>
                  <a:lnTo>
                    <a:pt x="224" y="352"/>
                  </a:lnTo>
                  <a:lnTo>
                    <a:pt x="226" y="352"/>
                  </a:lnTo>
                  <a:lnTo>
                    <a:pt x="228" y="352"/>
                  </a:lnTo>
                  <a:lnTo>
                    <a:pt x="230" y="352"/>
                  </a:lnTo>
                  <a:lnTo>
                    <a:pt x="230" y="352"/>
                  </a:lnTo>
                  <a:lnTo>
                    <a:pt x="232" y="352"/>
                  </a:lnTo>
                  <a:lnTo>
                    <a:pt x="232" y="352"/>
                  </a:lnTo>
                  <a:lnTo>
                    <a:pt x="232" y="354"/>
                  </a:lnTo>
                  <a:lnTo>
                    <a:pt x="232" y="354"/>
                  </a:lnTo>
                  <a:lnTo>
                    <a:pt x="232" y="356"/>
                  </a:lnTo>
                  <a:lnTo>
                    <a:pt x="232" y="358"/>
                  </a:lnTo>
                  <a:lnTo>
                    <a:pt x="232" y="360"/>
                  </a:lnTo>
                  <a:lnTo>
                    <a:pt x="232" y="362"/>
                  </a:lnTo>
                  <a:lnTo>
                    <a:pt x="232" y="362"/>
                  </a:lnTo>
                  <a:lnTo>
                    <a:pt x="232" y="362"/>
                  </a:lnTo>
                  <a:lnTo>
                    <a:pt x="232" y="364"/>
                  </a:lnTo>
                  <a:lnTo>
                    <a:pt x="232" y="364"/>
                  </a:lnTo>
                  <a:lnTo>
                    <a:pt x="234" y="364"/>
                  </a:lnTo>
                  <a:lnTo>
                    <a:pt x="234" y="364"/>
                  </a:lnTo>
                  <a:lnTo>
                    <a:pt x="236" y="364"/>
                  </a:lnTo>
                  <a:lnTo>
                    <a:pt x="236" y="364"/>
                  </a:lnTo>
                  <a:lnTo>
                    <a:pt x="238" y="364"/>
                  </a:lnTo>
                  <a:lnTo>
                    <a:pt x="238" y="364"/>
                  </a:lnTo>
                  <a:lnTo>
                    <a:pt x="240" y="364"/>
                  </a:lnTo>
                  <a:lnTo>
                    <a:pt x="240" y="364"/>
                  </a:lnTo>
                  <a:lnTo>
                    <a:pt x="240" y="364"/>
                  </a:lnTo>
                  <a:lnTo>
                    <a:pt x="240" y="366"/>
                  </a:lnTo>
                  <a:lnTo>
                    <a:pt x="242" y="366"/>
                  </a:lnTo>
                  <a:lnTo>
                    <a:pt x="242" y="368"/>
                  </a:lnTo>
                  <a:lnTo>
                    <a:pt x="242" y="368"/>
                  </a:lnTo>
                  <a:lnTo>
                    <a:pt x="242" y="370"/>
                  </a:lnTo>
                  <a:lnTo>
                    <a:pt x="242" y="374"/>
                  </a:lnTo>
                  <a:lnTo>
                    <a:pt x="242" y="374"/>
                  </a:lnTo>
                  <a:lnTo>
                    <a:pt x="242" y="376"/>
                  </a:lnTo>
                  <a:lnTo>
                    <a:pt x="242" y="376"/>
                  </a:lnTo>
                  <a:lnTo>
                    <a:pt x="242" y="376"/>
                  </a:lnTo>
                  <a:lnTo>
                    <a:pt x="244" y="378"/>
                  </a:lnTo>
                  <a:lnTo>
                    <a:pt x="246" y="378"/>
                  </a:lnTo>
                  <a:lnTo>
                    <a:pt x="246" y="378"/>
                  </a:lnTo>
                  <a:lnTo>
                    <a:pt x="248" y="380"/>
                  </a:lnTo>
                  <a:lnTo>
                    <a:pt x="248" y="380"/>
                  </a:lnTo>
                  <a:lnTo>
                    <a:pt x="248" y="380"/>
                  </a:lnTo>
                  <a:lnTo>
                    <a:pt x="248" y="382"/>
                  </a:lnTo>
                  <a:lnTo>
                    <a:pt x="248" y="384"/>
                  </a:lnTo>
                  <a:lnTo>
                    <a:pt x="248" y="386"/>
                  </a:lnTo>
                  <a:lnTo>
                    <a:pt x="248" y="390"/>
                  </a:lnTo>
                  <a:lnTo>
                    <a:pt x="248" y="392"/>
                  </a:lnTo>
                  <a:lnTo>
                    <a:pt x="248" y="394"/>
                  </a:lnTo>
                  <a:lnTo>
                    <a:pt x="246" y="396"/>
                  </a:lnTo>
                  <a:lnTo>
                    <a:pt x="246" y="398"/>
                  </a:lnTo>
                  <a:lnTo>
                    <a:pt x="246" y="400"/>
                  </a:lnTo>
                  <a:lnTo>
                    <a:pt x="244" y="404"/>
                  </a:lnTo>
                  <a:lnTo>
                    <a:pt x="242" y="406"/>
                  </a:lnTo>
                  <a:lnTo>
                    <a:pt x="242" y="406"/>
                  </a:lnTo>
                  <a:lnTo>
                    <a:pt x="240" y="408"/>
                  </a:lnTo>
                  <a:lnTo>
                    <a:pt x="240" y="408"/>
                  </a:lnTo>
                  <a:lnTo>
                    <a:pt x="238" y="408"/>
                  </a:lnTo>
                  <a:lnTo>
                    <a:pt x="236" y="408"/>
                  </a:lnTo>
                  <a:lnTo>
                    <a:pt x="232" y="410"/>
                  </a:lnTo>
                  <a:lnTo>
                    <a:pt x="232" y="410"/>
                  </a:lnTo>
                  <a:lnTo>
                    <a:pt x="232" y="414"/>
                  </a:lnTo>
                  <a:lnTo>
                    <a:pt x="234" y="416"/>
                  </a:lnTo>
                  <a:lnTo>
                    <a:pt x="234" y="418"/>
                  </a:lnTo>
                  <a:lnTo>
                    <a:pt x="234" y="420"/>
                  </a:lnTo>
                  <a:lnTo>
                    <a:pt x="234" y="420"/>
                  </a:lnTo>
                  <a:lnTo>
                    <a:pt x="234" y="420"/>
                  </a:lnTo>
                  <a:lnTo>
                    <a:pt x="234" y="420"/>
                  </a:lnTo>
                  <a:lnTo>
                    <a:pt x="236" y="420"/>
                  </a:lnTo>
                  <a:lnTo>
                    <a:pt x="236" y="422"/>
                  </a:lnTo>
                  <a:lnTo>
                    <a:pt x="238" y="422"/>
                  </a:lnTo>
                  <a:lnTo>
                    <a:pt x="240" y="422"/>
                  </a:lnTo>
                  <a:lnTo>
                    <a:pt x="240" y="422"/>
                  </a:lnTo>
                  <a:lnTo>
                    <a:pt x="242" y="422"/>
                  </a:lnTo>
                  <a:lnTo>
                    <a:pt x="244" y="424"/>
                  </a:lnTo>
                  <a:lnTo>
                    <a:pt x="244" y="424"/>
                  </a:lnTo>
                  <a:lnTo>
                    <a:pt x="244" y="424"/>
                  </a:lnTo>
                  <a:lnTo>
                    <a:pt x="244" y="424"/>
                  </a:lnTo>
                  <a:lnTo>
                    <a:pt x="244" y="426"/>
                  </a:lnTo>
                  <a:lnTo>
                    <a:pt x="246" y="426"/>
                  </a:lnTo>
                  <a:lnTo>
                    <a:pt x="246" y="428"/>
                  </a:lnTo>
                  <a:lnTo>
                    <a:pt x="244" y="430"/>
                  </a:lnTo>
                  <a:lnTo>
                    <a:pt x="244" y="432"/>
                  </a:lnTo>
                  <a:lnTo>
                    <a:pt x="244" y="434"/>
                  </a:lnTo>
                  <a:lnTo>
                    <a:pt x="246" y="436"/>
                  </a:lnTo>
                  <a:lnTo>
                    <a:pt x="246" y="436"/>
                  </a:lnTo>
                  <a:lnTo>
                    <a:pt x="246" y="436"/>
                  </a:lnTo>
                  <a:lnTo>
                    <a:pt x="246" y="436"/>
                  </a:lnTo>
                  <a:lnTo>
                    <a:pt x="246" y="438"/>
                  </a:lnTo>
                  <a:lnTo>
                    <a:pt x="248" y="438"/>
                  </a:lnTo>
                  <a:lnTo>
                    <a:pt x="250" y="438"/>
                  </a:lnTo>
                  <a:lnTo>
                    <a:pt x="252" y="438"/>
                  </a:lnTo>
                  <a:lnTo>
                    <a:pt x="254" y="438"/>
                  </a:lnTo>
                  <a:lnTo>
                    <a:pt x="256" y="438"/>
                  </a:lnTo>
                  <a:lnTo>
                    <a:pt x="258" y="438"/>
                  </a:lnTo>
                  <a:lnTo>
                    <a:pt x="258" y="438"/>
                  </a:lnTo>
                  <a:lnTo>
                    <a:pt x="258" y="440"/>
                  </a:lnTo>
                  <a:lnTo>
                    <a:pt x="260" y="440"/>
                  </a:lnTo>
                  <a:lnTo>
                    <a:pt x="260" y="440"/>
                  </a:lnTo>
                  <a:lnTo>
                    <a:pt x="260" y="442"/>
                  </a:lnTo>
                  <a:lnTo>
                    <a:pt x="262" y="444"/>
                  </a:lnTo>
                  <a:lnTo>
                    <a:pt x="262" y="446"/>
                  </a:lnTo>
                  <a:lnTo>
                    <a:pt x="262" y="446"/>
                  </a:lnTo>
                  <a:lnTo>
                    <a:pt x="264" y="448"/>
                  </a:lnTo>
                  <a:lnTo>
                    <a:pt x="264" y="448"/>
                  </a:lnTo>
                  <a:lnTo>
                    <a:pt x="266" y="448"/>
                  </a:lnTo>
                  <a:lnTo>
                    <a:pt x="268" y="450"/>
                  </a:lnTo>
                  <a:lnTo>
                    <a:pt x="270" y="450"/>
                  </a:lnTo>
                  <a:lnTo>
                    <a:pt x="272" y="450"/>
                  </a:lnTo>
                  <a:lnTo>
                    <a:pt x="274" y="450"/>
                  </a:lnTo>
                  <a:lnTo>
                    <a:pt x="278" y="450"/>
                  </a:lnTo>
                  <a:lnTo>
                    <a:pt x="280" y="450"/>
                  </a:lnTo>
                  <a:lnTo>
                    <a:pt x="282" y="450"/>
                  </a:lnTo>
                  <a:lnTo>
                    <a:pt x="282" y="450"/>
                  </a:lnTo>
                  <a:lnTo>
                    <a:pt x="282" y="450"/>
                  </a:lnTo>
                  <a:lnTo>
                    <a:pt x="284" y="450"/>
                  </a:lnTo>
                  <a:lnTo>
                    <a:pt x="284" y="450"/>
                  </a:lnTo>
                  <a:lnTo>
                    <a:pt x="284" y="452"/>
                  </a:lnTo>
                  <a:lnTo>
                    <a:pt x="284" y="452"/>
                  </a:lnTo>
                  <a:lnTo>
                    <a:pt x="286" y="452"/>
                  </a:lnTo>
                  <a:lnTo>
                    <a:pt x="286" y="454"/>
                  </a:lnTo>
                  <a:lnTo>
                    <a:pt x="286" y="456"/>
                  </a:lnTo>
                  <a:lnTo>
                    <a:pt x="284" y="458"/>
                  </a:lnTo>
                  <a:lnTo>
                    <a:pt x="284" y="462"/>
                  </a:lnTo>
                  <a:lnTo>
                    <a:pt x="284" y="464"/>
                  </a:lnTo>
                  <a:lnTo>
                    <a:pt x="284" y="464"/>
                  </a:lnTo>
                  <a:lnTo>
                    <a:pt x="284" y="466"/>
                  </a:lnTo>
                  <a:lnTo>
                    <a:pt x="284" y="466"/>
                  </a:lnTo>
                  <a:lnTo>
                    <a:pt x="286" y="468"/>
                  </a:lnTo>
                  <a:lnTo>
                    <a:pt x="286" y="468"/>
                  </a:lnTo>
                  <a:lnTo>
                    <a:pt x="286" y="468"/>
                  </a:lnTo>
                  <a:lnTo>
                    <a:pt x="288" y="468"/>
                  </a:lnTo>
                  <a:lnTo>
                    <a:pt x="288" y="468"/>
                  </a:lnTo>
                  <a:lnTo>
                    <a:pt x="290" y="468"/>
                  </a:lnTo>
                  <a:lnTo>
                    <a:pt x="292" y="468"/>
                  </a:lnTo>
                  <a:lnTo>
                    <a:pt x="294" y="468"/>
                  </a:lnTo>
                  <a:lnTo>
                    <a:pt x="296" y="468"/>
                  </a:lnTo>
                  <a:lnTo>
                    <a:pt x="296" y="468"/>
                  </a:lnTo>
                  <a:lnTo>
                    <a:pt x="296" y="468"/>
                  </a:lnTo>
                  <a:lnTo>
                    <a:pt x="298" y="468"/>
                  </a:lnTo>
                  <a:lnTo>
                    <a:pt x="298" y="468"/>
                  </a:lnTo>
                  <a:lnTo>
                    <a:pt x="298" y="470"/>
                  </a:lnTo>
                  <a:lnTo>
                    <a:pt x="300" y="470"/>
                  </a:lnTo>
                  <a:lnTo>
                    <a:pt x="300" y="472"/>
                  </a:lnTo>
                  <a:lnTo>
                    <a:pt x="300" y="474"/>
                  </a:lnTo>
                  <a:lnTo>
                    <a:pt x="300" y="476"/>
                  </a:lnTo>
                  <a:lnTo>
                    <a:pt x="300" y="478"/>
                  </a:lnTo>
                  <a:lnTo>
                    <a:pt x="302" y="482"/>
                  </a:lnTo>
                  <a:lnTo>
                    <a:pt x="300" y="486"/>
                  </a:lnTo>
                  <a:lnTo>
                    <a:pt x="300" y="492"/>
                  </a:lnTo>
                  <a:lnTo>
                    <a:pt x="300" y="498"/>
                  </a:lnTo>
                  <a:lnTo>
                    <a:pt x="300" y="500"/>
                  </a:lnTo>
                  <a:lnTo>
                    <a:pt x="300" y="502"/>
                  </a:lnTo>
                  <a:lnTo>
                    <a:pt x="300" y="504"/>
                  </a:lnTo>
                  <a:lnTo>
                    <a:pt x="302" y="506"/>
                  </a:lnTo>
                  <a:lnTo>
                    <a:pt x="302" y="508"/>
                  </a:lnTo>
                  <a:lnTo>
                    <a:pt x="302" y="508"/>
                  </a:lnTo>
                  <a:lnTo>
                    <a:pt x="302" y="510"/>
                  </a:lnTo>
                  <a:lnTo>
                    <a:pt x="302" y="512"/>
                  </a:lnTo>
                  <a:lnTo>
                    <a:pt x="302" y="514"/>
                  </a:lnTo>
                  <a:lnTo>
                    <a:pt x="302" y="516"/>
                  </a:lnTo>
                  <a:lnTo>
                    <a:pt x="302" y="520"/>
                  </a:lnTo>
                  <a:lnTo>
                    <a:pt x="304" y="522"/>
                  </a:lnTo>
                  <a:lnTo>
                    <a:pt x="304" y="522"/>
                  </a:lnTo>
                  <a:lnTo>
                    <a:pt x="304" y="524"/>
                  </a:lnTo>
                  <a:lnTo>
                    <a:pt x="304" y="524"/>
                  </a:lnTo>
                  <a:lnTo>
                    <a:pt x="304" y="526"/>
                  </a:lnTo>
                  <a:lnTo>
                    <a:pt x="306" y="526"/>
                  </a:lnTo>
                  <a:lnTo>
                    <a:pt x="306" y="526"/>
                  </a:lnTo>
                  <a:lnTo>
                    <a:pt x="306" y="526"/>
                  </a:lnTo>
                  <a:lnTo>
                    <a:pt x="308" y="526"/>
                  </a:lnTo>
                  <a:lnTo>
                    <a:pt x="308" y="526"/>
                  </a:lnTo>
                  <a:lnTo>
                    <a:pt x="310" y="526"/>
                  </a:lnTo>
                  <a:lnTo>
                    <a:pt x="310" y="526"/>
                  </a:lnTo>
                  <a:lnTo>
                    <a:pt x="312" y="526"/>
                  </a:lnTo>
                  <a:lnTo>
                    <a:pt x="312" y="526"/>
                  </a:lnTo>
                  <a:lnTo>
                    <a:pt x="312" y="526"/>
                  </a:lnTo>
                  <a:lnTo>
                    <a:pt x="312" y="526"/>
                  </a:lnTo>
                  <a:lnTo>
                    <a:pt x="314" y="526"/>
                  </a:lnTo>
                  <a:lnTo>
                    <a:pt x="314" y="528"/>
                  </a:lnTo>
                  <a:lnTo>
                    <a:pt x="314" y="530"/>
                  </a:lnTo>
                  <a:lnTo>
                    <a:pt x="314" y="532"/>
                  </a:lnTo>
                  <a:lnTo>
                    <a:pt x="314" y="532"/>
                  </a:lnTo>
                  <a:lnTo>
                    <a:pt x="314" y="534"/>
                  </a:lnTo>
                  <a:lnTo>
                    <a:pt x="314" y="536"/>
                  </a:lnTo>
                  <a:lnTo>
                    <a:pt x="314" y="536"/>
                  </a:lnTo>
                  <a:lnTo>
                    <a:pt x="314" y="538"/>
                  </a:lnTo>
                  <a:lnTo>
                    <a:pt x="312" y="538"/>
                  </a:lnTo>
                  <a:lnTo>
                    <a:pt x="312" y="538"/>
                  </a:lnTo>
                  <a:lnTo>
                    <a:pt x="310" y="538"/>
                  </a:lnTo>
                  <a:lnTo>
                    <a:pt x="310" y="538"/>
                  </a:lnTo>
                  <a:lnTo>
                    <a:pt x="308" y="538"/>
                  </a:lnTo>
                  <a:lnTo>
                    <a:pt x="304" y="538"/>
                  </a:lnTo>
                  <a:lnTo>
                    <a:pt x="304" y="538"/>
                  </a:lnTo>
                  <a:lnTo>
                    <a:pt x="302" y="538"/>
                  </a:lnTo>
                  <a:lnTo>
                    <a:pt x="302" y="538"/>
                  </a:lnTo>
                  <a:lnTo>
                    <a:pt x="302" y="540"/>
                  </a:lnTo>
                  <a:lnTo>
                    <a:pt x="300" y="540"/>
                  </a:lnTo>
                  <a:lnTo>
                    <a:pt x="300" y="542"/>
                  </a:lnTo>
                  <a:lnTo>
                    <a:pt x="298" y="544"/>
                  </a:lnTo>
                  <a:lnTo>
                    <a:pt x="296" y="546"/>
                  </a:lnTo>
                  <a:lnTo>
                    <a:pt x="296" y="548"/>
                  </a:lnTo>
                  <a:lnTo>
                    <a:pt x="294" y="548"/>
                  </a:lnTo>
                  <a:lnTo>
                    <a:pt x="294" y="550"/>
                  </a:lnTo>
                  <a:lnTo>
                    <a:pt x="294" y="550"/>
                  </a:lnTo>
                  <a:lnTo>
                    <a:pt x="292" y="550"/>
                  </a:lnTo>
                  <a:lnTo>
                    <a:pt x="290" y="550"/>
                  </a:lnTo>
                  <a:lnTo>
                    <a:pt x="288" y="552"/>
                  </a:lnTo>
                  <a:lnTo>
                    <a:pt x="288" y="552"/>
                  </a:lnTo>
                  <a:lnTo>
                    <a:pt x="286" y="552"/>
                  </a:lnTo>
                  <a:lnTo>
                    <a:pt x="286" y="554"/>
                  </a:lnTo>
                  <a:lnTo>
                    <a:pt x="284" y="556"/>
                  </a:lnTo>
                  <a:lnTo>
                    <a:pt x="282" y="560"/>
                  </a:lnTo>
                  <a:lnTo>
                    <a:pt x="280" y="562"/>
                  </a:lnTo>
                  <a:lnTo>
                    <a:pt x="278" y="564"/>
                  </a:lnTo>
                  <a:lnTo>
                    <a:pt x="276" y="566"/>
                  </a:lnTo>
                  <a:lnTo>
                    <a:pt x="274" y="570"/>
                  </a:lnTo>
                  <a:lnTo>
                    <a:pt x="272" y="572"/>
                  </a:lnTo>
                  <a:lnTo>
                    <a:pt x="270" y="574"/>
                  </a:lnTo>
                  <a:lnTo>
                    <a:pt x="268" y="578"/>
                  </a:lnTo>
                  <a:lnTo>
                    <a:pt x="266" y="582"/>
                  </a:lnTo>
                  <a:lnTo>
                    <a:pt x="268" y="586"/>
                  </a:lnTo>
                  <a:lnTo>
                    <a:pt x="270" y="588"/>
                  </a:lnTo>
                  <a:lnTo>
                    <a:pt x="272" y="588"/>
                  </a:lnTo>
                  <a:lnTo>
                    <a:pt x="272" y="590"/>
                  </a:lnTo>
                  <a:lnTo>
                    <a:pt x="274" y="590"/>
                  </a:lnTo>
                  <a:lnTo>
                    <a:pt x="274" y="592"/>
                  </a:lnTo>
                  <a:lnTo>
                    <a:pt x="278" y="592"/>
                  </a:lnTo>
                  <a:lnTo>
                    <a:pt x="282" y="594"/>
                  </a:lnTo>
                  <a:lnTo>
                    <a:pt x="284" y="594"/>
                  </a:lnTo>
                  <a:lnTo>
                    <a:pt x="286" y="596"/>
                  </a:lnTo>
                  <a:lnTo>
                    <a:pt x="290" y="598"/>
                  </a:lnTo>
                  <a:lnTo>
                    <a:pt x="294" y="600"/>
                  </a:lnTo>
                  <a:lnTo>
                    <a:pt x="298" y="604"/>
                  </a:lnTo>
                  <a:lnTo>
                    <a:pt x="302" y="608"/>
                  </a:lnTo>
                  <a:lnTo>
                    <a:pt x="306" y="612"/>
                  </a:lnTo>
                  <a:lnTo>
                    <a:pt x="310" y="616"/>
                  </a:lnTo>
                  <a:lnTo>
                    <a:pt x="314" y="620"/>
                  </a:lnTo>
                  <a:lnTo>
                    <a:pt x="316" y="624"/>
                  </a:lnTo>
                  <a:lnTo>
                    <a:pt x="318" y="626"/>
                  </a:lnTo>
                  <a:lnTo>
                    <a:pt x="320" y="630"/>
                  </a:lnTo>
                  <a:lnTo>
                    <a:pt x="322" y="632"/>
                  </a:lnTo>
                  <a:lnTo>
                    <a:pt x="324" y="634"/>
                  </a:lnTo>
                  <a:lnTo>
                    <a:pt x="324" y="636"/>
                  </a:lnTo>
                  <a:lnTo>
                    <a:pt x="324" y="636"/>
                  </a:lnTo>
                  <a:lnTo>
                    <a:pt x="324" y="638"/>
                  </a:lnTo>
                  <a:lnTo>
                    <a:pt x="324" y="642"/>
                  </a:lnTo>
                  <a:lnTo>
                    <a:pt x="326" y="646"/>
                  </a:lnTo>
                  <a:lnTo>
                    <a:pt x="326" y="646"/>
                  </a:lnTo>
                  <a:lnTo>
                    <a:pt x="330" y="642"/>
                  </a:lnTo>
                  <a:lnTo>
                    <a:pt x="332" y="640"/>
                  </a:lnTo>
                  <a:lnTo>
                    <a:pt x="332" y="638"/>
                  </a:lnTo>
                  <a:lnTo>
                    <a:pt x="334" y="636"/>
                  </a:lnTo>
                  <a:lnTo>
                    <a:pt x="334" y="634"/>
                  </a:lnTo>
                  <a:lnTo>
                    <a:pt x="334" y="634"/>
                  </a:lnTo>
                  <a:lnTo>
                    <a:pt x="336" y="632"/>
                  </a:lnTo>
                  <a:lnTo>
                    <a:pt x="336" y="628"/>
                  </a:lnTo>
                  <a:lnTo>
                    <a:pt x="336" y="626"/>
                  </a:lnTo>
                  <a:lnTo>
                    <a:pt x="334" y="622"/>
                  </a:lnTo>
                  <a:lnTo>
                    <a:pt x="334" y="620"/>
                  </a:lnTo>
                  <a:lnTo>
                    <a:pt x="336" y="618"/>
                  </a:lnTo>
                  <a:lnTo>
                    <a:pt x="336" y="614"/>
                  </a:lnTo>
                  <a:lnTo>
                    <a:pt x="336" y="612"/>
                  </a:lnTo>
                  <a:lnTo>
                    <a:pt x="338" y="608"/>
                  </a:lnTo>
                  <a:lnTo>
                    <a:pt x="338" y="606"/>
                  </a:lnTo>
                  <a:lnTo>
                    <a:pt x="338" y="604"/>
                  </a:lnTo>
                  <a:lnTo>
                    <a:pt x="338" y="604"/>
                  </a:lnTo>
                  <a:lnTo>
                    <a:pt x="338" y="600"/>
                  </a:lnTo>
                  <a:lnTo>
                    <a:pt x="338" y="594"/>
                  </a:lnTo>
                  <a:lnTo>
                    <a:pt x="338" y="592"/>
                  </a:lnTo>
                  <a:lnTo>
                    <a:pt x="338" y="590"/>
                  </a:lnTo>
                  <a:lnTo>
                    <a:pt x="338" y="590"/>
                  </a:lnTo>
                  <a:lnTo>
                    <a:pt x="338" y="588"/>
                  </a:lnTo>
                  <a:lnTo>
                    <a:pt x="338" y="588"/>
                  </a:lnTo>
                  <a:lnTo>
                    <a:pt x="338" y="586"/>
                  </a:lnTo>
                  <a:lnTo>
                    <a:pt x="338" y="586"/>
                  </a:lnTo>
                  <a:lnTo>
                    <a:pt x="340" y="586"/>
                  </a:lnTo>
                  <a:lnTo>
                    <a:pt x="340" y="586"/>
                  </a:lnTo>
                  <a:lnTo>
                    <a:pt x="340" y="586"/>
                  </a:lnTo>
                  <a:lnTo>
                    <a:pt x="342" y="586"/>
                  </a:lnTo>
                  <a:lnTo>
                    <a:pt x="344" y="586"/>
                  </a:lnTo>
                  <a:lnTo>
                    <a:pt x="344" y="586"/>
                  </a:lnTo>
                  <a:lnTo>
                    <a:pt x="346" y="588"/>
                  </a:lnTo>
                  <a:lnTo>
                    <a:pt x="346" y="588"/>
                  </a:lnTo>
                  <a:lnTo>
                    <a:pt x="348" y="590"/>
                  </a:lnTo>
                  <a:lnTo>
                    <a:pt x="348" y="590"/>
                  </a:lnTo>
                  <a:lnTo>
                    <a:pt x="348" y="590"/>
                  </a:lnTo>
                  <a:lnTo>
                    <a:pt x="348" y="592"/>
                  </a:lnTo>
                  <a:lnTo>
                    <a:pt x="348" y="592"/>
                  </a:lnTo>
                  <a:lnTo>
                    <a:pt x="348" y="594"/>
                  </a:lnTo>
                  <a:lnTo>
                    <a:pt x="348" y="596"/>
                  </a:lnTo>
                  <a:lnTo>
                    <a:pt x="348" y="598"/>
                  </a:lnTo>
                  <a:lnTo>
                    <a:pt x="346" y="600"/>
                  </a:lnTo>
                  <a:lnTo>
                    <a:pt x="346" y="602"/>
                  </a:lnTo>
                  <a:lnTo>
                    <a:pt x="346" y="602"/>
                  </a:lnTo>
                  <a:lnTo>
                    <a:pt x="344" y="604"/>
                  </a:lnTo>
                  <a:lnTo>
                    <a:pt x="342" y="606"/>
                  </a:lnTo>
                  <a:lnTo>
                    <a:pt x="342" y="606"/>
                  </a:lnTo>
                  <a:lnTo>
                    <a:pt x="342" y="608"/>
                  </a:lnTo>
                  <a:lnTo>
                    <a:pt x="342" y="608"/>
                  </a:lnTo>
                  <a:lnTo>
                    <a:pt x="342" y="608"/>
                  </a:lnTo>
                  <a:lnTo>
                    <a:pt x="344" y="608"/>
                  </a:lnTo>
                  <a:lnTo>
                    <a:pt x="344" y="610"/>
                  </a:lnTo>
                  <a:lnTo>
                    <a:pt x="344" y="610"/>
                  </a:lnTo>
                  <a:lnTo>
                    <a:pt x="346" y="610"/>
                  </a:lnTo>
                  <a:lnTo>
                    <a:pt x="348" y="608"/>
                  </a:lnTo>
                  <a:lnTo>
                    <a:pt x="350" y="608"/>
                  </a:lnTo>
                  <a:lnTo>
                    <a:pt x="352" y="606"/>
                  </a:lnTo>
                  <a:lnTo>
                    <a:pt x="354" y="606"/>
                  </a:lnTo>
                  <a:lnTo>
                    <a:pt x="354" y="604"/>
                  </a:lnTo>
                  <a:lnTo>
                    <a:pt x="356" y="604"/>
                  </a:lnTo>
                  <a:lnTo>
                    <a:pt x="356" y="602"/>
                  </a:lnTo>
                  <a:lnTo>
                    <a:pt x="356" y="602"/>
                  </a:lnTo>
                  <a:lnTo>
                    <a:pt x="356" y="600"/>
                  </a:lnTo>
                  <a:lnTo>
                    <a:pt x="358" y="598"/>
                  </a:lnTo>
                  <a:lnTo>
                    <a:pt x="358" y="596"/>
                  </a:lnTo>
                  <a:lnTo>
                    <a:pt x="358" y="594"/>
                  </a:lnTo>
                  <a:lnTo>
                    <a:pt x="358" y="594"/>
                  </a:lnTo>
                  <a:lnTo>
                    <a:pt x="358" y="592"/>
                  </a:lnTo>
                  <a:lnTo>
                    <a:pt x="358" y="590"/>
                  </a:lnTo>
                  <a:lnTo>
                    <a:pt x="358" y="590"/>
                  </a:lnTo>
                  <a:lnTo>
                    <a:pt x="360" y="590"/>
                  </a:lnTo>
                  <a:lnTo>
                    <a:pt x="360" y="588"/>
                  </a:lnTo>
                  <a:lnTo>
                    <a:pt x="364" y="588"/>
                  </a:lnTo>
                  <a:lnTo>
                    <a:pt x="364" y="586"/>
                  </a:lnTo>
                  <a:lnTo>
                    <a:pt x="366" y="586"/>
                  </a:lnTo>
                  <a:lnTo>
                    <a:pt x="366" y="586"/>
                  </a:lnTo>
                  <a:lnTo>
                    <a:pt x="368" y="584"/>
                  </a:lnTo>
                  <a:lnTo>
                    <a:pt x="368" y="584"/>
                  </a:lnTo>
                  <a:lnTo>
                    <a:pt x="368" y="582"/>
                  </a:lnTo>
                  <a:lnTo>
                    <a:pt x="368" y="582"/>
                  </a:lnTo>
                  <a:lnTo>
                    <a:pt x="368" y="580"/>
                  </a:lnTo>
                  <a:lnTo>
                    <a:pt x="366" y="576"/>
                  </a:lnTo>
                  <a:lnTo>
                    <a:pt x="366" y="574"/>
                  </a:lnTo>
                  <a:lnTo>
                    <a:pt x="366" y="570"/>
                  </a:lnTo>
                  <a:lnTo>
                    <a:pt x="364" y="568"/>
                  </a:lnTo>
                  <a:lnTo>
                    <a:pt x="364" y="566"/>
                  </a:lnTo>
                  <a:lnTo>
                    <a:pt x="364" y="566"/>
                  </a:lnTo>
                  <a:lnTo>
                    <a:pt x="364" y="564"/>
                  </a:lnTo>
                  <a:lnTo>
                    <a:pt x="366" y="564"/>
                  </a:lnTo>
                  <a:lnTo>
                    <a:pt x="366" y="562"/>
                  </a:lnTo>
                  <a:lnTo>
                    <a:pt x="366" y="562"/>
                  </a:lnTo>
                  <a:lnTo>
                    <a:pt x="368" y="562"/>
                  </a:lnTo>
                  <a:lnTo>
                    <a:pt x="368" y="560"/>
                  </a:lnTo>
                  <a:lnTo>
                    <a:pt x="370" y="560"/>
                  </a:lnTo>
                  <a:lnTo>
                    <a:pt x="374" y="558"/>
                  </a:lnTo>
                  <a:lnTo>
                    <a:pt x="376" y="558"/>
                  </a:lnTo>
                  <a:lnTo>
                    <a:pt x="378" y="556"/>
                  </a:lnTo>
                  <a:lnTo>
                    <a:pt x="378" y="556"/>
                  </a:lnTo>
                  <a:lnTo>
                    <a:pt x="380" y="556"/>
                  </a:lnTo>
                  <a:lnTo>
                    <a:pt x="380" y="554"/>
                  </a:lnTo>
                  <a:lnTo>
                    <a:pt x="380" y="554"/>
                  </a:lnTo>
                  <a:lnTo>
                    <a:pt x="382" y="554"/>
                  </a:lnTo>
                  <a:lnTo>
                    <a:pt x="382" y="552"/>
                  </a:lnTo>
                  <a:lnTo>
                    <a:pt x="384" y="550"/>
                  </a:lnTo>
                  <a:lnTo>
                    <a:pt x="384" y="548"/>
                  </a:lnTo>
                  <a:lnTo>
                    <a:pt x="384" y="544"/>
                  </a:lnTo>
                  <a:lnTo>
                    <a:pt x="384" y="540"/>
                  </a:lnTo>
                  <a:lnTo>
                    <a:pt x="386" y="538"/>
                  </a:lnTo>
                  <a:lnTo>
                    <a:pt x="386" y="530"/>
                  </a:lnTo>
                  <a:lnTo>
                    <a:pt x="386" y="516"/>
                  </a:lnTo>
                  <a:lnTo>
                    <a:pt x="386" y="514"/>
                  </a:lnTo>
                  <a:lnTo>
                    <a:pt x="386" y="510"/>
                  </a:lnTo>
                  <a:lnTo>
                    <a:pt x="386" y="508"/>
                  </a:lnTo>
                  <a:lnTo>
                    <a:pt x="386" y="506"/>
                  </a:lnTo>
                  <a:lnTo>
                    <a:pt x="388" y="502"/>
                  </a:lnTo>
                  <a:lnTo>
                    <a:pt x="388" y="500"/>
                  </a:lnTo>
                  <a:lnTo>
                    <a:pt x="388" y="498"/>
                  </a:lnTo>
                  <a:lnTo>
                    <a:pt x="390" y="496"/>
                  </a:lnTo>
                  <a:lnTo>
                    <a:pt x="390" y="494"/>
                  </a:lnTo>
                  <a:lnTo>
                    <a:pt x="390" y="494"/>
                  </a:lnTo>
                  <a:lnTo>
                    <a:pt x="392" y="494"/>
                  </a:lnTo>
                  <a:lnTo>
                    <a:pt x="392" y="494"/>
                  </a:lnTo>
                  <a:lnTo>
                    <a:pt x="392" y="492"/>
                  </a:lnTo>
                  <a:lnTo>
                    <a:pt x="394" y="492"/>
                  </a:lnTo>
                  <a:lnTo>
                    <a:pt x="396" y="492"/>
                  </a:lnTo>
                  <a:lnTo>
                    <a:pt x="398" y="490"/>
                  </a:lnTo>
                  <a:lnTo>
                    <a:pt x="400" y="490"/>
                  </a:lnTo>
                  <a:lnTo>
                    <a:pt x="402" y="490"/>
                  </a:lnTo>
                  <a:lnTo>
                    <a:pt x="402" y="490"/>
                  </a:lnTo>
                  <a:lnTo>
                    <a:pt x="402" y="488"/>
                  </a:lnTo>
                  <a:lnTo>
                    <a:pt x="404" y="488"/>
                  </a:lnTo>
                  <a:lnTo>
                    <a:pt x="404" y="488"/>
                  </a:lnTo>
                  <a:lnTo>
                    <a:pt x="404" y="484"/>
                  </a:lnTo>
                  <a:lnTo>
                    <a:pt x="406" y="482"/>
                  </a:lnTo>
                  <a:lnTo>
                    <a:pt x="406" y="482"/>
                  </a:lnTo>
                  <a:lnTo>
                    <a:pt x="406" y="480"/>
                  </a:lnTo>
                  <a:lnTo>
                    <a:pt x="408" y="480"/>
                  </a:lnTo>
                  <a:lnTo>
                    <a:pt x="408" y="478"/>
                  </a:lnTo>
                  <a:lnTo>
                    <a:pt x="410" y="478"/>
                  </a:lnTo>
                  <a:lnTo>
                    <a:pt x="414" y="474"/>
                  </a:lnTo>
                  <a:lnTo>
                    <a:pt x="418" y="472"/>
                  </a:lnTo>
                  <a:lnTo>
                    <a:pt x="422" y="468"/>
                  </a:lnTo>
                  <a:lnTo>
                    <a:pt x="426" y="466"/>
                  </a:lnTo>
                  <a:lnTo>
                    <a:pt x="428" y="466"/>
                  </a:lnTo>
                  <a:lnTo>
                    <a:pt x="430" y="464"/>
                  </a:lnTo>
                  <a:lnTo>
                    <a:pt x="432" y="464"/>
                  </a:lnTo>
                  <a:lnTo>
                    <a:pt x="434" y="464"/>
                  </a:lnTo>
                  <a:lnTo>
                    <a:pt x="436" y="462"/>
                  </a:lnTo>
                  <a:lnTo>
                    <a:pt x="442" y="462"/>
                  </a:lnTo>
                  <a:lnTo>
                    <a:pt x="446" y="462"/>
                  </a:lnTo>
                  <a:lnTo>
                    <a:pt x="450" y="462"/>
                  </a:lnTo>
                  <a:lnTo>
                    <a:pt x="454" y="462"/>
                  </a:lnTo>
                  <a:lnTo>
                    <a:pt x="456" y="462"/>
                  </a:lnTo>
                  <a:lnTo>
                    <a:pt x="458" y="462"/>
                  </a:lnTo>
                  <a:lnTo>
                    <a:pt x="458" y="460"/>
                  </a:lnTo>
                  <a:lnTo>
                    <a:pt x="460" y="460"/>
                  </a:lnTo>
                  <a:lnTo>
                    <a:pt x="460" y="460"/>
                  </a:lnTo>
                  <a:lnTo>
                    <a:pt x="460" y="458"/>
                  </a:lnTo>
                  <a:lnTo>
                    <a:pt x="462" y="456"/>
                  </a:lnTo>
                  <a:lnTo>
                    <a:pt x="462" y="454"/>
                  </a:lnTo>
                  <a:lnTo>
                    <a:pt x="464" y="454"/>
                  </a:lnTo>
                  <a:lnTo>
                    <a:pt x="464" y="452"/>
                  </a:lnTo>
                  <a:lnTo>
                    <a:pt x="464" y="452"/>
                  </a:lnTo>
                  <a:lnTo>
                    <a:pt x="466" y="452"/>
                  </a:lnTo>
                  <a:lnTo>
                    <a:pt x="466" y="450"/>
                  </a:lnTo>
                  <a:lnTo>
                    <a:pt x="468" y="450"/>
                  </a:lnTo>
                  <a:lnTo>
                    <a:pt x="470" y="450"/>
                  </a:lnTo>
                  <a:lnTo>
                    <a:pt x="472" y="450"/>
                  </a:lnTo>
                  <a:lnTo>
                    <a:pt x="476" y="452"/>
                  </a:lnTo>
                  <a:lnTo>
                    <a:pt x="480" y="452"/>
                  </a:lnTo>
                  <a:lnTo>
                    <a:pt x="480" y="452"/>
                  </a:lnTo>
                  <a:lnTo>
                    <a:pt x="482" y="452"/>
                  </a:lnTo>
                  <a:lnTo>
                    <a:pt x="484" y="452"/>
                  </a:lnTo>
                  <a:lnTo>
                    <a:pt x="484" y="452"/>
                  </a:lnTo>
                  <a:lnTo>
                    <a:pt x="486" y="452"/>
                  </a:lnTo>
                  <a:lnTo>
                    <a:pt x="486" y="450"/>
                  </a:lnTo>
                  <a:lnTo>
                    <a:pt x="488" y="450"/>
                  </a:lnTo>
                  <a:lnTo>
                    <a:pt x="488" y="448"/>
                  </a:lnTo>
                  <a:lnTo>
                    <a:pt x="488" y="446"/>
                  </a:lnTo>
                  <a:lnTo>
                    <a:pt x="490" y="446"/>
                  </a:lnTo>
                  <a:lnTo>
                    <a:pt x="490" y="444"/>
                  </a:lnTo>
                  <a:lnTo>
                    <a:pt x="490" y="442"/>
                  </a:lnTo>
                  <a:lnTo>
                    <a:pt x="490" y="438"/>
                  </a:lnTo>
                  <a:lnTo>
                    <a:pt x="490" y="434"/>
                  </a:lnTo>
                  <a:lnTo>
                    <a:pt x="490" y="430"/>
                  </a:lnTo>
                  <a:lnTo>
                    <a:pt x="490" y="428"/>
                  </a:lnTo>
                  <a:lnTo>
                    <a:pt x="490" y="426"/>
                  </a:lnTo>
                  <a:lnTo>
                    <a:pt x="490" y="426"/>
                  </a:lnTo>
                  <a:lnTo>
                    <a:pt x="490" y="424"/>
                  </a:lnTo>
                  <a:lnTo>
                    <a:pt x="490" y="422"/>
                  </a:lnTo>
                  <a:lnTo>
                    <a:pt x="492" y="422"/>
                  </a:lnTo>
                  <a:lnTo>
                    <a:pt x="494" y="418"/>
                  </a:lnTo>
                  <a:lnTo>
                    <a:pt x="496" y="414"/>
                  </a:lnTo>
                  <a:lnTo>
                    <a:pt x="498" y="414"/>
                  </a:lnTo>
                  <a:lnTo>
                    <a:pt x="498" y="412"/>
                  </a:lnTo>
                  <a:lnTo>
                    <a:pt x="500" y="408"/>
                  </a:lnTo>
                  <a:lnTo>
                    <a:pt x="502" y="404"/>
                  </a:lnTo>
                  <a:lnTo>
                    <a:pt x="502" y="400"/>
                  </a:lnTo>
                  <a:lnTo>
                    <a:pt x="504" y="396"/>
                  </a:lnTo>
                  <a:lnTo>
                    <a:pt x="504" y="396"/>
                  </a:lnTo>
                  <a:lnTo>
                    <a:pt x="504" y="394"/>
                  </a:lnTo>
                  <a:lnTo>
                    <a:pt x="504" y="390"/>
                  </a:lnTo>
                  <a:lnTo>
                    <a:pt x="504" y="382"/>
                  </a:lnTo>
                  <a:lnTo>
                    <a:pt x="504" y="378"/>
                  </a:lnTo>
                  <a:lnTo>
                    <a:pt x="504" y="374"/>
                  </a:lnTo>
                  <a:lnTo>
                    <a:pt x="504" y="374"/>
                  </a:lnTo>
                  <a:lnTo>
                    <a:pt x="504" y="372"/>
                  </a:lnTo>
                  <a:lnTo>
                    <a:pt x="506" y="370"/>
                  </a:lnTo>
                  <a:lnTo>
                    <a:pt x="506" y="370"/>
                  </a:lnTo>
                  <a:lnTo>
                    <a:pt x="506" y="368"/>
                  </a:lnTo>
                  <a:lnTo>
                    <a:pt x="508" y="368"/>
                  </a:lnTo>
                  <a:lnTo>
                    <a:pt x="510" y="366"/>
                  </a:lnTo>
                  <a:lnTo>
                    <a:pt x="512" y="366"/>
                  </a:lnTo>
                  <a:lnTo>
                    <a:pt x="512" y="366"/>
                  </a:lnTo>
                  <a:lnTo>
                    <a:pt x="514" y="364"/>
                  </a:lnTo>
                  <a:lnTo>
                    <a:pt x="514" y="364"/>
                  </a:lnTo>
                  <a:lnTo>
                    <a:pt x="514" y="362"/>
                  </a:lnTo>
                  <a:lnTo>
                    <a:pt x="516" y="360"/>
                  </a:lnTo>
                  <a:lnTo>
                    <a:pt x="516" y="358"/>
                  </a:lnTo>
                  <a:lnTo>
                    <a:pt x="516" y="356"/>
                  </a:lnTo>
                  <a:lnTo>
                    <a:pt x="516" y="352"/>
                  </a:lnTo>
                  <a:lnTo>
                    <a:pt x="516" y="350"/>
                  </a:lnTo>
                  <a:lnTo>
                    <a:pt x="516" y="348"/>
                  </a:lnTo>
                  <a:lnTo>
                    <a:pt x="516" y="342"/>
                  </a:lnTo>
                  <a:lnTo>
                    <a:pt x="516" y="338"/>
                  </a:lnTo>
                  <a:lnTo>
                    <a:pt x="514" y="326"/>
                  </a:lnTo>
                  <a:lnTo>
                    <a:pt x="514" y="320"/>
                  </a:lnTo>
                  <a:lnTo>
                    <a:pt x="514" y="314"/>
                  </a:lnTo>
                  <a:lnTo>
                    <a:pt x="512" y="310"/>
                  </a:lnTo>
                  <a:lnTo>
                    <a:pt x="512" y="304"/>
                  </a:lnTo>
                  <a:lnTo>
                    <a:pt x="512" y="302"/>
                  </a:lnTo>
                  <a:lnTo>
                    <a:pt x="512" y="300"/>
                  </a:lnTo>
                  <a:lnTo>
                    <a:pt x="514" y="298"/>
                  </a:lnTo>
                  <a:lnTo>
                    <a:pt x="514" y="296"/>
                  </a:lnTo>
                  <a:lnTo>
                    <a:pt x="514" y="292"/>
                  </a:lnTo>
                  <a:lnTo>
                    <a:pt x="514" y="292"/>
                  </a:lnTo>
                  <a:lnTo>
                    <a:pt x="516" y="290"/>
                  </a:lnTo>
                  <a:lnTo>
                    <a:pt x="516" y="288"/>
                  </a:lnTo>
                  <a:lnTo>
                    <a:pt x="516" y="288"/>
                  </a:lnTo>
                  <a:lnTo>
                    <a:pt x="518" y="286"/>
                  </a:lnTo>
                  <a:lnTo>
                    <a:pt x="520" y="286"/>
                  </a:lnTo>
                  <a:lnTo>
                    <a:pt x="522" y="286"/>
                  </a:lnTo>
                  <a:lnTo>
                    <a:pt x="524" y="286"/>
                  </a:lnTo>
                  <a:lnTo>
                    <a:pt x="526" y="286"/>
                  </a:lnTo>
                  <a:lnTo>
                    <a:pt x="528" y="284"/>
                  </a:lnTo>
                  <a:lnTo>
                    <a:pt x="528" y="284"/>
                  </a:lnTo>
                  <a:lnTo>
                    <a:pt x="530" y="284"/>
                  </a:lnTo>
                  <a:lnTo>
                    <a:pt x="530" y="282"/>
                  </a:lnTo>
                  <a:lnTo>
                    <a:pt x="530" y="282"/>
                  </a:lnTo>
                  <a:lnTo>
                    <a:pt x="530" y="282"/>
                  </a:lnTo>
                  <a:lnTo>
                    <a:pt x="530" y="280"/>
                  </a:lnTo>
                  <a:lnTo>
                    <a:pt x="530" y="278"/>
                  </a:lnTo>
                  <a:lnTo>
                    <a:pt x="530" y="276"/>
                  </a:lnTo>
                  <a:lnTo>
                    <a:pt x="530" y="274"/>
                  </a:lnTo>
                  <a:lnTo>
                    <a:pt x="530" y="272"/>
                  </a:lnTo>
                  <a:lnTo>
                    <a:pt x="530" y="270"/>
                  </a:lnTo>
                  <a:lnTo>
                    <a:pt x="530" y="270"/>
                  </a:lnTo>
                  <a:lnTo>
                    <a:pt x="532" y="268"/>
                  </a:lnTo>
                  <a:lnTo>
                    <a:pt x="532" y="268"/>
                  </a:lnTo>
                  <a:lnTo>
                    <a:pt x="532" y="268"/>
                  </a:lnTo>
                  <a:lnTo>
                    <a:pt x="534" y="266"/>
                  </a:lnTo>
                  <a:lnTo>
                    <a:pt x="536" y="264"/>
                  </a:lnTo>
                  <a:lnTo>
                    <a:pt x="536" y="264"/>
                  </a:lnTo>
                  <a:lnTo>
                    <a:pt x="536" y="264"/>
                  </a:lnTo>
                  <a:lnTo>
                    <a:pt x="536" y="264"/>
                  </a:lnTo>
                  <a:lnTo>
                    <a:pt x="538" y="262"/>
                  </a:lnTo>
                  <a:lnTo>
                    <a:pt x="538" y="260"/>
                  </a:lnTo>
                  <a:lnTo>
                    <a:pt x="538" y="258"/>
                  </a:lnTo>
                  <a:lnTo>
                    <a:pt x="538" y="256"/>
                  </a:lnTo>
                  <a:lnTo>
                    <a:pt x="538" y="254"/>
                  </a:lnTo>
                  <a:lnTo>
                    <a:pt x="540" y="252"/>
                  </a:lnTo>
                  <a:lnTo>
                    <a:pt x="540" y="250"/>
                  </a:lnTo>
                  <a:lnTo>
                    <a:pt x="540" y="250"/>
                  </a:lnTo>
                  <a:lnTo>
                    <a:pt x="540" y="250"/>
                  </a:lnTo>
                  <a:lnTo>
                    <a:pt x="542" y="248"/>
                  </a:lnTo>
                  <a:lnTo>
                    <a:pt x="542" y="248"/>
                  </a:lnTo>
                  <a:lnTo>
                    <a:pt x="544" y="248"/>
                  </a:lnTo>
                  <a:lnTo>
                    <a:pt x="546" y="248"/>
                  </a:lnTo>
                  <a:lnTo>
                    <a:pt x="548" y="248"/>
                  </a:lnTo>
                  <a:lnTo>
                    <a:pt x="548" y="246"/>
                  </a:lnTo>
                  <a:lnTo>
                    <a:pt x="548" y="246"/>
                  </a:lnTo>
                  <a:lnTo>
                    <a:pt x="548" y="246"/>
                  </a:lnTo>
                  <a:lnTo>
                    <a:pt x="550" y="244"/>
                  </a:lnTo>
                  <a:lnTo>
                    <a:pt x="550" y="242"/>
                  </a:lnTo>
                  <a:lnTo>
                    <a:pt x="550" y="240"/>
                  </a:lnTo>
                  <a:lnTo>
                    <a:pt x="550" y="238"/>
                  </a:lnTo>
                  <a:lnTo>
                    <a:pt x="550" y="236"/>
                  </a:lnTo>
                  <a:lnTo>
                    <a:pt x="550" y="234"/>
                  </a:lnTo>
                  <a:lnTo>
                    <a:pt x="552" y="234"/>
                  </a:lnTo>
                  <a:lnTo>
                    <a:pt x="552" y="232"/>
                  </a:lnTo>
                  <a:lnTo>
                    <a:pt x="552" y="232"/>
                  </a:lnTo>
                  <a:lnTo>
                    <a:pt x="552" y="232"/>
                  </a:lnTo>
                  <a:lnTo>
                    <a:pt x="554" y="232"/>
                  </a:lnTo>
                  <a:lnTo>
                    <a:pt x="556" y="230"/>
                  </a:lnTo>
                  <a:lnTo>
                    <a:pt x="558" y="230"/>
                  </a:lnTo>
                  <a:lnTo>
                    <a:pt x="558" y="230"/>
                  </a:lnTo>
                  <a:lnTo>
                    <a:pt x="560" y="230"/>
                  </a:lnTo>
                  <a:lnTo>
                    <a:pt x="562" y="230"/>
                  </a:lnTo>
                  <a:lnTo>
                    <a:pt x="562" y="230"/>
                  </a:lnTo>
                  <a:lnTo>
                    <a:pt x="562" y="228"/>
                  </a:lnTo>
                  <a:lnTo>
                    <a:pt x="562" y="228"/>
                  </a:lnTo>
                  <a:lnTo>
                    <a:pt x="562" y="228"/>
                  </a:lnTo>
                  <a:lnTo>
                    <a:pt x="564" y="226"/>
                  </a:lnTo>
                  <a:lnTo>
                    <a:pt x="562" y="224"/>
                  </a:lnTo>
                  <a:lnTo>
                    <a:pt x="562" y="222"/>
                  </a:lnTo>
                  <a:lnTo>
                    <a:pt x="562" y="220"/>
                  </a:lnTo>
                  <a:lnTo>
                    <a:pt x="562" y="218"/>
                  </a:lnTo>
                  <a:lnTo>
                    <a:pt x="562" y="218"/>
                  </a:lnTo>
                  <a:lnTo>
                    <a:pt x="562" y="216"/>
                  </a:lnTo>
                  <a:lnTo>
                    <a:pt x="564" y="216"/>
                  </a:lnTo>
                  <a:lnTo>
                    <a:pt x="564" y="216"/>
                  </a:lnTo>
                  <a:lnTo>
                    <a:pt x="564" y="216"/>
                  </a:lnTo>
                  <a:lnTo>
                    <a:pt x="566" y="216"/>
                  </a:lnTo>
                  <a:lnTo>
                    <a:pt x="568" y="216"/>
                  </a:lnTo>
                  <a:lnTo>
                    <a:pt x="568" y="216"/>
                  </a:lnTo>
                  <a:lnTo>
                    <a:pt x="570" y="214"/>
                  </a:lnTo>
                  <a:lnTo>
                    <a:pt x="570" y="214"/>
                  </a:lnTo>
                  <a:lnTo>
                    <a:pt x="570" y="214"/>
                  </a:lnTo>
                  <a:lnTo>
                    <a:pt x="570" y="212"/>
                  </a:lnTo>
                  <a:lnTo>
                    <a:pt x="570" y="212"/>
                  </a:lnTo>
                  <a:lnTo>
                    <a:pt x="570" y="210"/>
                  </a:lnTo>
                  <a:lnTo>
                    <a:pt x="568" y="208"/>
                  </a:lnTo>
                  <a:lnTo>
                    <a:pt x="568" y="206"/>
                  </a:lnTo>
                  <a:lnTo>
                    <a:pt x="568" y="204"/>
                  </a:lnTo>
                  <a:lnTo>
                    <a:pt x="568" y="204"/>
                  </a:lnTo>
                  <a:lnTo>
                    <a:pt x="568" y="202"/>
                  </a:lnTo>
                  <a:lnTo>
                    <a:pt x="568" y="202"/>
                  </a:lnTo>
                  <a:lnTo>
                    <a:pt x="568" y="202"/>
                  </a:lnTo>
                  <a:lnTo>
                    <a:pt x="568" y="200"/>
                  </a:lnTo>
                  <a:lnTo>
                    <a:pt x="570" y="200"/>
                  </a:lnTo>
                  <a:lnTo>
                    <a:pt x="570" y="200"/>
                  </a:lnTo>
                  <a:lnTo>
                    <a:pt x="572" y="200"/>
                  </a:lnTo>
                  <a:lnTo>
                    <a:pt x="574" y="200"/>
                  </a:lnTo>
                  <a:lnTo>
                    <a:pt x="574" y="200"/>
                  </a:lnTo>
                  <a:lnTo>
                    <a:pt x="576" y="200"/>
                  </a:lnTo>
                  <a:lnTo>
                    <a:pt x="576" y="198"/>
                  </a:lnTo>
                  <a:lnTo>
                    <a:pt x="576" y="198"/>
                  </a:lnTo>
                  <a:lnTo>
                    <a:pt x="578" y="196"/>
                  </a:lnTo>
                  <a:lnTo>
                    <a:pt x="578" y="194"/>
                  </a:lnTo>
                  <a:lnTo>
                    <a:pt x="578" y="192"/>
                  </a:lnTo>
                  <a:lnTo>
                    <a:pt x="578" y="190"/>
                  </a:lnTo>
                  <a:lnTo>
                    <a:pt x="578" y="188"/>
                  </a:lnTo>
                  <a:lnTo>
                    <a:pt x="578" y="188"/>
                  </a:lnTo>
                  <a:lnTo>
                    <a:pt x="576" y="188"/>
                  </a:lnTo>
                  <a:lnTo>
                    <a:pt x="576" y="186"/>
                  </a:lnTo>
                  <a:lnTo>
                    <a:pt x="576" y="186"/>
                  </a:lnTo>
                  <a:lnTo>
                    <a:pt x="576" y="186"/>
                  </a:lnTo>
                  <a:lnTo>
                    <a:pt x="574" y="186"/>
                  </a:lnTo>
                  <a:lnTo>
                    <a:pt x="572" y="186"/>
                  </a:lnTo>
                  <a:lnTo>
                    <a:pt x="570" y="186"/>
                  </a:lnTo>
                  <a:lnTo>
                    <a:pt x="570" y="186"/>
                  </a:lnTo>
                  <a:lnTo>
                    <a:pt x="568" y="186"/>
                  </a:lnTo>
                  <a:lnTo>
                    <a:pt x="568" y="186"/>
                  </a:lnTo>
                  <a:lnTo>
                    <a:pt x="568" y="186"/>
                  </a:lnTo>
                  <a:lnTo>
                    <a:pt x="566" y="186"/>
                  </a:lnTo>
                  <a:lnTo>
                    <a:pt x="566" y="184"/>
                  </a:lnTo>
                  <a:lnTo>
                    <a:pt x="566" y="182"/>
                  </a:lnTo>
                  <a:lnTo>
                    <a:pt x="566" y="180"/>
                  </a:lnTo>
                  <a:lnTo>
                    <a:pt x="566" y="178"/>
                  </a:lnTo>
                  <a:lnTo>
                    <a:pt x="566" y="178"/>
                  </a:lnTo>
                  <a:lnTo>
                    <a:pt x="566" y="172"/>
                  </a:lnTo>
                  <a:lnTo>
                    <a:pt x="566" y="168"/>
                  </a:lnTo>
                  <a:lnTo>
                    <a:pt x="566" y="164"/>
                  </a:lnTo>
                  <a:lnTo>
                    <a:pt x="566" y="162"/>
                  </a:lnTo>
                  <a:lnTo>
                    <a:pt x="566" y="162"/>
                  </a:lnTo>
                  <a:lnTo>
                    <a:pt x="566" y="160"/>
                  </a:lnTo>
                  <a:lnTo>
                    <a:pt x="564" y="158"/>
                  </a:lnTo>
                  <a:lnTo>
                    <a:pt x="564" y="158"/>
                  </a:lnTo>
                  <a:lnTo>
                    <a:pt x="564" y="156"/>
                  </a:lnTo>
                  <a:lnTo>
                    <a:pt x="562" y="154"/>
                  </a:lnTo>
                  <a:lnTo>
                    <a:pt x="560" y="154"/>
                  </a:lnTo>
                  <a:lnTo>
                    <a:pt x="558" y="152"/>
                  </a:lnTo>
                  <a:lnTo>
                    <a:pt x="556" y="152"/>
                  </a:lnTo>
                  <a:lnTo>
                    <a:pt x="556" y="152"/>
                  </a:lnTo>
                  <a:lnTo>
                    <a:pt x="552" y="152"/>
                  </a:lnTo>
                  <a:lnTo>
                    <a:pt x="550" y="150"/>
                  </a:lnTo>
                  <a:lnTo>
                    <a:pt x="548" y="150"/>
                  </a:lnTo>
                  <a:lnTo>
                    <a:pt x="548" y="150"/>
                  </a:lnTo>
                  <a:lnTo>
                    <a:pt x="546" y="150"/>
                  </a:lnTo>
                  <a:lnTo>
                    <a:pt x="544" y="150"/>
                  </a:lnTo>
                  <a:lnTo>
                    <a:pt x="542" y="148"/>
                  </a:lnTo>
                  <a:lnTo>
                    <a:pt x="540" y="146"/>
                  </a:lnTo>
                  <a:lnTo>
                    <a:pt x="538" y="144"/>
                  </a:lnTo>
                  <a:lnTo>
                    <a:pt x="538" y="142"/>
                  </a:lnTo>
                  <a:lnTo>
                    <a:pt x="536" y="140"/>
                  </a:lnTo>
                  <a:lnTo>
                    <a:pt x="534" y="138"/>
                  </a:lnTo>
                  <a:lnTo>
                    <a:pt x="534" y="136"/>
                  </a:lnTo>
                  <a:lnTo>
                    <a:pt x="534" y="134"/>
                  </a:lnTo>
                  <a:lnTo>
                    <a:pt x="532" y="132"/>
                  </a:lnTo>
                  <a:lnTo>
                    <a:pt x="532" y="132"/>
                  </a:lnTo>
                  <a:lnTo>
                    <a:pt x="532" y="132"/>
                  </a:lnTo>
                  <a:lnTo>
                    <a:pt x="530" y="132"/>
                  </a:lnTo>
                  <a:lnTo>
                    <a:pt x="530" y="132"/>
                  </a:lnTo>
                  <a:lnTo>
                    <a:pt x="528" y="132"/>
                  </a:lnTo>
                  <a:lnTo>
                    <a:pt x="526" y="132"/>
                  </a:lnTo>
                  <a:lnTo>
                    <a:pt x="524" y="132"/>
                  </a:lnTo>
                  <a:lnTo>
                    <a:pt x="522" y="132"/>
                  </a:lnTo>
                  <a:lnTo>
                    <a:pt x="520" y="132"/>
                  </a:lnTo>
                  <a:lnTo>
                    <a:pt x="520" y="132"/>
                  </a:lnTo>
                  <a:lnTo>
                    <a:pt x="518" y="132"/>
                  </a:lnTo>
                  <a:lnTo>
                    <a:pt x="518" y="132"/>
                  </a:lnTo>
                  <a:lnTo>
                    <a:pt x="518" y="132"/>
                  </a:lnTo>
                  <a:lnTo>
                    <a:pt x="518" y="132"/>
                  </a:lnTo>
                  <a:lnTo>
                    <a:pt x="516" y="130"/>
                  </a:lnTo>
                  <a:lnTo>
                    <a:pt x="516" y="130"/>
                  </a:lnTo>
                  <a:lnTo>
                    <a:pt x="516" y="128"/>
                  </a:lnTo>
                  <a:lnTo>
                    <a:pt x="516" y="126"/>
                  </a:lnTo>
                  <a:lnTo>
                    <a:pt x="516" y="122"/>
                  </a:lnTo>
                  <a:lnTo>
                    <a:pt x="516" y="122"/>
                  </a:lnTo>
                  <a:lnTo>
                    <a:pt x="514" y="120"/>
                  </a:lnTo>
                  <a:lnTo>
                    <a:pt x="514" y="120"/>
                  </a:lnTo>
                  <a:lnTo>
                    <a:pt x="514" y="120"/>
                  </a:lnTo>
                  <a:lnTo>
                    <a:pt x="512" y="118"/>
                  </a:lnTo>
                  <a:lnTo>
                    <a:pt x="512" y="118"/>
                  </a:lnTo>
                  <a:lnTo>
                    <a:pt x="510" y="118"/>
                  </a:lnTo>
                  <a:lnTo>
                    <a:pt x="508" y="116"/>
                  </a:lnTo>
                  <a:lnTo>
                    <a:pt x="506" y="116"/>
                  </a:lnTo>
                  <a:lnTo>
                    <a:pt x="504" y="116"/>
                  </a:lnTo>
                  <a:lnTo>
                    <a:pt x="502" y="116"/>
                  </a:lnTo>
                  <a:lnTo>
                    <a:pt x="498" y="116"/>
                  </a:lnTo>
                  <a:lnTo>
                    <a:pt x="494" y="116"/>
                  </a:lnTo>
                  <a:lnTo>
                    <a:pt x="492" y="116"/>
                  </a:lnTo>
                  <a:lnTo>
                    <a:pt x="490" y="116"/>
                  </a:lnTo>
                  <a:lnTo>
                    <a:pt x="488" y="116"/>
                  </a:lnTo>
                  <a:lnTo>
                    <a:pt x="484" y="114"/>
                  </a:lnTo>
                  <a:lnTo>
                    <a:pt x="482" y="114"/>
                  </a:lnTo>
                  <a:lnTo>
                    <a:pt x="480" y="114"/>
                  </a:lnTo>
                  <a:lnTo>
                    <a:pt x="478" y="114"/>
                  </a:lnTo>
                  <a:lnTo>
                    <a:pt x="476" y="112"/>
                  </a:lnTo>
                  <a:lnTo>
                    <a:pt x="476" y="112"/>
                  </a:lnTo>
                  <a:lnTo>
                    <a:pt x="474" y="112"/>
                  </a:lnTo>
                  <a:lnTo>
                    <a:pt x="472" y="110"/>
                  </a:lnTo>
                  <a:lnTo>
                    <a:pt x="472" y="108"/>
                  </a:lnTo>
                  <a:lnTo>
                    <a:pt x="470" y="106"/>
                  </a:lnTo>
                  <a:lnTo>
                    <a:pt x="470" y="106"/>
                  </a:lnTo>
                  <a:lnTo>
                    <a:pt x="470" y="106"/>
                  </a:lnTo>
                  <a:lnTo>
                    <a:pt x="470" y="106"/>
                  </a:lnTo>
                  <a:lnTo>
                    <a:pt x="468" y="106"/>
                  </a:lnTo>
                  <a:lnTo>
                    <a:pt x="468" y="106"/>
                  </a:lnTo>
                  <a:lnTo>
                    <a:pt x="466" y="106"/>
                  </a:lnTo>
                  <a:lnTo>
                    <a:pt x="466" y="108"/>
                  </a:lnTo>
                  <a:lnTo>
                    <a:pt x="464" y="108"/>
                  </a:lnTo>
                  <a:lnTo>
                    <a:pt x="462" y="110"/>
                  </a:lnTo>
                  <a:lnTo>
                    <a:pt x="460" y="110"/>
                  </a:lnTo>
                  <a:lnTo>
                    <a:pt x="460" y="112"/>
                  </a:lnTo>
                  <a:lnTo>
                    <a:pt x="458" y="112"/>
                  </a:lnTo>
                  <a:lnTo>
                    <a:pt x="456" y="112"/>
                  </a:lnTo>
                  <a:lnTo>
                    <a:pt x="454" y="112"/>
                  </a:lnTo>
                  <a:lnTo>
                    <a:pt x="452" y="112"/>
                  </a:lnTo>
                  <a:lnTo>
                    <a:pt x="452" y="112"/>
                  </a:lnTo>
                  <a:lnTo>
                    <a:pt x="450" y="112"/>
                  </a:lnTo>
                  <a:lnTo>
                    <a:pt x="448" y="110"/>
                  </a:lnTo>
                  <a:lnTo>
                    <a:pt x="446" y="110"/>
                  </a:lnTo>
                  <a:lnTo>
                    <a:pt x="444" y="110"/>
                  </a:lnTo>
                  <a:lnTo>
                    <a:pt x="442" y="106"/>
                  </a:lnTo>
                  <a:lnTo>
                    <a:pt x="438" y="104"/>
                  </a:lnTo>
                  <a:lnTo>
                    <a:pt x="438" y="104"/>
                  </a:lnTo>
                  <a:lnTo>
                    <a:pt x="436" y="102"/>
                  </a:lnTo>
                  <a:lnTo>
                    <a:pt x="434" y="98"/>
                  </a:lnTo>
                  <a:lnTo>
                    <a:pt x="432" y="96"/>
                  </a:lnTo>
                  <a:lnTo>
                    <a:pt x="432" y="94"/>
                  </a:lnTo>
                  <a:lnTo>
                    <a:pt x="430" y="92"/>
                  </a:lnTo>
                  <a:lnTo>
                    <a:pt x="430" y="92"/>
                  </a:lnTo>
                  <a:lnTo>
                    <a:pt x="428" y="90"/>
                  </a:lnTo>
                  <a:lnTo>
                    <a:pt x="424" y="88"/>
                  </a:lnTo>
                  <a:lnTo>
                    <a:pt x="420" y="88"/>
                  </a:lnTo>
                  <a:lnTo>
                    <a:pt x="418" y="86"/>
                  </a:lnTo>
                  <a:lnTo>
                    <a:pt x="414" y="86"/>
                  </a:lnTo>
                  <a:lnTo>
                    <a:pt x="412" y="84"/>
                  </a:lnTo>
                  <a:lnTo>
                    <a:pt x="408" y="84"/>
                  </a:lnTo>
                  <a:lnTo>
                    <a:pt x="404" y="84"/>
                  </a:lnTo>
                  <a:lnTo>
                    <a:pt x="402" y="84"/>
                  </a:lnTo>
                  <a:lnTo>
                    <a:pt x="396" y="84"/>
                  </a:lnTo>
                  <a:lnTo>
                    <a:pt x="392" y="84"/>
                  </a:lnTo>
                  <a:lnTo>
                    <a:pt x="388" y="86"/>
                  </a:lnTo>
                  <a:lnTo>
                    <a:pt x="386" y="86"/>
                  </a:lnTo>
                  <a:lnTo>
                    <a:pt x="382" y="86"/>
                  </a:lnTo>
                  <a:lnTo>
                    <a:pt x="382" y="88"/>
                  </a:lnTo>
                  <a:lnTo>
                    <a:pt x="380" y="88"/>
                  </a:lnTo>
                  <a:lnTo>
                    <a:pt x="378" y="88"/>
                  </a:lnTo>
                  <a:lnTo>
                    <a:pt x="378" y="88"/>
                  </a:lnTo>
                  <a:lnTo>
                    <a:pt x="378" y="90"/>
                  </a:lnTo>
                  <a:lnTo>
                    <a:pt x="376" y="90"/>
                  </a:lnTo>
                  <a:lnTo>
                    <a:pt x="376" y="92"/>
                  </a:lnTo>
                  <a:lnTo>
                    <a:pt x="376" y="94"/>
                  </a:lnTo>
                  <a:lnTo>
                    <a:pt x="376" y="96"/>
                  </a:lnTo>
                  <a:lnTo>
                    <a:pt x="374" y="96"/>
                  </a:lnTo>
                  <a:lnTo>
                    <a:pt x="374" y="98"/>
                  </a:lnTo>
                  <a:lnTo>
                    <a:pt x="372" y="100"/>
                  </a:lnTo>
                  <a:lnTo>
                    <a:pt x="370" y="100"/>
                  </a:lnTo>
                  <a:lnTo>
                    <a:pt x="368" y="102"/>
                  </a:lnTo>
                  <a:lnTo>
                    <a:pt x="366" y="104"/>
                  </a:lnTo>
                  <a:lnTo>
                    <a:pt x="364" y="104"/>
                  </a:lnTo>
                  <a:lnTo>
                    <a:pt x="364" y="104"/>
                  </a:lnTo>
                  <a:lnTo>
                    <a:pt x="362" y="104"/>
                  </a:lnTo>
                  <a:lnTo>
                    <a:pt x="362" y="104"/>
                  </a:lnTo>
                  <a:lnTo>
                    <a:pt x="362" y="104"/>
                  </a:lnTo>
                  <a:lnTo>
                    <a:pt x="360" y="104"/>
                  </a:lnTo>
                  <a:lnTo>
                    <a:pt x="360" y="102"/>
                  </a:lnTo>
                  <a:lnTo>
                    <a:pt x="360" y="102"/>
                  </a:lnTo>
                  <a:lnTo>
                    <a:pt x="360" y="102"/>
                  </a:lnTo>
                  <a:lnTo>
                    <a:pt x="360" y="102"/>
                  </a:lnTo>
                  <a:lnTo>
                    <a:pt x="362" y="100"/>
                  </a:lnTo>
                  <a:lnTo>
                    <a:pt x="362" y="98"/>
                  </a:lnTo>
                  <a:lnTo>
                    <a:pt x="364" y="96"/>
                  </a:lnTo>
                  <a:lnTo>
                    <a:pt x="366" y="94"/>
                  </a:lnTo>
                  <a:lnTo>
                    <a:pt x="366" y="92"/>
                  </a:lnTo>
                  <a:lnTo>
                    <a:pt x="368" y="92"/>
                  </a:lnTo>
                  <a:lnTo>
                    <a:pt x="368" y="90"/>
                  </a:lnTo>
                  <a:lnTo>
                    <a:pt x="370" y="86"/>
                  </a:lnTo>
                  <a:lnTo>
                    <a:pt x="372" y="86"/>
                  </a:lnTo>
                  <a:lnTo>
                    <a:pt x="374" y="84"/>
                  </a:lnTo>
                  <a:lnTo>
                    <a:pt x="374" y="82"/>
                  </a:lnTo>
                  <a:lnTo>
                    <a:pt x="374" y="82"/>
                  </a:lnTo>
                  <a:lnTo>
                    <a:pt x="374" y="82"/>
                  </a:lnTo>
                  <a:lnTo>
                    <a:pt x="374" y="80"/>
                  </a:lnTo>
                  <a:lnTo>
                    <a:pt x="374" y="80"/>
                  </a:lnTo>
                  <a:lnTo>
                    <a:pt x="372" y="78"/>
                  </a:lnTo>
                  <a:lnTo>
                    <a:pt x="372" y="78"/>
                  </a:lnTo>
                  <a:lnTo>
                    <a:pt x="370" y="78"/>
                  </a:lnTo>
                  <a:lnTo>
                    <a:pt x="368" y="76"/>
                  </a:lnTo>
                  <a:lnTo>
                    <a:pt x="368" y="76"/>
                  </a:lnTo>
                  <a:lnTo>
                    <a:pt x="366" y="76"/>
                  </a:lnTo>
                  <a:lnTo>
                    <a:pt x="364" y="74"/>
                  </a:lnTo>
                  <a:lnTo>
                    <a:pt x="362" y="74"/>
                  </a:lnTo>
                  <a:lnTo>
                    <a:pt x="360" y="74"/>
                  </a:lnTo>
                  <a:lnTo>
                    <a:pt x="356" y="74"/>
                  </a:lnTo>
                  <a:lnTo>
                    <a:pt x="356" y="74"/>
                  </a:lnTo>
                  <a:lnTo>
                    <a:pt x="354" y="76"/>
                  </a:lnTo>
                  <a:lnTo>
                    <a:pt x="354" y="76"/>
                  </a:lnTo>
                  <a:lnTo>
                    <a:pt x="352" y="76"/>
                  </a:lnTo>
                  <a:lnTo>
                    <a:pt x="350" y="78"/>
                  </a:lnTo>
                  <a:lnTo>
                    <a:pt x="348" y="80"/>
                  </a:lnTo>
                  <a:lnTo>
                    <a:pt x="346" y="82"/>
                  </a:lnTo>
                  <a:lnTo>
                    <a:pt x="344" y="84"/>
                  </a:lnTo>
                  <a:lnTo>
                    <a:pt x="340" y="88"/>
                  </a:lnTo>
                  <a:lnTo>
                    <a:pt x="336" y="92"/>
                  </a:lnTo>
                  <a:lnTo>
                    <a:pt x="336" y="94"/>
                  </a:lnTo>
                  <a:lnTo>
                    <a:pt x="334" y="96"/>
                  </a:lnTo>
                  <a:lnTo>
                    <a:pt x="332" y="98"/>
                  </a:lnTo>
                  <a:lnTo>
                    <a:pt x="330" y="100"/>
                  </a:lnTo>
                  <a:lnTo>
                    <a:pt x="330" y="100"/>
                  </a:lnTo>
                  <a:lnTo>
                    <a:pt x="328" y="102"/>
                  </a:lnTo>
                  <a:lnTo>
                    <a:pt x="326" y="104"/>
                  </a:lnTo>
                  <a:lnTo>
                    <a:pt x="326" y="104"/>
                  </a:lnTo>
                  <a:lnTo>
                    <a:pt x="324" y="106"/>
                  </a:lnTo>
                  <a:lnTo>
                    <a:pt x="322" y="106"/>
                  </a:lnTo>
                  <a:lnTo>
                    <a:pt x="322" y="106"/>
                  </a:lnTo>
                  <a:lnTo>
                    <a:pt x="322" y="106"/>
                  </a:lnTo>
                  <a:lnTo>
                    <a:pt x="320" y="106"/>
                  </a:lnTo>
                  <a:lnTo>
                    <a:pt x="320" y="106"/>
                  </a:lnTo>
                  <a:lnTo>
                    <a:pt x="320" y="104"/>
                  </a:lnTo>
                  <a:lnTo>
                    <a:pt x="320" y="104"/>
                  </a:lnTo>
                  <a:lnTo>
                    <a:pt x="320" y="104"/>
                  </a:lnTo>
                  <a:lnTo>
                    <a:pt x="320" y="104"/>
                  </a:lnTo>
                  <a:lnTo>
                    <a:pt x="320" y="102"/>
                  </a:lnTo>
                  <a:lnTo>
                    <a:pt x="320" y="100"/>
                  </a:lnTo>
                  <a:lnTo>
                    <a:pt x="320" y="98"/>
                  </a:lnTo>
                  <a:lnTo>
                    <a:pt x="322" y="98"/>
                  </a:lnTo>
                  <a:lnTo>
                    <a:pt x="322" y="96"/>
                  </a:lnTo>
                  <a:lnTo>
                    <a:pt x="324" y="94"/>
                  </a:lnTo>
                  <a:lnTo>
                    <a:pt x="326" y="90"/>
                  </a:lnTo>
                  <a:lnTo>
                    <a:pt x="330" y="88"/>
                  </a:lnTo>
                  <a:lnTo>
                    <a:pt x="332" y="84"/>
                  </a:lnTo>
                  <a:lnTo>
                    <a:pt x="334" y="82"/>
                  </a:lnTo>
                  <a:lnTo>
                    <a:pt x="336" y="80"/>
                  </a:lnTo>
                  <a:lnTo>
                    <a:pt x="338" y="76"/>
                  </a:lnTo>
                  <a:lnTo>
                    <a:pt x="340" y="74"/>
                  </a:lnTo>
                  <a:lnTo>
                    <a:pt x="342" y="72"/>
                  </a:lnTo>
                  <a:lnTo>
                    <a:pt x="344" y="68"/>
                  </a:lnTo>
                  <a:lnTo>
                    <a:pt x="346" y="64"/>
                  </a:lnTo>
                  <a:lnTo>
                    <a:pt x="346" y="60"/>
                  </a:lnTo>
                  <a:lnTo>
                    <a:pt x="348" y="58"/>
                  </a:lnTo>
                  <a:lnTo>
                    <a:pt x="350" y="56"/>
                  </a:lnTo>
                  <a:lnTo>
                    <a:pt x="350" y="54"/>
                  </a:lnTo>
                  <a:lnTo>
                    <a:pt x="352" y="52"/>
                  </a:lnTo>
                  <a:lnTo>
                    <a:pt x="352" y="50"/>
                  </a:lnTo>
                  <a:lnTo>
                    <a:pt x="352" y="50"/>
                  </a:lnTo>
                  <a:lnTo>
                    <a:pt x="352" y="48"/>
                  </a:lnTo>
                  <a:lnTo>
                    <a:pt x="352" y="48"/>
                  </a:lnTo>
                  <a:lnTo>
                    <a:pt x="352" y="46"/>
                  </a:lnTo>
                  <a:lnTo>
                    <a:pt x="352" y="44"/>
                  </a:lnTo>
                  <a:lnTo>
                    <a:pt x="350" y="40"/>
                  </a:lnTo>
                  <a:lnTo>
                    <a:pt x="348" y="36"/>
                  </a:lnTo>
                  <a:lnTo>
                    <a:pt x="346" y="32"/>
                  </a:lnTo>
                  <a:lnTo>
                    <a:pt x="344" y="30"/>
                  </a:lnTo>
                  <a:lnTo>
                    <a:pt x="342" y="26"/>
                  </a:lnTo>
                  <a:lnTo>
                    <a:pt x="340" y="24"/>
                  </a:lnTo>
                  <a:lnTo>
                    <a:pt x="340" y="22"/>
                  </a:lnTo>
                  <a:lnTo>
                    <a:pt x="338" y="22"/>
                  </a:lnTo>
                  <a:lnTo>
                    <a:pt x="336" y="20"/>
                  </a:lnTo>
                  <a:lnTo>
                    <a:pt x="332" y="16"/>
                  </a:lnTo>
                  <a:lnTo>
                    <a:pt x="332" y="16"/>
                  </a:lnTo>
                  <a:lnTo>
                    <a:pt x="328" y="16"/>
                  </a:lnTo>
                  <a:lnTo>
                    <a:pt x="326" y="14"/>
                  </a:lnTo>
                  <a:lnTo>
                    <a:pt x="324" y="14"/>
                  </a:lnTo>
                  <a:lnTo>
                    <a:pt x="322" y="14"/>
                  </a:lnTo>
                  <a:lnTo>
                    <a:pt x="322" y="16"/>
                  </a:lnTo>
                  <a:lnTo>
                    <a:pt x="320" y="16"/>
                  </a:lnTo>
                  <a:lnTo>
                    <a:pt x="320" y="16"/>
                  </a:lnTo>
                  <a:lnTo>
                    <a:pt x="318" y="18"/>
                  </a:lnTo>
                  <a:lnTo>
                    <a:pt x="316" y="18"/>
                  </a:lnTo>
                  <a:lnTo>
                    <a:pt x="314" y="22"/>
                  </a:lnTo>
                  <a:lnTo>
                    <a:pt x="314" y="24"/>
                  </a:lnTo>
                  <a:lnTo>
                    <a:pt x="312" y="26"/>
                  </a:lnTo>
                  <a:lnTo>
                    <a:pt x="310" y="28"/>
                  </a:lnTo>
                  <a:lnTo>
                    <a:pt x="308" y="32"/>
                  </a:lnTo>
                  <a:lnTo>
                    <a:pt x="308" y="34"/>
                  </a:lnTo>
                  <a:lnTo>
                    <a:pt x="306" y="36"/>
                  </a:lnTo>
                  <a:lnTo>
                    <a:pt x="306" y="38"/>
                  </a:lnTo>
                  <a:lnTo>
                    <a:pt x="306" y="38"/>
                  </a:lnTo>
                  <a:lnTo>
                    <a:pt x="304" y="40"/>
                  </a:lnTo>
                  <a:lnTo>
                    <a:pt x="304" y="40"/>
                  </a:lnTo>
                  <a:lnTo>
                    <a:pt x="304" y="40"/>
                  </a:lnTo>
                  <a:lnTo>
                    <a:pt x="302" y="40"/>
                  </a:lnTo>
                  <a:lnTo>
                    <a:pt x="302" y="42"/>
                  </a:lnTo>
                  <a:lnTo>
                    <a:pt x="300" y="42"/>
                  </a:lnTo>
                  <a:lnTo>
                    <a:pt x="296" y="42"/>
                  </a:lnTo>
                  <a:lnTo>
                    <a:pt x="294" y="40"/>
                  </a:lnTo>
                  <a:lnTo>
                    <a:pt x="292" y="40"/>
                  </a:lnTo>
                  <a:lnTo>
                    <a:pt x="292" y="40"/>
                  </a:lnTo>
                  <a:lnTo>
                    <a:pt x="290" y="40"/>
                  </a:lnTo>
                  <a:lnTo>
                    <a:pt x="288" y="38"/>
                  </a:lnTo>
                  <a:lnTo>
                    <a:pt x="288" y="38"/>
                  </a:lnTo>
                  <a:lnTo>
                    <a:pt x="286" y="36"/>
                  </a:lnTo>
                  <a:lnTo>
                    <a:pt x="284" y="34"/>
                  </a:lnTo>
                  <a:lnTo>
                    <a:pt x="284" y="32"/>
                  </a:lnTo>
                  <a:lnTo>
                    <a:pt x="280" y="32"/>
                  </a:lnTo>
                  <a:lnTo>
                    <a:pt x="278" y="32"/>
                  </a:lnTo>
                  <a:lnTo>
                    <a:pt x="274" y="32"/>
                  </a:lnTo>
                  <a:lnTo>
                    <a:pt x="270" y="32"/>
                  </a:lnTo>
                  <a:lnTo>
                    <a:pt x="268" y="32"/>
                  </a:lnTo>
                  <a:lnTo>
                    <a:pt x="266" y="32"/>
                  </a:lnTo>
                  <a:lnTo>
                    <a:pt x="266" y="32"/>
                  </a:lnTo>
                  <a:lnTo>
                    <a:pt x="264" y="32"/>
                  </a:lnTo>
                  <a:lnTo>
                    <a:pt x="262" y="32"/>
                  </a:lnTo>
                  <a:lnTo>
                    <a:pt x="262" y="34"/>
                  </a:lnTo>
                  <a:lnTo>
                    <a:pt x="262" y="34"/>
                  </a:lnTo>
                  <a:lnTo>
                    <a:pt x="262" y="34"/>
                  </a:lnTo>
                  <a:lnTo>
                    <a:pt x="262" y="36"/>
                  </a:lnTo>
                  <a:lnTo>
                    <a:pt x="262" y="36"/>
                  </a:lnTo>
                  <a:lnTo>
                    <a:pt x="262" y="38"/>
                  </a:lnTo>
                  <a:lnTo>
                    <a:pt x="262" y="40"/>
                  </a:lnTo>
                  <a:lnTo>
                    <a:pt x="262" y="42"/>
                  </a:lnTo>
                  <a:lnTo>
                    <a:pt x="262" y="44"/>
                  </a:lnTo>
                  <a:lnTo>
                    <a:pt x="262" y="44"/>
                  </a:lnTo>
                  <a:lnTo>
                    <a:pt x="262" y="46"/>
                  </a:lnTo>
                  <a:lnTo>
                    <a:pt x="262" y="46"/>
                  </a:lnTo>
                  <a:lnTo>
                    <a:pt x="262" y="46"/>
                  </a:lnTo>
                  <a:lnTo>
                    <a:pt x="260" y="48"/>
                  </a:lnTo>
                  <a:lnTo>
                    <a:pt x="260" y="48"/>
                  </a:lnTo>
                  <a:lnTo>
                    <a:pt x="258" y="48"/>
                  </a:lnTo>
                  <a:lnTo>
                    <a:pt x="258" y="48"/>
                  </a:lnTo>
                  <a:lnTo>
                    <a:pt x="254" y="48"/>
                  </a:lnTo>
                  <a:lnTo>
                    <a:pt x="252" y="48"/>
                  </a:lnTo>
                  <a:lnTo>
                    <a:pt x="248" y="48"/>
                  </a:lnTo>
                  <a:lnTo>
                    <a:pt x="246" y="48"/>
                  </a:lnTo>
                  <a:lnTo>
                    <a:pt x="244" y="48"/>
                  </a:lnTo>
                  <a:lnTo>
                    <a:pt x="242" y="48"/>
                  </a:lnTo>
                  <a:lnTo>
                    <a:pt x="238" y="48"/>
                  </a:lnTo>
                  <a:lnTo>
                    <a:pt x="236" y="48"/>
                  </a:lnTo>
                  <a:lnTo>
                    <a:pt x="234" y="48"/>
                  </a:lnTo>
                  <a:lnTo>
                    <a:pt x="232" y="48"/>
                  </a:lnTo>
                  <a:lnTo>
                    <a:pt x="232" y="48"/>
                  </a:lnTo>
                  <a:lnTo>
                    <a:pt x="232" y="48"/>
                  </a:lnTo>
                  <a:lnTo>
                    <a:pt x="232" y="48"/>
                  </a:lnTo>
                  <a:lnTo>
                    <a:pt x="230" y="50"/>
                  </a:lnTo>
                  <a:lnTo>
                    <a:pt x="230" y="52"/>
                  </a:lnTo>
                  <a:lnTo>
                    <a:pt x="230" y="54"/>
                  </a:lnTo>
                  <a:lnTo>
                    <a:pt x="228" y="54"/>
                  </a:lnTo>
                  <a:lnTo>
                    <a:pt x="228" y="54"/>
                  </a:lnTo>
                  <a:lnTo>
                    <a:pt x="226" y="54"/>
                  </a:lnTo>
                  <a:lnTo>
                    <a:pt x="226" y="54"/>
                  </a:lnTo>
                  <a:lnTo>
                    <a:pt x="224" y="56"/>
                  </a:lnTo>
                  <a:lnTo>
                    <a:pt x="224" y="56"/>
                  </a:lnTo>
                  <a:lnTo>
                    <a:pt x="222" y="56"/>
                  </a:lnTo>
                  <a:lnTo>
                    <a:pt x="220" y="56"/>
                  </a:lnTo>
                  <a:lnTo>
                    <a:pt x="218" y="56"/>
                  </a:lnTo>
                  <a:lnTo>
                    <a:pt x="218" y="54"/>
                  </a:lnTo>
                  <a:lnTo>
                    <a:pt x="216" y="54"/>
                  </a:lnTo>
                  <a:lnTo>
                    <a:pt x="216" y="54"/>
                  </a:lnTo>
                  <a:lnTo>
                    <a:pt x="214" y="52"/>
                  </a:lnTo>
                  <a:lnTo>
                    <a:pt x="214" y="52"/>
                  </a:lnTo>
                  <a:lnTo>
                    <a:pt x="212" y="48"/>
                  </a:lnTo>
                  <a:lnTo>
                    <a:pt x="210" y="46"/>
                  </a:lnTo>
                  <a:lnTo>
                    <a:pt x="208" y="44"/>
                  </a:lnTo>
                  <a:lnTo>
                    <a:pt x="206" y="40"/>
                  </a:lnTo>
                  <a:lnTo>
                    <a:pt x="206" y="38"/>
                  </a:lnTo>
                  <a:lnTo>
                    <a:pt x="204" y="36"/>
                  </a:lnTo>
                  <a:lnTo>
                    <a:pt x="204" y="34"/>
                  </a:lnTo>
                  <a:lnTo>
                    <a:pt x="204" y="32"/>
                  </a:lnTo>
                  <a:lnTo>
                    <a:pt x="204" y="32"/>
                  </a:lnTo>
                  <a:lnTo>
                    <a:pt x="204" y="30"/>
                  </a:lnTo>
                  <a:lnTo>
                    <a:pt x="206" y="28"/>
                  </a:lnTo>
                  <a:lnTo>
                    <a:pt x="206" y="26"/>
                  </a:lnTo>
                  <a:lnTo>
                    <a:pt x="208" y="24"/>
                  </a:lnTo>
                  <a:lnTo>
                    <a:pt x="208" y="22"/>
                  </a:lnTo>
                  <a:lnTo>
                    <a:pt x="208" y="20"/>
                  </a:lnTo>
                  <a:lnTo>
                    <a:pt x="208" y="16"/>
                  </a:lnTo>
                  <a:lnTo>
                    <a:pt x="208" y="14"/>
                  </a:lnTo>
                  <a:lnTo>
                    <a:pt x="208" y="12"/>
                  </a:lnTo>
                  <a:lnTo>
                    <a:pt x="208" y="10"/>
                  </a:lnTo>
                  <a:lnTo>
                    <a:pt x="206" y="8"/>
                  </a:lnTo>
                  <a:lnTo>
                    <a:pt x="206" y="6"/>
                  </a:lnTo>
                  <a:lnTo>
                    <a:pt x="206" y="6"/>
                  </a:lnTo>
                  <a:lnTo>
                    <a:pt x="206" y="4"/>
                  </a:lnTo>
                  <a:lnTo>
                    <a:pt x="204" y="4"/>
                  </a:lnTo>
                  <a:lnTo>
                    <a:pt x="204" y="4"/>
                  </a:lnTo>
                  <a:lnTo>
                    <a:pt x="202" y="2"/>
                  </a:lnTo>
                  <a:lnTo>
                    <a:pt x="200" y="2"/>
                  </a:lnTo>
                  <a:lnTo>
                    <a:pt x="198" y="2"/>
                  </a:lnTo>
                  <a:lnTo>
                    <a:pt x="194" y="0"/>
                  </a:lnTo>
                  <a:lnTo>
                    <a:pt x="194" y="0"/>
                  </a:lnTo>
                  <a:lnTo>
                    <a:pt x="192" y="2"/>
                  </a:lnTo>
                  <a:lnTo>
                    <a:pt x="192" y="4"/>
                  </a:lnTo>
                  <a:lnTo>
                    <a:pt x="192" y="6"/>
                  </a:lnTo>
                  <a:lnTo>
                    <a:pt x="190" y="8"/>
                  </a:lnTo>
                  <a:lnTo>
                    <a:pt x="190" y="10"/>
                  </a:lnTo>
                  <a:lnTo>
                    <a:pt x="190" y="10"/>
                  </a:lnTo>
                  <a:lnTo>
                    <a:pt x="188" y="10"/>
                  </a:lnTo>
                  <a:lnTo>
                    <a:pt x="188" y="10"/>
                  </a:lnTo>
                  <a:lnTo>
                    <a:pt x="186" y="12"/>
                  </a:lnTo>
                  <a:lnTo>
                    <a:pt x="186" y="12"/>
                  </a:lnTo>
                  <a:lnTo>
                    <a:pt x="184" y="12"/>
                  </a:lnTo>
                  <a:lnTo>
                    <a:pt x="180" y="12"/>
                  </a:lnTo>
                  <a:lnTo>
                    <a:pt x="176" y="12"/>
                  </a:lnTo>
                  <a:lnTo>
                    <a:pt x="174" y="10"/>
                  </a:lnTo>
                  <a:lnTo>
                    <a:pt x="170" y="10"/>
                  </a:lnTo>
                  <a:lnTo>
                    <a:pt x="168" y="10"/>
                  </a:lnTo>
                  <a:lnTo>
                    <a:pt x="166" y="10"/>
                  </a:lnTo>
                  <a:lnTo>
                    <a:pt x="164" y="12"/>
                  </a:lnTo>
                  <a:lnTo>
                    <a:pt x="164" y="12"/>
                  </a:lnTo>
                  <a:lnTo>
                    <a:pt x="162" y="12"/>
                  </a:lnTo>
                  <a:lnTo>
                    <a:pt x="162" y="12"/>
                  </a:lnTo>
                  <a:lnTo>
                    <a:pt x="160" y="14"/>
                  </a:lnTo>
                  <a:lnTo>
                    <a:pt x="158" y="16"/>
                  </a:lnTo>
                  <a:lnTo>
                    <a:pt x="158" y="16"/>
                  </a:lnTo>
                  <a:lnTo>
                    <a:pt x="156" y="16"/>
                  </a:lnTo>
                  <a:lnTo>
                    <a:pt x="156" y="18"/>
                  </a:lnTo>
                  <a:lnTo>
                    <a:pt x="156" y="18"/>
                  </a:lnTo>
                  <a:lnTo>
                    <a:pt x="154" y="16"/>
                  </a:lnTo>
                  <a:lnTo>
                    <a:pt x="154" y="16"/>
                  </a:lnTo>
                  <a:lnTo>
                    <a:pt x="154" y="16"/>
                  </a:lnTo>
                  <a:lnTo>
                    <a:pt x="152" y="16"/>
                  </a:lnTo>
                  <a:lnTo>
                    <a:pt x="150" y="14"/>
                  </a:lnTo>
                  <a:lnTo>
                    <a:pt x="150" y="12"/>
                  </a:lnTo>
                  <a:lnTo>
                    <a:pt x="148" y="10"/>
                  </a:lnTo>
                  <a:lnTo>
                    <a:pt x="146" y="8"/>
                  </a:lnTo>
                  <a:lnTo>
                    <a:pt x="146" y="8"/>
                  </a:lnTo>
                  <a:lnTo>
                    <a:pt x="144" y="6"/>
                  </a:lnTo>
                  <a:lnTo>
                    <a:pt x="144" y="6"/>
                  </a:lnTo>
                  <a:lnTo>
                    <a:pt x="142" y="6"/>
                  </a:lnTo>
                  <a:lnTo>
                    <a:pt x="142" y="6"/>
                  </a:lnTo>
                  <a:lnTo>
                    <a:pt x="142" y="6"/>
                  </a:lnTo>
                  <a:lnTo>
                    <a:pt x="140" y="6"/>
                  </a:lnTo>
                  <a:lnTo>
                    <a:pt x="138" y="8"/>
                  </a:lnTo>
                  <a:lnTo>
                    <a:pt x="138" y="8"/>
                  </a:lnTo>
                  <a:lnTo>
                    <a:pt x="136" y="8"/>
                  </a:lnTo>
                  <a:lnTo>
                    <a:pt x="136" y="10"/>
                  </a:lnTo>
                  <a:lnTo>
                    <a:pt x="136" y="10"/>
                  </a:lnTo>
                  <a:lnTo>
                    <a:pt x="134" y="12"/>
                  </a:lnTo>
                  <a:lnTo>
                    <a:pt x="134" y="14"/>
                  </a:lnTo>
                  <a:lnTo>
                    <a:pt x="134" y="18"/>
                  </a:lnTo>
                  <a:lnTo>
                    <a:pt x="134" y="22"/>
                  </a:lnTo>
                  <a:lnTo>
                    <a:pt x="134" y="24"/>
                  </a:lnTo>
                  <a:lnTo>
                    <a:pt x="134" y="26"/>
                  </a:lnTo>
                  <a:lnTo>
                    <a:pt x="134" y="28"/>
                  </a:lnTo>
                  <a:lnTo>
                    <a:pt x="134" y="30"/>
                  </a:lnTo>
                  <a:lnTo>
                    <a:pt x="136" y="30"/>
                  </a:lnTo>
                  <a:lnTo>
                    <a:pt x="136" y="30"/>
                  </a:lnTo>
                  <a:lnTo>
                    <a:pt x="136" y="32"/>
                  </a:lnTo>
                  <a:lnTo>
                    <a:pt x="138" y="32"/>
                  </a:lnTo>
                  <a:lnTo>
                    <a:pt x="138" y="32"/>
                  </a:lnTo>
                  <a:lnTo>
                    <a:pt x="140" y="34"/>
                  </a:lnTo>
                  <a:lnTo>
                    <a:pt x="142" y="34"/>
                  </a:lnTo>
                  <a:lnTo>
                    <a:pt x="144" y="34"/>
                  </a:lnTo>
                  <a:lnTo>
                    <a:pt x="144" y="36"/>
                  </a:lnTo>
                  <a:lnTo>
                    <a:pt x="146" y="36"/>
                  </a:lnTo>
                  <a:lnTo>
                    <a:pt x="146" y="36"/>
                  </a:lnTo>
                  <a:lnTo>
                    <a:pt x="146" y="38"/>
                  </a:lnTo>
                  <a:lnTo>
                    <a:pt x="146" y="38"/>
                  </a:lnTo>
                  <a:lnTo>
                    <a:pt x="146" y="40"/>
                  </a:lnTo>
                  <a:lnTo>
                    <a:pt x="146" y="42"/>
                  </a:lnTo>
                  <a:lnTo>
                    <a:pt x="146" y="44"/>
                  </a:lnTo>
                  <a:lnTo>
                    <a:pt x="146" y="44"/>
                  </a:lnTo>
                  <a:lnTo>
                    <a:pt x="146" y="46"/>
                  </a:lnTo>
                  <a:lnTo>
                    <a:pt x="146" y="48"/>
                  </a:lnTo>
                  <a:lnTo>
                    <a:pt x="146" y="48"/>
                  </a:lnTo>
                  <a:lnTo>
                    <a:pt x="144" y="50"/>
                  </a:lnTo>
                  <a:lnTo>
                    <a:pt x="142" y="52"/>
                  </a:lnTo>
                  <a:lnTo>
                    <a:pt x="140" y="54"/>
                  </a:lnTo>
                  <a:lnTo>
                    <a:pt x="138" y="54"/>
                  </a:lnTo>
                  <a:lnTo>
                    <a:pt x="136" y="56"/>
                  </a:lnTo>
                  <a:lnTo>
                    <a:pt x="134" y="56"/>
                  </a:lnTo>
                  <a:lnTo>
                    <a:pt x="134" y="58"/>
                  </a:lnTo>
                  <a:lnTo>
                    <a:pt x="132" y="58"/>
                  </a:lnTo>
                  <a:lnTo>
                    <a:pt x="130" y="58"/>
                  </a:lnTo>
                  <a:lnTo>
                    <a:pt x="128" y="58"/>
                  </a:lnTo>
                  <a:lnTo>
                    <a:pt x="126" y="60"/>
                  </a:lnTo>
                  <a:lnTo>
                    <a:pt x="124" y="60"/>
                  </a:lnTo>
                  <a:lnTo>
                    <a:pt x="122" y="60"/>
                  </a:lnTo>
                  <a:lnTo>
                    <a:pt x="120" y="60"/>
                  </a:lnTo>
                  <a:lnTo>
                    <a:pt x="118" y="60"/>
                  </a:lnTo>
                  <a:lnTo>
                    <a:pt x="118" y="60"/>
                  </a:lnTo>
                  <a:lnTo>
                    <a:pt x="116" y="58"/>
                  </a:lnTo>
                  <a:lnTo>
                    <a:pt x="112" y="58"/>
                  </a:lnTo>
                  <a:lnTo>
                    <a:pt x="110" y="56"/>
                  </a:lnTo>
                  <a:lnTo>
                    <a:pt x="108" y="54"/>
                  </a:lnTo>
                  <a:lnTo>
                    <a:pt x="108" y="54"/>
                  </a:lnTo>
                  <a:lnTo>
                    <a:pt x="106" y="52"/>
                  </a:lnTo>
                  <a:lnTo>
                    <a:pt x="106" y="52"/>
                  </a:lnTo>
                  <a:lnTo>
                    <a:pt x="104" y="48"/>
                  </a:lnTo>
                  <a:lnTo>
                    <a:pt x="102" y="46"/>
                  </a:lnTo>
                  <a:lnTo>
                    <a:pt x="100" y="44"/>
                  </a:lnTo>
                  <a:lnTo>
                    <a:pt x="100" y="44"/>
                  </a:lnTo>
                  <a:lnTo>
                    <a:pt x="98" y="42"/>
                  </a:lnTo>
                  <a:lnTo>
                    <a:pt x="98" y="42"/>
                  </a:lnTo>
                  <a:lnTo>
                    <a:pt x="94" y="42"/>
                  </a:lnTo>
                  <a:lnTo>
                    <a:pt x="90" y="4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1" name="Freeform 469"/>
            <p:cNvSpPr>
              <a:spLocks/>
            </p:cNvSpPr>
            <p:nvPr/>
          </p:nvSpPr>
          <p:spPr bwMode="auto">
            <a:xfrm>
              <a:off x="2727665" y="5214331"/>
              <a:ext cx="228634" cy="256347"/>
            </a:xfrm>
            <a:custGeom>
              <a:avLst/>
              <a:gdLst>
                <a:gd name="T0" fmla="*/ 22 w 132"/>
                <a:gd name="T1" fmla="*/ 70 h 148"/>
                <a:gd name="T2" fmla="*/ 26 w 132"/>
                <a:gd name="T3" fmla="*/ 76 h 148"/>
                <a:gd name="T4" fmla="*/ 32 w 132"/>
                <a:gd name="T5" fmla="*/ 78 h 148"/>
                <a:gd name="T6" fmla="*/ 40 w 132"/>
                <a:gd name="T7" fmla="*/ 84 h 148"/>
                <a:gd name="T8" fmla="*/ 44 w 132"/>
                <a:gd name="T9" fmla="*/ 90 h 148"/>
                <a:gd name="T10" fmla="*/ 46 w 132"/>
                <a:gd name="T11" fmla="*/ 96 h 148"/>
                <a:gd name="T12" fmla="*/ 50 w 132"/>
                <a:gd name="T13" fmla="*/ 98 h 148"/>
                <a:gd name="T14" fmla="*/ 60 w 132"/>
                <a:gd name="T15" fmla="*/ 98 h 148"/>
                <a:gd name="T16" fmla="*/ 68 w 132"/>
                <a:gd name="T17" fmla="*/ 100 h 148"/>
                <a:gd name="T18" fmla="*/ 76 w 132"/>
                <a:gd name="T19" fmla="*/ 104 h 148"/>
                <a:gd name="T20" fmla="*/ 78 w 132"/>
                <a:gd name="T21" fmla="*/ 108 h 148"/>
                <a:gd name="T22" fmla="*/ 76 w 132"/>
                <a:gd name="T23" fmla="*/ 114 h 148"/>
                <a:gd name="T24" fmla="*/ 72 w 132"/>
                <a:gd name="T25" fmla="*/ 128 h 148"/>
                <a:gd name="T26" fmla="*/ 68 w 132"/>
                <a:gd name="T27" fmla="*/ 138 h 148"/>
                <a:gd name="T28" fmla="*/ 68 w 132"/>
                <a:gd name="T29" fmla="*/ 142 h 148"/>
                <a:gd name="T30" fmla="*/ 70 w 132"/>
                <a:gd name="T31" fmla="*/ 144 h 148"/>
                <a:gd name="T32" fmla="*/ 80 w 132"/>
                <a:gd name="T33" fmla="*/ 148 h 148"/>
                <a:gd name="T34" fmla="*/ 94 w 132"/>
                <a:gd name="T35" fmla="*/ 148 h 148"/>
                <a:gd name="T36" fmla="*/ 108 w 132"/>
                <a:gd name="T37" fmla="*/ 146 h 148"/>
                <a:gd name="T38" fmla="*/ 114 w 132"/>
                <a:gd name="T39" fmla="*/ 142 h 148"/>
                <a:gd name="T40" fmla="*/ 114 w 132"/>
                <a:gd name="T41" fmla="*/ 140 h 148"/>
                <a:gd name="T42" fmla="*/ 116 w 132"/>
                <a:gd name="T43" fmla="*/ 134 h 148"/>
                <a:gd name="T44" fmla="*/ 124 w 132"/>
                <a:gd name="T45" fmla="*/ 130 h 148"/>
                <a:gd name="T46" fmla="*/ 128 w 132"/>
                <a:gd name="T47" fmla="*/ 122 h 148"/>
                <a:gd name="T48" fmla="*/ 130 w 132"/>
                <a:gd name="T49" fmla="*/ 114 h 148"/>
                <a:gd name="T50" fmla="*/ 128 w 132"/>
                <a:gd name="T51" fmla="*/ 106 h 148"/>
                <a:gd name="T52" fmla="*/ 130 w 132"/>
                <a:gd name="T53" fmla="*/ 86 h 148"/>
                <a:gd name="T54" fmla="*/ 128 w 132"/>
                <a:gd name="T55" fmla="*/ 78 h 148"/>
                <a:gd name="T56" fmla="*/ 124 w 132"/>
                <a:gd name="T57" fmla="*/ 76 h 148"/>
                <a:gd name="T58" fmla="*/ 120 w 132"/>
                <a:gd name="T59" fmla="*/ 76 h 148"/>
                <a:gd name="T60" fmla="*/ 114 w 132"/>
                <a:gd name="T61" fmla="*/ 76 h 148"/>
                <a:gd name="T62" fmla="*/ 112 w 132"/>
                <a:gd name="T63" fmla="*/ 74 h 148"/>
                <a:gd name="T64" fmla="*/ 112 w 132"/>
                <a:gd name="T65" fmla="*/ 66 h 148"/>
                <a:gd name="T66" fmla="*/ 114 w 132"/>
                <a:gd name="T67" fmla="*/ 60 h 148"/>
                <a:gd name="T68" fmla="*/ 110 w 132"/>
                <a:gd name="T69" fmla="*/ 58 h 148"/>
                <a:gd name="T70" fmla="*/ 106 w 132"/>
                <a:gd name="T71" fmla="*/ 58 h 148"/>
                <a:gd name="T72" fmla="*/ 96 w 132"/>
                <a:gd name="T73" fmla="*/ 58 h 148"/>
                <a:gd name="T74" fmla="*/ 90 w 132"/>
                <a:gd name="T75" fmla="*/ 54 h 148"/>
                <a:gd name="T76" fmla="*/ 88 w 132"/>
                <a:gd name="T77" fmla="*/ 48 h 148"/>
                <a:gd name="T78" fmla="*/ 86 w 132"/>
                <a:gd name="T79" fmla="*/ 46 h 148"/>
                <a:gd name="T80" fmla="*/ 78 w 132"/>
                <a:gd name="T81" fmla="*/ 46 h 148"/>
                <a:gd name="T82" fmla="*/ 74 w 132"/>
                <a:gd name="T83" fmla="*/ 44 h 148"/>
                <a:gd name="T84" fmla="*/ 72 w 132"/>
                <a:gd name="T85" fmla="*/ 40 h 148"/>
                <a:gd name="T86" fmla="*/ 72 w 132"/>
                <a:gd name="T87" fmla="*/ 32 h 148"/>
                <a:gd name="T88" fmla="*/ 72 w 132"/>
                <a:gd name="T89" fmla="*/ 32 h 148"/>
                <a:gd name="T90" fmla="*/ 66 w 132"/>
                <a:gd name="T91" fmla="*/ 30 h 148"/>
                <a:gd name="T92" fmla="*/ 62 w 132"/>
                <a:gd name="T93" fmla="*/ 28 h 148"/>
                <a:gd name="T94" fmla="*/ 62 w 132"/>
                <a:gd name="T95" fmla="*/ 24 h 148"/>
                <a:gd name="T96" fmla="*/ 60 w 132"/>
                <a:gd name="T97" fmla="*/ 16 h 148"/>
                <a:gd name="T98" fmla="*/ 56 w 132"/>
                <a:gd name="T99" fmla="*/ 8 h 148"/>
                <a:gd name="T100" fmla="*/ 48 w 132"/>
                <a:gd name="T101" fmla="*/ 4 h 148"/>
                <a:gd name="T102" fmla="*/ 38 w 132"/>
                <a:gd name="T103" fmla="*/ 0 h 148"/>
                <a:gd name="T104" fmla="*/ 36 w 132"/>
                <a:gd name="T105" fmla="*/ 0 h 148"/>
                <a:gd name="T106" fmla="*/ 28 w 132"/>
                <a:gd name="T107" fmla="*/ 6 h 148"/>
                <a:gd name="T108" fmla="*/ 22 w 132"/>
                <a:gd name="T109" fmla="*/ 10 h 148"/>
                <a:gd name="T110" fmla="*/ 10 w 132"/>
                <a:gd name="T111" fmla="*/ 14 h 148"/>
                <a:gd name="T112" fmla="*/ 8 w 132"/>
                <a:gd name="T113" fmla="*/ 18 h 148"/>
                <a:gd name="T114" fmla="*/ 4 w 132"/>
                <a:gd name="T115" fmla="*/ 28 h 148"/>
                <a:gd name="T116" fmla="*/ 0 w 132"/>
                <a:gd name="T117" fmla="*/ 54 h 148"/>
                <a:gd name="T118" fmla="*/ 8 w 132"/>
                <a:gd name="T119" fmla="*/ 64 h 148"/>
                <a:gd name="T120" fmla="*/ 18 w 132"/>
                <a:gd name="T121" fmla="*/ 6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22" y="70"/>
                  </a:moveTo>
                  <a:lnTo>
                    <a:pt x="22" y="70"/>
                  </a:lnTo>
                  <a:lnTo>
                    <a:pt x="22" y="70"/>
                  </a:lnTo>
                  <a:lnTo>
                    <a:pt x="22" y="70"/>
                  </a:lnTo>
                  <a:lnTo>
                    <a:pt x="24" y="72"/>
                  </a:lnTo>
                  <a:lnTo>
                    <a:pt x="24" y="74"/>
                  </a:lnTo>
                  <a:lnTo>
                    <a:pt x="26" y="76"/>
                  </a:lnTo>
                  <a:lnTo>
                    <a:pt x="26" y="76"/>
                  </a:lnTo>
                  <a:lnTo>
                    <a:pt x="26" y="76"/>
                  </a:lnTo>
                  <a:lnTo>
                    <a:pt x="28" y="76"/>
                  </a:lnTo>
                  <a:lnTo>
                    <a:pt x="30" y="78"/>
                  </a:lnTo>
                  <a:lnTo>
                    <a:pt x="32" y="78"/>
                  </a:lnTo>
                  <a:lnTo>
                    <a:pt x="34" y="80"/>
                  </a:lnTo>
                  <a:lnTo>
                    <a:pt x="36" y="80"/>
                  </a:lnTo>
                  <a:lnTo>
                    <a:pt x="38" y="80"/>
                  </a:lnTo>
                  <a:lnTo>
                    <a:pt x="40" y="84"/>
                  </a:lnTo>
                  <a:lnTo>
                    <a:pt x="42" y="86"/>
                  </a:lnTo>
                  <a:lnTo>
                    <a:pt x="44" y="88"/>
                  </a:lnTo>
                  <a:lnTo>
                    <a:pt x="44" y="88"/>
                  </a:lnTo>
                  <a:lnTo>
                    <a:pt x="44" y="90"/>
                  </a:lnTo>
                  <a:lnTo>
                    <a:pt x="46" y="92"/>
                  </a:lnTo>
                  <a:lnTo>
                    <a:pt x="46" y="94"/>
                  </a:lnTo>
                  <a:lnTo>
                    <a:pt x="46" y="94"/>
                  </a:lnTo>
                  <a:lnTo>
                    <a:pt x="46" y="96"/>
                  </a:lnTo>
                  <a:lnTo>
                    <a:pt x="48" y="96"/>
                  </a:lnTo>
                  <a:lnTo>
                    <a:pt x="48" y="98"/>
                  </a:lnTo>
                  <a:lnTo>
                    <a:pt x="50" y="98"/>
                  </a:lnTo>
                  <a:lnTo>
                    <a:pt x="50" y="98"/>
                  </a:lnTo>
                  <a:lnTo>
                    <a:pt x="52" y="98"/>
                  </a:lnTo>
                  <a:lnTo>
                    <a:pt x="54" y="98"/>
                  </a:lnTo>
                  <a:lnTo>
                    <a:pt x="58" y="98"/>
                  </a:lnTo>
                  <a:lnTo>
                    <a:pt x="60" y="98"/>
                  </a:lnTo>
                  <a:lnTo>
                    <a:pt x="64" y="98"/>
                  </a:lnTo>
                  <a:lnTo>
                    <a:pt x="66" y="98"/>
                  </a:lnTo>
                  <a:lnTo>
                    <a:pt x="68" y="98"/>
                  </a:lnTo>
                  <a:lnTo>
                    <a:pt x="68" y="100"/>
                  </a:lnTo>
                  <a:lnTo>
                    <a:pt x="70" y="100"/>
                  </a:lnTo>
                  <a:lnTo>
                    <a:pt x="70" y="100"/>
                  </a:lnTo>
                  <a:lnTo>
                    <a:pt x="72" y="102"/>
                  </a:lnTo>
                  <a:lnTo>
                    <a:pt x="76" y="104"/>
                  </a:lnTo>
                  <a:lnTo>
                    <a:pt x="76" y="106"/>
                  </a:lnTo>
                  <a:lnTo>
                    <a:pt x="76" y="106"/>
                  </a:lnTo>
                  <a:lnTo>
                    <a:pt x="78" y="108"/>
                  </a:lnTo>
                  <a:lnTo>
                    <a:pt x="78" y="108"/>
                  </a:lnTo>
                  <a:lnTo>
                    <a:pt x="78" y="110"/>
                  </a:lnTo>
                  <a:lnTo>
                    <a:pt x="78" y="110"/>
                  </a:lnTo>
                  <a:lnTo>
                    <a:pt x="78" y="112"/>
                  </a:lnTo>
                  <a:lnTo>
                    <a:pt x="76" y="114"/>
                  </a:lnTo>
                  <a:lnTo>
                    <a:pt x="76" y="118"/>
                  </a:lnTo>
                  <a:lnTo>
                    <a:pt x="74" y="124"/>
                  </a:lnTo>
                  <a:lnTo>
                    <a:pt x="72" y="126"/>
                  </a:lnTo>
                  <a:lnTo>
                    <a:pt x="72" y="128"/>
                  </a:lnTo>
                  <a:lnTo>
                    <a:pt x="72" y="130"/>
                  </a:lnTo>
                  <a:lnTo>
                    <a:pt x="70" y="132"/>
                  </a:lnTo>
                  <a:lnTo>
                    <a:pt x="68" y="136"/>
                  </a:lnTo>
                  <a:lnTo>
                    <a:pt x="68" y="138"/>
                  </a:lnTo>
                  <a:lnTo>
                    <a:pt x="68" y="140"/>
                  </a:lnTo>
                  <a:lnTo>
                    <a:pt x="68" y="140"/>
                  </a:lnTo>
                  <a:lnTo>
                    <a:pt x="68" y="140"/>
                  </a:lnTo>
                  <a:lnTo>
                    <a:pt x="68" y="142"/>
                  </a:lnTo>
                  <a:lnTo>
                    <a:pt x="68" y="142"/>
                  </a:lnTo>
                  <a:lnTo>
                    <a:pt x="70" y="142"/>
                  </a:lnTo>
                  <a:lnTo>
                    <a:pt x="70" y="144"/>
                  </a:lnTo>
                  <a:lnTo>
                    <a:pt x="70" y="144"/>
                  </a:lnTo>
                  <a:lnTo>
                    <a:pt x="72" y="144"/>
                  </a:lnTo>
                  <a:lnTo>
                    <a:pt x="74" y="146"/>
                  </a:lnTo>
                  <a:lnTo>
                    <a:pt x="76" y="146"/>
                  </a:lnTo>
                  <a:lnTo>
                    <a:pt x="80" y="148"/>
                  </a:lnTo>
                  <a:lnTo>
                    <a:pt x="84" y="148"/>
                  </a:lnTo>
                  <a:lnTo>
                    <a:pt x="86" y="148"/>
                  </a:lnTo>
                  <a:lnTo>
                    <a:pt x="90" y="148"/>
                  </a:lnTo>
                  <a:lnTo>
                    <a:pt x="94" y="148"/>
                  </a:lnTo>
                  <a:lnTo>
                    <a:pt x="98" y="148"/>
                  </a:lnTo>
                  <a:lnTo>
                    <a:pt x="100" y="148"/>
                  </a:lnTo>
                  <a:lnTo>
                    <a:pt x="104" y="148"/>
                  </a:lnTo>
                  <a:lnTo>
                    <a:pt x="108" y="146"/>
                  </a:lnTo>
                  <a:lnTo>
                    <a:pt x="110" y="146"/>
                  </a:lnTo>
                  <a:lnTo>
                    <a:pt x="112" y="144"/>
                  </a:lnTo>
                  <a:lnTo>
                    <a:pt x="114" y="144"/>
                  </a:lnTo>
                  <a:lnTo>
                    <a:pt x="114" y="142"/>
                  </a:lnTo>
                  <a:lnTo>
                    <a:pt x="114" y="142"/>
                  </a:lnTo>
                  <a:lnTo>
                    <a:pt x="114" y="142"/>
                  </a:lnTo>
                  <a:lnTo>
                    <a:pt x="114" y="140"/>
                  </a:lnTo>
                  <a:lnTo>
                    <a:pt x="114" y="140"/>
                  </a:lnTo>
                  <a:lnTo>
                    <a:pt x="114" y="136"/>
                  </a:lnTo>
                  <a:lnTo>
                    <a:pt x="114" y="136"/>
                  </a:lnTo>
                  <a:lnTo>
                    <a:pt x="116" y="136"/>
                  </a:lnTo>
                  <a:lnTo>
                    <a:pt x="116" y="134"/>
                  </a:lnTo>
                  <a:lnTo>
                    <a:pt x="118" y="134"/>
                  </a:lnTo>
                  <a:lnTo>
                    <a:pt x="120" y="132"/>
                  </a:lnTo>
                  <a:lnTo>
                    <a:pt x="122" y="130"/>
                  </a:lnTo>
                  <a:lnTo>
                    <a:pt x="124" y="130"/>
                  </a:lnTo>
                  <a:lnTo>
                    <a:pt x="124" y="130"/>
                  </a:lnTo>
                  <a:lnTo>
                    <a:pt x="126" y="128"/>
                  </a:lnTo>
                  <a:lnTo>
                    <a:pt x="126" y="126"/>
                  </a:lnTo>
                  <a:lnTo>
                    <a:pt x="128" y="122"/>
                  </a:lnTo>
                  <a:lnTo>
                    <a:pt x="132" y="118"/>
                  </a:lnTo>
                  <a:lnTo>
                    <a:pt x="130" y="116"/>
                  </a:lnTo>
                  <a:lnTo>
                    <a:pt x="130" y="114"/>
                  </a:lnTo>
                  <a:lnTo>
                    <a:pt x="130" y="114"/>
                  </a:lnTo>
                  <a:lnTo>
                    <a:pt x="128" y="112"/>
                  </a:lnTo>
                  <a:lnTo>
                    <a:pt x="128" y="110"/>
                  </a:lnTo>
                  <a:lnTo>
                    <a:pt x="128" y="108"/>
                  </a:lnTo>
                  <a:lnTo>
                    <a:pt x="128" y="106"/>
                  </a:lnTo>
                  <a:lnTo>
                    <a:pt x="128" y="100"/>
                  </a:lnTo>
                  <a:lnTo>
                    <a:pt x="128" y="94"/>
                  </a:lnTo>
                  <a:lnTo>
                    <a:pt x="130" y="88"/>
                  </a:lnTo>
                  <a:lnTo>
                    <a:pt x="130" y="86"/>
                  </a:lnTo>
                  <a:lnTo>
                    <a:pt x="128" y="84"/>
                  </a:lnTo>
                  <a:lnTo>
                    <a:pt x="128" y="82"/>
                  </a:lnTo>
                  <a:lnTo>
                    <a:pt x="128" y="80"/>
                  </a:lnTo>
                  <a:lnTo>
                    <a:pt x="128" y="78"/>
                  </a:lnTo>
                  <a:lnTo>
                    <a:pt x="126" y="76"/>
                  </a:lnTo>
                  <a:lnTo>
                    <a:pt x="126" y="76"/>
                  </a:lnTo>
                  <a:lnTo>
                    <a:pt x="126" y="76"/>
                  </a:lnTo>
                  <a:lnTo>
                    <a:pt x="124" y="76"/>
                  </a:lnTo>
                  <a:lnTo>
                    <a:pt x="124" y="76"/>
                  </a:lnTo>
                  <a:lnTo>
                    <a:pt x="124" y="76"/>
                  </a:lnTo>
                  <a:lnTo>
                    <a:pt x="122" y="76"/>
                  </a:lnTo>
                  <a:lnTo>
                    <a:pt x="120" y="76"/>
                  </a:lnTo>
                  <a:lnTo>
                    <a:pt x="118" y="76"/>
                  </a:lnTo>
                  <a:lnTo>
                    <a:pt x="116" y="76"/>
                  </a:lnTo>
                  <a:lnTo>
                    <a:pt x="116" y="76"/>
                  </a:lnTo>
                  <a:lnTo>
                    <a:pt x="114" y="76"/>
                  </a:lnTo>
                  <a:lnTo>
                    <a:pt x="114" y="76"/>
                  </a:lnTo>
                  <a:lnTo>
                    <a:pt x="114" y="76"/>
                  </a:lnTo>
                  <a:lnTo>
                    <a:pt x="114" y="74"/>
                  </a:lnTo>
                  <a:lnTo>
                    <a:pt x="112" y="74"/>
                  </a:lnTo>
                  <a:lnTo>
                    <a:pt x="112" y="72"/>
                  </a:lnTo>
                  <a:lnTo>
                    <a:pt x="112" y="72"/>
                  </a:lnTo>
                  <a:lnTo>
                    <a:pt x="112" y="70"/>
                  </a:lnTo>
                  <a:lnTo>
                    <a:pt x="112" y="66"/>
                  </a:lnTo>
                  <a:lnTo>
                    <a:pt x="114" y="64"/>
                  </a:lnTo>
                  <a:lnTo>
                    <a:pt x="114" y="62"/>
                  </a:lnTo>
                  <a:lnTo>
                    <a:pt x="114" y="60"/>
                  </a:lnTo>
                  <a:lnTo>
                    <a:pt x="114" y="60"/>
                  </a:lnTo>
                  <a:lnTo>
                    <a:pt x="112" y="58"/>
                  </a:lnTo>
                  <a:lnTo>
                    <a:pt x="112" y="58"/>
                  </a:lnTo>
                  <a:lnTo>
                    <a:pt x="112" y="58"/>
                  </a:lnTo>
                  <a:lnTo>
                    <a:pt x="110" y="58"/>
                  </a:lnTo>
                  <a:lnTo>
                    <a:pt x="110" y="58"/>
                  </a:lnTo>
                  <a:lnTo>
                    <a:pt x="110" y="58"/>
                  </a:lnTo>
                  <a:lnTo>
                    <a:pt x="108" y="58"/>
                  </a:lnTo>
                  <a:lnTo>
                    <a:pt x="106" y="58"/>
                  </a:lnTo>
                  <a:lnTo>
                    <a:pt x="102" y="58"/>
                  </a:lnTo>
                  <a:lnTo>
                    <a:pt x="100" y="58"/>
                  </a:lnTo>
                  <a:lnTo>
                    <a:pt x="98" y="58"/>
                  </a:lnTo>
                  <a:lnTo>
                    <a:pt x="96" y="58"/>
                  </a:lnTo>
                  <a:lnTo>
                    <a:pt x="94" y="56"/>
                  </a:lnTo>
                  <a:lnTo>
                    <a:pt x="92" y="56"/>
                  </a:lnTo>
                  <a:lnTo>
                    <a:pt x="92" y="54"/>
                  </a:lnTo>
                  <a:lnTo>
                    <a:pt x="90" y="54"/>
                  </a:lnTo>
                  <a:lnTo>
                    <a:pt x="90" y="54"/>
                  </a:lnTo>
                  <a:lnTo>
                    <a:pt x="90" y="52"/>
                  </a:lnTo>
                  <a:lnTo>
                    <a:pt x="88" y="50"/>
                  </a:lnTo>
                  <a:lnTo>
                    <a:pt x="88" y="48"/>
                  </a:lnTo>
                  <a:lnTo>
                    <a:pt x="88" y="48"/>
                  </a:lnTo>
                  <a:lnTo>
                    <a:pt x="86" y="46"/>
                  </a:lnTo>
                  <a:lnTo>
                    <a:pt x="86" y="46"/>
                  </a:lnTo>
                  <a:lnTo>
                    <a:pt x="86" y="46"/>
                  </a:lnTo>
                  <a:lnTo>
                    <a:pt x="84" y="46"/>
                  </a:lnTo>
                  <a:lnTo>
                    <a:pt x="82" y="46"/>
                  </a:lnTo>
                  <a:lnTo>
                    <a:pt x="80" y="46"/>
                  </a:lnTo>
                  <a:lnTo>
                    <a:pt x="78" y="46"/>
                  </a:lnTo>
                  <a:lnTo>
                    <a:pt x="76" y="46"/>
                  </a:lnTo>
                  <a:lnTo>
                    <a:pt x="74" y="44"/>
                  </a:lnTo>
                  <a:lnTo>
                    <a:pt x="74" y="44"/>
                  </a:lnTo>
                  <a:lnTo>
                    <a:pt x="74" y="44"/>
                  </a:lnTo>
                  <a:lnTo>
                    <a:pt x="74" y="44"/>
                  </a:lnTo>
                  <a:lnTo>
                    <a:pt x="74" y="42"/>
                  </a:lnTo>
                  <a:lnTo>
                    <a:pt x="72" y="42"/>
                  </a:lnTo>
                  <a:lnTo>
                    <a:pt x="72" y="40"/>
                  </a:lnTo>
                  <a:lnTo>
                    <a:pt x="72" y="38"/>
                  </a:lnTo>
                  <a:lnTo>
                    <a:pt x="74" y="36"/>
                  </a:lnTo>
                  <a:lnTo>
                    <a:pt x="74" y="34"/>
                  </a:lnTo>
                  <a:lnTo>
                    <a:pt x="72" y="32"/>
                  </a:lnTo>
                  <a:lnTo>
                    <a:pt x="72" y="32"/>
                  </a:lnTo>
                  <a:lnTo>
                    <a:pt x="72" y="32"/>
                  </a:lnTo>
                  <a:lnTo>
                    <a:pt x="72" y="32"/>
                  </a:lnTo>
                  <a:lnTo>
                    <a:pt x="72" y="32"/>
                  </a:lnTo>
                  <a:lnTo>
                    <a:pt x="70" y="30"/>
                  </a:lnTo>
                  <a:lnTo>
                    <a:pt x="68" y="30"/>
                  </a:lnTo>
                  <a:lnTo>
                    <a:pt x="68" y="30"/>
                  </a:lnTo>
                  <a:lnTo>
                    <a:pt x="66" y="30"/>
                  </a:lnTo>
                  <a:lnTo>
                    <a:pt x="64" y="30"/>
                  </a:lnTo>
                  <a:lnTo>
                    <a:pt x="64" y="28"/>
                  </a:lnTo>
                  <a:lnTo>
                    <a:pt x="62" y="28"/>
                  </a:lnTo>
                  <a:lnTo>
                    <a:pt x="62" y="28"/>
                  </a:lnTo>
                  <a:lnTo>
                    <a:pt x="62" y="28"/>
                  </a:lnTo>
                  <a:lnTo>
                    <a:pt x="62" y="26"/>
                  </a:lnTo>
                  <a:lnTo>
                    <a:pt x="62" y="26"/>
                  </a:lnTo>
                  <a:lnTo>
                    <a:pt x="62" y="24"/>
                  </a:lnTo>
                  <a:lnTo>
                    <a:pt x="60" y="22"/>
                  </a:lnTo>
                  <a:lnTo>
                    <a:pt x="60" y="18"/>
                  </a:lnTo>
                  <a:lnTo>
                    <a:pt x="60" y="18"/>
                  </a:lnTo>
                  <a:lnTo>
                    <a:pt x="60" y="16"/>
                  </a:lnTo>
                  <a:lnTo>
                    <a:pt x="58" y="12"/>
                  </a:lnTo>
                  <a:lnTo>
                    <a:pt x="58" y="10"/>
                  </a:lnTo>
                  <a:lnTo>
                    <a:pt x="56" y="10"/>
                  </a:lnTo>
                  <a:lnTo>
                    <a:pt x="56" y="8"/>
                  </a:lnTo>
                  <a:lnTo>
                    <a:pt x="54" y="6"/>
                  </a:lnTo>
                  <a:lnTo>
                    <a:pt x="52" y="6"/>
                  </a:lnTo>
                  <a:lnTo>
                    <a:pt x="50" y="4"/>
                  </a:lnTo>
                  <a:lnTo>
                    <a:pt x="48" y="4"/>
                  </a:lnTo>
                  <a:lnTo>
                    <a:pt x="46" y="2"/>
                  </a:lnTo>
                  <a:lnTo>
                    <a:pt x="44" y="2"/>
                  </a:lnTo>
                  <a:lnTo>
                    <a:pt x="42" y="0"/>
                  </a:lnTo>
                  <a:lnTo>
                    <a:pt x="38" y="0"/>
                  </a:lnTo>
                  <a:lnTo>
                    <a:pt x="38" y="0"/>
                  </a:lnTo>
                  <a:lnTo>
                    <a:pt x="36" y="0"/>
                  </a:lnTo>
                  <a:lnTo>
                    <a:pt x="36" y="0"/>
                  </a:lnTo>
                  <a:lnTo>
                    <a:pt x="36" y="0"/>
                  </a:lnTo>
                  <a:lnTo>
                    <a:pt x="34" y="2"/>
                  </a:lnTo>
                  <a:lnTo>
                    <a:pt x="32" y="2"/>
                  </a:lnTo>
                  <a:lnTo>
                    <a:pt x="32" y="4"/>
                  </a:lnTo>
                  <a:lnTo>
                    <a:pt x="28" y="6"/>
                  </a:lnTo>
                  <a:lnTo>
                    <a:pt x="26" y="8"/>
                  </a:lnTo>
                  <a:lnTo>
                    <a:pt x="26" y="10"/>
                  </a:lnTo>
                  <a:lnTo>
                    <a:pt x="24" y="10"/>
                  </a:lnTo>
                  <a:lnTo>
                    <a:pt x="22" y="10"/>
                  </a:lnTo>
                  <a:lnTo>
                    <a:pt x="18" y="12"/>
                  </a:lnTo>
                  <a:lnTo>
                    <a:pt x="14" y="12"/>
                  </a:lnTo>
                  <a:lnTo>
                    <a:pt x="12" y="14"/>
                  </a:lnTo>
                  <a:lnTo>
                    <a:pt x="10" y="14"/>
                  </a:lnTo>
                  <a:lnTo>
                    <a:pt x="10" y="14"/>
                  </a:lnTo>
                  <a:lnTo>
                    <a:pt x="10" y="16"/>
                  </a:lnTo>
                  <a:lnTo>
                    <a:pt x="8" y="16"/>
                  </a:lnTo>
                  <a:lnTo>
                    <a:pt x="8" y="18"/>
                  </a:lnTo>
                  <a:lnTo>
                    <a:pt x="6" y="20"/>
                  </a:lnTo>
                  <a:lnTo>
                    <a:pt x="6" y="22"/>
                  </a:lnTo>
                  <a:lnTo>
                    <a:pt x="4" y="24"/>
                  </a:lnTo>
                  <a:lnTo>
                    <a:pt x="4" y="28"/>
                  </a:lnTo>
                  <a:lnTo>
                    <a:pt x="4" y="30"/>
                  </a:lnTo>
                  <a:lnTo>
                    <a:pt x="2" y="34"/>
                  </a:lnTo>
                  <a:lnTo>
                    <a:pt x="0" y="42"/>
                  </a:lnTo>
                  <a:lnTo>
                    <a:pt x="0" y="54"/>
                  </a:lnTo>
                  <a:lnTo>
                    <a:pt x="2" y="58"/>
                  </a:lnTo>
                  <a:lnTo>
                    <a:pt x="6" y="60"/>
                  </a:lnTo>
                  <a:lnTo>
                    <a:pt x="6" y="62"/>
                  </a:lnTo>
                  <a:lnTo>
                    <a:pt x="8" y="64"/>
                  </a:lnTo>
                  <a:lnTo>
                    <a:pt x="10" y="64"/>
                  </a:lnTo>
                  <a:lnTo>
                    <a:pt x="10" y="64"/>
                  </a:lnTo>
                  <a:lnTo>
                    <a:pt x="14" y="66"/>
                  </a:lnTo>
                  <a:lnTo>
                    <a:pt x="18" y="68"/>
                  </a:lnTo>
                  <a:lnTo>
                    <a:pt x="20" y="68"/>
                  </a:lnTo>
                  <a:lnTo>
                    <a:pt x="22" y="7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2" name="Freeform 470"/>
            <p:cNvSpPr>
              <a:spLocks/>
            </p:cNvSpPr>
            <p:nvPr/>
          </p:nvSpPr>
          <p:spPr bwMode="auto">
            <a:xfrm>
              <a:off x="2727665" y="5214331"/>
              <a:ext cx="228634" cy="256347"/>
            </a:xfrm>
            <a:custGeom>
              <a:avLst/>
              <a:gdLst>
                <a:gd name="T0" fmla="*/ 22 w 132"/>
                <a:gd name="T1" fmla="*/ 70 h 148"/>
                <a:gd name="T2" fmla="*/ 26 w 132"/>
                <a:gd name="T3" fmla="*/ 76 h 148"/>
                <a:gd name="T4" fmla="*/ 32 w 132"/>
                <a:gd name="T5" fmla="*/ 78 h 148"/>
                <a:gd name="T6" fmla="*/ 40 w 132"/>
                <a:gd name="T7" fmla="*/ 84 h 148"/>
                <a:gd name="T8" fmla="*/ 44 w 132"/>
                <a:gd name="T9" fmla="*/ 90 h 148"/>
                <a:gd name="T10" fmla="*/ 46 w 132"/>
                <a:gd name="T11" fmla="*/ 96 h 148"/>
                <a:gd name="T12" fmla="*/ 50 w 132"/>
                <a:gd name="T13" fmla="*/ 98 h 148"/>
                <a:gd name="T14" fmla="*/ 60 w 132"/>
                <a:gd name="T15" fmla="*/ 98 h 148"/>
                <a:gd name="T16" fmla="*/ 68 w 132"/>
                <a:gd name="T17" fmla="*/ 100 h 148"/>
                <a:gd name="T18" fmla="*/ 76 w 132"/>
                <a:gd name="T19" fmla="*/ 104 h 148"/>
                <a:gd name="T20" fmla="*/ 78 w 132"/>
                <a:gd name="T21" fmla="*/ 108 h 148"/>
                <a:gd name="T22" fmla="*/ 76 w 132"/>
                <a:gd name="T23" fmla="*/ 114 h 148"/>
                <a:gd name="T24" fmla="*/ 72 w 132"/>
                <a:gd name="T25" fmla="*/ 128 h 148"/>
                <a:gd name="T26" fmla="*/ 68 w 132"/>
                <a:gd name="T27" fmla="*/ 138 h 148"/>
                <a:gd name="T28" fmla="*/ 68 w 132"/>
                <a:gd name="T29" fmla="*/ 142 h 148"/>
                <a:gd name="T30" fmla="*/ 70 w 132"/>
                <a:gd name="T31" fmla="*/ 144 h 148"/>
                <a:gd name="T32" fmla="*/ 80 w 132"/>
                <a:gd name="T33" fmla="*/ 148 h 148"/>
                <a:gd name="T34" fmla="*/ 94 w 132"/>
                <a:gd name="T35" fmla="*/ 148 h 148"/>
                <a:gd name="T36" fmla="*/ 108 w 132"/>
                <a:gd name="T37" fmla="*/ 146 h 148"/>
                <a:gd name="T38" fmla="*/ 114 w 132"/>
                <a:gd name="T39" fmla="*/ 142 h 148"/>
                <a:gd name="T40" fmla="*/ 114 w 132"/>
                <a:gd name="T41" fmla="*/ 140 h 148"/>
                <a:gd name="T42" fmla="*/ 116 w 132"/>
                <a:gd name="T43" fmla="*/ 134 h 148"/>
                <a:gd name="T44" fmla="*/ 124 w 132"/>
                <a:gd name="T45" fmla="*/ 130 h 148"/>
                <a:gd name="T46" fmla="*/ 128 w 132"/>
                <a:gd name="T47" fmla="*/ 122 h 148"/>
                <a:gd name="T48" fmla="*/ 130 w 132"/>
                <a:gd name="T49" fmla="*/ 114 h 148"/>
                <a:gd name="T50" fmla="*/ 128 w 132"/>
                <a:gd name="T51" fmla="*/ 106 h 148"/>
                <a:gd name="T52" fmla="*/ 130 w 132"/>
                <a:gd name="T53" fmla="*/ 86 h 148"/>
                <a:gd name="T54" fmla="*/ 128 w 132"/>
                <a:gd name="T55" fmla="*/ 78 h 148"/>
                <a:gd name="T56" fmla="*/ 124 w 132"/>
                <a:gd name="T57" fmla="*/ 76 h 148"/>
                <a:gd name="T58" fmla="*/ 120 w 132"/>
                <a:gd name="T59" fmla="*/ 76 h 148"/>
                <a:gd name="T60" fmla="*/ 114 w 132"/>
                <a:gd name="T61" fmla="*/ 76 h 148"/>
                <a:gd name="T62" fmla="*/ 112 w 132"/>
                <a:gd name="T63" fmla="*/ 74 h 148"/>
                <a:gd name="T64" fmla="*/ 112 w 132"/>
                <a:gd name="T65" fmla="*/ 66 h 148"/>
                <a:gd name="T66" fmla="*/ 114 w 132"/>
                <a:gd name="T67" fmla="*/ 60 h 148"/>
                <a:gd name="T68" fmla="*/ 110 w 132"/>
                <a:gd name="T69" fmla="*/ 58 h 148"/>
                <a:gd name="T70" fmla="*/ 106 w 132"/>
                <a:gd name="T71" fmla="*/ 58 h 148"/>
                <a:gd name="T72" fmla="*/ 96 w 132"/>
                <a:gd name="T73" fmla="*/ 58 h 148"/>
                <a:gd name="T74" fmla="*/ 90 w 132"/>
                <a:gd name="T75" fmla="*/ 54 h 148"/>
                <a:gd name="T76" fmla="*/ 88 w 132"/>
                <a:gd name="T77" fmla="*/ 48 h 148"/>
                <a:gd name="T78" fmla="*/ 86 w 132"/>
                <a:gd name="T79" fmla="*/ 46 h 148"/>
                <a:gd name="T80" fmla="*/ 78 w 132"/>
                <a:gd name="T81" fmla="*/ 46 h 148"/>
                <a:gd name="T82" fmla="*/ 74 w 132"/>
                <a:gd name="T83" fmla="*/ 44 h 148"/>
                <a:gd name="T84" fmla="*/ 72 w 132"/>
                <a:gd name="T85" fmla="*/ 40 h 148"/>
                <a:gd name="T86" fmla="*/ 72 w 132"/>
                <a:gd name="T87" fmla="*/ 32 h 148"/>
                <a:gd name="T88" fmla="*/ 72 w 132"/>
                <a:gd name="T89" fmla="*/ 32 h 148"/>
                <a:gd name="T90" fmla="*/ 66 w 132"/>
                <a:gd name="T91" fmla="*/ 30 h 148"/>
                <a:gd name="T92" fmla="*/ 62 w 132"/>
                <a:gd name="T93" fmla="*/ 28 h 148"/>
                <a:gd name="T94" fmla="*/ 62 w 132"/>
                <a:gd name="T95" fmla="*/ 24 h 148"/>
                <a:gd name="T96" fmla="*/ 60 w 132"/>
                <a:gd name="T97" fmla="*/ 16 h 148"/>
                <a:gd name="T98" fmla="*/ 56 w 132"/>
                <a:gd name="T99" fmla="*/ 8 h 148"/>
                <a:gd name="T100" fmla="*/ 48 w 132"/>
                <a:gd name="T101" fmla="*/ 4 h 148"/>
                <a:gd name="T102" fmla="*/ 38 w 132"/>
                <a:gd name="T103" fmla="*/ 0 h 148"/>
                <a:gd name="T104" fmla="*/ 36 w 132"/>
                <a:gd name="T105" fmla="*/ 0 h 148"/>
                <a:gd name="T106" fmla="*/ 28 w 132"/>
                <a:gd name="T107" fmla="*/ 6 h 148"/>
                <a:gd name="T108" fmla="*/ 22 w 132"/>
                <a:gd name="T109" fmla="*/ 10 h 148"/>
                <a:gd name="T110" fmla="*/ 10 w 132"/>
                <a:gd name="T111" fmla="*/ 14 h 148"/>
                <a:gd name="T112" fmla="*/ 8 w 132"/>
                <a:gd name="T113" fmla="*/ 18 h 148"/>
                <a:gd name="T114" fmla="*/ 4 w 132"/>
                <a:gd name="T115" fmla="*/ 28 h 148"/>
                <a:gd name="T116" fmla="*/ 0 w 132"/>
                <a:gd name="T117" fmla="*/ 54 h 148"/>
                <a:gd name="T118" fmla="*/ 8 w 132"/>
                <a:gd name="T119" fmla="*/ 64 h 148"/>
                <a:gd name="T120" fmla="*/ 18 w 132"/>
                <a:gd name="T121" fmla="*/ 6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22" y="70"/>
                  </a:moveTo>
                  <a:lnTo>
                    <a:pt x="22" y="70"/>
                  </a:lnTo>
                  <a:lnTo>
                    <a:pt x="22" y="70"/>
                  </a:lnTo>
                  <a:lnTo>
                    <a:pt x="22" y="70"/>
                  </a:lnTo>
                  <a:lnTo>
                    <a:pt x="24" y="72"/>
                  </a:lnTo>
                  <a:lnTo>
                    <a:pt x="24" y="74"/>
                  </a:lnTo>
                  <a:lnTo>
                    <a:pt x="26" y="76"/>
                  </a:lnTo>
                  <a:lnTo>
                    <a:pt x="26" y="76"/>
                  </a:lnTo>
                  <a:lnTo>
                    <a:pt x="26" y="76"/>
                  </a:lnTo>
                  <a:lnTo>
                    <a:pt x="28" y="76"/>
                  </a:lnTo>
                  <a:lnTo>
                    <a:pt x="30" y="78"/>
                  </a:lnTo>
                  <a:lnTo>
                    <a:pt x="32" y="78"/>
                  </a:lnTo>
                  <a:lnTo>
                    <a:pt x="34" y="80"/>
                  </a:lnTo>
                  <a:lnTo>
                    <a:pt x="36" y="80"/>
                  </a:lnTo>
                  <a:lnTo>
                    <a:pt x="38" y="80"/>
                  </a:lnTo>
                  <a:lnTo>
                    <a:pt x="40" y="84"/>
                  </a:lnTo>
                  <a:lnTo>
                    <a:pt x="42" y="86"/>
                  </a:lnTo>
                  <a:lnTo>
                    <a:pt x="44" y="88"/>
                  </a:lnTo>
                  <a:lnTo>
                    <a:pt x="44" y="88"/>
                  </a:lnTo>
                  <a:lnTo>
                    <a:pt x="44" y="90"/>
                  </a:lnTo>
                  <a:lnTo>
                    <a:pt x="46" y="92"/>
                  </a:lnTo>
                  <a:lnTo>
                    <a:pt x="46" y="94"/>
                  </a:lnTo>
                  <a:lnTo>
                    <a:pt x="46" y="94"/>
                  </a:lnTo>
                  <a:lnTo>
                    <a:pt x="46" y="96"/>
                  </a:lnTo>
                  <a:lnTo>
                    <a:pt x="48" y="96"/>
                  </a:lnTo>
                  <a:lnTo>
                    <a:pt x="48" y="98"/>
                  </a:lnTo>
                  <a:lnTo>
                    <a:pt x="50" y="98"/>
                  </a:lnTo>
                  <a:lnTo>
                    <a:pt x="50" y="98"/>
                  </a:lnTo>
                  <a:lnTo>
                    <a:pt x="52" y="98"/>
                  </a:lnTo>
                  <a:lnTo>
                    <a:pt x="54" y="98"/>
                  </a:lnTo>
                  <a:lnTo>
                    <a:pt x="58" y="98"/>
                  </a:lnTo>
                  <a:lnTo>
                    <a:pt x="60" y="98"/>
                  </a:lnTo>
                  <a:lnTo>
                    <a:pt x="64" y="98"/>
                  </a:lnTo>
                  <a:lnTo>
                    <a:pt x="66" y="98"/>
                  </a:lnTo>
                  <a:lnTo>
                    <a:pt x="68" y="98"/>
                  </a:lnTo>
                  <a:lnTo>
                    <a:pt x="68" y="100"/>
                  </a:lnTo>
                  <a:lnTo>
                    <a:pt x="70" y="100"/>
                  </a:lnTo>
                  <a:lnTo>
                    <a:pt x="70" y="100"/>
                  </a:lnTo>
                  <a:lnTo>
                    <a:pt x="72" y="102"/>
                  </a:lnTo>
                  <a:lnTo>
                    <a:pt x="76" y="104"/>
                  </a:lnTo>
                  <a:lnTo>
                    <a:pt x="76" y="106"/>
                  </a:lnTo>
                  <a:lnTo>
                    <a:pt x="76" y="106"/>
                  </a:lnTo>
                  <a:lnTo>
                    <a:pt x="78" y="108"/>
                  </a:lnTo>
                  <a:lnTo>
                    <a:pt x="78" y="108"/>
                  </a:lnTo>
                  <a:lnTo>
                    <a:pt x="78" y="110"/>
                  </a:lnTo>
                  <a:lnTo>
                    <a:pt x="78" y="110"/>
                  </a:lnTo>
                  <a:lnTo>
                    <a:pt x="78" y="112"/>
                  </a:lnTo>
                  <a:lnTo>
                    <a:pt x="76" y="114"/>
                  </a:lnTo>
                  <a:lnTo>
                    <a:pt x="76" y="118"/>
                  </a:lnTo>
                  <a:lnTo>
                    <a:pt x="74" y="124"/>
                  </a:lnTo>
                  <a:lnTo>
                    <a:pt x="72" y="126"/>
                  </a:lnTo>
                  <a:lnTo>
                    <a:pt x="72" y="128"/>
                  </a:lnTo>
                  <a:lnTo>
                    <a:pt x="72" y="130"/>
                  </a:lnTo>
                  <a:lnTo>
                    <a:pt x="70" y="132"/>
                  </a:lnTo>
                  <a:lnTo>
                    <a:pt x="68" y="136"/>
                  </a:lnTo>
                  <a:lnTo>
                    <a:pt x="68" y="138"/>
                  </a:lnTo>
                  <a:lnTo>
                    <a:pt x="68" y="140"/>
                  </a:lnTo>
                  <a:lnTo>
                    <a:pt x="68" y="140"/>
                  </a:lnTo>
                  <a:lnTo>
                    <a:pt x="68" y="140"/>
                  </a:lnTo>
                  <a:lnTo>
                    <a:pt x="68" y="142"/>
                  </a:lnTo>
                  <a:lnTo>
                    <a:pt x="68" y="142"/>
                  </a:lnTo>
                  <a:lnTo>
                    <a:pt x="70" y="142"/>
                  </a:lnTo>
                  <a:lnTo>
                    <a:pt x="70" y="144"/>
                  </a:lnTo>
                  <a:lnTo>
                    <a:pt x="70" y="144"/>
                  </a:lnTo>
                  <a:lnTo>
                    <a:pt x="72" y="144"/>
                  </a:lnTo>
                  <a:lnTo>
                    <a:pt x="74" y="146"/>
                  </a:lnTo>
                  <a:lnTo>
                    <a:pt x="76" y="146"/>
                  </a:lnTo>
                  <a:lnTo>
                    <a:pt x="80" y="148"/>
                  </a:lnTo>
                  <a:lnTo>
                    <a:pt x="84" y="148"/>
                  </a:lnTo>
                  <a:lnTo>
                    <a:pt x="86" y="148"/>
                  </a:lnTo>
                  <a:lnTo>
                    <a:pt x="90" y="148"/>
                  </a:lnTo>
                  <a:lnTo>
                    <a:pt x="94" y="148"/>
                  </a:lnTo>
                  <a:lnTo>
                    <a:pt x="98" y="148"/>
                  </a:lnTo>
                  <a:lnTo>
                    <a:pt x="100" y="148"/>
                  </a:lnTo>
                  <a:lnTo>
                    <a:pt x="104" y="148"/>
                  </a:lnTo>
                  <a:lnTo>
                    <a:pt x="108" y="146"/>
                  </a:lnTo>
                  <a:lnTo>
                    <a:pt x="110" y="146"/>
                  </a:lnTo>
                  <a:lnTo>
                    <a:pt x="112" y="144"/>
                  </a:lnTo>
                  <a:lnTo>
                    <a:pt x="114" y="144"/>
                  </a:lnTo>
                  <a:lnTo>
                    <a:pt x="114" y="142"/>
                  </a:lnTo>
                  <a:lnTo>
                    <a:pt x="114" y="142"/>
                  </a:lnTo>
                  <a:lnTo>
                    <a:pt x="114" y="142"/>
                  </a:lnTo>
                  <a:lnTo>
                    <a:pt x="114" y="140"/>
                  </a:lnTo>
                  <a:lnTo>
                    <a:pt x="114" y="140"/>
                  </a:lnTo>
                  <a:lnTo>
                    <a:pt x="114" y="136"/>
                  </a:lnTo>
                  <a:lnTo>
                    <a:pt x="114" y="136"/>
                  </a:lnTo>
                  <a:lnTo>
                    <a:pt x="116" y="136"/>
                  </a:lnTo>
                  <a:lnTo>
                    <a:pt x="116" y="134"/>
                  </a:lnTo>
                  <a:lnTo>
                    <a:pt x="118" y="134"/>
                  </a:lnTo>
                  <a:lnTo>
                    <a:pt x="120" y="132"/>
                  </a:lnTo>
                  <a:lnTo>
                    <a:pt x="122" y="130"/>
                  </a:lnTo>
                  <a:lnTo>
                    <a:pt x="124" y="130"/>
                  </a:lnTo>
                  <a:lnTo>
                    <a:pt x="124" y="130"/>
                  </a:lnTo>
                  <a:lnTo>
                    <a:pt x="126" y="128"/>
                  </a:lnTo>
                  <a:lnTo>
                    <a:pt x="126" y="126"/>
                  </a:lnTo>
                  <a:lnTo>
                    <a:pt x="128" y="122"/>
                  </a:lnTo>
                  <a:lnTo>
                    <a:pt x="132" y="118"/>
                  </a:lnTo>
                  <a:lnTo>
                    <a:pt x="130" y="116"/>
                  </a:lnTo>
                  <a:lnTo>
                    <a:pt x="130" y="114"/>
                  </a:lnTo>
                  <a:lnTo>
                    <a:pt x="130" y="114"/>
                  </a:lnTo>
                  <a:lnTo>
                    <a:pt x="128" y="112"/>
                  </a:lnTo>
                  <a:lnTo>
                    <a:pt x="128" y="110"/>
                  </a:lnTo>
                  <a:lnTo>
                    <a:pt x="128" y="108"/>
                  </a:lnTo>
                  <a:lnTo>
                    <a:pt x="128" y="106"/>
                  </a:lnTo>
                  <a:lnTo>
                    <a:pt x="128" y="100"/>
                  </a:lnTo>
                  <a:lnTo>
                    <a:pt x="128" y="94"/>
                  </a:lnTo>
                  <a:lnTo>
                    <a:pt x="130" y="88"/>
                  </a:lnTo>
                  <a:lnTo>
                    <a:pt x="130" y="86"/>
                  </a:lnTo>
                  <a:lnTo>
                    <a:pt x="128" y="84"/>
                  </a:lnTo>
                  <a:lnTo>
                    <a:pt x="128" y="82"/>
                  </a:lnTo>
                  <a:lnTo>
                    <a:pt x="128" y="80"/>
                  </a:lnTo>
                  <a:lnTo>
                    <a:pt x="128" y="78"/>
                  </a:lnTo>
                  <a:lnTo>
                    <a:pt x="126" y="76"/>
                  </a:lnTo>
                  <a:lnTo>
                    <a:pt x="126" y="76"/>
                  </a:lnTo>
                  <a:lnTo>
                    <a:pt x="126" y="76"/>
                  </a:lnTo>
                  <a:lnTo>
                    <a:pt x="124" y="76"/>
                  </a:lnTo>
                  <a:lnTo>
                    <a:pt x="124" y="76"/>
                  </a:lnTo>
                  <a:lnTo>
                    <a:pt x="124" y="76"/>
                  </a:lnTo>
                  <a:lnTo>
                    <a:pt x="122" y="76"/>
                  </a:lnTo>
                  <a:lnTo>
                    <a:pt x="120" y="76"/>
                  </a:lnTo>
                  <a:lnTo>
                    <a:pt x="118" y="76"/>
                  </a:lnTo>
                  <a:lnTo>
                    <a:pt x="116" y="76"/>
                  </a:lnTo>
                  <a:lnTo>
                    <a:pt x="116" y="76"/>
                  </a:lnTo>
                  <a:lnTo>
                    <a:pt x="114" y="76"/>
                  </a:lnTo>
                  <a:lnTo>
                    <a:pt x="114" y="76"/>
                  </a:lnTo>
                  <a:lnTo>
                    <a:pt x="114" y="76"/>
                  </a:lnTo>
                  <a:lnTo>
                    <a:pt x="114" y="74"/>
                  </a:lnTo>
                  <a:lnTo>
                    <a:pt x="112" y="74"/>
                  </a:lnTo>
                  <a:lnTo>
                    <a:pt x="112" y="72"/>
                  </a:lnTo>
                  <a:lnTo>
                    <a:pt x="112" y="72"/>
                  </a:lnTo>
                  <a:lnTo>
                    <a:pt x="112" y="70"/>
                  </a:lnTo>
                  <a:lnTo>
                    <a:pt x="112" y="66"/>
                  </a:lnTo>
                  <a:lnTo>
                    <a:pt x="114" y="64"/>
                  </a:lnTo>
                  <a:lnTo>
                    <a:pt x="114" y="62"/>
                  </a:lnTo>
                  <a:lnTo>
                    <a:pt x="114" y="60"/>
                  </a:lnTo>
                  <a:lnTo>
                    <a:pt x="114" y="60"/>
                  </a:lnTo>
                  <a:lnTo>
                    <a:pt x="112" y="58"/>
                  </a:lnTo>
                  <a:lnTo>
                    <a:pt x="112" y="58"/>
                  </a:lnTo>
                  <a:lnTo>
                    <a:pt x="112" y="58"/>
                  </a:lnTo>
                  <a:lnTo>
                    <a:pt x="110" y="58"/>
                  </a:lnTo>
                  <a:lnTo>
                    <a:pt x="110" y="58"/>
                  </a:lnTo>
                  <a:lnTo>
                    <a:pt x="110" y="58"/>
                  </a:lnTo>
                  <a:lnTo>
                    <a:pt x="108" y="58"/>
                  </a:lnTo>
                  <a:lnTo>
                    <a:pt x="106" y="58"/>
                  </a:lnTo>
                  <a:lnTo>
                    <a:pt x="102" y="58"/>
                  </a:lnTo>
                  <a:lnTo>
                    <a:pt x="100" y="58"/>
                  </a:lnTo>
                  <a:lnTo>
                    <a:pt x="98" y="58"/>
                  </a:lnTo>
                  <a:lnTo>
                    <a:pt x="96" y="58"/>
                  </a:lnTo>
                  <a:lnTo>
                    <a:pt x="94" y="56"/>
                  </a:lnTo>
                  <a:lnTo>
                    <a:pt x="92" y="56"/>
                  </a:lnTo>
                  <a:lnTo>
                    <a:pt x="92" y="54"/>
                  </a:lnTo>
                  <a:lnTo>
                    <a:pt x="90" y="54"/>
                  </a:lnTo>
                  <a:lnTo>
                    <a:pt x="90" y="54"/>
                  </a:lnTo>
                  <a:lnTo>
                    <a:pt x="90" y="52"/>
                  </a:lnTo>
                  <a:lnTo>
                    <a:pt x="88" y="50"/>
                  </a:lnTo>
                  <a:lnTo>
                    <a:pt x="88" y="48"/>
                  </a:lnTo>
                  <a:lnTo>
                    <a:pt x="88" y="48"/>
                  </a:lnTo>
                  <a:lnTo>
                    <a:pt x="86" y="46"/>
                  </a:lnTo>
                  <a:lnTo>
                    <a:pt x="86" y="46"/>
                  </a:lnTo>
                  <a:lnTo>
                    <a:pt x="86" y="46"/>
                  </a:lnTo>
                  <a:lnTo>
                    <a:pt x="84" y="46"/>
                  </a:lnTo>
                  <a:lnTo>
                    <a:pt x="82" y="46"/>
                  </a:lnTo>
                  <a:lnTo>
                    <a:pt x="80" y="46"/>
                  </a:lnTo>
                  <a:lnTo>
                    <a:pt x="78" y="46"/>
                  </a:lnTo>
                  <a:lnTo>
                    <a:pt x="76" y="46"/>
                  </a:lnTo>
                  <a:lnTo>
                    <a:pt x="74" y="44"/>
                  </a:lnTo>
                  <a:lnTo>
                    <a:pt x="74" y="44"/>
                  </a:lnTo>
                  <a:lnTo>
                    <a:pt x="74" y="44"/>
                  </a:lnTo>
                  <a:lnTo>
                    <a:pt x="74" y="44"/>
                  </a:lnTo>
                  <a:lnTo>
                    <a:pt x="74" y="42"/>
                  </a:lnTo>
                  <a:lnTo>
                    <a:pt x="72" y="42"/>
                  </a:lnTo>
                  <a:lnTo>
                    <a:pt x="72" y="40"/>
                  </a:lnTo>
                  <a:lnTo>
                    <a:pt x="72" y="38"/>
                  </a:lnTo>
                  <a:lnTo>
                    <a:pt x="74" y="36"/>
                  </a:lnTo>
                  <a:lnTo>
                    <a:pt x="74" y="34"/>
                  </a:lnTo>
                  <a:lnTo>
                    <a:pt x="72" y="32"/>
                  </a:lnTo>
                  <a:lnTo>
                    <a:pt x="72" y="32"/>
                  </a:lnTo>
                  <a:lnTo>
                    <a:pt x="72" y="32"/>
                  </a:lnTo>
                  <a:lnTo>
                    <a:pt x="72" y="32"/>
                  </a:lnTo>
                  <a:lnTo>
                    <a:pt x="72" y="32"/>
                  </a:lnTo>
                  <a:lnTo>
                    <a:pt x="70" y="30"/>
                  </a:lnTo>
                  <a:lnTo>
                    <a:pt x="68" y="30"/>
                  </a:lnTo>
                  <a:lnTo>
                    <a:pt x="68" y="30"/>
                  </a:lnTo>
                  <a:lnTo>
                    <a:pt x="66" y="30"/>
                  </a:lnTo>
                  <a:lnTo>
                    <a:pt x="64" y="30"/>
                  </a:lnTo>
                  <a:lnTo>
                    <a:pt x="64" y="28"/>
                  </a:lnTo>
                  <a:lnTo>
                    <a:pt x="62" y="28"/>
                  </a:lnTo>
                  <a:lnTo>
                    <a:pt x="62" y="28"/>
                  </a:lnTo>
                  <a:lnTo>
                    <a:pt x="62" y="28"/>
                  </a:lnTo>
                  <a:lnTo>
                    <a:pt x="62" y="26"/>
                  </a:lnTo>
                  <a:lnTo>
                    <a:pt x="62" y="26"/>
                  </a:lnTo>
                  <a:lnTo>
                    <a:pt x="62" y="24"/>
                  </a:lnTo>
                  <a:lnTo>
                    <a:pt x="60" y="22"/>
                  </a:lnTo>
                  <a:lnTo>
                    <a:pt x="60" y="18"/>
                  </a:lnTo>
                  <a:lnTo>
                    <a:pt x="60" y="18"/>
                  </a:lnTo>
                  <a:lnTo>
                    <a:pt x="60" y="16"/>
                  </a:lnTo>
                  <a:lnTo>
                    <a:pt x="58" y="12"/>
                  </a:lnTo>
                  <a:lnTo>
                    <a:pt x="58" y="10"/>
                  </a:lnTo>
                  <a:lnTo>
                    <a:pt x="56" y="10"/>
                  </a:lnTo>
                  <a:lnTo>
                    <a:pt x="56" y="8"/>
                  </a:lnTo>
                  <a:lnTo>
                    <a:pt x="54" y="6"/>
                  </a:lnTo>
                  <a:lnTo>
                    <a:pt x="52" y="6"/>
                  </a:lnTo>
                  <a:lnTo>
                    <a:pt x="50" y="4"/>
                  </a:lnTo>
                  <a:lnTo>
                    <a:pt x="48" y="4"/>
                  </a:lnTo>
                  <a:lnTo>
                    <a:pt x="46" y="2"/>
                  </a:lnTo>
                  <a:lnTo>
                    <a:pt x="44" y="2"/>
                  </a:lnTo>
                  <a:lnTo>
                    <a:pt x="42" y="0"/>
                  </a:lnTo>
                  <a:lnTo>
                    <a:pt x="38" y="0"/>
                  </a:lnTo>
                  <a:lnTo>
                    <a:pt x="38" y="0"/>
                  </a:lnTo>
                  <a:lnTo>
                    <a:pt x="36" y="0"/>
                  </a:lnTo>
                  <a:lnTo>
                    <a:pt x="36" y="0"/>
                  </a:lnTo>
                  <a:lnTo>
                    <a:pt x="36" y="0"/>
                  </a:lnTo>
                  <a:lnTo>
                    <a:pt x="34" y="2"/>
                  </a:lnTo>
                  <a:lnTo>
                    <a:pt x="32" y="2"/>
                  </a:lnTo>
                  <a:lnTo>
                    <a:pt x="32" y="4"/>
                  </a:lnTo>
                  <a:lnTo>
                    <a:pt x="28" y="6"/>
                  </a:lnTo>
                  <a:lnTo>
                    <a:pt x="26" y="8"/>
                  </a:lnTo>
                  <a:lnTo>
                    <a:pt x="26" y="10"/>
                  </a:lnTo>
                  <a:lnTo>
                    <a:pt x="24" y="10"/>
                  </a:lnTo>
                  <a:lnTo>
                    <a:pt x="22" y="10"/>
                  </a:lnTo>
                  <a:lnTo>
                    <a:pt x="18" y="12"/>
                  </a:lnTo>
                  <a:lnTo>
                    <a:pt x="14" y="12"/>
                  </a:lnTo>
                  <a:lnTo>
                    <a:pt x="12" y="14"/>
                  </a:lnTo>
                  <a:lnTo>
                    <a:pt x="10" y="14"/>
                  </a:lnTo>
                  <a:lnTo>
                    <a:pt x="10" y="14"/>
                  </a:lnTo>
                  <a:lnTo>
                    <a:pt x="10" y="16"/>
                  </a:lnTo>
                  <a:lnTo>
                    <a:pt x="8" y="16"/>
                  </a:lnTo>
                  <a:lnTo>
                    <a:pt x="8" y="18"/>
                  </a:lnTo>
                  <a:lnTo>
                    <a:pt x="6" y="20"/>
                  </a:lnTo>
                  <a:lnTo>
                    <a:pt x="6" y="22"/>
                  </a:lnTo>
                  <a:lnTo>
                    <a:pt x="4" y="24"/>
                  </a:lnTo>
                  <a:lnTo>
                    <a:pt x="4" y="28"/>
                  </a:lnTo>
                  <a:lnTo>
                    <a:pt x="4" y="30"/>
                  </a:lnTo>
                  <a:lnTo>
                    <a:pt x="2" y="34"/>
                  </a:lnTo>
                  <a:lnTo>
                    <a:pt x="0" y="42"/>
                  </a:lnTo>
                  <a:lnTo>
                    <a:pt x="0" y="54"/>
                  </a:lnTo>
                  <a:lnTo>
                    <a:pt x="2" y="58"/>
                  </a:lnTo>
                  <a:lnTo>
                    <a:pt x="6" y="60"/>
                  </a:lnTo>
                  <a:lnTo>
                    <a:pt x="6" y="62"/>
                  </a:lnTo>
                  <a:lnTo>
                    <a:pt x="8" y="64"/>
                  </a:lnTo>
                  <a:lnTo>
                    <a:pt x="10" y="64"/>
                  </a:lnTo>
                  <a:lnTo>
                    <a:pt x="10" y="64"/>
                  </a:lnTo>
                  <a:lnTo>
                    <a:pt x="14" y="66"/>
                  </a:lnTo>
                  <a:lnTo>
                    <a:pt x="18" y="68"/>
                  </a:lnTo>
                  <a:lnTo>
                    <a:pt x="20" y="68"/>
                  </a:lnTo>
                  <a:lnTo>
                    <a:pt x="22" y="7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3" name="Freeform 471"/>
            <p:cNvSpPr>
              <a:spLocks/>
            </p:cNvSpPr>
            <p:nvPr/>
          </p:nvSpPr>
          <p:spPr bwMode="auto">
            <a:xfrm>
              <a:off x="2859303" y="5543426"/>
              <a:ext cx="135102" cy="148958"/>
            </a:xfrm>
            <a:custGeom>
              <a:avLst/>
              <a:gdLst>
                <a:gd name="T0" fmla="*/ 18 w 78"/>
                <a:gd name="T1" fmla="*/ 0 h 86"/>
                <a:gd name="T2" fmla="*/ 22 w 78"/>
                <a:gd name="T3" fmla="*/ 6 h 86"/>
                <a:gd name="T4" fmla="*/ 24 w 78"/>
                <a:gd name="T5" fmla="*/ 8 h 86"/>
                <a:gd name="T6" fmla="*/ 28 w 78"/>
                <a:gd name="T7" fmla="*/ 10 h 86"/>
                <a:gd name="T8" fmla="*/ 36 w 78"/>
                <a:gd name="T9" fmla="*/ 12 h 86"/>
                <a:gd name="T10" fmla="*/ 38 w 78"/>
                <a:gd name="T11" fmla="*/ 14 h 86"/>
                <a:gd name="T12" fmla="*/ 46 w 78"/>
                <a:gd name="T13" fmla="*/ 20 h 86"/>
                <a:gd name="T14" fmla="*/ 54 w 78"/>
                <a:gd name="T15" fmla="*/ 26 h 86"/>
                <a:gd name="T16" fmla="*/ 62 w 78"/>
                <a:gd name="T17" fmla="*/ 34 h 86"/>
                <a:gd name="T18" fmla="*/ 70 w 78"/>
                <a:gd name="T19" fmla="*/ 42 h 86"/>
                <a:gd name="T20" fmla="*/ 72 w 78"/>
                <a:gd name="T21" fmla="*/ 48 h 86"/>
                <a:gd name="T22" fmla="*/ 76 w 78"/>
                <a:gd name="T23" fmla="*/ 52 h 86"/>
                <a:gd name="T24" fmla="*/ 76 w 78"/>
                <a:gd name="T25" fmla="*/ 54 h 86"/>
                <a:gd name="T26" fmla="*/ 78 w 78"/>
                <a:gd name="T27" fmla="*/ 60 h 86"/>
                <a:gd name="T28" fmla="*/ 74 w 78"/>
                <a:gd name="T29" fmla="*/ 66 h 86"/>
                <a:gd name="T30" fmla="*/ 70 w 78"/>
                <a:gd name="T31" fmla="*/ 70 h 86"/>
                <a:gd name="T32" fmla="*/ 66 w 78"/>
                <a:gd name="T33" fmla="*/ 74 h 86"/>
                <a:gd name="T34" fmla="*/ 66 w 78"/>
                <a:gd name="T35" fmla="*/ 76 h 86"/>
                <a:gd name="T36" fmla="*/ 64 w 78"/>
                <a:gd name="T37" fmla="*/ 78 h 86"/>
                <a:gd name="T38" fmla="*/ 64 w 78"/>
                <a:gd name="T39" fmla="*/ 80 h 86"/>
                <a:gd name="T40" fmla="*/ 64 w 78"/>
                <a:gd name="T41" fmla="*/ 80 h 86"/>
                <a:gd name="T42" fmla="*/ 62 w 78"/>
                <a:gd name="T43" fmla="*/ 82 h 86"/>
                <a:gd name="T44" fmla="*/ 58 w 78"/>
                <a:gd name="T45" fmla="*/ 82 h 86"/>
                <a:gd name="T46" fmla="*/ 54 w 78"/>
                <a:gd name="T47" fmla="*/ 82 h 86"/>
                <a:gd name="T48" fmla="*/ 52 w 78"/>
                <a:gd name="T49" fmla="*/ 82 h 86"/>
                <a:gd name="T50" fmla="*/ 52 w 78"/>
                <a:gd name="T51" fmla="*/ 82 h 86"/>
                <a:gd name="T52" fmla="*/ 50 w 78"/>
                <a:gd name="T53" fmla="*/ 84 h 86"/>
                <a:gd name="T54" fmla="*/ 50 w 78"/>
                <a:gd name="T55" fmla="*/ 86 h 86"/>
                <a:gd name="T56" fmla="*/ 48 w 78"/>
                <a:gd name="T57" fmla="*/ 86 h 86"/>
                <a:gd name="T58" fmla="*/ 48 w 78"/>
                <a:gd name="T59" fmla="*/ 86 h 86"/>
                <a:gd name="T60" fmla="*/ 44 w 78"/>
                <a:gd name="T61" fmla="*/ 84 h 86"/>
                <a:gd name="T62" fmla="*/ 40 w 78"/>
                <a:gd name="T63" fmla="*/ 82 h 86"/>
                <a:gd name="T64" fmla="*/ 32 w 78"/>
                <a:gd name="T65" fmla="*/ 78 h 86"/>
                <a:gd name="T66" fmla="*/ 28 w 78"/>
                <a:gd name="T67" fmla="*/ 78 h 86"/>
                <a:gd name="T68" fmla="*/ 24 w 78"/>
                <a:gd name="T69" fmla="*/ 74 h 86"/>
                <a:gd name="T70" fmla="*/ 20 w 78"/>
                <a:gd name="T71" fmla="*/ 72 h 86"/>
                <a:gd name="T72" fmla="*/ 18 w 78"/>
                <a:gd name="T73" fmla="*/ 72 h 86"/>
                <a:gd name="T74" fmla="*/ 16 w 78"/>
                <a:gd name="T75" fmla="*/ 72 h 86"/>
                <a:gd name="T76" fmla="*/ 16 w 78"/>
                <a:gd name="T77" fmla="*/ 74 h 86"/>
                <a:gd name="T78" fmla="*/ 14 w 78"/>
                <a:gd name="T79" fmla="*/ 76 h 86"/>
                <a:gd name="T80" fmla="*/ 12 w 78"/>
                <a:gd name="T81" fmla="*/ 78 h 86"/>
                <a:gd name="T82" fmla="*/ 10 w 78"/>
                <a:gd name="T83" fmla="*/ 80 h 86"/>
                <a:gd name="T84" fmla="*/ 8 w 78"/>
                <a:gd name="T85" fmla="*/ 80 h 86"/>
                <a:gd name="T86" fmla="*/ 6 w 78"/>
                <a:gd name="T87" fmla="*/ 80 h 86"/>
                <a:gd name="T88" fmla="*/ 4 w 78"/>
                <a:gd name="T89" fmla="*/ 80 h 86"/>
                <a:gd name="T90" fmla="*/ 4 w 78"/>
                <a:gd name="T91" fmla="*/ 78 h 86"/>
                <a:gd name="T92" fmla="*/ 2 w 78"/>
                <a:gd name="T93" fmla="*/ 72 h 86"/>
                <a:gd name="T94" fmla="*/ 2 w 78"/>
                <a:gd name="T95" fmla="*/ 68 h 86"/>
                <a:gd name="T96" fmla="*/ 2 w 78"/>
                <a:gd name="T97" fmla="*/ 64 h 86"/>
                <a:gd name="T98" fmla="*/ 0 w 78"/>
                <a:gd name="T99" fmla="*/ 52 h 86"/>
                <a:gd name="T100" fmla="*/ 0 w 78"/>
                <a:gd name="T101" fmla="*/ 42 h 86"/>
                <a:gd name="T102" fmla="*/ 0 w 78"/>
                <a:gd name="T103" fmla="*/ 36 h 86"/>
                <a:gd name="T104" fmla="*/ 2 w 78"/>
                <a:gd name="T105" fmla="*/ 28 h 86"/>
                <a:gd name="T106" fmla="*/ 2 w 78"/>
                <a:gd name="T107" fmla="*/ 24 h 86"/>
                <a:gd name="T108" fmla="*/ 4 w 78"/>
                <a:gd name="T109" fmla="*/ 22 h 86"/>
                <a:gd name="T110" fmla="*/ 10 w 78"/>
                <a:gd name="T111" fmla="*/ 10 h 86"/>
                <a:gd name="T112" fmla="*/ 18 w 78"/>
                <a:gd name="T11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6">
                  <a:moveTo>
                    <a:pt x="18" y="0"/>
                  </a:moveTo>
                  <a:lnTo>
                    <a:pt x="18" y="0"/>
                  </a:lnTo>
                  <a:lnTo>
                    <a:pt x="20" y="4"/>
                  </a:lnTo>
                  <a:lnTo>
                    <a:pt x="22" y="6"/>
                  </a:lnTo>
                  <a:lnTo>
                    <a:pt x="24" y="8"/>
                  </a:lnTo>
                  <a:lnTo>
                    <a:pt x="24" y="8"/>
                  </a:lnTo>
                  <a:lnTo>
                    <a:pt x="26" y="8"/>
                  </a:lnTo>
                  <a:lnTo>
                    <a:pt x="28" y="10"/>
                  </a:lnTo>
                  <a:lnTo>
                    <a:pt x="32" y="10"/>
                  </a:lnTo>
                  <a:lnTo>
                    <a:pt x="36" y="12"/>
                  </a:lnTo>
                  <a:lnTo>
                    <a:pt x="36" y="12"/>
                  </a:lnTo>
                  <a:lnTo>
                    <a:pt x="38" y="14"/>
                  </a:lnTo>
                  <a:lnTo>
                    <a:pt x="42" y="16"/>
                  </a:lnTo>
                  <a:lnTo>
                    <a:pt x="46" y="20"/>
                  </a:lnTo>
                  <a:lnTo>
                    <a:pt x="50" y="22"/>
                  </a:lnTo>
                  <a:lnTo>
                    <a:pt x="54" y="26"/>
                  </a:lnTo>
                  <a:lnTo>
                    <a:pt x="58" y="30"/>
                  </a:lnTo>
                  <a:lnTo>
                    <a:pt x="62" y="34"/>
                  </a:lnTo>
                  <a:lnTo>
                    <a:pt x="66" y="38"/>
                  </a:lnTo>
                  <a:lnTo>
                    <a:pt x="70" y="42"/>
                  </a:lnTo>
                  <a:lnTo>
                    <a:pt x="70" y="44"/>
                  </a:lnTo>
                  <a:lnTo>
                    <a:pt x="72" y="48"/>
                  </a:lnTo>
                  <a:lnTo>
                    <a:pt x="74" y="50"/>
                  </a:lnTo>
                  <a:lnTo>
                    <a:pt x="76" y="52"/>
                  </a:lnTo>
                  <a:lnTo>
                    <a:pt x="76" y="54"/>
                  </a:lnTo>
                  <a:lnTo>
                    <a:pt x="76" y="54"/>
                  </a:lnTo>
                  <a:lnTo>
                    <a:pt x="76" y="56"/>
                  </a:lnTo>
                  <a:lnTo>
                    <a:pt x="78" y="60"/>
                  </a:lnTo>
                  <a:lnTo>
                    <a:pt x="78" y="64"/>
                  </a:lnTo>
                  <a:lnTo>
                    <a:pt x="74" y="66"/>
                  </a:lnTo>
                  <a:lnTo>
                    <a:pt x="72" y="68"/>
                  </a:lnTo>
                  <a:lnTo>
                    <a:pt x="70" y="70"/>
                  </a:lnTo>
                  <a:lnTo>
                    <a:pt x="68" y="72"/>
                  </a:lnTo>
                  <a:lnTo>
                    <a:pt x="66" y="74"/>
                  </a:lnTo>
                  <a:lnTo>
                    <a:pt x="66" y="74"/>
                  </a:lnTo>
                  <a:lnTo>
                    <a:pt x="66" y="76"/>
                  </a:lnTo>
                  <a:lnTo>
                    <a:pt x="66" y="76"/>
                  </a:lnTo>
                  <a:lnTo>
                    <a:pt x="64" y="78"/>
                  </a:lnTo>
                  <a:lnTo>
                    <a:pt x="64" y="80"/>
                  </a:lnTo>
                  <a:lnTo>
                    <a:pt x="64" y="80"/>
                  </a:lnTo>
                  <a:lnTo>
                    <a:pt x="64" y="80"/>
                  </a:lnTo>
                  <a:lnTo>
                    <a:pt x="64" y="80"/>
                  </a:lnTo>
                  <a:lnTo>
                    <a:pt x="62" y="80"/>
                  </a:lnTo>
                  <a:lnTo>
                    <a:pt x="62" y="82"/>
                  </a:lnTo>
                  <a:lnTo>
                    <a:pt x="60" y="82"/>
                  </a:lnTo>
                  <a:lnTo>
                    <a:pt x="58" y="82"/>
                  </a:lnTo>
                  <a:lnTo>
                    <a:pt x="56" y="82"/>
                  </a:lnTo>
                  <a:lnTo>
                    <a:pt x="54" y="82"/>
                  </a:lnTo>
                  <a:lnTo>
                    <a:pt x="54" y="82"/>
                  </a:lnTo>
                  <a:lnTo>
                    <a:pt x="52" y="82"/>
                  </a:lnTo>
                  <a:lnTo>
                    <a:pt x="52" y="82"/>
                  </a:lnTo>
                  <a:lnTo>
                    <a:pt x="52" y="82"/>
                  </a:lnTo>
                  <a:lnTo>
                    <a:pt x="52" y="84"/>
                  </a:lnTo>
                  <a:lnTo>
                    <a:pt x="50" y="84"/>
                  </a:lnTo>
                  <a:lnTo>
                    <a:pt x="50" y="86"/>
                  </a:lnTo>
                  <a:lnTo>
                    <a:pt x="50" y="86"/>
                  </a:lnTo>
                  <a:lnTo>
                    <a:pt x="50" y="86"/>
                  </a:lnTo>
                  <a:lnTo>
                    <a:pt x="48" y="86"/>
                  </a:lnTo>
                  <a:lnTo>
                    <a:pt x="48" y="86"/>
                  </a:lnTo>
                  <a:lnTo>
                    <a:pt x="48" y="86"/>
                  </a:lnTo>
                  <a:lnTo>
                    <a:pt x="46" y="86"/>
                  </a:lnTo>
                  <a:lnTo>
                    <a:pt x="44" y="84"/>
                  </a:lnTo>
                  <a:lnTo>
                    <a:pt x="44" y="84"/>
                  </a:lnTo>
                  <a:lnTo>
                    <a:pt x="40" y="82"/>
                  </a:lnTo>
                  <a:lnTo>
                    <a:pt x="36" y="80"/>
                  </a:lnTo>
                  <a:lnTo>
                    <a:pt x="32" y="78"/>
                  </a:lnTo>
                  <a:lnTo>
                    <a:pt x="28" y="78"/>
                  </a:lnTo>
                  <a:lnTo>
                    <a:pt x="28" y="78"/>
                  </a:lnTo>
                  <a:lnTo>
                    <a:pt x="26" y="76"/>
                  </a:lnTo>
                  <a:lnTo>
                    <a:pt x="24" y="74"/>
                  </a:lnTo>
                  <a:lnTo>
                    <a:pt x="22" y="74"/>
                  </a:lnTo>
                  <a:lnTo>
                    <a:pt x="20" y="72"/>
                  </a:lnTo>
                  <a:lnTo>
                    <a:pt x="18" y="72"/>
                  </a:lnTo>
                  <a:lnTo>
                    <a:pt x="18" y="72"/>
                  </a:lnTo>
                  <a:lnTo>
                    <a:pt x="18" y="72"/>
                  </a:lnTo>
                  <a:lnTo>
                    <a:pt x="16" y="72"/>
                  </a:lnTo>
                  <a:lnTo>
                    <a:pt x="16" y="72"/>
                  </a:lnTo>
                  <a:lnTo>
                    <a:pt x="16" y="74"/>
                  </a:lnTo>
                  <a:lnTo>
                    <a:pt x="14" y="74"/>
                  </a:lnTo>
                  <a:lnTo>
                    <a:pt x="14" y="76"/>
                  </a:lnTo>
                  <a:lnTo>
                    <a:pt x="12" y="78"/>
                  </a:lnTo>
                  <a:lnTo>
                    <a:pt x="12" y="78"/>
                  </a:lnTo>
                  <a:lnTo>
                    <a:pt x="12" y="80"/>
                  </a:lnTo>
                  <a:lnTo>
                    <a:pt x="10" y="80"/>
                  </a:lnTo>
                  <a:lnTo>
                    <a:pt x="8" y="80"/>
                  </a:lnTo>
                  <a:lnTo>
                    <a:pt x="8" y="80"/>
                  </a:lnTo>
                  <a:lnTo>
                    <a:pt x="6" y="80"/>
                  </a:lnTo>
                  <a:lnTo>
                    <a:pt x="6" y="80"/>
                  </a:lnTo>
                  <a:lnTo>
                    <a:pt x="6" y="80"/>
                  </a:lnTo>
                  <a:lnTo>
                    <a:pt x="4" y="80"/>
                  </a:lnTo>
                  <a:lnTo>
                    <a:pt x="4" y="78"/>
                  </a:lnTo>
                  <a:lnTo>
                    <a:pt x="4" y="78"/>
                  </a:lnTo>
                  <a:lnTo>
                    <a:pt x="4" y="76"/>
                  </a:lnTo>
                  <a:lnTo>
                    <a:pt x="2" y="72"/>
                  </a:lnTo>
                  <a:lnTo>
                    <a:pt x="2" y="70"/>
                  </a:lnTo>
                  <a:lnTo>
                    <a:pt x="2" y="68"/>
                  </a:lnTo>
                  <a:lnTo>
                    <a:pt x="2" y="66"/>
                  </a:lnTo>
                  <a:lnTo>
                    <a:pt x="2" y="64"/>
                  </a:lnTo>
                  <a:lnTo>
                    <a:pt x="2" y="58"/>
                  </a:lnTo>
                  <a:lnTo>
                    <a:pt x="0" y="52"/>
                  </a:lnTo>
                  <a:lnTo>
                    <a:pt x="0" y="46"/>
                  </a:lnTo>
                  <a:lnTo>
                    <a:pt x="0" y="42"/>
                  </a:lnTo>
                  <a:lnTo>
                    <a:pt x="0" y="40"/>
                  </a:lnTo>
                  <a:lnTo>
                    <a:pt x="0" y="36"/>
                  </a:lnTo>
                  <a:lnTo>
                    <a:pt x="0" y="32"/>
                  </a:lnTo>
                  <a:lnTo>
                    <a:pt x="2" y="28"/>
                  </a:lnTo>
                  <a:lnTo>
                    <a:pt x="2" y="26"/>
                  </a:lnTo>
                  <a:lnTo>
                    <a:pt x="2" y="24"/>
                  </a:lnTo>
                  <a:lnTo>
                    <a:pt x="2" y="24"/>
                  </a:lnTo>
                  <a:lnTo>
                    <a:pt x="4" y="22"/>
                  </a:lnTo>
                  <a:lnTo>
                    <a:pt x="6" y="18"/>
                  </a:lnTo>
                  <a:lnTo>
                    <a:pt x="10" y="10"/>
                  </a:lnTo>
                  <a:lnTo>
                    <a:pt x="14" y="4"/>
                  </a:lnTo>
                  <a:lnTo>
                    <a:pt x="18"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4" name="Freeform 472"/>
            <p:cNvSpPr>
              <a:spLocks/>
            </p:cNvSpPr>
            <p:nvPr/>
          </p:nvSpPr>
          <p:spPr bwMode="auto">
            <a:xfrm>
              <a:off x="2859303" y="5543426"/>
              <a:ext cx="135102" cy="148958"/>
            </a:xfrm>
            <a:custGeom>
              <a:avLst/>
              <a:gdLst>
                <a:gd name="T0" fmla="*/ 18 w 78"/>
                <a:gd name="T1" fmla="*/ 0 h 86"/>
                <a:gd name="T2" fmla="*/ 22 w 78"/>
                <a:gd name="T3" fmla="*/ 6 h 86"/>
                <a:gd name="T4" fmla="*/ 24 w 78"/>
                <a:gd name="T5" fmla="*/ 8 h 86"/>
                <a:gd name="T6" fmla="*/ 28 w 78"/>
                <a:gd name="T7" fmla="*/ 10 h 86"/>
                <a:gd name="T8" fmla="*/ 36 w 78"/>
                <a:gd name="T9" fmla="*/ 12 h 86"/>
                <a:gd name="T10" fmla="*/ 38 w 78"/>
                <a:gd name="T11" fmla="*/ 14 h 86"/>
                <a:gd name="T12" fmla="*/ 46 w 78"/>
                <a:gd name="T13" fmla="*/ 20 h 86"/>
                <a:gd name="T14" fmla="*/ 54 w 78"/>
                <a:gd name="T15" fmla="*/ 26 h 86"/>
                <a:gd name="T16" fmla="*/ 62 w 78"/>
                <a:gd name="T17" fmla="*/ 34 h 86"/>
                <a:gd name="T18" fmla="*/ 70 w 78"/>
                <a:gd name="T19" fmla="*/ 42 h 86"/>
                <a:gd name="T20" fmla="*/ 72 w 78"/>
                <a:gd name="T21" fmla="*/ 48 h 86"/>
                <a:gd name="T22" fmla="*/ 76 w 78"/>
                <a:gd name="T23" fmla="*/ 52 h 86"/>
                <a:gd name="T24" fmla="*/ 76 w 78"/>
                <a:gd name="T25" fmla="*/ 54 h 86"/>
                <a:gd name="T26" fmla="*/ 78 w 78"/>
                <a:gd name="T27" fmla="*/ 60 h 86"/>
                <a:gd name="T28" fmla="*/ 74 w 78"/>
                <a:gd name="T29" fmla="*/ 66 h 86"/>
                <a:gd name="T30" fmla="*/ 70 w 78"/>
                <a:gd name="T31" fmla="*/ 70 h 86"/>
                <a:gd name="T32" fmla="*/ 66 w 78"/>
                <a:gd name="T33" fmla="*/ 74 h 86"/>
                <a:gd name="T34" fmla="*/ 66 w 78"/>
                <a:gd name="T35" fmla="*/ 76 h 86"/>
                <a:gd name="T36" fmla="*/ 64 w 78"/>
                <a:gd name="T37" fmla="*/ 78 h 86"/>
                <a:gd name="T38" fmla="*/ 64 w 78"/>
                <a:gd name="T39" fmla="*/ 80 h 86"/>
                <a:gd name="T40" fmla="*/ 64 w 78"/>
                <a:gd name="T41" fmla="*/ 80 h 86"/>
                <a:gd name="T42" fmla="*/ 62 w 78"/>
                <a:gd name="T43" fmla="*/ 82 h 86"/>
                <a:gd name="T44" fmla="*/ 58 w 78"/>
                <a:gd name="T45" fmla="*/ 82 h 86"/>
                <a:gd name="T46" fmla="*/ 54 w 78"/>
                <a:gd name="T47" fmla="*/ 82 h 86"/>
                <a:gd name="T48" fmla="*/ 52 w 78"/>
                <a:gd name="T49" fmla="*/ 82 h 86"/>
                <a:gd name="T50" fmla="*/ 52 w 78"/>
                <a:gd name="T51" fmla="*/ 82 h 86"/>
                <a:gd name="T52" fmla="*/ 50 w 78"/>
                <a:gd name="T53" fmla="*/ 84 h 86"/>
                <a:gd name="T54" fmla="*/ 50 w 78"/>
                <a:gd name="T55" fmla="*/ 86 h 86"/>
                <a:gd name="T56" fmla="*/ 48 w 78"/>
                <a:gd name="T57" fmla="*/ 86 h 86"/>
                <a:gd name="T58" fmla="*/ 48 w 78"/>
                <a:gd name="T59" fmla="*/ 86 h 86"/>
                <a:gd name="T60" fmla="*/ 44 w 78"/>
                <a:gd name="T61" fmla="*/ 84 h 86"/>
                <a:gd name="T62" fmla="*/ 40 w 78"/>
                <a:gd name="T63" fmla="*/ 82 h 86"/>
                <a:gd name="T64" fmla="*/ 32 w 78"/>
                <a:gd name="T65" fmla="*/ 78 h 86"/>
                <a:gd name="T66" fmla="*/ 28 w 78"/>
                <a:gd name="T67" fmla="*/ 78 h 86"/>
                <a:gd name="T68" fmla="*/ 24 w 78"/>
                <a:gd name="T69" fmla="*/ 74 h 86"/>
                <a:gd name="T70" fmla="*/ 20 w 78"/>
                <a:gd name="T71" fmla="*/ 72 h 86"/>
                <a:gd name="T72" fmla="*/ 18 w 78"/>
                <a:gd name="T73" fmla="*/ 72 h 86"/>
                <a:gd name="T74" fmla="*/ 16 w 78"/>
                <a:gd name="T75" fmla="*/ 72 h 86"/>
                <a:gd name="T76" fmla="*/ 16 w 78"/>
                <a:gd name="T77" fmla="*/ 74 h 86"/>
                <a:gd name="T78" fmla="*/ 14 w 78"/>
                <a:gd name="T79" fmla="*/ 76 h 86"/>
                <a:gd name="T80" fmla="*/ 12 w 78"/>
                <a:gd name="T81" fmla="*/ 78 h 86"/>
                <a:gd name="T82" fmla="*/ 10 w 78"/>
                <a:gd name="T83" fmla="*/ 80 h 86"/>
                <a:gd name="T84" fmla="*/ 8 w 78"/>
                <a:gd name="T85" fmla="*/ 80 h 86"/>
                <a:gd name="T86" fmla="*/ 6 w 78"/>
                <a:gd name="T87" fmla="*/ 80 h 86"/>
                <a:gd name="T88" fmla="*/ 4 w 78"/>
                <a:gd name="T89" fmla="*/ 80 h 86"/>
                <a:gd name="T90" fmla="*/ 4 w 78"/>
                <a:gd name="T91" fmla="*/ 78 h 86"/>
                <a:gd name="T92" fmla="*/ 2 w 78"/>
                <a:gd name="T93" fmla="*/ 72 h 86"/>
                <a:gd name="T94" fmla="*/ 2 w 78"/>
                <a:gd name="T95" fmla="*/ 68 h 86"/>
                <a:gd name="T96" fmla="*/ 2 w 78"/>
                <a:gd name="T97" fmla="*/ 64 h 86"/>
                <a:gd name="T98" fmla="*/ 0 w 78"/>
                <a:gd name="T99" fmla="*/ 52 h 86"/>
                <a:gd name="T100" fmla="*/ 0 w 78"/>
                <a:gd name="T101" fmla="*/ 42 h 86"/>
                <a:gd name="T102" fmla="*/ 0 w 78"/>
                <a:gd name="T103" fmla="*/ 36 h 86"/>
                <a:gd name="T104" fmla="*/ 2 w 78"/>
                <a:gd name="T105" fmla="*/ 28 h 86"/>
                <a:gd name="T106" fmla="*/ 2 w 78"/>
                <a:gd name="T107" fmla="*/ 24 h 86"/>
                <a:gd name="T108" fmla="*/ 4 w 78"/>
                <a:gd name="T109" fmla="*/ 22 h 86"/>
                <a:gd name="T110" fmla="*/ 10 w 78"/>
                <a:gd name="T111" fmla="*/ 10 h 86"/>
                <a:gd name="T112" fmla="*/ 18 w 78"/>
                <a:gd name="T11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6">
                  <a:moveTo>
                    <a:pt x="18" y="0"/>
                  </a:moveTo>
                  <a:lnTo>
                    <a:pt x="18" y="0"/>
                  </a:lnTo>
                  <a:lnTo>
                    <a:pt x="20" y="4"/>
                  </a:lnTo>
                  <a:lnTo>
                    <a:pt x="22" y="6"/>
                  </a:lnTo>
                  <a:lnTo>
                    <a:pt x="24" y="8"/>
                  </a:lnTo>
                  <a:lnTo>
                    <a:pt x="24" y="8"/>
                  </a:lnTo>
                  <a:lnTo>
                    <a:pt x="26" y="8"/>
                  </a:lnTo>
                  <a:lnTo>
                    <a:pt x="28" y="10"/>
                  </a:lnTo>
                  <a:lnTo>
                    <a:pt x="32" y="10"/>
                  </a:lnTo>
                  <a:lnTo>
                    <a:pt x="36" y="12"/>
                  </a:lnTo>
                  <a:lnTo>
                    <a:pt x="36" y="12"/>
                  </a:lnTo>
                  <a:lnTo>
                    <a:pt x="38" y="14"/>
                  </a:lnTo>
                  <a:lnTo>
                    <a:pt x="42" y="16"/>
                  </a:lnTo>
                  <a:lnTo>
                    <a:pt x="46" y="20"/>
                  </a:lnTo>
                  <a:lnTo>
                    <a:pt x="50" y="22"/>
                  </a:lnTo>
                  <a:lnTo>
                    <a:pt x="54" y="26"/>
                  </a:lnTo>
                  <a:lnTo>
                    <a:pt x="58" y="30"/>
                  </a:lnTo>
                  <a:lnTo>
                    <a:pt x="62" y="34"/>
                  </a:lnTo>
                  <a:lnTo>
                    <a:pt x="66" y="38"/>
                  </a:lnTo>
                  <a:lnTo>
                    <a:pt x="70" y="42"/>
                  </a:lnTo>
                  <a:lnTo>
                    <a:pt x="70" y="44"/>
                  </a:lnTo>
                  <a:lnTo>
                    <a:pt x="72" y="48"/>
                  </a:lnTo>
                  <a:lnTo>
                    <a:pt x="74" y="50"/>
                  </a:lnTo>
                  <a:lnTo>
                    <a:pt x="76" y="52"/>
                  </a:lnTo>
                  <a:lnTo>
                    <a:pt x="76" y="54"/>
                  </a:lnTo>
                  <a:lnTo>
                    <a:pt x="76" y="54"/>
                  </a:lnTo>
                  <a:lnTo>
                    <a:pt x="76" y="56"/>
                  </a:lnTo>
                  <a:lnTo>
                    <a:pt x="78" y="60"/>
                  </a:lnTo>
                  <a:lnTo>
                    <a:pt x="78" y="64"/>
                  </a:lnTo>
                  <a:lnTo>
                    <a:pt x="74" y="66"/>
                  </a:lnTo>
                  <a:lnTo>
                    <a:pt x="72" y="68"/>
                  </a:lnTo>
                  <a:lnTo>
                    <a:pt x="70" y="70"/>
                  </a:lnTo>
                  <a:lnTo>
                    <a:pt x="68" y="72"/>
                  </a:lnTo>
                  <a:lnTo>
                    <a:pt x="66" y="74"/>
                  </a:lnTo>
                  <a:lnTo>
                    <a:pt x="66" y="74"/>
                  </a:lnTo>
                  <a:lnTo>
                    <a:pt x="66" y="76"/>
                  </a:lnTo>
                  <a:lnTo>
                    <a:pt x="66" y="76"/>
                  </a:lnTo>
                  <a:lnTo>
                    <a:pt x="64" y="78"/>
                  </a:lnTo>
                  <a:lnTo>
                    <a:pt x="64" y="80"/>
                  </a:lnTo>
                  <a:lnTo>
                    <a:pt x="64" y="80"/>
                  </a:lnTo>
                  <a:lnTo>
                    <a:pt x="64" y="80"/>
                  </a:lnTo>
                  <a:lnTo>
                    <a:pt x="64" y="80"/>
                  </a:lnTo>
                  <a:lnTo>
                    <a:pt x="62" y="80"/>
                  </a:lnTo>
                  <a:lnTo>
                    <a:pt x="62" y="82"/>
                  </a:lnTo>
                  <a:lnTo>
                    <a:pt x="60" y="82"/>
                  </a:lnTo>
                  <a:lnTo>
                    <a:pt x="58" y="82"/>
                  </a:lnTo>
                  <a:lnTo>
                    <a:pt x="56" y="82"/>
                  </a:lnTo>
                  <a:lnTo>
                    <a:pt x="54" y="82"/>
                  </a:lnTo>
                  <a:lnTo>
                    <a:pt x="54" y="82"/>
                  </a:lnTo>
                  <a:lnTo>
                    <a:pt x="52" y="82"/>
                  </a:lnTo>
                  <a:lnTo>
                    <a:pt x="52" y="82"/>
                  </a:lnTo>
                  <a:lnTo>
                    <a:pt x="52" y="82"/>
                  </a:lnTo>
                  <a:lnTo>
                    <a:pt x="52" y="84"/>
                  </a:lnTo>
                  <a:lnTo>
                    <a:pt x="50" y="84"/>
                  </a:lnTo>
                  <a:lnTo>
                    <a:pt x="50" y="86"/>
                  </a:lnTo>
                  <a:lnTo>
                    <a:pt x="50" y="86"/>
                  </a:lnTo>
                  <a:lnTo>
                    <a:pt x="50" y="86"/>
                  </a:lnTo>
                  <a:lnTo>
                    <a:pt x="48" y="86"/>
                  </a:lnTo>
                  <a:lnTo>
                    <a:pt x="48" y="86"/>
                  </a:lnTo>
                  <a:lnTo>
                    <a:pt x="48" y="86"/>
                  </a:lnTo>
                  <a:lnTo>
                    <a:pt x="46" y="86"/>
                  </a:lnTo>
                  <a:lnTo>
                    <a:pt x="44" y="84"/>
                  </a:lnTo>
                  <a:lnTo>
                    <a:pt x="44" y="84"/>
                  </a:lnTo>
                  <a:lnTo>
                    <a:pt x="40" y="82"/>
                  </a:lnTo>
                  <a:lnTo>
                    <a:pt x="36" y="80"/>
                  </a:lnTo>
                  <a:lnTo>
                    <a:pt x="32" y="78"/>
                  </a:lnTo>
                  <a:lnTo>
                    <a:pt x="28" y="78"/>
                  </a:lnTo>
                  <a:lnTo>
                    <a:pt x="28" y="78"/>
                  </a:lnTo>
                  <a:lnTo>
                    <a:pt x="26" y="76"/>
                  </a:lnTo>
                  <a:lnTo>
                    <a:pt x="24" y="74"/>
                  </a:lnTo>
                  <a:lnTo>
                    <a:pt x="22" y="74"/>
                  </a:lnTo>
                  <a:lnTo>
                    <a:pt x="20" y="72"/>
                  </a:lnTo>
                  <a:lnTo>
                    <a:pt x="18" y="72"/>
                  </a:lnTo>
                  <a:lnTo>
                    <a:pt x="18" y="72"/>
                  </a:lnTo>
                  <a:lnTo>
                    <a:pt x="18" y="72"/>
                  </a:lnTo>
                  <a:lnTo>
                    <a:pt x="16" y="72"/>
                  </a:lnTo>
                  <a:lnTo>
                    <a:pt x="16" y="72"/>
                  </a:lnTo>
                  <a:lnTo>
                    <a:pt x="16" y="74"/>
                  </a:lnTo>
                  <a:lnTo>
                    <a:pt x="14" y="74"/>
                  </a:lnTo>
                  <a:lnTo>
                    <a:pt x="14" y="76"/>
                  </a:lnTo>
                  <a:lnTo>
                    <a:pt x="12" y="78"/>
                  </a:lnTo>
                  <a:lnTo>
                    <a:pt x="12" y="78"/>
                  </a:lnTo>
                  <a:lnTo>
                    <a:pt x="12" y="80"/>
                  </a:lnTo>
                  <a:lnTo>
                    <a:pt x="10" y="80"/>
                  </a:lnTo>
                  <a:lnTo>
                    <a:pt x="8" y="80"/>
                  </a:lnTo>
                  <a:lnTo>
                    <a:pt x="8" y="80"/>
                  </a:lnTo>
                  <a:lnTo>
                    <a:pt x="6" y="80"/>
                  </a:lnTo>
                  <a:lnTo>
                    <a:pt x="6" y="80"/>
                  </a:lnTo>
                  <a:lnTo>
                    <a:pt x="6" y="80"/>
                  </a:lnTo>
                  <a:lnTo>
                    <a:pt x="4" y="80"/>
                  </a:lnTo>
                  <a:lnTo>
                    <a:pt x="4" y="78"/>
                  </a:lnTo>
                  <a:lnTo>
                    <a:pt x="4" y="78"/>
                  </a:lnTo>
                  <a:lnTo>
                    <a:pt x="4" y="76"/>
                  </a:lnTo>
                  <a:lnTo>
                    <a:pt x="2" y="72"/>
                  </a:lnTo>
                  <a:lnTo>
                    <a:pt x="2" y="70"/>
                  </a:lnTo>
                  <a:lnTo>
                    <a:pt x="2" y="68"/>
                  </a:lnTo>
                  <a:lnTo>
                    <a:pt x="2" y="66"/>
                  </a:lnTo>
                  <a:lnTo>
                    <a:pt x="2" y="64"/>
                  </a:lnTo>
                  <a:lnTo>
                    <a:pt x="2" y="58"/>
                  </a:lnTo>
                  <a:lnTo>
                    <a:pt x="0" y="52"/>
                  </a:lnTo>
                  <a:lnTo>
                    <a:pt x="0" y="46"/>
                  </a:lnTo>
                  <a:lnTo>
                    <a:pt x="0" y="42"/>
                  </a:lnTo>
                  <a:lnTo>
                    <a:pt x="0" y="40"/>
                  </a:lnTo>
                  <a:lnTo>
                    <a:pt x="0" y="36"/>
                  </a:lnTo>
                  <a:lnTo>
                    <a:pt x="0" y="32"/>
                  </a:lnTo>
                  <a:lnTo>
                    <a:pt x="2" y="28"/>
                  </a:lnTo>
                  <a:lnTo>
                    <a:pt x="2" y="26"/>
                  </a:lnTo>
                  <a:lnTo>
                    <a:pt x="2" y="24"/>
                  </a:lnTo>
                  <a:lnTo>
                    <a:pt x="2" y="24"/>
                  </a:lnTo>
                  <a:lnTo>
                    <a:pt x="4" y="22"/>
                  </a:lnTo>
                  <a:lnTo>
                    <a:pt x="6" y="18"/>
                  </a:lnTo>
                  <a:lnTo>
                    <a:pt x="10" y="10"/>
                  </a:lnTo>
                  <a:lnTo>
                    <a:pt x="14" y="4"/>
                  </a:lnTo>
                  <a:lnTo>
                    <a:pt x="18"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5" name="Freeform 473"/>
            <p:cNvSpPr>
              <a:spLocks/>
            </p:cNvSpPr>
            <p:nvPr/>
          </p:nvSpPr>
          <p:spPr bwMode="auto">
            <a:xfrm>
              <a:off x="2547529" y="4947592"/>
              <a:ext cx="311774" cy="384521"/>
            </a:xfrm>
            <a:custGeom>
              <a:avLst/>
              <a:gdLst>
                <a:gd name="T0" fmla="*/ 172 w 180"/>
                <a:gd name="T1" fmla="*/ 170 h 222"/>
                <a:gd name="T2" fmla="*/ 180 w 180"/>
                <a:gd name="T3" fmla="*/ 154 h 222"/>
                <a:gd name="T4" fmla="*/ 178 w 180"/>
                <a:gd name="T5" fmla="*/ 142 h 222"/>
                <a:gd name="T6" fmla="*/ 174 w 180"/>
                <a:gd name="T7" fmla="*/ 138 h 222"/>
                <a:gd name="T8" fmla="*/ 172 w 180"/>
                <a:gd name="T9" fmla="*/ 128 h 222"/>
                <a:gd name="T10" fmla="*/ 166 w 180"/>
                <a:gd name="T11" fmla="*/ 126 h 222"/>
                <a:gd name="T12" fmla="*/ 164 w 180"/>
                <a:gd name="T13" fmla="*/ 122 h 222"/>
                <a:gd name="T14" fmla="*/ 162 w 180"/>
                <a:gd name="T15" fmla="*/ 114 h 222"/>
                <a:gd name="T16" fmla="*/ 146 w 180"/>
                <a:gd name="T17" fmla="*/ 116 h 222"/>
                <a:gd name="T18" fmla="*/ 140 w 180"/>
                <a:gd name="T19" fmla="*/ 114 h 222"/>
                <a:gd name="T20" fmla="*/ 134 w 180"/>
                <a:gd name="T21" fmla="*/ 108 h 222"/>
                <a:gd name="T22" fmla="*/ 132 w 180"/>
                <a:gd name="T23" fmla="*/ 96 h 222"/>
                <a:gd name="T24" fmla="*/ 134 w 180"/>
                <a:gd name="T25" fmla="*/ 86 h 222"/>
                <a:gd name="T26" fmla="*/ 140 w 180"/>
                <a:gd name="T27" fmla="*/ 82 h 222"/>
                <a:gd name="T28" fmla="*/ 134 w 180"/>
                <a:gd name="T29" fmla="*/ 82 h 222"/>
                <a:gd name="T30" fmla="*/ 132 w 180"/>
                <a:gd name="T31" fmla="*/ 76 h 222"/>
                <a:gd name="T32" fmla="*/ 132 w 180"/>
                <a:gd name="T33" fmla="*/ 68 h 222"/>
                <a:gd name="T34" fmla="*/ 122 w 180"/>
                <a:gd name="T35" fmla="*/ 64 h 222"/>
                <a:gd name="T36" fmla="*/ 108 w 180"/>
                <a:gd name="T37" fmla="*/ 64 h 222"/>
                <a:gd name="T38" fmla="*/ 108 w 180"/>
                <a:gd name="T39" fmla="*/ 56 h 222"/>
                <a:gd name="T40" fmla="*/ 104 w 180"/>
                <a:gd name="T41" fmla="*/ 54 h 222"/>
                <a:gd name="T42" fmla="*/ 94 w 180"/>
                <a:gd name="T43" fmla="*/ 50 h 222"/>
                <a:gd name="T44" fmla="*/ 86 w 180"/>
                <a:gd name="T45" fmla="*/ 48 h 222"/>
                <a:gd name="T46" fmla="*/ 72 w 180"/>
                <a:gd name="T47" fmla="*/ 48 h 222"/>
                <a:gd name="T48" fmla="*/ 64 w 180"/>
                <a:gd name="T49" fmla="*/ 36 h 222"/>
                <a:gd name="T50" fmla="*/ 64 w 180"/>
                <a:gd name="T51" fmla="*/ 10 h 222"/>
                <a:gd name="T52" fmla="*/ 60 w 180"/>
                <a:gd name="T53" fmla="*/ 2 h 222"/>
                <a:gd name="T54" fmla="*/ 44 w 180"/>
                <a:gd name="T55" fmla="*/ 0 h 222"/>
                <a:gd name="T56" fmla="*/ 42 w 180"/>
                <a:gd name="T57" fmla="*/ 4 h 222"/>
                <a:gd name="T58" fmla="*/ 40 w 180"/>
                <a:gd name="T59" fmla="*/ 12 h 222"/>
                <a:gd name="T60" fmla="*/ 34 w 180"/>
                <a:gd name="T61" fmla="*/ 10 h 222"/>
                <a:gd name="T62" fmla="*/ 30 w 180"/>
                <a:gd name="T63" fmla="*/ 16 h 222"/>
                <a:gd name="T64" fmla="*/ 20 w 180"/>
                <a:gd name="T65" fmla="*/ 24 h 222"/>
                <a:gd name="T66" fmla="*/ 4 w 180"/>
                <a:gd name="T67" fmla="*/ 24 h 222"/>
                <a:gd name="T68" fmla="*/ 16 w 180"/>
                <a:gd name="T69" fmla="*/ 42 h 222"/>
                <a:gd name="T70" fmla="*/ 14 w 180"/>
                <a:gd name="T71" fmla="*/ 54 h 222"/>
                <a:gd name="T72" fmla="*/ 6 w 180"/>
                <a:gd name="T73" fmla="*/ 62 h 222"/>
                <a:gd name="T74" fmla="*/ 8 w 180"/>
                <a:gd name="T75" fmla="*/ 80 h 222"/>
                <a:gd name="T76" fmla="*/ 4 w 180"/>
                <a:gd name="T77" fmla="*/ 104 h 222"/>
                <a:gd name="T78" fmla="*/ 10 w 180"/>
                <a:gd name="T79" fmla="*/ 114 h 222"/>
                <a:gd name="T80" fmla="*/ 6 w 180"/>
                <a:gd name="T81" fmla="*/ 118 h 222"/>
                <a:gd name="T82" fmla="*/ 2 w 180"/>
                <a:gd name="T83" fmla="*/ 124 h 222"/>
                <a:gd name="T84" fmla="*/ 8 w 180"/>
                <a:gd name="T85" fmla="*/ 138 h 222"/>
                <a:gd name="T86" fmla="*/ 10 w 180"/>
                <a:gd name="T87" fmla="*/ 150 h 222"/>
                <a:gd name="T88" fmla="*/ 14 w 180"/>
                <a:gd name="T89" fmla="*/ 158 h 222"/>
                <a:gd name="T90" fmla="*/ 24 w 180"/>
                <a:gd name="T91" fmla="*/ 166 h 222"/>
                <a:gd name="T92" fmla="*/ 24 w 180"/>
                <a:gd name="T93" fmla="*/ 190 h 222"/>
                <a:gd name="T94" fmla="*/ 28 w 180"/>
                <a:gd name="T95" fmla="*/ 204 h 222"/>
                <a:gd name="T96" fmla="*/ 38 w 180"/>
                <a:gd name="T97" fmla="*/ 218 h 222"/>
                <a:gd name="T98" fmla="*/ 50 w 180"/>
                <a:gd name="T99" fmla="*/ 210 h 222"/>
                <a:gd name="T100" fmla="*/ 56 w 180"/>
                <a:gd name="T101" fmla="*/ 204 h 222"/>
                <a:gd name="T102" fmla="*/ 68 w 180"/>
                <a:gd name="T103" fmla="*/ 214 h 222"/>
                <a:gd name="T104" fmla="*/ 84 w 180"/>
                <a:gd name="T105" fmla="*/ 222 h 222"/>
                <a:gd name="T106" fmla="*/ 94 w 180"/>
                <a:gd name="T107" fmla="*/ 216 h 222"/>
                <a:gd name="T108" fmla="*/ 108 w 180"/>
                <a:gd name="T109" fmla="*/ 186 h 222"/>
                <a:gd name="T110" fmla="*/ 112 w 180"/>
                <a:gd name="T111" fmla="*/ 170 h 222"/>
                <a:gd name="T112" fmla="*/ 128 w 180"/>
                <a:gd name="T113" fmla="*/ 164 h 222"/>
                <a:gd name="T114" fmla="*/ 140 w 180"/>
                <a:gd name="T115" fmla="*/ 156 h 222"/>
                <a:gd name="T116" fmla="*/ 150 w 180"/>
                <a:gd name="T117" fmla="*/ 156 h 222"/>
                <a:gd name="T118" fmla="*/ 162 w 180"/>
                <a:gd name="T119" fmla="*/ 16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22">
                  <a:moveTo>
                    <a:pt x="164" y="172"/>
                  </a:moveTo>
                  <a:lnTo>
                    <a:pt x="164" y="172"/>
                  </a:lnTo>
                  <a:lnTo>
                    <a:pt x="168" y="172"/>
                  </a:lnTo>
                  <a:lnTo>
                    <a:pt x="170" y="170"/>
                  </a:lnTo>
                  <a:lnTo>
                    <a:pt x="172" y="170"/>
                  </a:lnTo>
                  <a:lnTo>
                    <a:pt x="172" y="170"/>
                  </a:lnTo>
                  <a:lnTo>
                    <a:pt x="172" y="170"/>
                  </a:lnTo>
                  <a:lnTo>
                    <a:pt x="174" y="168"/>
                  </a:lnTo>
                  <a:lnTo>
                    <a:pt x="176" y="166"/>
                  </a:lnTo>
                  <a:lnTo>
                    <a:pt x="176" y="164"/>
                  </a:lnTo>
                  <a:lnTo>
                    <a:pt x="178" y="162"/>
                  </a:lnTo>
                  <a:lnTo>
                    <a:pt x="178" y="160"/>
                  </a:lnTo>
                  <a:lnTo>
                    <a:pt x="178" y="158"/>
                  </a:lnTo>
                  <a:lnTo>
                    <a:pt x="180" y="154"/>
                  </a:lnTo>
                  <a:lnTo>
                    <a:pt x="180" y="152"/>
                  </a:lnTo>
                  <a:lnTo>
                    <a:pt x="180" y="150"/>
                  </a:lnTo>
                  <a:lnTo>
                    <a:pt x="180" y="146"/>
                  </a:lnTo>
                  <a:lnTo>
                    <a:pt x="180" y="144"/>
                  </a:lnTo>
                  <a:lnTo>
                    <a:pt x="180" y="144"/>
                  </a:lnTo>
                  <a:lnTo>
                    <a:pt x="178" y="142"/>
                  </a:lnTo>
                  <a:lnTo>
                    <a:pt x="178" y="142"/>
                  </a:lnTo>
                  <a:lnTo>
                    <a:pt x="178" y="142"/>
                  </a:lnTo>
                  <a:lnTo>
                    <a:pt x="176" y="140"/>
                  </a:lnTo>
                  <a:lnTo>
                    <a:pt x="174" y="140"/>
                  </a:lnTo>
                  <a:lnTo>
                    <a:pt x="174" y="140"/>
                  </a:lnTo>
                  <a:lnTo>
                    <a:pt x="174" y="138"/>
                  </a:lnTo>
                  <a:lnTo>
                    <a:pt x="174" y="138"/>
                  </a:lnTo>
                  <a:lnTo>
                    <a:pt x="174" y="138"/>
                  </a:lnTo>
                  <a:lnTo>
                    <a:pt x="174" y="136"/>
                  </a:lnTo>
                  <a:lnTo>
                    <a:pt x="174" y="132"/>
                  </a:lnTo>
                  <a:lnTo>
                    <a:pt x="174" y="132"/>
                  </a:lnTo>
                  <a:lnTo>
                    <a:pt x="172" y="130"/>
                  </a:lnTo>
                  <a:lnTo>
                    <a:pt x="172" y="128"/>
                  </a:lnTo>
                  <a:lnTo>
                    <a:pt x="172" y="128"/>
                  </a:lnTo>
                  <a:lnTo>
                    <a:pt x="172" y="128"/>
                  </a:lnTo>
                  <a:lnTo>
                    <a:pt x="172" y="128"/>
                  </a:lnTo>
                  <a:lnTo>
                    <a:pt x="172" y="126"/>
                  </a:lnTo>
                  <a:lnTo>
                    <a:pt x="170" y="126"/>
                  </a:lnTo>
                  <a:lnTo>
                    <a:pt x="170" y="126"/>
                  </a:lnTo>
                  <a:lnTo>
                    <a:pt x="168" y="126"/>
                  </a:lnTo>
                  <a:lnTo>
                    <a:pt x="166" y="126"/>
                  </a:lnTo>
                  <a:lnTo>
                    <a:pt x="166" y="126"/>
                  </a:lnTo>
                  <a:lnTo>
                    <a:pt x="164" y="126"/>
                  </a:lnTo>
                  <a:lnTo>
                    <a:pt x="164" y="126"/>
                  </a:lnTo>
                  <a:lnTo>
                    <a:pt x="164" y="126"/>
                  </a:lnTo>
                  <a:lnTo>
                    <a:pt x="164" y="126"/>
                  </a:lnTo>
                  <a:lnTo>
                    <a:pt x="164" y="126"/>
                  </a:lnTo>
                  <a:lnTo>
                    <a:pt x="164" y="124"/>
                  </a:lnTo>
                  <a:lnTo>
                    <a:pt x="164" y="122"/>
                  </a:lnTo>
                  <a:lnTo>
                    <a:pt x="164" y="120"/>
                  </a:lnTo>
                  <a:lnTo>
                    <a:pt x="164" y="118"/>
                  </a:lnTo>
                  <a:lnTo>
                    <a:pt x="164" y="118"/>
                  </a:lnTo>
                  <a:lnTo>
                    <a:pt x="164" y="116"/>
                  </a:lnTo>
                  <a:lnTo>
                    <a:pt x="162" y="116"/>
                  </a:lnTo>
                  <a:lnTo>
                    <a:pt x="162" y="114"/>
                  </a:lnTo>
                  <a:lnTo>
                    <a:pt x="162" y="114"/>
                  </a:lnTo>
                  <a:lnTo>
                    <a:pt x="160" y="114"/>
                  </a:lnTo>
                  <a:lnTo>
                    <a:pt x="160" y="114"/>
                  </a:lnTo>
                  <a:lnTo>
                    <a:pt x="158" y="114"/>
                  </a:lnTo>
                  <a:lnTo>
                    <a:pt x="156" y="114"/>
                  </a:lnTo>
                  <a:lnTo>
                    <a:pt x="152" y="114"/>
                  </a:lnTo>
                  <a:lnTo>
                    <a:pt x="150" y="116"/>
                  </a:lnTo>
                  <a:lnTo>
                    <a:pt x="146" y="116"/>
                  </a:lnTo>
                  <a:lnTo>
                    <a:pt x="146" y="116"/>
                  </a:lnTo>
                  <a:lnTo>
                    <a:pt x="144" y="116"/>
                  </a:lnTo>
                  <a:lnTo>
                    <a:pt x="144" y="116"/>
                  </a:lnTo>
                  <a:lnTo>
                    <a:pt x="142" y="116"/>
                  </a:lnTo>
                  <a:lnTo>
                    <a:pt x="142" y="116"/>
                  </a:lnTo>
                  <a:lnTo>
                    <a:pt x="142" y="114"/>
                  </a:lnTo>
                  <a:lnTo>
                    <a:pt x="140" y="114"/>
                  </a:lnTo>
                  <a:lnTo>
                    <a:pt x="140" y="112"/>
                  </a:lnTo>
                  <a:lnTo>
                    <a:pt x="138" y="110"/>
                  </a:lnTo>
                  <a:lnTo>
                    <a:pt x="138" y="110"/>
                  </a:lnTo>
                  <a:lnTo>
                    <a:pt x="138" y="110"/>
                  </a:lnTo>
                  <a:lnTo>
                    <a:pt x="136" y="110"/>
                  </a:lnTo>
                  <a:lnTo>
                    <a:pt x="134" y="110"/>
                  </a:lnTo>
                  <a:lnTo>
                    <a:pt x="134" y="108"/>
                  </a:lnTo>
                  <a:lnTo>
                    <a:pt x="134" y="108"/>
                  </a:lnTo>
                  <a:lnTo>
                    <a:pt x="134" y="108"/>
                  </a:lnTo>
                  <a:lnTo>
                    <a:pt x="132" y="106"/>
                  </a:lnTo>
                  <a:lnTo>
                    <a:pt x="132" y="104"/>
                  </a:lnTo>
                  <a:lnTo>
                    <a:pt x="132" y="102"/>
                  </a:lnTo>
                  <a:lnTo>
                    <a:pt x="132" y="98"/>
                  </a:lnTo>
                  <a:lnTo>
                    <a:pt x="132" y="96"/>
                  </a:lnTo>
                  <a:lnTo>
                    <a:pt x="132" y="92"/>
                  </a:lnTo>
                  <a:lnTo>
                    <a:pt x="132" y="90"/>
                  </a:lnTo>
                  <a:lnTo>
                    <a:pt x="132" y="90"/>
                  </a:lnTo>
                  <a:lnTo>
                    <a:pt x="134" y="88"/>
                  </a:lnTo>
                  <a:lnTo>
                    <a:pt x="134" y="88"/>
                  </a:lnTo>
                  <a:lnTo>
                    <a:pt x="134" y="88"/>
                  </a:lnTo>
                  <a:lnTo>
                    <a:pt x="134" y="86"/>
                  </a:lnTo>
                  <a:lnTo>
                    <a:pt x="138" y="86"/>
                  </a:lnTo>
                  <a:lnTo>
                    <a:pt x="138" y="84"/>
                  </a:lnTo>
                  <a:lnTo>
                    <a:pt x="140" y="84"/>
                  </a:lnTo>
                  <a:lnTo>
                    <a:pt x="140" y="84"/>
                  </a:lnTo>
                  <a:lnTo>
                    <a:pt x="140" y="84"/>
                  </a:lnTo>
                  <a:lnTo>
                    <a:pt x="140" y="84"/>
                  </a:lnTo>
                  <a:lnTo>
                    <a:pt x="140" y="82"/>
                  </a:lnTo>
                  <a:lnTo>
                    <a:pt x="140" y="82"/>
                  </a:lnTo>
                  <a:lnTo>
                    <a:pt x="140" y="82"/>
                  </a:lnTo>
                  <a:lnTo>
                    <a:pt x="140" y="82"/>
                  </a:lnTo>
                  <a:lnTo>
                    <a:pt x="138" y="82"/>
                  </a:lnTo>
                  <a:lnTo>
                    <a:pt x="138" y="82"/>
                  </a:lnTo>
                  <a:lnTo>
                    <a:pt x="134" y="82"/>
                  </a:lnTo>
                  <a:lnTo>
                    <a:pt x="134" y="82"/>
                  </a:lnTo>
                  <a:lnTo>
                    <a:pt x="134" y="82"/>
                  </a:lnTo>
                  <a:lnTo>
                    <a:pt x="134" y="82"/>
                  </a:lnTo>
                  <a:lnTo>
                    <a:pt x="132" y="80"/>
                  </a:lnTo>
                  <a:lnTo>
                    <a:pt x="132" y="80"/>
                  </a:lnTo>
                  <a:lnTo>
                    <a:pt x="132" y="80"/>
                  </a:lnTo>
                  <a:lnTo>
                    <a:pt x="132" y="78"/>
                  </a:lnTo>
                  <a:lnTo>
                    <a:pt x="132" y="76"/>
                  </a:lnTo>
                  <a:lnTo>
                    <a:pt x="132" y="74"/>
                  </a:lnTo>
                  <a:lnTo>
                    <a:pt x="132" y="72"/>
                  </a:lnTo>
                  <a:lnTo>
                    <a:pt x="132" y="70"/>
                  </a:lnTo>
                  <a:lnTo>
                    <a:pt x="132" y="70"/>
                  </a:lnTo>
                  <a:lnTo>
                    <a:pt x="132" y="68"/>
                  </a:lnTo>
                  <a:lnTo>
                    <a:pt x="132" y="68"/>
                  </a:lnTo>
                  <a:lnTo>
                    <a:pt x="132" y="68"/>
                  </a:lnTo>
                  <a:lnTo>
                    <a:pt x="130" y="66"/>
                  </a:lnTo>
                  <a:lnTo>
                    <a:pt x="130" y="66"/>
                  </a:lnTo>
                  <a:lnTo>
                    <a:pt x="128" y="66"/>
                  </a:lnTo>
                  <a:lnTo>
                    <a:pt x="128" y="66"/>
                  </a:lnTo>
                  <a:lnTo>
                    <a:pt x="124" y="66"/>
                  </a:lnTo>
                  <a:lnTo>
                    <a:pt x="124" y="66"/>
                  </a:lnTo>
                  <a:lnTo>
                    <a:pt x="122" y="64"/>
                  </a:lnTo>
                  <a:lnTo>
                    <a:pt x="120" y="64"/>
                  </a:lnTo>
                  <a:lnTo>
                    <a:pt x="116" y="64"/>
                  </a:lnTo>
                  <a:lnTo>
                    <a:pt x="114" y="64"/>
                  </a:lnTo>
                  <a:lnTo>
                    <a:pt x="112" y="64"/>
                  </a:lnTo>
                  <a:lnTo>
                    <a:pt x="110" y="64"/>
                  </a:lnTo>
                  <a:lnTo>
                    <a:pt x="110" y="64"/>
                  </a:lnTo>
                  <a:lnTo>
                    <a:pt x="108" y="64"/>
                  </a:lnTo>
                  <a:lnTo>
                    <a:pt x="108" y="62"/>
                  </a:lnTo>
                  <a:lnTo>
                    <a:pt x="108" y="62"/>
                  </a:lnTo>
                  <a:lnTo>
                    <a:pt x="108" y="62"/>
                  </a:lnTo>
                  <a:lnTo>
                    <a:pt x="108" y="60"/>
                  </a:lnTo>
                  <a:lnTo>
                    <a:pt x="108" y="58"/>
                  </a:lnTo>
                  <a:lnTo>
                    <a:pt x="108" y="58"/>
                  </a:lnTo>
                  <a:lnTo>
                    <a:pt x="108" y="56"/>
                  </a:lnTo>
                  <a:lnTo>
                    <a:pt x="108" y="56"/>
                  </a:lnTo>
                  <a:lnTo>
                    <a:pt x="106" y="54"/>
                  </a:lnTo>
                  <a:lnTo>
                    <a:pt x="106" y="54"/>
                  </a:lnTo>
                  <a:lnTo>
                    <a:pt x="106" y="54"/>
                  </a:lnTo>
                  <a:lnTo>
                    <a:pt x="106" y="54"/>
                  </a:lnTo>
                  <a:lnTo>
                    <a:pt x="104" y="54"/>
                  </a:lnTo>
                  <a:lnTo>
                    <a:pt x="104" y="54"/>
                  </a:lnTo>
                  <a:lnTo>
                    <a:pt x="102" y="52"/>
                  </a:lnTo>
                  <a:lnTo>
                    <a:pt x="98" y="52"/>
                  </a:lnTo>
                  <a:lnTo>
                    <a:pt x="98" y="52"/>
                  </a:lnTo>
                  <a:lnTo>
                    <a:pt x="96" y="52"/>
                  </a:lnTo>
                  <a:lnTo>
                    <a:pt x="96" y="52"/>
                  </a:lnTo>
                  <a:lnTo>
                    <a:pt x="96" y="50"/>
                  </a:lnTo>
                  <a:lnTo>
                    <a:pt x="94" y="50"/>
                  </a:lnTo>
                  <a:lnTo>
                    <a:pt x="94" y="48"/>
                  </a:lnTo>
                  <a:lnTo>
                    <a:pt x="94" y="48"/>
                  </a:lnTo>
                  <a:lnTo>
                    <a:pt x="94" y="48"/>
                  </a:lnTo>
                  <a:lnTo>
                    <a:pt x="92" y="48"/>
                  </a:lnTo>
                  <a:lnTo>
                    <a:pt x="90" y="48"/>
                  </a:lnTo>
                  <a:lnTo>
                    <a:pt x="90" y="48"/>
                  </a:lnTo>
                  <a:lnTo>
                    <a:pt x="86" y="48"/>
                  </a:lnTo>
                  <a:lnTo>
                    <a:pt x="82" y="48"/>
                  </a:lnTo>
                  <a:lnTo>
                    <a:pt x="80" y="48"/>
                  </a:lnTo>
                  <a:lnTo>
                    <a:pt x="76" y="48"/>
                  </a:lnTo>
                  <a:lnTo>
                    <a:pt x="76" y="48"/>
                  </a:lnTo>
                  <a:lnTo>
                    <a:pt x="74" y="48"/>
                  </a:lnTo>
                  <a:lnTo>
                    <a:pt x="72" y="48"/>
                  </a:lnTo>
                  <a:lnTo>
                    <a:pt x="72" y="48"/>
                  </a:lnTo>
                  <a:lnTo>
                    <a:pt x="72" y="48"/>
                  </a:lnTo>
                  <a:lnTo>
                    <a:pt x="70" y="48"/>
                  </a:lnTo>
                  <a:lnTo>
                    <a:pt x="70" y="46"/>
                  </a:lnTo>
                  <a:lnTo>
                    <a:pt x="68" y="44"/>
                  </a:lnTo>
                  <a:lnTo>
                    <a:pt x="68" y="42"/>
                  </a:lnTo>
                  <a:lnTo>
                    <a:pt x="66" y="38"/>
                  </a:lnTo>
                  <a:lnTo>
                    <a:pt x="64" y="36"/>
                  </a:lnTo>
                  <a:lnTo>
                    <a:pt x="64" y="32"/>
                  </a:lnTo>
                  <a:lnTo>
                    <a:pt x="64" y="30"/>
                  </a:lnTo>
                  <a:lnTo>
                    <a:pt x="62" y="30"/>
                  </a:lnTo>
                  <a:lnTo>
                    <a:pt x="62" y="26"/>
                  </a:lnTo>
                  <a:lnTo>
                    <a:pt x="64" y="16"/>
                  </a:lnTo>
                  <a:lnTo>
                    <a:pt x="64" y="12"/>
                  </a:lnTo>
                  <a:lnTo>
                    <a:pt x="64" y="10"/>
                  </a:lnTo>
                  <a:lnTo>
                    <a:pt x="64" y="8"/>
                  </a:lnTo>
                  <a:lnTo>
                    <a:pt x="62" y="6"/>
                  </a:lnTo>
                  <a:lnTo>
                    <a:pt x="62" y="6"/>
                  </a:lnTo>
                  <a:lnTo>
                    <a:pt x="62" y="4"/>
                  </a:lnTo>
                  <a:lnTo>
                    <a:pt x="62" y="2"/>
                  </a:lnTo>
                  <a:lnTo>
                    <a:pt x="60" y="2"/>
                  </a:lnTo>
                  <a:lnTo>
                    <a:pt x="60" y="2"/>
                  </a:lnTo>
                  <a:lnTo>
                    <a:pt x="58" y="2"/>
                  </a:lnTo>
                  <a:lnTo>
                    <a:pt x="58" y="0"/>
                  </a:lnTo>
                  <a:lnTo>
                    <a:pt x="54" y="0"/>
                  </a:lnTo>
                  <a:lnTo>
                    <a:pt x="52" y="0"/>
                  </a:lnTo>
                  <a:lnTo>
                    <a:pt x="48" y="0"/>
                  </a:lnTo>
                  <a:lnTo>
                    <a:pt x="46" y="0"/>
                  </a:lnTo>
                  <a:lnTo>
                    <a:pt x="44" y="0"/>
                  </a:lnTo>
                  <a:lnTo>
                    <a:pt x="44" y="0"/>
                  </a:lnTo>
                  <a:lnTo>
                    <a:pt x="42" y="0"/>
                  </a:lnTo>
                  <a:lnTo>
                    <a:pt x="42" y="0"/>
                  </a:lnTo>
                  <a:lnTo>
                    <a:pt x="42" y="2"/>
                  </a:lnTo>
                  <a:lnTo>
                    <a:pt x="42" y="2"/>
                  </a:lnTo>
                  <a:lnTo>
                    <a:pt x="42" y="4"/>
                  </a:lnTo>
                  <a:lnTo>
                    <a:pt x="42" y="4"/>
                  </a:lnTo>
                  <a:lnTo>
                    <a:pt x="42" y="6"/>
                  </a:lnTo>
                  <a:lnTo>
                    <a:pt x="42" y="8"/>
                  </a:lnTo>
                  <a:lnTo>
                    <a:pt x="42" y="10"/>
                  </a:lnTo>
                  <a:lnTo>
                    <a:pt x="40" y="10"/>
                  </a:lnTo>
                  <a:lnTo>
                    <a:pt x="40" y="12"/>
                  </a:lnTo>
                  <a:lnTo>
                    <a:pt x="40" y="12"/>
                  </a:lnTo>
                  <a:lnTo>
                    <a:pt x="40" y="12"/>
                  </a:lnTo>
                  <a:lnTo>
                    <a:pt x="40" y="12"/>
                  </a:lnTo>
                  <a:lnTo>
                    <a:pt x="38" y="12"/>
                  </a:lnTo>
                  <a:lnTo>
                    <a:pt x="38" y="12"/>
                  </a:lnTo>
                  <a:lnTo>
                    <a:pt x="36" y="12"/>
                  </a:lnTo>
                  <a:lnTo>
                    <a:pt x="34" y="10"/>
                  </a:lnTo>
                  <a:lnTo>
                    <a:pt x="34" y="10"/>
                  </a:lnTo>
                  <a:lnTo>
                    <a:pt x="34" y="10"/>
                  </a:lnTo>
                  <a:lnTo>
                    <a:pt x="32" y="10"/>
                  </a:lnTo>
                  <a:lnTo>
                    <a:pt x="32" y="10"/>
                  </a:lnTo>
                  <a:lnTo>
                    <a:pt x="32" y="12"/>
                  </a:lnTo>
                  <a:lnTo>
                    <a:pt x="32" y="12"/>
                  </a:lnTo>
                  <a:lnTo>
                    <a:pt x="30" y="14"/>
                  </a:lnTo>
                  <a:lnTo>
                    <a:pt x="30" y="16"/>
                  </a:lnTo>
                  <a:lnTo>
                    <a:pt x="30" y="16"/>
                  </a:lnTo>
                  <a:lnTo>
                    <a:pt x="28" y="18"/>
                  </a:lnTo>
                  <a:lnTo>
                    <a:pt x="28" y="18"/>
                  </a:lnTo>
                  <a:lnTo>
                    <a:pt x="26" y="20"/>
                  </a:lnTo>
                  <a:lnTo>
                    <a:pt x="26" y="20"/>
                  </a:lnTo>
                  <a:lnTo>
                    <a:pt x="24" y="22"/>
                  </a:lnTo>
                  <a:lnTo>
                    <a:pt x="22" y="22"/>
                  </a:lnTo>
                  <a:lnTo>
                    <a:pt x="20" y="24"/>
                  </a:lnTo>
                  <a:lnTo>
                    <a:pt x="18" y="24"/>
                  </a:lnTo>
                  <a:lnTo>
                    <a:pt x="16" y="26"/>
                  </a:lnTo>
                  <a:lnTo>
                    <a:pt x="16" y="26"/>
                  </a:lnTo>
                  <a:lnTo>
                    <a:pt x="14" y="26"/>
                  </a:lnTo>
                  <a:lnTo>
                    <a:pt x="12" y="26"/>
                  </a:lnTo>
                  <a:lnTo>
                    <a:pt x="8" y="24"/>
                  </a:lnTo>
                  <a:lnTo>
                    <a:pt x="4" y="24"/>
                  </a:lnTo>
                  <a:lnTo>
                    <a:pt x="6" y="26"/>
                  </a:lnTo>
                  <a:lnTo>
                    <a:pt x="10" y="32"/>
                  </a:lnTo>
                  <a:lnTo>
                    <a:pt x="12" y="34"/>
                  </a:lnTo>
                  <a:lnTo>
                    <a:pt x="14" y="36"/>
                  </a:lnTo>
                  <a:lnTo>
                    <a:pt x="14" y="40"/>
                  </a:lnTo>
                  <a:lnTo>
                    <a:pt x="16" y="40"/>
                  </a:lnTo>
                  <a:lnTo>
                    <a:pt x="16" y="42"/>
                  </a:lnTo>
                  <a:lnTo>
                    <a:pt x="16" y="44"/>
                  </a:lnTo>
                  <a:lnTo>
                    <a:pt x="16" y="46"/>
                  </a:lnTo>
                  <a:lnTo>
                    <a:pt x="16" y="48"/>
                  </a:lnTo>
                  <a:lnTo>
                    <a:pt x="16" y="50"/>
                  </a:lnTo>
                  <a:lnTo>
                    <a:pt x="16" y="52"/>
                  </a:lnTo>
                  <a:lnTo>
                    <a:pt x="14" y="54"/>
                  </a:lnTo>
                  <a:lnTo>
                    <a:pt x="14" y="54"/>
                  </a:lnTo>
                  <a:lnTo>
                    <a:pt x="14" y="56"/>
                  </a:lnTo>
                  <a:lnTo>
                    <a:pt x="14" y="58"/>
                  </a:lnTo>
                  <a:lnTo>
                    <a:pt x="12" y="58"/>
                  </a:lnTo>
                  <a:lnTo>
                    <a:pt x="10" y="60"/>
                  </a:lnTo>
                  <a:lnTo>
                    <a:pt x="8" y="60"/>
                  </a:lnTo>
                  <a:lnTo>
                    <a:pt x="8" y="62"/>
                  </a:lnTo>
                  <a:lnTo>
                    <a:pt x="6" y="62"/>
                  </a:lnTo>
                  <a:lnTo>
                    <a:pt x="6" y="64"/>
                  </a:lnTo>
                  <a:lnTo>
                    <a:pt x="6" y="64"/>
                  </a:lnTo>
                  <a:lnTo>
                    <a:pt x="6" y="66"/>
                  </a:lnTo>
                  <a:lnTo>
                    <a:pt x="6" y="70"/>
                  </a:lnTo>
                  <a:lnTo>
                    <a:pt x="6" y="72"/>
                  </a:lnTo>
                  <a:lnTo>
                    <a:pt x="8" y="78"/>
                  </a:lnTo>
                  <a:lnTo>
                    <a:pt x="8" y="80"/>
                  </a:lnTo>
                  <a:lnTo>
                    <a:pt x="8" y="82"/>
                  </a:lnTo>
                  <a:lnTo>
                    <a:pt x="8" y="84"/>
                  </a:lnTo>
                  <a:lnTo>
                    <a:pt x="6" y="88"/>
                  </a:lnTo>
                  <a:lnTo>
                    <a:pt x="6" y="94"/>
                  </a:lnTo>
                  <a:lnTo>
                    <a:pt x="6" y="98"/>
                  </a:lnTo>
                  <a:lnTo>
                    <a:pt x="4" y="102"/>
                  </a:lnTo>
                  <a:lnTo>
                    <a:pt x="4" y="104"/>
                  </a:lnTo>
                  <a:lnTo>
                    <a:pt x="4" y="106"/>
                  </a:lnTo>
                  <a:lnTo>
                    <a:pt x="6" y="108"/>
                  </a:lnTo>
                  <a:lnTo>
                    <a:pt x="6" y="108"/>
                  </a:lnTo>
                  <a:lnTo>
                    <a:pt x="6" y="110"/>
                  </a:lnTo>
                  <a:lnTo>
                    <a:pt x="8" y="112"/>
                  </a:lnTo>
                  <a:lnTo>
                    <a:pt x="8" y="112"/>
                  </a:lnTo>
                  <a:lnTo>
                    <a:pt x="10" y="114"/>
                  </a:lnTo>
                  <a:lnTo>
                    <a:pt x="10" y="114"/>
                  </a:lnTo>
                  <a:lnTo>
                    <a:pt x="10" y="116"/>
                  </a:lnTo>
                  <a:lnTo>
                    <a:pt x="10" y="116"/>
                  </a:lnTo>
                  <a:lnTo>
                    <a:pt x="10" y="116"/>
                  </a:lnTo>
                  <a:lnTo>
                    <a:pt x="10" y="116"/>
                  </a:lnTo>
                  <a:lnTo>
                    <a:pt x="8" y="118"/>
                  </a:lnTo>
                  <a:lnTo>
                    <a:pt x="6" y="118"/>
                  </a:lnTo>
                  <a:lnTo>
                    <a:pt x="6" y="118"/>
                  </a:lnTo>
                  <a:lnTo>
                    <a:pt x="6" y="118"/>
                  </a:lnTo>
                  <a:lnTo>
                    <a:pt x="4" y="118"/>
                  </a:lnTo>
                  <a:lnTo>
                    <a:pt x="4" y="118"/>
                  </a:lnTo>
                  <a:lnTo>
                    <a:pt x="4" y="120"/>
                  </a:lnTo>
                  <a:lnTo>
                    <a:pt x="2" y="122"/>
                  </a:lnTo>
                  <a:lnTo>
                    <a:pt x="2" y="124"/>
                  </a:lnTo>
                  <a:lnTo>
                    <a:pt x="0" y="128"/>
                  </a:lnTo>
                  <a:lnTo>
                    <a:pt x="0" y="130"/>
                  </a:lnTo>
                  <a:lnTo>
                    <a:pt x="2" y="130"/>
                  </a:lnTo>
                  <a:lnTo>
                    <a:pt x="4" y="132"/>
                  </a:lnTo>
                  <a:lnTo>
                    <a:pt x="8" y="136"/>
                  </a:lnTo>
                  <a:lnTo>
                    <a:pt x="8" y="136"/>
                  </a:lnTo>
                  <a:lnTo>
                    <a:pt x="8" y="138"/>
                  </a:lnTo>
                  <a:lnTo>
                    <a:pt x="10" y="138"/>
                  </a:lnTo>
                  <a:lnTo>
                    <a:pt x="10" y="140"/>
                  </a:lnTo>
                  <a:lnTo>
                    <a:pt x="10" y="140"/>
                  </a:lnTo>
                  <a:lnTo>
                    <a:pt x="10" y="142"/>
                  </a:lnTo>
                  <a:lnTo>
                    <a:pt x="10" y="146"/>
                  </a:lnTo>
                  <a:lnTo>
                    <a:pt x="10" y="148"/>
                  </a:lnTo>
                  <a:lnTo>
                    <a:pt x="10" y="150"/>
                  </a:lnTo>
                  <a:lnTo>
                    <a:pt x="10" y="152"/>
                  </a:lnTo>
                  <a:lnTo>
                    <a:pt x="10" y="152"/>
                  </a:lnTo>
                  <a:lnTo>
                    <a:pt x="10" y="152"/>
                  </a:lnTo>
                  <a:lnTo>
                    <a:pt x="10" y="154"/>
                  </a:lnTo>
                  <a:lnTo>
                    <a:pt x="12" y="154"/>
                  </a:lnTo>
                  <a:lnTo>
                    <a:pt x="12" y="156"/>
                  </a:lnTo>
                  <a:lnTo>
                    <a:pt x="14" y="158"/>
                  </a:lnTo>
                  <a:lnTo>
                    <a:pt x="18" y="158"/>
                  </a:lnTo>
                  <a:lnTo>
                    <a:pt x="20" y="160"/>
                  </a:lnTo>
                  <a:lnTo>
                    <a:pt x="22" y="162"/>
                  </a:lnTo>
                  <a:lnTo>
                    <a:pt x="22" y="164"/>
                  </a:lnTo>
                  <a:lnTo>
                    <a:pt x="24" y="164"/>
                  </a:lnTo>
                  <a:lnTo>
                    <a:pt x="24" y="166"/>
                  </a:lnTo>
                  <a:lnTo>
                    <a:pt x="24" y="166"/>
                  </a:lnTo>
                  <a:lnTo>
                    <a:pt x="24" y="168"/>
                  </a:lnTo>
                  <a:lnTo>
                    <a:pt x="24" y="170"/>
                  </a:lnTo>
                  <a:lnTo>
                    <a:pt x="24" y="172"/>
                  </a:lnTo>
                  <a:lnTo>
                    <a:pt x="24" y="176"/>
                  </a:lnTo>
                  <a:lnTo>
                    <a:pt x="24" y="180"/>
                  </a:lnTo>
                  <a:lnTo>
                    <a:pt x="24" y="186"/>
                  </a:lnTo>
                  <a:lnTo>
                    <a:pt x="24" y="190"/>
                  </a:lnTo>
                  <a:lnTo>
                    <a:pt x="24" y="192"/>
                  </a:lnTo>
                  <a:lnTo>
                    <a:pt x="24" y="194"/>
                  </a:lnTo>
                  <a:lnTo>
                    <a:pt x="24" y="196"/>
                  </a:lnTo>
                  <a:lnTo>
                    <a:pt x="24" y="196"/>
                  </a:lnTo>
                  <a:lnTo>
                    <a:pt x="24" y="198"/>
                  </a:lnTo>
                  <a:lnTo>
                    <a:pt x="26" y="202"/>
                  </a:lnTo>
                  <a:lnTo>
                    <a:pt x="28" y="204"/>
                  </a:lnTo>
                  <a:lnTo>
                    <a:pt x="28" y="208"/>
                  </a:lnTo>
                  <a:lnTo>
                    <a:pt x="30" y="210"/>
                  </a:lnTo>
                  <a:lnTo>
                    <a:pt x="32" y="212"/>
                  </a:lnTo>
                  <a:lnTo>
                    <a:pt x="34" y="214"/>
                  </a:lnTo>
                  <a:lnTo>
                    <a:pt x="36" y="216"/>
                  </a:lnTo>
                  <a:lnTo>
                    <a:pt x="36" y="218"/>
                  </a:lnTo>
                  <a:lnTo>
                    <a:pt x="38" y="218"/>
                  </a:lnTo>
                  <a:lnTo>
                    <a:pt x="40" y="220"/>
                  </a:lnTo>
                  <a:lnTo>
                    <a:pt x="46" y="222"/>
                  </a:lnTo>
                  <a:lnTo>
                    <a:pt x="46" y="220"/>
                  </a:lnTo>
                  <a:lnTo>
                    <a:pt x="46" y="218"/>
                  </a:lnTo>
                  <a:lnTo>
                    <a:pt x="48" y="214"/>
                  </a:lnTo>
                  <a:lnTo>
                    <a:pt x="50" y="210"/>
                  </a:lnTo>
                  <a:lnTo>
                    <a:pt x="50" y="210"/>
                  </a:lnTo>
                  <a:lnTo>
                    <a:pt x="50" y="208"/>
                  </a:lnTo>
                  <a:lnTo>
                    <a:pt x="52" y="206"/>
                  </a:lnTo>
                  <a:lnTo>
                    <a:pt x="52" y="206"/>
                  </a:lnTo>
                  <a:lnTo>
                    <a:pt x="54" y="204"/>
                  </a:lnTo>
                  <a:lnTo>
                    <a:pt x="54" y="204"/>
                  </a:lnTo>
                  <a:lnTo>
                    <a:pt x="54" y="204"/>
                  </a:lnTo>
                  <a:lnTo>
                    <a:pt x="56" y="204"/>
                  </a:lnTo>
                  <a:lnTo>
                    <a:pt x="56" y="204"/>
                  </a:lnTo>
                  <a:lnTo>
                    <a:pt x="58" y="206"/>
                  </a:lnTo>
                  <a:lnTo>
                    <a:pt x="60" y="206"/>
                  </a:lnTo>
                  <a:lnTo>
                    <a:pt x="62" y="208"/>
                  </a:lnTo>
                  <a:lnTo>
                    <a:pt x="64" y="212"/>
                  </a:lnTo>
                  <a:lnTo>
                    <a:pt x="66" y="214"/>
                  </a:lnTo>
                  <a:lnTo>
                    <a:pt x="68" y="214"/>
                  </a:lnTo>
                  <a:lnTo>
                    <a:pt x="68" y="216"/>
                  </a:lnTo>
                  <a:lnTo>
                    <a:pt x="72" y="218"/>
                  </a:lnTo>
                  <a:lnTo>
                    <a:pt x="74" y="218"/>
                  </a:lnTo>
                  <a:lnTo>
                    <a:pt x="76" y="220"/>
                  </a:lnTo>
                  <a:lnTo>
                    <a:pt x="78" y="220"/>
                  </a:lnTo>
                  <a:lnTo>
                    <a:pt x="82" y="222"/>
                  </a:lnTo>
                  <a:lnTo>
                    <a:pt x="84" y="222"/>
                  </a:lnTo>
                  <a:lnTo>
                    <a:pt x="84" y="222"/>
                  </a:lnTo>
                  <a:lnTo>
                    <a:pt x="86" y="222"/>
                  </a:lnTo>
                  <a:lnTo>
                    <a:pt x="86" y="222"/>
                  </a:lnTo>
                  <a:lnTo>
                    <a:pt x="88" y="220"/>
                  </a:lnTo>
                  <a:lnTo>
                    <a:pt x="90" y="220"/>
                  </a:lnTo>
                  <a:lnTo>
                    <a:pt x="90" y="220"/>
                  </a:lnTo>
                  <a:lnTo>
                    <a:pt x="94" y="216"/>
                  </a:lnTo>
                  <a:lnTo>
                    <a:pt x="96" y="214"/>
                  </a:lnTo>
                  <a:lnTo>
                    <a:pt x="98" y="212"/>
                  </a:lnTo>
                  <a:lnTo>
                    <a:pt x="100" y="210"/>
                  </a:lnTo>
                  <a:lnTo>
                    <a:pt x="102" y="208"/>
                  </a:lnTo>
                  <a:lnTo>
                    <a:pt x="104" y="198"/>
                  </a:lnTo>
                  <a:lnTo>
                    <a:pt x="106" y="190"/>
                  </a:lnTo>
                  <a:lnTo>
                    <a:pt x="108" y="186"/>
                  </a:lnTo>
                  <a:lnTo>
                    <a:pt x="108" y="182"/>
                  </a:lnTo>
                  <a:lnTo>
                    <a:pt x="108" y="180"/>
                  </a:lnTo>
                  <a:lnTo>
                    <a:pt x="110" y="176"/>
                  </a:lnTo>
                  <a:lnTo>
                    <a:pt x="110" y="174"/>
                  </a:lnTo>
                  <a:lnTo>
                    <a:pt x="112" y="172"/>
                  </a:lnTo>
                  <a:lnTo>
                    <a:pt x="112" y="172"/>
                  </a:lnTo>
                  <a:lnTo>
                    <a:pt x="112" y="170"/>
                  </a:lnTo>
                  <a:lnTo>
                    <a:pt x="114" y="170"/>
                  </a:lnTo>
                  <a:lnTo>
                    <a:pt x="114" y="170"/>
                  </a:lnTo>
                  <a:lnTo>
                    <a:pt x="116" y="168"/>
                  </a:lnTo>
                  <a:lnTo>
                    <a:pt x="118" y="168"/>
                  </a:lnTo>
                  <a:lnTo>
                    <a:pt x="120" y="166"/>
                  </a:lnTo>
                  <a:lnTo>
                    <a:pt x="126" y="166"/>
                  </a:lnTo>
                  <a:lnTo>
                    <a:pt x="128" y="164"/>
                  </a:lnTo>
                  <a:lnTo>
                    <a:pt x="130" y="164"/>
                  </a:lnTo>
                  <a:lnTo>
                    <a:pt x="130" y="162"/>
                  </a:lnTo>
                  <a:lnTo>
                    <a:pt x="132" y="162"/>
                  </a:lnTo>
                  <a:lnTo>
                    <a:pt x="134" y="158"/>
                  </a:lnTo>
                  <a:lnTo>
                    <a:pt x="136" y="158"/>
                  </a:lnTo>
                  <a:lnTo>
                    <a:pt x="138" y="156"/>
                  </a:lnTo>
                  <a:lnTo>
                    <a:pt x="140" y="156"/>
                  </a:lnTo>
                  <a:lnTo>
                    <a:pt x="140" y="156"/>
                  </a:lnTo>
                  <a:lnTo>
                    <a:pt x="140" y="156"/>
                  </a:lnTo>
                  <a:lnTo>
                    <a:pt x="142" y="156"/>
                  </a:lnTo>
                  <a:lnTo>
                    <a:pt x="142" y="156"/>
                  </a:lnTo>
                  <a:lnTo>
                    <a:pt x="144" y="156"/>
                  </a:lnTo>
                  <a:lnTo>
                    <a:pt x="148" y="156"/>
                  </a:lnTo>
                  <a:lnTo>
                    <a:pt x="150" y="156"/>
                  </a:lnTo>
                  <a:lnTo>
                    <a:pt x="152" y="158"/>
                  </a:lnTo>
                  <a:lnTo>
                    <a:pt x="154" y="158"/>
                  </a:lnTo>
                  <a:lnTo>
                    <a:pt x="156" y="160"/>
                  </a:lnTo>
                  <a:lnTo>
                    <a:pt x="158" y="162"/>
                  </a:lnTo>
                  <a:lnTo>
                    <a:pt x="160" y="162"/>
                  </a:lnTo>
                  <a:lnTo>
                    <a:pt x="160" y="164"/>
                  </a:lnTo>
                  <a:lnTo>
                    <a:pt x="162" y="166"/>
                  </a:lnTo>
                  <a:lnTo>
                    <a:pt x="162" y="168"/>
                  </a:lnTo>
                  <a:lnTo>
                    <a:pt x="164" y="170"/>
                  </a:lnTo>
                  <a:lnTo>
                    <a:pt x="164" y="1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6" name="Freeform 474"/>
            <p:cNvSpPr>
              <a:spLocks/>
            </p:cNvSpPr>
            <p:nvPr/>
          </p:nvSpPr>
          <p:spPr bwMode="auto">
            <a:xfrm>
              <a:off x="2547529" y="4947592"/>
              <a:ext cx="311774" cy="384521"/>
            </a:xfrm>
            <a:custGeom>
              <a:avLst/>
              <a:gdLst>
                <a:gd name="T0" fmla="*/ 172 w 180"/>
                <a:gd name="T1" fmla="*/ 170 h 222"/>
                <a:gd name="T2" fmla="*/ 180 w 180"/>
                <a:gd name="T3" fmla="*/ 154 h 222"/>
                <a:gd name="T4" fmla="*/ 178 w 180"/>
                <a:gd name="T5" fmla="*/ 142 h 222"/>
                <a:gd name="T6" fmla="*/ 174 w 180"/>
                <a:gd name="T7" fmla="*/ 138 h 222"/>
                <a:gd name="T8" fmla="*/ 172 w 180"/>
                <a:gd name="T9" fmla="*/ 128 h 222"/>
                <a:gd name="T10" fmla="*/ 166 w 180"/>
                <a:gd name="T11" fmla="*/ 126 h 222"/>
                <a:gd name="T12" fmla="*/ 164 w 180"/>
                <a:gd name="T13" fmla="*/ 122 h 222"/>
                <a:gd name="T14" fmla="*/ 162 w 180"/>
                <a:gd name="T15" fmla="*/ 114 h 222"/>
                <a:gd name="T16" fmla="*/ 146 w 180"/>
                <a:gd name="T17" fmla="*/ 116 h 222"/>
                <a:gd name="T18" fmla="*/ 140 w 180"/>
                <a:gd name="T19" fmla="*/ 114 h 222"/>
                <a:gd name="T20" fmla="*/ 134 w 180"/>
                <a:gd name="T21" fmla="*/ 108 h 222"/>
                <a:gd name="T22" fmla="*/ 132 w 180"/>
                <a:gd name="T23" fmla="*/ 96 h 222"/>
                <a:gd name="T24" fmla="*/ 134 w 180"/>
                <a:gd name="T25" fmla="*/ 86 h 222"/>
                <a:gd name="T26" fmla="*/ 140 w 180"/>
                <a:gd name="T27" fmla="*/ 82 h 222"/>
                <a:gd name="T28" fmla="*/ 134 w 180"/>
                <a:gd name="T29" fmla="*/ 82 h 222"/>
                <a:gd name="T30" fmla="*/ 132 w 180"/>
                <a:gd name="T31" fmla="*/ 76 h 222"/>
                <a:gd name="T32" fmla="*/ 132 w 180"/>
                <a:gd name="T33" fmla="*/ 68 h 222"/>
                <a:gd name="T34" fmla="*/ 122 w 180"/>
                <a:gd name="T35" fmla="*/ 64 h 222"/>
                <a:gd name="T36" fmla="*/ 108 w 180"/>
                <a:gd name="T37" fmla="*/ 64 h 222"/>
                <a:gd name="T38" fmla="*/ 108 w 180"/>
                <a:gd name="T39" fmla="*/ 56 h 222"/>
                <a:gd name="T40" fmla="*/ 104 w 180"/>
                <a:gd name="T41" fmla="*/ 54 h 222"/>
                <a:gd name="T42" fmla="*/ 94 w 180"/>
                <a:gd name="T43" fmla="*/ 50 h 222"/>
                <a:gd name="T44" fmla="*/ 86 w 180"/>
                <a:gd name="T45" fmla="*/ 48 h 222"/>
                <a:gd name="T46" fmla="*/ 72 w 180"/>
                <a:gd name="T47" fmla="*/ 48 h 222"/>
                <a:gd name="T48" fmla="*/ 64 w 180"/>
                <a:gd name="T49" fmla="*/ 36 h 222"/>
                <a:gd name="T50" fmla="*/ 64 w 180"/>
                <a:gd name="T51" fmla="*/ 10 h 222"/>
                <a:gd name="T52" fmla="*/ 60 w 180"/>
                <a:gd name="T53" fmla="*/ 2 h 222"/>
                <a:gd name="T54" fmla="*/ 44 w 180"/>
                <a:gd name="T55" fmla="*/ 0 h 222"/>
                <a:gd name="T56" fmla="*/ 42 w 180"/>
                <a:gd name="T57" fmla="*/ 4 h 222"/>
                <a:gd name="T58" fmla="*/ 40 w 180"/>
                <a:gd name="T59" fmla="*/ 12 h 222"/>
                <a:gd name="T60" fmla="*/ 34 w 180"/>
                <a:gd name="T61" fmla="*/ 10 h 222"/>
                <a:gd name="T62" fmla="*/ 30 w 180"/>
                <a:gd name="T63" fmla="*/ 16 h 222"/>
                <a:gd name="T64" fmla="*/ 20 w 180"/>
                <a:gd name="T65" fmla="*/ 24 h 222"/>
                <a:gd name="T66" fmla="*/ 4 w 180"/>
                <a:gd name="T67" fmla="*/ 24 h 222"/>
                <a:gd name="T68" fmla="*/ 16 w 180"/>
                <a:gd name="T69" fmla="*/ 42 h 222"/>
                <a:gd name="T70" fmla="*/ 14 w 180"/>
                <a:gd name="T71" fmla="*/ 54 h 222"/>
                <a:gd name="T72" fmla="*/ 6 w 180"/>
                <a:gd name="T73" fmla="*/ 62 h 222"/>
                <a:gd name="T74" fmla="*/ 8 w 180"/>
                <a:gd name="T75" fmla="*/ 80 h 222"/>
                <a:gd name="T76" fmla="*/ 4 w 180"/>
                <a:gd name="T77" fmla="*/ 104 h 222"/>
                <a:gd name="T78" fmla="*/ 10 w 180"/>
                <a:gd name="T79" fmla="*/ 114 h 222"/>
                <a:gd name="T80" fmla="*/ 6 w 180"/>
                <a:gd name="T81" fmla="*/ 118 h 222"/>
                <a:gd name="T82" fmla="*/ 2 w 180"/>
                <a:gd name="T83" fmla="*/ 124 h 222"/>
                <a:gd name="T84" fmla="*/ 8 w 180"/>
                <a:gd name="T85" fmla="*/ 138 h 222"/>
                <a:gd name="T86" fmla="*/ 10 w 180"/>
                <a:gd name="T87" fmla="*/ 150 h 222"/>
                <a:gd name="T88" fmla="*/ 14 w 180"/>
                <a:gd name="T89" fmla="*/ 158 h 222"/>
                <a:gd name="T90" fmla="*/ 24 w 180"/>
                <a:gd name="T91" fmla="*/ 166 h 222"/>
                <a:gd name="T92" fmla="*/ 24 w 180"/>
                <a:gd name="T93" fmla="*/ 190 h 222"/>
                <a:gd name="T94" fmla="*/ 28 w 180"/>
                <a:gd name="T95" fmla="*/ 204 h 222"/>
                <a:gd name="T96" fmla="*/ 38 w 180"/>
                <a:gd name="T97" fmla="*/ 218 h 222"/>
                <a:gd name="T98" fmla="*/ 50 w 180"/>
                <a:gd name="T99" fmla="*/ 210 h 222"/>
                <a:gd name="T100" fmla="*/ 56 w 180"/>
                <a:gd name="T101" fmla="*/ 204 h 222"/>
                <a:gd name="T102" fmla="*/ 68 w 180"/>
                <a:gd name="T103" fmla="*/ 214 h 222"/>
                <a:gd name="T104" fmla="*/ 84 w 180"/>
                <a:gd name="T105" fmla="*/ 222 h 222"/>
                <a:gd name="T106" fmla="*/ 94 w 180"/>
                <a:gd name="T107" fmla="*/ 216 h 222"/>
                <a:gd name="T108" fmla="*/ 108 w 180"/>
                <a:gd name="T109" fmla="*/ 186 h 222"/>
                <a:gd name="T110" fmla="*/ 112 w 180"/>
                <a:gd name="T111" fmla="*/ 170 h 222"/>
                <a:gd name="T112" fmla="*/ 128 w 180"/>
                <a:gd name="T113" fmla="*/ 164 h 222"/>
                <a:gd name="T114" fmla="*/ 140 w 180"/>
                <a:gd name="T115" fmla="*/ 156 h 222"/>
                <a:gd name="T116" fmla="*/ 150 w 180"/>
                <a:gd name="T117" fmla="*/ 156 h 222"/>
                <a:gd name="T118" fmla="*/ 162 w 180"/>
                <a:gd name="T119" fmla="*/ 16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22">
                  <a:moveTo>
                    <a:pt x="164" y="172"/>
                  </a:moveTo>
                  <a:lnTo>
                    <a:pt x="164" y="172"/>
                  </a:lnTo>
                  <a:lnTo>
                    <a:pt x="168" y="172"/>
                  </a:lnTo>
                  <a:lnTo>
                    <a:pt x="170" y="170"/>
                  </a:lnTo>
                  <a:lnTo>
                    <a:pt x="172" y="170"/>
                  </a:lnTo>
                  <a:lnTo>
                    <a:pt x="172" y="170"/>
                  </a:lnTo>
                  <a:lnTo>
                    <a:pt x="172" y="170"/>
                  </a:lnTo>
                  <a:lnTo>
                    <a:pt x="174" y="168"/>
                  </a:lnTo>
                  <a:lnTo>
                    <a:pt x="176" y="166"/>
                  </a:lnTo>
                  <a:lnTo>
                    <a:pt x="176" y="164"/>
                  </a:lnTo>
                  <a:lnTo>
                    <a:pt x="178" y="162"/>
                  </a:lnTo>
                  <a:lnTo>
                    <a:pt x="178" y="160"/>
                  </a:lnTo>
                  <a:lnTo>
                    <a:pt x="178" y="158"/>
                  </a:lnTo>
                  <a:lnTo>
                    <a:pt x="180" y="154"/>
                  </a:lnTo>
                  <a:lnTo>
                    <a:pt x="180" y="152"/>
                  </a:lnTo>
                  <a:lnTo>
                    <a:pt x="180" y="150"/>
                  </a:lnTo>
                  <a:lnTo>
                    <a:pt x="180" y="146"/>
                  </a:lnTo>
                  <a:lnTo>
                    <a:pt x="180" y="144"/>
                  </a:lnTo>
                  <a:lnTo>
                    <a:pt x="180" y="144"/>
                  </a:lnTo>
                  <a:lnTo>
                    <a:pt x="178" y="142"/>
                  </a:lnTo>
                  <a:lnTo>
                    <a:pt x="178" y="142"/>
                  </a:lnTo>
                  <a:lnTo>
                    <a:pt x="178" y="142"/>
                  </a:lnTo>
                  <a:lnTo>
                    <a:pt x="176" y="140"/>
                  </a:lnTo>
                  <a:lnTo>
                    <a:pt x="174" y="140"/>
                  </a:lnTo>
                  <a:lnTo>
                    <a:pt x="174" y="140"/>
                  </a:lnTo>
                  <a:lnTo>
                    <a:pt x="174" y="138"/>
                  </a:lnTo>
                  <a:lnTo>
                    <a:pt x="174" y="138"/>
                  </a:lnTo>
                  <a:lnTo>
                    <a:pt x="174" y="138"/>
                  </a:lnTo>
                  <a:lnTo>
                    <a:pt x="174" y="136"/>
                  </a:lnTo>
                  <a:lnTo>
                    <a:pt x="174" y="132"/>
                  </a:lnTo>
                  <a:lnTo>
                    <a:pt x="174" y="132"/>
                  </a:lnTo>
                  <a:lnTo>
                    <a:pt x="172" y="130"/>
                  </a:lnTo>
                  <a:lnTo>
                    <a:pt x="172" y="128"/>
                  </a:lnTo>
                  <a:lnTo>
                    <a:pt x="172" y="128"/>
                  </a:lnTo>
                  <a:lnTo>
                    <a:pt x="172" y="128"/>
                  </a:lnTo>
                  <a:lnTo>
                    <a:pt x="172" y="128"/>
                  </a:lnTo>
                  <a:lnTo>
                    <a:pt x="172" y="126"/>
                  </a:lnTo>
                  <a:lnTo>
                    <a:pt x="170" y="126"/>
                  </a:lnTo>
                  <a:lnTo>
                    <a:pt x="170" y="126"/>
                  </a:lnTo>
                  <a:lnTo>
                    <a:pt x="168" y="126"/>
                  </a:lnTo>
                  <a:lnTo>
                    <a:pt x="166" y="126"/>
                  </a:lnTo>
                  <a:lnTo>
                    <a:pt x="166" y="126"/>
                  </a:lnTo>
                  <a:lnTo>
                    <a:pt x="164" y="126"/>
                  </a:lnTo>
                  <a:lnTo>
                    <a:pt x="164" y="126"/>
                  </a:lnTo>
                  <a:lnTo>
                    <a:pt x="164" y="126"/>
                  </a:lnTo>
                  <a:lnTo>
                    <a:pt x="164" y="126"/>
                  </a:lnTo>
                  <a:lnTo>
                    <a:pt x="164" y="126"/>
                  </a:lnTo>
                  <a:lnTo>
                    <a:pt x="164" y="124"/>
                  </a:lnTo>
                  <a:lnTo>
                    <a:pt x="164" y="122"/>
                  </a:lnTo>
                  <a:lnTo>
                    <a:pt x="164" y="120"/>
                  </a:lnTo>
                  <a:lnTo>
                    <a:pt x="164" y="118"/>
                  </a:lnTo>
                  <a:lnTo>
                    <a:pt x="164" y="118"/>
                  </a:lnTo>
                  <a:lnTo>
                    <a:pt x="164" y="116"/>
                  </a:lnTo>
                  <a:lnTo>
                    <a:pt x="162" y="116"/>
                  </a:lnTo>
                  <a:lnTo>
                    <a:pt x="162" y="114"/>
                  </a:lnTo>
                  <a:lnTo>
                    <a:pt x="162" y="114"/>
                  </a:lnTo>
                  <a:lnTo>
                    <a:pt x="160" y="114"/>
                  </a:lnTo>
                  <a:lnTo>
                    <a:pt x="160" y="114"/>
                  </a:lnTo>
                  <a:lnTo>
                    <a:pt x="158" y="114"/>
                  </a:lnTo>
                  <a:lnTo>
                    <a:pt x="156" y="114"/>
                  </a:lnTo>
                  <a:lnTo>
                    <a:pt x="152" y="114"/>
                  </a:lnTo>
                  <a:lnTo>
                    <a:pt x="150" y="116"/>
                  </a:lnTo>
                  <a:lnTo>
                    <a:pt x="146" y="116"/>
                  </a:lnTo>
                  <a:lnTo>
                    <a:pt x="146" y="116"/>
                  </a:lnTo>
                  <a:lnTo>
                    <a:pt x="144" y="116"/>
                  </a:lnTo>
                  <a:lnTo>
                    <a:pt x="144" y="116"/>
                  </a:lnTo>
                  <a:lnTo>
                    <a:pt x="142" y="116"/>
                  </a:lnTo>
                  <a:lnTo>
                    <a:pt x="142" y="116"/>
                  </a:lnTo>
                  <a:lnTo>
                    <a:pt x="142" y="114"/>
                  </a:lnTo>
                  <a:lnTo>
                    <a:pt x="140" y="114"/>
                  </a:lnTo>
                  <a:lnTo>
                    <a:pt x="140" y="112"/>
                  </a:lnTo>
                  <a:lnTo>
                    <a:pt x="138" y="110"/>
                  </a:lnTo>
                  <a:lnTo>
                    <a:pt x="138" y="110"/>
                  </a:lnTo>
                  <a:lnTo>
                    <a:pt x="138" y="110"/>
                  </a:lnTo>
                  <a:lnTo>
                    <a:pt x="136" y="110"/>
                  </a:lnTo>
                  <a:lnTo>
                    <a:pt x="134" y="110"/>
                  </a:lnTo>
                  <a:lnTo>
                    <a:pt x="134" y="108"/>
                  </a:lnTo>
                  <a:lnTo>
                    <a:pt x="134" y="108"/>
                  </a:lnTo>
                  <a:lnTo>
                    <a:pt x="134" y="108"/>
                  </a:lnTo>
                  <a:lnTo>
                    <a:pt x="132" y="106"/>
                  </a:lnTo>
                  <a:lnTo>
                    <a:pt x="132" y="104"/>
                  </a:lnTo>
                  <a:lnTo>
                    <a:pt x="132" y="102"/>
                  </a:lnTo>
                  <a:lnTo>
                    <a:pt x="132" y="98"/>
                  </a:lnTo>
                  <a:lnTo>
                    <a:pt x="132" y="96"/>
                  </a:lnTo>
                  <a:lnTo>
                    <a:pt x="132" y="92"/>
                  </a:lnTo>
                  <a:lnTo>
                    <a:pt x="132" y="90"/>
                  </a:lnTo>
                  <a:lnTo>
                    <a:pt x="132" y="90"/>
                  </a:lnTo>
                  <a:lnTo>
                    <a:pt x="134" y="88"/>
                  </a:lnTo>
                  <a:lnTo>
                    <a:pt x="134" y="88"/>
                  </a:lnTo>
                  <a:lnTo>
                    <a:pt x="134" y="88"/>
                  </a:lnTo>
                  <a:lnTo>
                    <a:pt x="134" y="86"/>
                  </a:lnTo>
                  <a:lnTo>
                    <a:pt x="138" y="86"/>
                  </a:lnTo>
                  <a:lnTo>
                    <a:pt x="138" y="84"/>
                  </a:lnTo>
                  <a:lnTo>
                    <a:pt x="140" y="84"/>
                  </a:lnTo>
                  <a:lnTo>
                    <a:pt x="140" y="84"/>
                  </a:lnTo>
                  <a:lnTo>
                    <a:pt x="140" y="84"/>
                  </a:lnTo>
                  <a:lnTo>
                    <a:pt x="140" y="84"/>
                  </a:lnTo>
                  <a:lnTo>
                    <a:pt x="140" y="82"/>
                  </a:lnTo>
                  <a:lnTo>
                    <a:pt x="140" y="82"/>
                  </a:lnTo>
                  <a:lnTo>
                    <a:pt x="140" y="82"/>
                  </a:lnTo>
                  <a:lnTo>
                    <a:pt x="140" y="82"/>
                  </a:lnTo>
                  <a:lnTo>
                    <a:pt x="138" y="82"/>
                  </a:lnTo>
                  <a:lnTo>
                    <a:pt x="138" y="82"/>
                  </a:lnTo>
                  <a:lnTo>
                    <a:pt x="134" y="82"/>
                  </a:lnTo>
                  <a:lnTo>
                    <a:pt x="134" y="82"/>
                  </a:lnTo>
                  <a:lnTo>
                    <a:pt x="134" y="82"/>
                  </a:lnTo>
                  <a:lnTo>
                    <a:pt x="134" y="82"/>
                  </a:lnTo>
                  <a:lnTo>
                    <a:pt x="132" y="80"/>
                  </a:lnTo>
                  <a:lnTo>
                    <a:pt x="132" y="80"/>
                  </a:lnTo>
                  <a:lnTo>
                    <a:pt x="132" y="80"/>
                  </a:lnTo>
                  <a:lnTo>
                    <a:pt x="132" y="78"/>
                  </a:lnTo>
                  <a:lnTo>
                    <a:pt x="132" y="76"/>
                  </a:lnTo>
                  <a:lnTo>
                    <a:pt x="132" y="74"/>
                  </a:lnTo>
                  <a:lnTo>
                    <a:pt x="132" y="72"/>
                  </a:lnTo>
                  <a:lnTo>
                    <a:pt x="132" y="70"/>
                  </a:lnTo>
                  <a:lnTo>
                    <a:pt x="132" y="70"/>
                  </a:lnTo>
                  <a:lnTo>
                    <a:pt x="132" y="68"/>
                  </a:lnTo>
                  <a:lnTo>
                    <a:pt x="132" y="68"/>
                  </a:lnTo>
                  <a:lnTo>
                    <a:pt x="132" y="68"/>
                  </a:lnTo>
                  <a:lnTo>
                    <a:pt x="130" y="66"/>
                  </a:lnTo>
                  <a:lnTo>
                    <a:pt x="130" y="66"/>
                  </a:lnTo>
                  <a:lnTo>
                    <a:pt x="128" y="66"/>
                  </a:lnTo>
                  <a:lnTo>
                    <a:pt x="128" y="66"/>
                  </a:lnTo>
                  <a:lnTo>
                    <a:pt x="124" y="66"/>
                  </a:lnTo>
                  <a:lnTo>
                    <a:pt x="124" y="66"/>
                  </a:lnTo>
                  <a:lnTo>
                    <a:pt x="122" y="64"/>
                  </a:lnTo>
                  <a:lnTo>
                    <a:pt x="120" y="64"/>
                  </a:lnTo>
                  <a:lnTo>
                    <a:pt x="116" y="64"/>
                  </a:lnTo>
                  <a:lnTo>
                    <a:pt x="114" y="64"/>
                  </a:lnTo>
                  <a:lnTo>
                    <a:pt x="112" y="64"/>
                  </a:lnTo>
                  <a:lnTo>
                    <a:pt x="110" y="64"/>
                  </a:lnTo>
                  <a:lnTo>
                    <a:pt x="110" y="64"/>
                  </a:lnTo>
                  <a:lnTo>
                    <a:pt x="108" y="64"/>
                  </a:lnTo>
                  <a:lnTo>
                    <a:pt x="108" y="62"/>
                  </a:lnTo>
                  <a:lnTo>
                    <a:pt x="108" y="62"/>
                  </a:lnTo>
                  <a:lnTo>
                    <a:pt x="108" y="62"/>
                  </a:lnTo>
                  <a:lnTo>
                    <a:pt x="108" y="60"/>
                  </a:lnTo>
                  <a:lnTo>
                    <a:pt x="108" y="58"/>
                  </a:lnTo>
                  <a:lnTo>
                    <a:pt x="108" y="58"/>
                  </a:lnTo>
                  <a:lnTo>
                    <a:pt x="108" y="56"/>
                  </a:lnTo>
                  <a:lnTo>
                    <a:pt x="108" y="56"/>
                  </a:lnTo>
                  <a:lnTo>
                    <a:pt x="106" y="54"/>
                  </a:lnTo>
                  <a:lnTo>
                    <a:pt x="106" y="54"/>
                  </a:lnTo>
                  <a:lnTo>
                    <a:pt x="106" y="54"/>
                  </a:lnTo>
                  <a:lnTo>
                    <a:pt x="106" y="54"/>
                  </a:lnTo>
                  <a:lnTo>
                    <a:pt x="104" y="54"/>
                  </a:lnTo>
                  <a:lnTo>
                    <a:pt x="104" y="54"/>
                  </a:lnTo>
                  <a:lnTo>
                    <a:pt x="102" y="52"/>
                  </a:lnTo>
                  <a:lnTo>
                    <a:pt x="98" y="52"/>
                  </a:lnTo>
                  <a:lnTo>
                    <a:pt x="98" y="52"/>
                  </a:lnTo>
                  <a:lnTo>
                    <a:pt x="96" y="52"/>
                  </a:lnTo>
                  <a:lnTo>
                    <a:pt x="96" y="52"/>
                  </a:lnTo>
                  <a:lnTo>
                    <a:pt x="96" y="50"/>
                  </a:lnTo>
                  <a:lnTo>
                    <a:pt x="94" y="50"/>
                  </a:lnTo>
                  <a:lnTo>
                    <a:pt x="94" y="48"/>
                  </a:lnTo>
                  <a:lnTo>
                    <a:pt x="94" y="48"/>
                  </a:lnTo>
                  <a:lnTo>
                    <a:pt x="94" y="48"/>
                  </a:lnTo>
                  <a:lnTo>
                    <a:pt x="92" y="48"/>
                  </a:lnTo>
                  <a:lnTo>
                    <a:pt x="90" y="48"/>
                  </a:lnTo>
                  <a:lnTo>
                    <a:pt x="90" y="48"/>
                  </a:lnTo>
                  <a:lnTo>
                    <a:pt x="86" y="48"/>
                  </a:lnTo>
                  <a:lnTo>
                    <a:pt x="82" y="48"/>
                  </a:lnTo>
                  <a:lnTo>
                    <a:pt x="80" y="48"/>
                  </a:lnTo>
                  <a:lnTo>
                    <a:pt x="76" y="48"/>
                  </a:lnTo>
                  <a:lnTo>
                    <a:pt x="76" y="48"/>
                  </a:lnTo>
                  <a:lnTo>
                    <a:pt x="74" y="48"/>
                  </a:lnTo>
                  <a:lnTo>
                    <a:pt x="72" y="48"/>
                  </a:lnTo>
                  <a:lnTo>
                    <a:pt x="72" y="48"/>
                  </a:lnTo>
                  <a:lnTo>
                    <a:pt x="72" y="48"/>
                  </a:lnTo>
                  <a:lnTo>
                    <a:pt x="70" y="48"/>
                  </a:lnTo>
                  <a:lnTo>
                    <a:pt x="70" y="46"/>
                  </a:lnTo>
                  <a:lnTo>
                    <a:pt x="68" y="44"/>
                  </a:lnTo>
                  <a:lnTo>
                    <a:pt x="68" y="42"/>
                  </a:lnTo>
                  <a:lnTo>
                    <a:pt x="66" y="38"/>
                  </a:lnTo>
                  <a:lnTo>
                    <a:pt x="64" y="36"/>
                  </a:lnTo>
                  <a:lnTo>
                    <a:pt x="64" y="32"/>
                  </a:lnTo>
                  <a:lnTo>
                    <a:pt x="64" y="30"/>
                  </a:lnTo>
                  <a:lnTo>
                    <a:pt x="62" y="30"/>
                  </a:lnTo>
                  <a:lnTo>
                    <a:pt x="62" y="26"/>
                  </a:lnTo>
                  <a:lnTo>
                    <a:pt x="64" y="16"/>
                  </a:lnTo>
                  <a:lnTo>
                    <a:pt x="64" y="12"/>
                  </a:lnTo>
                  <a:lnTo>
                    <a:pt x="64" y="10"/>
                  </a:lnTo>
                  <a:lnTo>
                    <a:pt x="64" y="8"/>
                  </a:lnTo>
                  <a:lnTo>
                    <a:pt x="62" y="6"/>
                  </a:lnTo>
                  <a:lnTo>
                    <a:pt x="62" y="6"/>
                  </a:lnTo>
                  <a:lnTo>
                    <a:pt x="62" y="4"/>
                  </a:lnTo>
                  <a:lnTo>
                    <a:pt x="62" y="2"/>
                  </a:lnTo>
                  <a:lnTo>
                    <a:pt x="60" y="2"/>
                  </a:lnTo>
                  <a:lnTo>
                    <a:pt x="60" y="2"/>
                  </a:lnTo>
                  <a:lnTo>
                    <a:pt x="58" y="2"/>
                  </a:lnTo>
                  <a:lnTo>
                    <a:pt x="58" y="0"/>
                  </a:lnTo>
                  <a:lnTo>
                    <a:pt x="54" y="0"/>
                  </a:lnTo>
                  <a:lnTo>
                    <a:pt x="52" y="0"/>
                  </a:lnTo>
                  <a:lnTo>
                    <a:pt x="48" y="0"/>
                  </a:lnTo>
                  <a:lnTo>
                    <a:pt x="46" y="0"/>
                  </a:lnTo>
                  <a:lnTo>
                    <a:pt x="44" y="0"/>
                  </a:lnTo>
                  <a:lnTo>
                    <a:pt x="44" y="0"/>
                  </a:lnTo>
                  <a:lnTo>
                    <a:pt x="42" y="0"/>
                  </a:lnTo>
                  <a:lnTo>
                    <a:pt x="42" y="0"/>
                  </a:lnTo>
                  <a:lnTo>
                    <a:pt x="42" y="2"/>
                  </a:lnTo>
                  <a:lnTo>
                    <a:pt x="42" y="2"/>
                  </a:lnTo>
                  <a:lnTo>
                    <a:pt x="42" y="4"/>
                  </a:lnTo>
                  <a:lnTo>
                    <a:pt x="42" y="4"/>
                  </a:lnTo>
                  <a:lnTo>
                    <a:pt x="42" y="6"/>
                  </a:lnTo>
                  <a:lnTo>
                    <a:pt x="42" y="8"/>
                  </a:lnTo>
                  <a:lnTo>
                    <a:pt x="42" y="10"/>
                  </a:lnTo>
                  <a:lnTo>
                    <a:pt x="40" y="10"/>
                  </a:lnTo>
                  <a:lnTo>
                    <a:pt x="40" y="12"/>
                  </a:lnTo>
                  <a:lnTo>
                    <a:pt x="40" y="12"/>
                  </a:lnTo>
                  <a:lnTo>
                    <a:pt x="40" y="12"/>
                  </a:lnTo>
                  <a:lnTo>
                    <a:pt x="40" y="12"/>
                  </a:lnTo>
                  <a:lnTo>
                    <a:pt x="38" y="12"/>
                  </a:lnTo>
                  <a:lnTo>
                    <a:pt x="38" y="12"/>
                  </a:lnTo>
                  <a:lnTo>
                    <a:pt x="36" y="12"/>
                  </a:lnTo>
                  <a:lnTo>
                    <a:pt x="34" y="10"/>
                  </a:lnTo>
                  <a:lnTo>
                    <a:pt x="34" y="10"/>
                  </a:lnTo>
                  <a:lnTo>
                    <a:pt x="34" y="10"/>
                  </a:lnTo>
                  <a:lnTo>
                    <a:pt x="32" y="10"/>
                  </a:lnTo>
                  <a:lnTo>
                    <a:pt x="32" y="10"/>
                  </a:lnTo>
                  <a:lnTo>
                    <a:pt x="32" y="12"/>
                  </a:lnTo>
                  <a:lnTo>
                    <a:pt x="32" y="12"/>
                  </a:lnTo>
                  <a:lnTo>
                    <a:pt x="30" y="14"/>
                  </a:lnTo>
                  <a:lnTo>
                    <a:pt x="30" y="16"/>
                  </a:lnTo>
                  <a:lnTo>
                    <a:pt x="30" y="16"/>
                  </a:lnTo>
                  <a:lnTo>
                    <a:pt x="28" y="18"/>
                  </a:lnTo>
                  <a:lnTo>
                    <a:pt x="28" y="18"/>
                  </a:lnTo>
                  <a:lnTo>
                    <a:pt x="26" y="20"/>
                  </a:lnTo>
                  <a:lnTo>
                    <a:pt x="26" y="20"/>
                  </a:lnTo>
                  <a:lnTo>
                    <a:pt x="24" y="22"/>
                  </a:lnTo>
                  <a:lnTo>
                    <a:pt x="22" y="22"/>
                  </a:lnTo>
                  <a:lnTo>
                    <a:pt x="20" y="24"/>
                  </a:lnTo>
                  <a:lnTo>
                    <a:pt x="18" y="24"/>
                  </a:lnTo>
                  <a:lnTo>
                    <a:pt x="16" y="26"/>
                  </a:lnTo>
                  <a:lnTo>
                    <a:pt x="16" y="26"/>
                  </a:lnTo>
                  <a:lnTo>
                    <a:pt x="14" y="26"/>
                  </a:lnTo>
                  <a:lnTo>
                    <a:pt x="12" y="26"/>
                  </a:lnTo>
                  <a:lnTo>
                    <a:pt x="8" y="24"/>
                  </a:lnTo>
                  <a:lnTo>
                    <a:pt x="4" y="24"/>
                  </a:lnTo>
                  <a:lnTo>
                    <a:pt x="6" y="26"/>
                  </a:lnTo>
                  <a:lnTo>
                    <a:pt x="10" y="32"/>
                  </a:lnTo>
                  <a:lnTo>
                    <a:pt x="12" y="34"/>
                  </a:lnTo>
                  <a:lnTo>
                    <a:pt x="14" y="36"/>
                  </a:lnTo>
                  <a:lnTo>
                    <a:pt x="14" y="40"/>
                  </a:lnTo>
                  <a:lnTo>
                    <a:pt x="16" y="40"/>
                  </a:lnTo>
                  <a:lnTo>
                    <a:pt x="16" y="42"/>
                  </a:lnTo>
                  <a:lnTo>
                    <a:pt x="16" y="44"/>
                  </a:lnTo>
                  <a:lnTo>
                    <a:pt x="16" y="46"/>
                  </a:lnTo>
                  <a:lnTo>
                    <a:pt x="16" y="48"/>
                  </a:lnTo>
                  <a:lnTo>
                    <a:pt x="16" y="50"/>
                  </a:lnTo>
                  <a:lnTo>
                    <a:pt x="16" y="52"/>
                  </a:lnTo>
                  <a:lnTo>
                    <a:pt x="14" y="54"/>
                  </a:lnTo>
                  <a:lnTo>
                    <a:pt x="14" y="54"/>
                  </a:lnTo>
                  <a:lnTo>
                    <a:pt x="14" y="56"/>
                  </a:lnTo>
                  <a:lnTo>
                    <a:pt x="14" y="58"/>
                  </a:lnTo>
                  <a:lnTo>
                    <a:pt x="12" y="58"/>
                  </a:lnTo>
                  <a:lnTo>
                    <a:pt x="10" y="60"/>
                  </a:lnTo>
                  <a:lnTo>
                    <a:pt x="8" y="60"/>
                  </a:lnTo>
                  <a:lnTo>
                    <a:pt x="8" y="62"/>
                  </a:lnTo>
                  <a:lnTo>
                    <a:pt x="6" y="62"/>
                  </a:lnTo>
                  <a:lnTo>
                    <a:pt x="6" y="64"/>
                  </a:lnTo>
                  <a:lnTo>
                    <a:pt x="6" y="64"/>
                  </a:lnTo>
                  <a:lnTo>
                    <a:pt x="6" y="66"/>
                  </a:lnTo>
                  <a:lnTo>
                    <a:pt x="6" y="70"/>
                  </a:lnTo>
                  <a:lnTo>
                    <a:pt x="6" y="72"/>
                  </a:lnTo>
                  <a:lnTo>
                    <a:pt x="8" y="78"/>
                  </a:lnTo>
                  <a:lnTo>
                    <a:pt x="8" y="80"/>
                  </a:lnTo>
                  <a:lnTo>
                    <a:pt x="8" y="82"/>
                  </a:lnTo>
                  <a:lnTo>
                    <a:pt x="8" y="84"/>
                  </a:lnTo>
                  <a:lnTo>
                    <a:pt x="6" y="88"/>
                  </a:lnTo>
                  <a:lnTo>
                    <a:pt x="6" y="94"/>
                  </a:lnTo>
                  <a:lnTo>
                    <a:pt x="6" y="98"/>
                  </a:lnTo>
                  <a:lnTo>
                    <a:pt x="4" y="102"/>
                  </a:lnTo>
                  <a:lnTo>
                    <a:pt x="4" y="104"/>
                  </a:lnTo>
                  <a:lnTo>
                    <a:pt x="4" y="106"/>
                  </a:lnTo>
                  <a:lnTo>
                    <a:pt x="6" y="108"/>
                  </a:lnTo>
                  <a:lnTo>
                    <a:pt x="6" y="108"/>
                  </a:lnTo>
                  <a:lnTo>
                    <a:pt x="6" y="110"/>
                  </a:lnTo>
                  <a:lnTo>
                    <a:pt x="8" y="112"/>
                  </a:lnTo>
                  <a:lnTo>
                    <a:pt x="8" y="112"/>
                  </a:lnTo>
                  <a:lnTo>
                    <a:pt x="10" y="114"/>
                  </a:lnTo>
                  <a:lnTo>
                    <a:pt x="10" y="114"/>
                  </a:lnTo>
                  <a:lnTo>
                    <a:pt x="10" y="116"/>
                  </a:lnTo>
                  <a:lnTo>
                    <a:pt x="10" y="116"/>
                  </a:lnTo>
                  <a:lnTo>
                    <a:pt x="10" y="116"/>
                  </a:lnTo>
                  <a:lnTo>
                    <a:pt x="10" y="116"/>
                  </a:lnTo>
                  <a:lnTo>
                    <a:pt x="8" y="118"/>
                  </a:lnTo>
                  <a:lnTo>
                    <a:pt x="6" y="118"/>
                  </a:lnTo>
                  <a:lnTo>
                    <a:pt x="6" y="118"/>
                  </a:lnTo>
                  <a:lnTo>
                    <a:pt x="6" y="118"/>
                  </a:lnTo>
                  <a:lnTo>
                    <a:pt x="4" y="118"/>
                  </a:lnTo>
                  <a:lnTo>
                    <a:pt x="4" y="118"/>
                  </a:lnTo>
                  <a:lnTo>
                    <a:pt x="4" y="120"/>
                  </a:lnTo>
                  <a:lnTo>
                    <a:pt x="2" y="122"/>
                  </a:lnTo>
                  <a:lnTo>
                    <a:pt x="2" y="124"/>
                  </a:lnTo>
                  <a:lnTo>
                    <a:pt x="0" y="128"/>
                  </a:lnTo>
                  <a:lnTo>
                    <a:pt x="0" y="130"/>
                  </a:lnTo>
                  <a:lnTo>
                    <a:pt x="2" y="130"/>
                  </a:lnTo>
                  <a:lnTo>
                    <a:pt x="4" y="132"/>
                  </a:lnTo>
                  <a:lnTo>
                    <a:pt x="8" y="136"/>
                  </a:lnTo>
                  <a:lnTo>
                    <a:pt x="8" y="136"/>
                  </a:lnTo>
                  <a:lnTo>
                    <a:pt x="8" y="138"/>
                  </a:lnTo>
                  <a:lnTo>
                    <a:pt x="10" y="138"/>
                  </a:lnTo>
                  <a:lnTo>
                    <a:pt x="10" y="140"/>
                  </a:lnTo>
                  <a:lnTo>
                    <a:pt x="10" y="140"/>
                  </a:lnTo>
                  <a:lnTo>
                    <a:pt x="10" y="142"/>
                  </a:lnTo>
                  <a:lnTo>
                    <a:pt x="10" y="146"/>
                  </a:lnTo>
                  <a:lnTo>
                    <a:pt x="10" y="148"/>
                  </a:lnTo>
                  <a:lnTo>
                    <a:pt x="10" y="150"/>
                  </a:lnTo>
                  <a:lnTo>
                    <a:pt x="10" y="152"/>
                  </a:lnTo>
                  <a:lnTo>
                    <a:pt x="10" y="152"/>
                  </a:lnTo>
                  <a:lnTo>
                    <a:pt x="10" y="152"/>
                  </a:lnTo>
                  <a:lnTo>
                    <a:pt x="10" y="154"/>
                  </a:lnTo>
                  <a:lnTo>
                    <a:pt x="12" y="154"/>
                  </a:lnTo>
                  <a:lnTo>
                    <a:pt x="12" y="156"/>
                  </a:lnTo>
                  <a:lnTo>
                    <a:pt x="14" y="158"/>
                  </a:lnTo>
                  <a:lnTo>
                    <a:pt x="18" y="158"/>
                  </a:lnTo>
                  <a:lnTo>
                    <a:pt x="20" y="160"/>
                  </a:lnTo>
                  <a:lnTo>
                    <a:pt x="22" y="162"/>
                  </a:lnTo>
                  <a:lnTo>
                    <a:pt x="22" y="164"/>
                  </a:lnTo>
                  <a:lnTo>
                    <a:pt x="24" y="164"/>
                  </a:lnTo>
                  <a:lnTo>
                    <a:pt x="24" y="166"/>
                  </a:lnTo>
                  <a:lnTo>
                    <a:pt x="24" y="166"/>
                  </a:lnTo>
                  <a:lnTo>
                    <a:pt x="24" y="168"/>
                  </a:lnTo>
                  <a:lnTo>
                    <a:pt x="24" y="170"/>
                  </a:lnTo>
                  <a:lnTo>
                    <a:pt x="24" y="172"/>
                  </a:lnTo>
                  <a:lnTo>
                    <a:pt x="24" y="176"/>
                  </a:lnTo>
                  <a:lnTo>
                    <a:pt x="24" y="180"/>
                  </a:lnTo>
                  <a:lnTo>
                    <a:pt x="24" y="186"/>
                  </a:lnTo>
                  <a:lnTo>
                    <a:pt x="24" y="190"/>
                  </a:lnTo>
                  <a:lnTo>
                    <a:pt x="24" y="192"/>
                  </a:lnTo>
                  <a:lnTo>
                    <a:pt x="24" y="194"/>
                  </a:lnTo>
                  <a:lnTo>
                    <a:pt x="24" y="196"/>
                  </a:lnTo>
                  <a:lnTo>
                    <a:pt x="24" y="196"/>
                  </a:lnTo>
                  <a:lnTo>
                    <a:pt x="24" y="198"/>
                  </a:lnTo>
                  <a:lnTo>
                    <a:pt x="26" y="202"/>
                  </a:lnTo>
                  <a:lnTo>
                    <a:pt x="28" y="204"/>
                  </a:lnTo>
                  <a:lnTo>
                    <a:pt x="28" y="208"/>
                  </a:lnTo>
                  <a:lnTo>
                    <a:pt x="30" y="210"/>
                  </a:lnTo>
                  <a:lnTo>
                    <a:pt x="32" y="212"/>
                  </a:lnTo>
                  <a:lnTo>
                    <a:pt x="34" y="214"/>
                  </a:lnTo>
                  <a:lnTo>
                    <a:pt x="36" y="216"/>
                  </a:lnTo>
                  <a:lnTo>
                    <a:pt x="36" y="218"/>
                  </a:lnTo>
                  <a:lnTo>
                    <a:pt x="38" y="218"/>
                  </a:lnTo>
                  <a:lnTo>
                    <a:pt x="40" y="220"/>
                  </a:lnTo>
                  <a:lnTo>
                    <a:pt x="46" y="222"/>
                  </a:lnTo>
                  <a:lnTo>
                    <a:pt x="46" y="220"/>
                  </a:lnTo>
                  <a:lnTo>
                    <a:pt x="46" y="218"/>
                  </a:lnTo>
                  <a:lnTo>
                    <a:pt x="48" y="214"/>
                  </a:lnTo>
                  <a:lnTo>
                    <a:pt x="50" y="210"/>
                  </a:lnTo>
                  <a:lnTo>
                    <a:pt x="50" y="210"/>
                  </a:lnTo>
                  <a:lnTo>
                    <a:pt x="50" y="208"/>
                  </a:lnTo>
                  <a:lnTo>
                    <a:pt x="52" y="206"/>
                  </a:lnTo>
                  <a:lnTo>
                    <a:pt x="52" y="206"/>
                  </a:lnTo>
                  <a:lnTo>
                    <a:pt x="54" y="204"/>
                  </a:lnTo>
                  <a:lnTo>
                    <a:pt x="54" y="204"/>
                  </a:lnTo>
                  <a:lnTo>
                    <a:pt x="54" y="204"/>
                  </a:lnTo>
                  <a:lnTo>
                    <a:pt x="56" y="204"/>
                  </a:lnTo>
                  <a:lnTo>
                    <a:pt x="56" y="204"/>
                  </a:lnTo>
                  <a:lnTo>
                    <a:pt x="58" y="206"/>
                  </a:lnTo>
                  <a:lnTo>
                    <a:pt x="60" y="206"/>
                  </a:lnTo>
                  <a:lnTo>
                    <a:pt x="62" y="208"/>
                  </a:lnTo>
                  <a:lnTo>
                    <a:pt x="64" y="212"/>
                  </a:lnTo>
                  <a:lnTo>
                    <a:pt x="66" y="214"/>
                  </a:lnTo>
                  <a:lnTo>
                    <a:pt x="68" y="214"/>
                  </a:lnTo>
                  <a:lnTo>
                    <a:pt x="68" y="216"/>
                  </a:lnTo>
                  <a:lnTo>
                    <a:pt x="72" y="218"/>
                  </a:lnTo>
                  <a:lnTo>
                    <a:pt x="74" y="218"/>
                  </a:lnTo>
                  <a:lnTo>
                    <a:pt x="76" y="220"/>
                  </a:lnTo>
                  <a:lnTo>
                    <a:pt x="78" y="220"/>
                  </a:lnTo>
                  <a:lnTo>
                    <a:pt x="82" y="222"/>
                  </a:lnTo>
                  <a:lnTo>
                    <a:pt x="84" y="222"/>
                  </a:lnTo>
                  <a:lnTo>
                    <a:pt x="84" y="222"/>
                  </a:lnTo>
                  <a:lnTo>
                    <a:pt x="86" y="222"/>
                  </a:lnTo>
                  <a:lnTo>
                    <a:pt x="86" y="222"/>
                  </a:lnTo>
                  <a:lnTo>
                    <a:pt x="88" y="220"/>
                  </a:lnTo>
                  <a:lnTo>
                    <a:pt x="90" y="220"/>
                  </a:lnTo>
                  <a:lnTo>
                    <a:pt x="90" y="220"/>
                  </a:lnTo>
                  <a:lnTo>
                    <a:pt x="94" y="216"/>
                  </a:lnTo>
                  <a:lnTo>
                    <a:pt x="96" y="214"/>
                  </a:lnTo>
                  <a:lnTo>
                    <a:pt x="98" y="212"/>
                  </a:lnTo>
                  <a:lnTo>
                    <a:pt x="100" y="210"/>
                  </a:lnTo>
                  <a:lnTo>
                    <a:pt x="102" y="208"/>
                  </a:lnTo>
                  <a:lnTo>
                    <a:pt x="104" y="198"/>
                  </a:lnTo>
                  <a:lnTo>
                    <a:pt x="106" y="190"/>
                  </a:lnTo>
                  <a:lnTo>
                    <a:pt x="108" y="186"/>
                  </a:lnTo>
                  <a:lnTo>
                    <a:pt x="108" y="182"/>
                  </a:lnTo>
                  <a:lnTo>
                    <a:pt x="108" y="180"/>
                  </a:lnTo>
                  <a:lnTo>
                    <a:pt x="110" y="176"/>
                  </a:lnTo>
                  <a:lnTo>
                    <a:pt x="110" y="174"/>
                  </a:lnTo>
                  <a:lnTo>
                    <a:pt x="112" y="172"/>
                  </a:lnTo>
                  <a:lnTo>
                    <a:pt x="112" y="172"/>
                  </a:lnTo>
                  <a:lnTo>
                    <a:pt x="112" y="170"/>
                  </a:lnTo>
                  <a:lnTo>
                    <a:pt x="114" y="170"/>
                  </a:lnTo>
                  <a:lnTo>
                    <a:pt x="114" y="170"/>
                  </a:lnTo>
                  <a:lnTo>
                    <a:pt x="116" y="168"/>
                  </a:lnTo>
                  <a:lnTo>
                    <a:pt x="118" y="168"/>
                  </a:lnTo>
                  <a:lnTo>
                    <a:pt x="120" y="166"/>
                  </a:lnTo>
                  <a:lnTo>
                    <a:pt x="126" y="166"/>
                  </a:lnTo>
                  <a:lnTo>
                    <a:pt x="128" y="164"/>
                  </a:lnTo>
                  <a:lnTo>
                    <a:pt x="130" y="164"/>
                  </a:lnTo>
                  <a:lnTo>
                    <a:pt x="130" y="162"/>
                  </a:lnTo>
                  <a:lnTo>
                    <a:pt x="132" y="162"/>
                  </a:lnTo>
                  <a:lnTo>
                    <a:pt x="134" y="158"/>
                  </a:lnTo>
                  <a:lnTo>
                    <a:pt x="136" y="158"/>
                  </a:lnTo>
                  <a:lnTo>
                    <a:pt x="138" y="156"/>
                  </a:lnTo>
                  <a:lnTo>
                    <a:pt x="140" y="156"/>
                  </a:lnTo>
                  <a:lnTo>
                    <a:pt x="140" y="156"/>
                  </a:lnTo>
                  <a:lnTo>
                    <a:pt x="140" y="156"/>
                  </a:lnTo>
                  <a:lnTo>
                    <a:pt x="142" y="156"/>
                  </a:lnTo>
                  <a:lnTo>
                    <a:pt x="142" y="156"/>
                  </a:lnTo>
                  <a:lnTo>
                    <a:pt x="144" y="156"/>
                  </a:lnTo>
                  <a:lnTo>
                    <a:pt x="148" y="156"/>
                  </a:lnTo>
                  <a:lnTo>
                    <a:pt x="150" y="156"/>
                  </a:lnTo>
                  <a:lnTo>
                    <a:pt x="152" y="158"/>
                  </a:lnTo>
                  <a:lnTo>
                    <a:pt x="154" y="158"/>
                  </a:lnTo>
                  <a:lnTo>
                    <a:pt x="156" y="160"/>
                  </a:lnTo>
                  <a:lnTo>
                    <a:pt x="158" y="162"/>
                  </a:lnTo>
                  <a:lnTo>
                    <a:pt x="160" y="162"/>
                  </a:lnTo>
                  <a:lnTo>
                    <a:pt x="160" y="164"/>
                  </a:lnTo>
                  <a:lnTo>
                    <a:pt x="162" y="166"/>
                  </a:lnTo>
                  <a:lnTo>
                    <a:pt x="162" y="168"/>
                  </a:lnTo>
                  <a:lnTo>
                    <a:pt x="164" y="170"/>
                  </a:lnTo>
                  <a:lnTo>
                    <a:pt x="164" y="1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7" name="Freeform 475"/>
            <p:cNvSpPr>
              <a:spLocks/>
            </p:cNvSpPr>
            <p:nvPr/>
          </p:nvSpPr>
          <p:spPr bwMode="auto">
            <a:xfrm>
              <a:off x="2246148" y="4712030"/>
              <a:ext cx="329094" cy="474589"/>
            </a:xfrm>
            <a:custGeom>
              <a:avLst/>
              <a:gdLst>
                <a:gd name="T0" fmla="*/ 140 w 190"/>
                <a:gd name="T1" fmla="*/ 2 h 274"/>
                <a:gd name="T2" fmla="*/ 116 w 190"/>
                <a:gd name="T3" fmla="*/ 0 h 274"/>
                <a:gd name="T4" fmla="*/ 102 w 190"/>
                <a:gd name="T5" fmla="*/ 14 h 274"/>
                <a:gd name="T6" fmla="*/ 66 w 190"/>
                <a:gd name="T7" fmla="*/ 30 h 274"/>
                <a:gd name="T8" fmla="*/ 40 w 190"/>
                <a:gd name="T9" fmla="*/ 50 h 274"/>
                <a:gd name="T10" fmla="*/ 30 w 190"/>
                <a:gd name="T11" fmla="*/ 54 h 274"/>
                <a:gd name="T12" fmla="*/ 22 w 190"/>
                <a:gd name="T13" fmla="*/ 44 h 274"/>
                <a:gd name="T14" fmla="*/ 18 w 190"/>
                <a:gd name="T15" fmla="*/ 30 h 274"/>
                <a:gd name="T16" fmla="*/ 10 w 190"/>
                <a:gd name="T17" fmla="*/ 32 h 274"/>
                <a:gd name="T18" fmla="*/ 4 w 190"/>
                <a:gd name="T19" fmla="*/ 40 h 274"/>
                <a:gd name="T20" fmla="*/ 0 w 190"/>
                <a:gd name="T21" fmla="*/ 60 h 274"/>
                <a:gd name="T22" fmla="*/ 6 w 190"/>
                <a:gd name="T23" fmla="*/ 72 h 274"/>
                <a:gd name="T24" fmla="*/ 16 w 190"/>
                <a:gd name="T25" fmla="*/ 70 h 274"/>
                <a:gd name="T26" fmla="*/ 22 w 190"/>
                <a:gd name="T27" fmla="*/ 74 h 274"/>
                <a:gd name="T28" fmla="*/ 24 w 190"/>
                <a:gd name="T29" fmla="*/ 92 h 274"/>
                <a:gd name="T30" fmla="*/ 32 w 190"/>
                <a:gd name="T31" fmla="*/ 98 h 274"/>
                <a:gd name="T32" fmla="*/ 34 w 190"/>
                <a:gd name="T33" fmla="*/ 108 h 274"/>
                <a:gd name="T34" fmla="*/ 40 w 190"/>
                <a:gd name="T35" fmla="*/ 126 h 274"/>
                <a:gd name="T36" fmla="*/ 48 w 190"/>
                <a:gd name="T37" fmla="*/ 132 h 274"/>
                <a:gd name="T38" fmla="*/ 50 w 190"/>
                <a:gd name="T39" fmla="*/ 142 h 274"/>
                <a:gd name="T40" fmla="*/ 54 w 190"/>
                <a:gd name="T41" fmla="*/ 150 h 274"/>
                <a:gd name="T42" fmla="*/ 62 w 190"/>
                <a:gd name="T43" fmla="*/ 162 h 274"/>
                <a:gd name="T44" fmla="*/ 70 w 190"/>
                <a:gd name="T45" fmla="*/ 186 h 274"/>
                <a:gd name="T46" fmla="*/ 78 w 190"/>
                <a:gd name="T47" fmla="*/ 192 h 274"/>
                <a:gd name="T48" fmla="*/ 76 w 190"/>
                <a:gd name="T49" fmla="*/ 198 h 274"/>
                <a:gd name="T50" fmla="*/ 78 w 190"/>
                <a:gd name="T51" fmla="*/ 208 h 274"/>
                <a:gd name="T52" fmla="*/ 88 w 190"/>
                <a:gd name="T53" fmla="*/ 218 h 274"/>
                <a:gd name="T54" fmla="*/ 104 w 190"/>
                <a:gd name="T55" fmla="*/ 234 h 274"/>
                <a:gd name="T56" fmla="*/ 114 w 190"/>
                <a:gd name="T57" fmla="*/ 242 h 274"/>
                <a:gd name="T58" fmla="*/ 136 w 190"/>
                <a:gd name="T59" fmla="*/ 252 h 274"/>
                <a:gd name="T60" fmla="*/ 174 w 190"/>
                <a:gd name="T61" fmla="*/ 264 h 274"/>
                <a:gd name="T62" fmla="*/ 178 w 190"/>
                <a:gd name="T63" fmla="*/ 252 h 274"/>
                <a:gd name="T64" fmla="*/ 184 w 190"/>
                <a:gd name="T65" fmla="*/ 250 h 274"/>
                <a:gd name="T66" fmla="*/ 178 w 190"/>
                <a:gd name="T67" fmla="*/ 240 h 274"/>
                <a:gd name="T68" fmla="*/ 180 w 190"/>
                <a:gd name="T69" fmla="*/ 216 h 274"/>
                <a:gd name="T70" fmla="*/ 180 w 190"/>
                <a:gd name="T71" fmla="*/ 198 h 274"/>
                <a:gd name="T72" fmla="*/ 188 w 190"/>
                <a:gd name="T73" fmla="*/ 192 h 274"/>
                <a:gd name="T74" fmla="*/ 190 w 190"/>
                <a:gd name="T75" fmla="*/ 178 h 274"/>
                <a:gd name="T76" fmla="*/ 180 w 190"/>
                <a:gd name="T77" fmla="*/ 162 h 274"/>
                <a:gd name="T78" fmla="*/ 166 w 190"/>
                <a:gd name="T79" fmla="*/ 154 h 274"/>
                <a:gd name="T80" fmla="*/ 164 w 190"/>
                <a:gd name="T81" fmla="*/ 142 h 274"/>
                <a:gd name="T82" fmla="*/ 160 w 190"/>
                <a:gd name="T83" fmla="*/ 134 h 274"/>
                <a:gd name="T84" fmla="*/ 152 w 190"/>
                <a:gd name="T85" fmla="*/ 140 h 274"/>
                <a:gd name="T86" fmla="*/ 142 w 190"/>
                <a:gd name="T87" fmla="*/ 140 h 274"/>
                <a:gd name="T88" fmla="*/ 134 w 190"/>
                <a:gd name="T89" fmla="*/ 138 h 274"/>
                <a:gd name="T90" fmla="*/ 132 w 190"/>
                <a:gd name="T91" fmla="*/ 130 h 274"/>
                <a:gd name="T92" fmla="*/ 124 w 190"/>
                <a:gd name="T93" fmla="*/ 130 h 274"/>
                <a:gd name="T94" fmla="*/ 120 w 190"/>
                <a:gd name="T95" fmla="*/ 122 h 274"/>
                <a:gd name="T96" fmla="*/ 110 w 190"/>
                <a:gd name="T97" fmla="*/ 112 h 274"/>
                <a:gd name="T98" fmla="*/ 106 w 190"/>
                <a:gd name="T99" fmla="*/ 100 h 274"/>
                <a:gd name="T100" fmla="*/ 108 w 190"/>
                <a:gd name="T101" fmla="*/ 88 h 274"/>
                <a:gd name="T102" fmla="*/ 116 w 190"/>
                <a:gd name="T103" fmla="*/ 84 h 274"/>
                <a:gd name="T104" fmla="*/ 124 w 190"/>
                <a:gd name="T105" fmla="*/ 78 h 274"/>
                <a:gd name="T106" fmla="*/ 122 w 190"/>
                <a:gd name="T107" fmla="*/ 68 h 274"/>
                <a:gd name="T108" fmla="*/ 126 w 190"/>
                <a:gd name="T109" fmla="*/ 54 h 274"/>
                <a:gd name="T110" fmla="*/ 134 w 190"/>
                <a:gd name="T111" fmla="*/ 48 h 274"/>
                <a:gd name="T112" fmla="*/ 144 w 190"/>
                <a:gd name="T113" fmla="*/ 50 h 274"/>
                <a:gd name="T114" fmla="*/ 152 w 190"/>
                <a:gd name="T115" fmla="*/ 50 h 274"/>
                <a:gd name="T116" fmla="*/ 162 w 190"/>
                <a:gd name="T117" fmla="*/ 42 h 274"/>
                <a:gd name="T118" fmla="*/ 164 w 190"/>
                <a:gd name="T119" fmla="*/ 3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74">
                  <a:moveTo>
                    <a:pt x="154" y="12"/>
                  </a:moveTo>
                  <a:lnTo>
                    <a:pt x="154" y="12"/>
                  </a:lnTo>
                  <a:lnTo>
                    <a:pt x="152" y="10"/>
                  </a:lnTo>
                  <a:lnTo>
                    <a:pt x="148" y="8"/>
                  </a:lnTo>
                  <a:lnTo>
                    <a:pt x="144" y="4"/>
                  </a:lnTo>
                  <a:lnTo>
                    <a:pt x="142" y="4"/>
                  </a:lnTo>
                  <a:lnTo>
                    <a:pt x="140" y="2"/>
                  </a:lnTo>
                  <a:lnTo>
                    <a:pt x="140" y="2"/>
                  </a:lnTo>
                  <a:lnTo>
                    <a:pt x="138" y="2"/>
                  </a:lnTo>
                  <a:lnTo>
                    <a:pt x="134" y="2"/>
                  </a:lnTo>
                  <a:lnTo>
                    <a:pt x="130" y="2"/>
                  </a:lnTo>
                  <a:lnTo>
                    <a:pt x="126" y="2"/>
                  </a:lnTo>
                  <a:lnTo>
                    <a:pt x="118" y="0"/>
                  </a:lnTo>
                  <a:lnTo>
                    <a:pt x="116" y="0"/>
                  </a:lnTo>
                  <a:lnTo>
                    <a:pt x="112" y="4"/>
                  </a:lnTo>
                  <a:lnTo>
                    <a:pt x="110" y="8"/>
                  </a:lnTo>
                  <a:lnTo>
                    <a:pt x="110" y="10"/>
                  </a:lnTo>
                  <a:lnTo>
                    <a:pt x="108" y="10"/>
                  </a:lnTo>
                  <a:lnTo>
                    <a:pt x="106" y="12"/>
                  </a:lnTo>
                  <a:lnTo>
                    <a:pt x="104" y="14"/>
                  </a:lnTo>
                  <a:lnTo>
                    <a:pt x="102" y="14"/>
                  </a:lnTo>
                  <a:lnTo>
                    <a:pt x="100" y="16"/>
                  </a:lnTo>
                  <a:lnTo>
                    <a:pt x="94" y="18"/>
                  </a:lnTo>
                  <a:lnTo>
                    <a:pt x="88" y="20"/>
                  </a:lnTo>
                  <a:lnTo>
                    <a:pt x="76" y="24"/>
                  </a:lnTo>
                  <a:lnTo>
                    <a:pt x="72" y="28"/>
                  </a:lnTo>
                  <a:lnTo>
                    <a:pt x="68" y="28"/>
                  </a:lnTo>
                  <a:lnTo>
                    <a:pt x="66" y="30"/>
                  </a:lnTo>
                  <a:lnTo>
                    <a:pt x="64" y="30"/>
                  </a:lnTo>
                  <a:lnTo>
                    <a:pt x="62" y="32"/>
                  </a:lnTo>
                  <a:lnTo>
                    <a:pt x="56" y="36"/>
                  </a:lnTo>
                  <a:lnTo>
                    <a:pt x="46" y="44"/>
                  </a:lnTo>
                  <a:lnTo>
                    <a:pt x="46" y="44"/>
                  </a:lnTo>
                  <a:lnTo>
                    <a:pt x="44" y="46"/>
                  </a:lnTo>
                  <a:lnTo>
                    <a:pt x="40" y="50"/>
                  </a:lnTo>
                  <a:lnTo>
                    <a:pt x="38" y="52"/>
                  </a:lnTo>
                  <a:lnTo>
                    <a:pt x="36" y="54"/>
                  </a:lnTo>
                  <a:lnTo>
                    <a:pt x="34" y="54"/>
                  </a:lnTo>
                  <a:lnTo>
                    <a:pt x="34" y="54"/>
                  </a:lnTo>
                  <a:lnTo>
                    <a:pt x="32" y="54"/>
                  </a:lnTo>
                  <a:lnTo>
                    <a:pt x="32" y="54"/>
                  </a:lnTo>
                  <a:lnTo>
                    <a:pt x="30" y="54"/>
                  </a:lnTo>
                  <a:lnTo>
                    <a:pt x="30" y="54"/>
                  </a:lnTo>
                  <a:lnTo>
                    <a:pt x="30" y="54"/>
                  </a:lnTo>
                  <a:lnTo>
                    <a:pt x="28" y="52"/>
                  </a:lnTo>
                  <a:lnTo>
                    <a:pt x="26" y="50"/>
                  </a:lnTo>
                  <a:lnTo>
                    <a:pt x="26" y="48"/>
                  </a:lnTo>
                  <a:lnTo>
                    <a:pt x="24" y="46"/>
                  </a:lnTo>
                  <a:lnTo>
                    <a:pt x="22" y="44"/>
                  </a:lnTo>
                  <a:lnTo>
                    <a:pt x="22" y="44"/>
                  </a:lnTo>
                  <a:lnTo>
                    <a:pt x="22" y="42"/>
                  </a:lnTo>
                  <a:lnTo>
                    <a:pt x="20" y="38"/>
                  </a:lnTo>
                  <a:lnTo>
                    <a:pt x="20" y="36"/>
                  </a:lnTo>
                  <a:lnTo>
                    <a:pt x="20" y="34"/>
                  </a:lnTo>
                  <a:lnTo>
                    <a:pt x="18" y="32"/>
                  </a:lnTo>
                  <a:lnTo>
                    <a:pt x="18" y="30"/>
                  </a:lnTo>
                  <a:lnTo>
                    <a:pt x="18" y="30"/>
                  </a:lnTo>
                  <a:lnTo>
                    <a:pt x="18" y="30"/>
                  </a:lnTo>
                  <a:lnTo>
                    <a:pt x="16" y="30"/>
                  </a:lnTo>
                  <a:lnTo>
                    <a:pt x="14" y="30"/>
                  </a:lnTo>
                  <a:lnTo>
                    <a:pt x="14" y="30"/>
                  </a:lnTo>
                  <a:lnTo>
                    <a:pt x="12" y="30"/>
                  </a:lnTo>
                  <a:lnTo>
                    <a:pt x="10" y="32"/>
                  </a:lnTo>
                  <a:lnTo>
                    <a:pt x="8" y="32"/>
                  </a:lnTo>
                  <a:lnTo>
                    <a:pt x="8" y="32"/>
                  </a:lnTo>
                  <a:lnTo>
                    <a:pt x="6" y="34"/>
                  </a:lnTo>
                  <a:lnTo>
                    <a:pt x="4" y="36"/>
                  </a:lnTo>
                  <a:lnTo>
                    <a:pt x="4" y="36"/>
                  </a:lnTo>
                  <a:lnTo>
                    <a:pt x="4" y="38"/>
                  </a:lnTo>
                  <a:lnTo>
                    <a:pt x="4" y="40"/>
                  </a:lnTo>
                  <a:lnTo>
                    <a:pt x="2" y="40"/>
                  </a:lnTo>
                  <a:lnTo>
                    <a:pt x="2" y="46"/>
                  </a:lnTo>
                  <a:lnTo>
                    <a:pt x="2" y="50"/>
                  </a:lnTo>
                  <a:lnTo>
                    <a:pt x="0" y="52"/>
                  </a:lnTo>
                  <a:lnTo>
                    <a:pt x="0" y="56"/>
                  </a:lnTo>
                  <a:lnTo>
                    <a:pt x="0" y="58"/>
                  </a:lnTo>
                  <a:lnTo>
                    <a:pt x="0" y="60"/>
                  </a:lnTo>
                  <a:lnTo>
                    <a:pt x="2" y="62"/>
                  </a:lnTo>
                  <a:lnTo>
                    <a:pt x="2" y="64"/>
                  </a:lnTo>
                  <a:lnTo>
                    <a:pt x="2" y="66"/>
                  </a:lnTo>
                  <a:lnTo>
                    <a:pt x="2" y="68"/>
                  </a:lnTo>
                  <a:lnTo>
                    <a:pt x="4" y="70"/>
                  </a:lnTo>
                  <a:lnTo>
                    <a:pt x="4" y="72"/>
                  </a:lnTo>
                  <a:lnTo>
                    <a:pt x="6" y="72"/>
                  </a:lnTo>
                  <a:lnTo>
                    <a:pt x="6" y="72"/>
                  </a:lnTo>
                  <a:lnTo>
                    <a:pt x="6" y="72"/>
                  </a:lnTo>
                  <a:lnTo>
                    <a:pt x="8" y="72"/>
                  </a:lnTo>
                  <a:lnTo>
                    <a:pt x="10" y="72"/>
                  </a:lnTo>
                  <a:lnTo>
                    <a:pt x="12" y="72"/>
                  </a:lnTo>
                  <a:lnTo>
                    <a:pt x="14" y="72"/>
                  </a:lnTo>
                  <a:lnTo>
                    <a:pt x="16" y="70"/>
                  </a:lnTo>
                  <a:lnTo>
                    <a:pt x="18" y="70"/>
                  </a:lnTo>
                  <a:lnTo>
                    <a:pt x="18" y="70"/>
                  </a:lnTo>
                  <a:lnTo>
                    <a:pt x="18" y="72"/>
                  </a:lnTo>
                  <a:lnTo>
                    <a:pt x="20" y="72"/>
                  </a:lnTo>
                  <a:lnTo>
                    <a:pt x="20" y="72"/>
                  </a:lnTo>
                  <a:lnTo>
                    <a:pt x="22" y="74"/>
                  </a:lnTo>
                  <a:lnTo>
                    <a:pt x="22" y="74"/>
                  </a:lnTo>
                  <a:lnTo>
                    <a:pt x="22" y="76"/>
                  </a:lnTo>
                  <a:lnTo>
                    <a:pt x="22" y="78"/>
                  </a:lnTo>
                  <a:lnTo>
                    <a:pt x="22" y="80"/>
                  </a:lnTo>
                  <a:lnTo>
                    <a:pt x="24" y="84"/>
                  </a:lnTo>
                  <a:lnTo>
                    <a:pt x="24" y="86"/>
                  </a:lnTo>
                  <a:lnTo>
                    <a:pt x="24" y="90"/>
                  </a:lnTo>
                  <a:lnTo>
                    <a:pt x="24" y="92"/>
                  </a:lnTo>
                  <a:lnTo>
                    <a:pt x="24" y="94"/>
                  </a:lnTo>
                  <a:lnTo>
                    <a:pt x="26" y="94"/>
                  </a:lnTo>
                  <a:lnTo>
                    <a:pt x="26" y="96"/>
                  </a:lnTo>
                  <a:lnTo>
                    <a:pt x="26" y="96"/>
                  </a:lnTo>
                  <a:lnTo>
                    <a:pt x="28" y="96"/>
                  </a:lnTo>
                  <a:lnTo>
                    <a:pt x="30" y="98"/>
                  </a:lnTo>
                  <a:lnTo>
                    <a:pt x="32" y="98"/>
                  </a:lnTo>
                  <a:lnTo>
                    <a:pt x="32" y="100"/>
                  </a:lnTo>
                  <a:lnTo>
                    <a:pt x="34" y="100"/>
                  </a:lnTo>
                  <a:lnTo>
                    <a:pt x="34" y="100"/>
                  </a:lnTo>
                  <a:lnTo>
                    <a:pt x="34" y="102"/>
                  </a:lnTo>
                  <a:lnTo>
                    <a:pt x="34" y="102"/>
                  </a:lnTo>
                  <a:lnTo>
                    <a:pt x="34" y="106"/>
                  </a:lnTo>
                  <a:lnTo>
                    <a:pt x="34" y="108"/>
                  </a:lnTo>
                  <a:lnTo>
                    <a:pt x="34" y="112"/>
                  </a:lnTo>
                  <a:lnTo>
                    <a:pt x="34" y="114"/>
                  </a:lnTo>
                  <a:lnTo>
                    <a:pt x="36" y="114"/>
                  </a:lnTo>
                  <a:lnTo>
                    <a:pt x="36" y="118"/>
                  </a:lnTo>
                  <a:lnTo>
                    <a:pt x="38" y="122"/>
                  </a:lnTo>
                  <a:lnTo>
                    <a:pt x="38" y="124"/>
                  </a:lnTo>
                  <a:lnTo>
                    <a:pt x="40" y="126"/>
                  </a:lnTo>
                  <a:lnTo>
                    <a:pt x="40" y="126"/>
                  </a:lnTo>
                  <a:lnTo>
                    <a:pt x="40" y="128"/>
                  </a:lnTo>
                  <a:lnTo>
                    <a:pt x="42" y="128"/>
                  </a:lnTo>
                  <a:lnTo>
                    <a:pt x="42" y="130"/>
                  </a:lnTo>
                  <a:lnTo>
                    <a:pt x="46" y="130"/>
                  </a:lnTo>
                  <a:lnTo>
                    <a:pt x="48" y="132"/>
                  </a:lnTo>
                  <a:lnTo>
                    <a:pt x="48" y="132"/>
                  </a:lnTo>
                  <a:lnTo>
                    <a:pt x="50" y="132"/>
                  </a:lnTo>
                  <a:lnTo>
                    <a:pt x="50" y="134"/>
                  </a:lnTo>
                  <a:lnTo>
                    <a:pt x="50" y="134"/>
                  </a:lnTo>
                  <a:lnTo>
                    <a:pt x="50" y="136"/>
                  </a:lnTo>
                  <a:lnTo>
                    <a:pt x="50" y="138"/>
                  </a:lnTo>
                  <a:lnTo>
                    <a:pt x="50" y="140"/>
                  </a:lnTo>
                  <a:lnTo>
                    <a:pt x="50" y="142"/>
                  </a:lnTo>
                  <a:lnTo>
                    <a:pt x="50" y="144"/>
                  </a:lnTo>
                  <a:lnTo>
                    <a:pt x="50" y="146"/>
                  </a:lnTo>
                  <a:lnTo>
                    <a:pt x="50" y="148"/>
                  </a:lnTo>
                  <a:lnTo>
                    <a:pt x="52" y="148"/>
                  </a:lnTo>
                  <a:lnTo>
                    <a:pt x="52" y="148"/>
                  </a:lnTo>
                  <a:lnTo>
                    <a:pt x="52" y="148"/>
                  </a:lnTo>
                  <a:lnTo>
                    <a:pt x="54" y="150"/>
                  </a:lnTo>
                  <a:lnTo>
                    <a:pt x="54" y="150"/>
                  </a:lnTo>
                  <a:lnTo>
                    <a:pt x="56" y="152"/>
                  </a:lnTo>
                  <a:lnTo>
                    <a:pt x="56" y="154"/>
                  </a:lnTo>
                  <a:lnTo>
                    <a:pt x="58" y="156"/>
                  </a:lnTo>
                  <a:lnTo>
                    <a:pt x="60" y="158"/>
                  </a:lnTo>
                  <a:lnTo>
                    <a:pt x="62" y="160"/>
                  </a:lnTo>
                  <a:lnTo>
                    <a:pt x="62" y="162"/>
                  </a:lnTo>
                  <a:lnTo>
                    <a:pt x="62" y="164"/>
                  </a:lnTo>
                  <a:lnTo>
                    <a:pt x="64" y="168"/>
                  </a:lnTo>
                  <a:lnTo>
                    <a:pt x="64" y="170"/>
                  </a:lnTo>
                  <a:lnTo>
                    <a:pt x="66" y="174"/>
                  </a:lnTo>
                  <a:lnTo>
                    <a:pt x="66" y="178"/>
                  </a:lnTo>
                  <a:lnTo>
                    <a:pt x="68" y="182"/>
                  </a:lnTo>
                  <a:lnTo>
                    <a:pt x="70" y="186"/>
                  </a:lnTo>
                  <a:lnTo>
                    <a:pt x="70" y="188"/>
                  </a:lnTo>
                  <a:lnTo>
                    <a:pt x="72" y="188"/>
                  </a:lnTo>
                  <a:lnTo>
                    <a:pt x="72" y="190"/>
                  </a:lnTo>
                  <a:lnTo>
                    <a:pt x="74" y="190"/>
                  </a:lnTo>
                  <a:lnTo>
                    <a:pt x="76" y="192"/>
                  </a:lnTo>
                  <a:lnTo>
                    <a:pt x="76" y="192"/>
                  </a:lnTo>
                  <a:lnTo>
                    <a:pt x="78" y="192"/>
                  </a:lnTo>
                  <a:lnTo>
                    <a:pt x="78" y="194"/>
                  </a:lnTo>
                  <a:lnTo>
                    <a:pt x="78" y="194"/>
                  </a:lnTo>
                  <a:lnTo>
                    <a:pt x="78" y="194"/>
                  </a:lnTo>
                  <a:lnTo>
                    <a:pt x="78" y="194"/>
                  </a:lnTo>
                  <a:lnTo>
                    <a:pt x="78" y="196"/>
                  </a:lnTo>
                  <a:lnTo>
                    <a:pt x="78" y="198"/>
                  </a:lnTo>
                  <a:lnTo>
                    <a:pt x="76" y="198"/>
                  </a:lnTo>
                  <a:lnTo>
                    <a:pt x="76" y="200"/>
                  </a:lnTo>
                  <a:lnTo>
                    <a:pt x="76" y="200"/>
                  </a:lnTo>
                  <a:lnTo>
                    <a:pt x="76" y="202"/>
                  </a:lnTo>
                  <a:lnTo>
                    <a:pt x="76" y="204"/>
                  </a:lnTo>
                  <a:lnTo>
                    <a:pt x="76" y="206"/>
                  </a:lnTo>
                  <a:lnTo>
                    <a:pt x="78" y="206"/>
                  </a:lnTo>
                  <a:lnTo>
                    <a:pt x="78" y="208"/>
                  </a:lnTo>
                  <a:lnTo>
                    <a:pt x="78" y="210"/>
                  </a:lnTo>
                  <a:lnTo>
                    <a:pt x="80" y="212"/>
                  </a:lnTo>
                  <a:lnTo>
                    <a:pt x="80" y="212"/>
                  </a:lnTo>
                  <a:lnTo>
                    <a:pt x="82" y="214"/>
                  </a:lnTo>
                  <a:lnTo>
                    <a:pt x="84" y="216"/>
                  </a:lnTo>
                  <a:lnTo>
                    <a:pt x="86" y="218"/>
                  </a:lnTo>
                  <a:lnTo>
                    <a:pt x="88" y="218"/>
                  </a:lnTo>
                  <a:lnTo>
                    <a:pt x="92" y="220"/>
                  </a:lnTo>
                  <a:lnTo>
                    <a:pt x="94" y="222"/>
                  </a:lnTo>
                  <a:lnTo>
                    <a:pt x="96" y="224"/>
                  </a:lnTo>
                  <a:lnTo>
                    <a:pt x="98" y="224"/>
                  </a:lnTo>
                  <a:lnTo>
                    <a:pt x="98" y="226"/>
                  </a:lnTo>
                  <a:lnTo>
                    <a:pt x="102" y="232"/>
                  </a:lnTo>
                  <a:lnTo>
                    <a:pt x="104" y="234"/>
                  </a:lnTo>
                  <a:lnTo>
                    <a:pt x="106" y="236"/>
                  </a:lnTo>
                  <a:lnTo>
                    <a:pt x="108" y="238"/>
                  </a:lnTo>
                  <a:lnTo>
                    <a:pt x="110" y="240"/>
                  </a:lnTo>
                  <a:lnTo>
                    <a:pt x="110" y="240"/>
                  </a:lnTo>
                  <a:lnTo>
                    <a:pt x="110" y="240"/>
                  </a:lnTo>
                  <a:lnTo>
                    <a:pt x="112" y="242"/>
                  </a:lnTo>
                  <a:lnTo>
                    <a:pt x="114" y="242"/>
                  </a:lnTo>
                  <a:lnTo>
                    <a:pt x="118" y="244"/>
                  </a:lnTo>
                  <a:lnTo>
                    <a:pt x="120" y="244"/>
                  </a:lnTo>
                  <a:lnTo>
                    <a:pt x="126" y="246"/>
                  </a:lnTo>
                  <a:lnTo>
                    <a:pt x="130" y="248"/>
                  </a:lnTo>
                  <a:lnTo>
                    <a:pt x="132" y="248"/>
                  </a:lnTo>
                  <a:lnTo>
                    <a:pt x="134" y="250"/>
                  </a:lnTo>
                  <a:lnTo>
                    <a:pt x="136" y="252"/>
                  </a:lnTo>
                  <a:lnTo>
                    <a:pt x="142" y="256"/>
                  </a:lnTo>
                  <a:lnTo>
                    <a:pt x="146" y="260"/>
                  </a:lnTo>
                  <a:lnTo>
                    <a:pt x="152" y="264"/>
                  </a:lnTo>
                  <a:lnTo>
                    <a:pt x="158" y="270"/>
                  </a:lnTo>
                  <a:lnTo>
                    <a:pt x="164" y="274"/>
                  </a:lnTo>
                  <a:lnTo>
                    <a:pt x="174" y="264"/>
                  </a:lnTo>
                  <a:lnTo>
                    <a:pt x="174" y="264"/>
                  </a:lnTo>
                  <a:lnTo>
                    <a:pt x="176" y="260"/>
                  </a:lnTo>
                  <a:lnTo>
                    <a:pt x="176" y="258"/>
                  </a:lnTo>
                  <a:lnTo>
                    <a:pt x="176" y="256"/>
                  </a:lnTo>
                  <a:lnTo>
                    <a:pt x="178" y="254"/>
                  </a:lnTo>
                  <a:lnTo>
                    <a:pt x="178" y="254"/>
                  </a:lnTo>
                  <a:lnTo>
                    <a:pt x="178" y="252"/>
                  </a:lnTo>
                  <a:lnTo>
                    <a:pt x="178" y="252"/>
                  </a:lnTo>
                  <a:lnTo>
                    <a:pt x="180" y="252"/>
                  </a:lnTo>
                  <a:lnTo>
                    <a:pt x="182" y="252"/>
                  </a:lnTo>
                  <a:lnTo>
                    <a:pt x="182" y="252"/>
                  </a:lnTo>
                  <a:lnTo>
                    <a:pt x="184" y="252"/>
                  </a:lnTo>
                  <a:lnTo>
                    <a:pt x="184" y="250"/>
                  </a:lnTo>
                  <a:lnTo>
                    <a:pt x="184" y="250"/>
                  </a:lnTo>
                  <a:lnTo>
                    <a:pt x="184" y="250"/>
                  </a:lnTo>
                  <a:lnTo>
                    <a:pt x="184" y="248"/>
                  </a:lnTo>
                  <a:lnTo>
                    <a:pt x="182" y="248"/>
                  </a:lnTo>
                  <a:lnTo>
                    <a:pt x="182" y="246"/>
                  </a:lnTo>
                  <a:lnTo>
                    <a:pt x="180" y="244"/>
                  </a:lnTo>
                  <a:lnTo>
                    <a:pt x="178" y="244"/>
                  </a:lnTo>
                  <a:lnTo>
                    <a:pt x="178" y="242"/>
                  </a:lnTo>
                  <a:lnTo>
                    <a:pt x="178" y="240"/>
                  </a:lnTo>
                  <a:lnTo>
                    <a:pt x="178" y="240"/>
                  </a:lnTo>
                  <a:lnTo>
                    <a:pt x="178" y="236"/>
                  </a:lnTo>
                  <a:lnTo>
                    <a:pt x="178" y="234"/>
                  </a:lnTo>
                  <a:lnTo>
                    <a:pt x="180" y="230"/>
                  </a:lnTo>
                  <a:lnTo>
                    <a:pt x="180" y="222"/>
                  </a:lnTo>
                  <a:lnTo>
                    <a:pt x="180" y="220"/>
                  </a:lnTo>
                  <a:lnTo>
                    <a:pt x="180" y="216"/>
                  </a:lnTo>
                  <a:lnTo>
                    <a:pt x="180" y="214"/>
                  </a:lnTo>
                  <a:lnTo>
                    <a:pt x="180" y="212"/>
                  </a:lnTo>
                  <a:lnTo>
                    <a:pt x="180" y="206"/>
                  </a:lnTo>
                  <a:lnTo>
                    <a:pt x="180" y="204"/>
                  </a:lnTo>
                  <a:lnTo>
                    <a:pt x="180" y="202"/>
                  </a:lnTo>
                  <a:lnTo>
                    <a:pt x="180" y="200"/>
                  </a:lnTo>
                  <a:lnTo>
                    <a:pt x="180" y="198"/>
                  </a:lnTo>
                  <a:lnTo>
                    <a:pt x="180" y="198"/>
                  </a:lnTo>
                  <a:lnTo>
                    <a:pt x="180" y="196"/>
                  </a:lnTo>
                  <a:lnTo>
                    <a:pt x="182" y="196"/>
                  </a:lnTo>
                  <a:lnTo>
                    <a:pt x="184" y="194"/>
                  </a:lnTo>
                  <a:lnTo>
                    <a:pt x="186" y="192"/>
                  </a:lnTo>
                  <a:lnTo>
                    <a:pt x="186" y="192"/>
                  </a:lnTo>
                  <a:lnTo>
                    <a:pt x="188" y="192"/>
                  </a:lnTo>
                  <a:lnTo>
                    <a:pt x="188" y="190"/>
                  </a:lnTo>
                  <a:lnTo>
                    <a:pt x="188" y="188"/>
                  </a:lnTo>
                  <a:lnTo>
                    <a:pt x="188" y="186"/>
                  </a:lnTo>
                  <a:lnTo>
                    <a:pt x="190" y="184"/>
                  </a:lnTo>
                  <a:lnTo>
                    <a:pt x="190" y="182"/>
                  </a:lnTo>
                  <a:lnTo>
                    <a:pt x="190" y="180"/>
                  </a:lnTo>
                  <a:lnTo>
                    <a:pt x="190" y="178"/>
                  </a:lnTo>
                  <a:lnTo>
                    <a:pt x="190" y="176"/>
                  </a:lnTo>
                  <a:lnTo>
                    <a:pt x="188" y="176"/>
                  </a:lnTo>
                  <a:lnTo>
                    <a:pt x="188" y="174"/>
                  </a:lnTo>
                  <a:lnTo>
                    <a:pt x="186" y="172"/>
                  </a:lnTo>
                  <a:lnTo>
                    <a:pt x="186" y="168"/>
                  </a:lnTo>
                  <a:lnTo>
                    <a:pt x="184" y="166"/>
                  </a:lnTo>
                  <a:lnTo>
                    <a:pt x="180" y="162"/>
                  </a:lnTo>
                  <a:lnTo>
                    <a:pt x="178" y="160"/>
                  </a:lnTo>
                  <a:lnTo>
                    <a:pt x="176" y="158"/>
                  </a:lnTo>
                  <a:lnTo>
                    <a:pt x="172" y="156"/>
                  </a:lnTo>
                  <a:lnTo>
                    <a:pt x="170" y="156"/>
                  </a:lnTo>
                  <a:lnTo>
                    <a:pt x="168" y="154"/>
                  </a:lnTo>
                  <a:lnTo>
                    <a:pt x="166" y="154"/>
                  </a:lnTo>
                  <a:lnTo>
                    <a:pt x="166" y="154"/>
                  </a:lnTo>
                  <a:lnTo>
                    <a:pt x="166" y="152"/>
                  </a:lnTo>
                  <a:lnTo>
                    <a:pt x="164" y="152"/>
                  </a:lnTo>
                  <a:lnTo>
                    <a:pt x="164" y="150"/>
                  </a:lnTo>
                  <a:lnTo>
                    <a:pt x="164" y="150"/>
                  </a:lnTo>
                  <a:lnTo>
                    <a:pt x="164" y="148"/>
                  </a:lnTo>
                  <a:lnTo>
                    <a:pt x="164" y="146"/>
                  </a:lnTo>
                  <a:lnTo>
                    <a:pt x="164" y="142"/>
                  </a:lnTo>
                  <a:lnTo>
                    <a:pt x="162" y="140"/>
                  </a:lnTo>
                  <a:lnTo>
                    <a:pt x="162" y="138"/>
                  </a:lnTo>
                  <a:lnTo>
                    <a:pt x="162" y="138"/>
                  </a:lnTo>
                  <a:lnTo>
                    <a:pt x="162" y="136"/>
                  </a:lnTo>
                  <a:lnTo>
                    <a:pt x="162" y="134"/>
                  </a:lnTo>
                  <a:lnTo>
                    <a:pt x="160" y="134"/>
                  </a:lnTo>
                  <a:lnTo>
                    <a:pt x="160" y="134"/>
                  </a:lnTo>
                  <a:lnTo>
                    <a:pt x="158" y="134"/>
                  </a:lnTo>
                  <a:lnTo>
                    <a:pt x="158" y="134"/>
                  </a:lnTo>
                  <a:lnTo>
                    <a:pt x="158" y="134"/>
                  </a:lnTo>
                  <a:lnTo>
                    <a:pt x="158" y="134"/>
                  </a:lnTo>
                  <a:lnTo>
                    <a:pt x="156" y="136"/>
                  </a:lnTo>
                  <a:lnTo>
                    <a:pt x="154" y="136"/>
                  </a:lnTo>
                  <a:lnTo>
                    <a:pt x="152" y="140"/>
                  </a:lnTo>
                  <a:lnTo>
                    <a:pt x="150" y="140"/>
                  </a:lnTo>
                  <a:lnTo>
                    <a:pt x="148" y="140"/>
                  </a:lnTo>
                  <a:lnTo>
                    <a:pt x="148" y="140"/>
                  </a:lnTo>
                  <a:lnTo>
                    <a:pt x="146" y="140"/>
                  </a:lnTo>
                  <a:lnTo>
                    <a:pt x="146" y="142"/>
                  </a:lnTo>
                  <a:lnTo>
                    <a:pt x="144" y="140"/>
                  </a:lnTo>
                  <a:lnTo>
                    <a:pt x="142" y="140"/>
                  </a:lnTo>
                  <a:lnTo>
                    <a:pt x="140" y="140"/>
                  </a:lnTo>
                  <a:lnTo>
                    <a:pt x="138" y="140"/>
                  </a:lnTo>
                  <a:lnTo>
                    <a:pt x="136" y="140"/>
                  </a:lnTo>
                  <a:lnTo>
                    <a:pt x="136" y="140"/>
                  </a:lnTo>
                  <a:lnTo>
                    <a:pt x="136" y="138"/>
                  </a:lnTo>
                  <a:lnTo>
                    <a:pt x="134" y="138"/>
                  </a:lnTo>
                  <a:lnTo>
                    <a:pt x="134" y="138"/>
                  </a:lnTo>
                  <a:lnTo>
                    <a:pt x="134" y="138"/>
                  </a:lnTo>
                  <a:lnTo>
                    <a:pt x="134" y="136"/>
                  </a:lnTo>
                  <a:lnTo>
                    <a:pt x="134" y="134"/>
                  </a:lnTo>
                  <a:lnTo>
                    <a:pt x="134" y="132"/>
                  </a:lnTo>
                  <a:lnTo>
                    <a:pt x="134" y="132"/>
                  </a:lnTo>
                  <a:lnTo>
                    <a:pt x="134" y="130"/>
                  </a:lnTo>
                  <a:lnTo>
                    <a:pt x="132" y="130"/>
                  </a:lnTo>
                  <a:lnTo>
                    <a:pt x="132" y="130"/>
                  </a:lnTo>
                  <a:lnTo>
                    <a:pt x="132" y="130"/>
                  </a:lnTo>
                  <a:lnTo>
                    <a:pt x="130" y="130"/>
                  </a:lnTo>
                  <a:lnTo>
                    <a:pt x="128" y="130"/>
                  </a:lnTo>
                  <a:lnTo>
                    <a:pt x="126" y="130"/>
                  </a:lnTo>
                  <a:lnTo>
                    <a:pt x="126" y="130"/>
                  </a:lnTo>
                  <a:lnTo>
                    <a:pt x="124" y="130"/>
                  </a:lnTo>
                  <a:lnTo>
                    <a:pt x="124" y="130"/>
                  </a:lnTo>
                  <a:lnTo>
                    <a:pt x="124" y="128"/>
                  </a:lnTo>
                  <a:lnTo>
                    <a:pt x="122" y="128"/>
                  </a:lnTo>
                  <a:lnTo>
                    <a:pt x="122" y="126"/>
                  </a:lnTo>
                  <a:lnTo>
                    <a:pt x="122" y="126"/>
                  </a:lnTo>
                  <a:lnTo>
                    <a:pt x="122" y="124"/>
                  </a:lnTo>
                  <a:lnTo>
                    <a:pt x="120" y="122"/>
                  </a:lnTo>
                  <a:lnTo>
                    <a:pt x="120" y="120"/>
                  </a:lnTo>
                  <a:lnTo>
                    <a:pt x="120" y="118"/>
                  </a:lnTo>
                  <a:lnTo>
                    <a:pt x="118" y="118"/>
                  </a:lnTo>
                  <a:lnTo>
                    <a:pt x="118" y="116"/>
                  </a:lnTo>
                  <a:lnTo>
                    <a:pt x="114" y="114"/>
                  </a:lnTo>
                  <a:lnTo>
                    <a:pt x="112" y="112"/>
                  </a:lnTo>
                  <a:lnTo>
                    <a:pt x="110" y="112"/>
                  </a:lnTo>
                  <a:lnTo>
                    <a:pt x="110" y="110"/>
                  </a:lnTo>
                  <a:lnTo>
                    <a:pt x="108" y="110"/>
                  </a:lnTo>
                  <a:lnTo>
                    <a:pt x="108" y="108"/>
                  </a:lnTo>
                  <a:lnTo>
                    <a:pt x="108" y="106"/>
                  </a:lnTo>
                  <a:lnTo>
                    <a:pt x="106" y="102"/>
                  </a:lnTo>
                  <a:lnTo>
                    <a:pt x="106" y="102"/>
                  </a:lnTo>
                  <a:lnTo>
                    <a:pt x="106" y="100"/>
                  </a:lnTo>
                  <a:lnTo>
                    <a:pt x="106" y="100"/>
                  </a:lnTo>
                  <a:lnTo>
                    <a:pt x="106" y="98"/>
                  </a:lnTo>
                  <a:lnTo>
                    <a:pt x="106" y="96"/>
                  </a:lnTo>
                  <a:lnTo>
                    <a:pt x="106" y="94"/>
                  </a:lnTo>
                  <a:lnTo>
                    <a:pt x="106" y="92"/>
                  </a:lnTo>
                  <a:lnTo>
                    <a:pt x="108" y="90"/>
                  </a:lnTo>
                  <a:lnTo>
                    <a:pt x="108" y="88"/>
                  </a:lnTo>
                  <a:lnTo>
                    <a:pt x="108" y="88"/>
                  </a:lnTo>
                  <a:lnTo>
                    <a:pt x="110" y="86"/>
                  </a:lnTo>
                  <a:lnTo>
                    <a:pt x="110" y="86"/>
                  </a:lnTo>
                  <a:lnTo>
                    <a:pt x="112" y="86"/>
                  </a:lnTo>
                  <a:lnTo>
                    <a:pt x="112" y="86"/>
                  </a:lnTo>
                  <a:lnTo>
                    <a:pt x="116" y="84"/>
                  </a:lnTo>
                  <a:lnTo>
                    <a:pt x="116" y="84"/>
                  </a:lnTo>
                  <a:lnTo>
                    <a:pt x="118" y="84"/>
                  </a:lnTo>
                  <a:lnTo>
                    <a:pt x="120" y="82"/>
                  </a:lnTo>
                  <a:lnTo>
                    <a:pt x="122" y="80"/>
                  </a:lnTo>
                  <a:lnTo>
                    <a:pt x="122" y="80"/>
                  </a:lnTo>
                  <a:lnTo>
                    <a:pt x="122" y="80"/>
                  </a:lnTo>
                  <a:lnTo>
                    <a:pt x="124" y="78"/>
                  </a:lnTo>
                  <a:lnTo>
                    <a:pt x="124" y="78"/>
                  </a:lnTo>
                  <a:lnTo>
                    <a:pt x="124" y="76"/>
                  </a:lnTo>
                  <a:lnTo>
                    <a:pt x="124" y="76"/>
                  </a:lnTo>
                  <a:lnTo>
                    <a:pt x="124" y="74"/>
                  </a:lnTo>
                  <a:lnTo>
                    <a:pt x="122" y="72"/>
                  </a:lnTo>
                  <a:lnTo>
                    <a:pt x="122" y="70"/>
                  </a:lnTo>
                  <a:lnTo>
                    <a:pt x="122" y="68"/>
                  </a:lnTo>
                  <a:lnTo>
                    <a:pt x="122" y="68"/>
                  </a:lnTo>
                  <a:lnTo>
                    <a:pt x="122" y="66"/>
                  </a:lnTo>
                  <a:lnTo>
                    <a:pt x="122" y="64"/>
                  </a:lnTo>
                  <a:lnTo>
                    <a:pt x="122" y="62"/>
                  </a:lnTo>
                  <a:lnTo>
                    <a:pt x="124" y="60"/>
                  </a:lnTo>
                  <a:lnTo>
                    <a:pt x="124" y="58"/>
                  </a:lnTo>
                  <a:lnTo>
                    <a:pt x="124" y="56"/>
                  </a:lnTo>
                  <a:lnTo>
                    <a:pt x="126" y="54"/>
                  </a:lnTo>
                  <a:lnTo>
                    <a:pt x="126" y="54"/>
                  </a:lnTo>
                  <a:lnTo>
                    <a:pt x="128" y="52"/>
                  </a:lnTo>
                  <a:lnTo>
                    <a:pt x="128" y="52"/>
                  </a:lnTo>
                  <a:lnTo>
                    <a:pt x="130" y="50"/>
                  </a:lnTo>
                  <a:lnTo>
                    <a:pt x="132" y="50"/>
                  </a:lnTo>
                  <a:lnTo>
                    <a:pt x="132" y="48"/>
                  </a:lnTo>
                  <a:lnTo>
                    <a:pt x="134" y="48"/>
                  </a:lnTo>
                  <a:lnTo>
                    <a:pt x="136" y="48"/>
                  </a:lnTo>
                  <a:lnTo>
                    <a:pt x="136" y="48"/>
                  </a:lnTo>
                  <a:lnTo>
                    <a:pt x="136" y="48"/>
                  </a:lnTo>
                  <a:lnTo>
                    <a:pt x="138" y="48"/>
                  </a:lnTo>
                  <a:lnTo>
                    <a:pt x="140" y="48"/>
                  </a:lnTo>
                  <a:lnTo>
                    <a:pt x="142" y="50"/>
                  </a:lnTo>
                  <a:lnTo>
                    <a:pt x="144" y="50"/>
                  </a:lnTo>
                  <a:lnTo>
                    <a:pt x="146" y="50"/>
                  </a:lnTo>
                  <a:lnTo>
                    <a:pt x="146" y="50"/>
                  </a:lnTo>
                  <a:lnTo>
                    <a:pt x="148" y="50"/>
                  </a:lnTo>
                  <a:lnTo>
                    <a:pt x="148" y="50"/>
                  </a:lnTo>
                  <a:lnTo>
                    <a:pt x="150" y="50"/>
                  </a:lnTo>
                  <a:lnTo>
                    <a:pt x="152" y="50"/>
                  </a:lnTo>
                  <a:lnTo>
                    <a:pt x="152" y="50"/>
                  </a:lnTo>
                  <a:lnTo>
                    <a:pt x="154" y="48"/>
                  </a:lnTo>
                  <a:lnTo>
                    <a:pt x="156" y="48"/>
                  </a:lnTo>
                  <a:lnTo>
                    <a:pt x="158" y="46"/>
                  </a:lnTo>
                  <a:lnTo>
                    <a:pt x="158" y="46"/>
                  </a:lnTo>
                  <a:lnTo>
                    <a:pt x="160" y="44"/>
                  </a:lnTo>
                  <a:lnTo>
                    <a:pt x="160" y="44"/>
                  </a:lnTo>
                  <a:lnTo>
                    <a:pt x="162" y="42"/>
                  </a:lnTo>
                  <a:lnTo>
                    <a:pt x="162" y="40"/>
                  </a:lnTo>
                  <a:lnTo>
                    <a:pt x="162" y="38"/>
                  </a:lnTo>
                  <a:lnTo>
                    <a:pt x="164" y="36"/>
                  </a:lnTo>
                  <a:lnTo>
                    <a:pt x="164" y="34"/>
                  </a:lnTo>
                  <a:lnTo>
                    <a:pt x="164" y="32"/>
                  </a:lnTo>
                  <a:lnTo>
                    <a:pt x="164" y="32"/>
                  </a:lnTo>
                  <a:lnTo>
                    <a:pt x="164" y="30"/>
                  </a:lnTo>
                  <a:lnTo>
                    <a:pt x="162" y="28"/>
                  </a:lnTo>
                  <a:lnTo>
                    <a:pt x="162" y="26"/>
                  </a:lnTo>
                  <a:lnTo>
                    <a:pt x="160" y="22"/>
                  </a:lnTo>
                  <a:lnTo>
                    <a:pt x="158" y="20"/>
                  </a:lnTo>
                  <a:lnTo>
                    <a:pt x="154" y="14"/>
                  </a:lnTo>
                  <a:lnTo>
                    <a:pt x="154"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8" name="Freeform 476"/>
            <p:cNvSpPr>
              <a:spLocks/>
            </p:cNvSpPr>
            <p:nvPr/>
          </p:nvSpPr>
          <p:spPr bwMode="auto">
            <a:xfrm>
              <a:off x="2246148" y="4712030"/>
              <a:ext cx="329094" cy="474589"/>
            </a:xfrm>
            <a:custGeom>
              <a:avLst/>
              <a:gdLst>
                <a:gd name="T0" fmla="*/ 140 w 190"/>
                <a:gd name="T1" fmla="*/ 2 h 274"/>
                <a:gd name="T2" fmla="*/ 116 w 190"/>
                <a:gd name="T3" fmla="*/ 0 h 274"/>
                <a:gd name="T4" fmla="*/ 102 w 190"/>
                <a:gd name="T5" fmla="*/ 14 h 274"/>
                <a:gd name="T6" fmla="*/ 66 w 190"/>
                <a:gd name="T7" fmla="*/ 30 h 274"/>
                <a:gd name="T8" fmla="*/ 40 w 190"/>
                <a:gd name="T9" fmla="*/ 50 h 274"/>
                <a:gd name="T10" fmla="*/ 30 w 190"/>
                <a:gd name="T11" fmla="*/ 54 h 274"/>
                <a:gd name="T12" fmla="*/ 22 w 190"/>
                <a:gd name="T13" fmla="*/ 44 h 274"/>
                <a:gd name="T14" fmla="*/ 18 w 190"/>
                <a:gd name="T15" fmla="*/ 30 h 274"/>
                <a:gd name="T16" fmla="*/ 10 w 190"/>
                <a:gd name="T17" fmla="*/ 32 h 274"/>
                <a:gd name="T18" fmla="*/ 4 w 190"/>
                <a:gd name="T19" fmla="*/ 40 h 274"/>
                <a:gd name="T20" fmla="*/ 0 w 190"/>
                <a:gd name="T21" fmla="*/ 60 h 274"/>
                <a:gd name="T22" fmla="*/ 6 w 190"/>
                <a:gd name="T23" fmla="*/ 72 h 274"/>
                <a:gd name="T24" fmla="*/ 16 w 190"/>
                <a:gd name="T25" fmla="*/ 70 h 274"/>
                <a:gd name="T26" fmla="*/ 22 w 190"/>
                <a:gd name="T27" fmla="*/ 74 h 274"/>
                <a:gd name="T28" fmla="*/ 24 w 190"/>
                <a:gd name="T29" fmla="*/ 92 h 274"/>
                <a:gd name="T30" fmla="*/ 32 w 190"/>
                <a:gd name="T31" fmla="*/ 98 h 274"/>
                <a:gd name="T32" fmla="*/ 34 w 190"/>
                <a:gd name="T33" fmla="*/ 108 h 274"/>
                <a:gd name="T34" fmla="*/ 40 w 190"/>
                <a:gd name="T35" fmla="*/ 126 h 274"/>
                <a:gd name="T36" fmla="*/ 48 w 190"/>
                <a:gd name="T37" fmla="*/ 132 h 274"/>
                <a:gd name="T38" fmla="*/ 50 w 190"/>
                <a:gd name="T39" fmla="*/ 142 h 274"/>
                <a:gd name="T40" fmla="*/ 54 w 190"/>
                <a:gd name="T41" fmla="*/ 150 h 274"/>
                <a:gd name="T42" fmla="*/ 62 w 190"/>
                <a:gd name="T43" fmla="*/ 162 h 274"/>
                <a:gd name="T44" fmla="*/ 70 w 190"/>
                <a:gd name="T45" fmla="*/ 186 h 274"/>
                <a:gd name="T46" fmla="*/ 78 w 190"/>
                <a:gd name="T47" fmla="*/ 192 h 274"/>
                <a:gd name="T48" fmla="*/ 76 w 190"/>
                <a:gd name="T49" fmla="*/ 198 h 274"/>
                <a:gd name="T50" fmla="*/ 78 w 190"/>
                <a:gd name="T51" fmla="*/ 208 h 274"/>
                <a:gd name="T52" fmla="*/ 88 w 190"/>
                <a:gd name="T53" fmla="*/ 218 h 274"/>
                <a:gd name="T54" fmla="*/ 104 w 190"/>
                <a:gd name="T55" fmla="*/ 234 h 274"/>
                <a:gd name="T56" fmla="*/ 114 w 190"/>
                <a:gd name="T57" fmla="*/ 242 h 274"/>
                <a:gd name="T58" fmla="*/ 136 w 190"/>
                <a:gd name="T59" fmla="*/ 252 h 274"/>
                <a:gd name="T60" fmla="*/ 174 w 190"/>
                <a:gd name="T61" fmla="*/ 264 h 274"/>
                <a:gd name="T62" fmla="*/ 178 w 190"/>
                <a:gd name="T63" fmla="*/ 252 h 274"/>
                <a:gd name="T64" fmla="*/ 184 w 190"/>
                <a:gd name="T65" fmla="*/ 250 h 274"/>
                <a:gd name="T66" fmla="*/ 178 w 190"/>
                <a:gd name="T67" fmla="*/ 240 h 274"/>
                <a:gd name="T68" fmla="*/ 180 w 190"/>
                <a:gd name="T69" fmla="*/ 216 h 274"/>
                <a:gd name="T70" fmla="*/ 180 w 190"/>
                <a:gd name="T71" fmla="*/ 198 h 274"/>
                <a:gd name="T72" fmla="*/ 188 w 190"/>
                <a:gd name="T73" fmla="*/ 192 h 274"/>
                <a:gd name="T74" fmla="*/ 190 w 190"/>
                <a:gd name="T75" fmla="*/ 178 h 274"/>
                <a:gd name="T76" fmla="*/ 180 w 190"/>
                <a:gd name="T77" fmla="*/ 162 h 274"/>
                <a:gd name="T78" fmla="*/ 166 w 190"/>
                <a:gd name="T79" fmla="*/ 154 h 274"/>
                <a:gd name="T80" fmla="*/ 164 w 190"/>
                <a:gd name="T81" fmla="*/ 142 h 274"/>
                <a:gd name="T82" fmla="*/ 160 w 190"/>
                <a:gd name="T83" fmla="*/ 134 h 274"/>
                <a:gd name="T84" fmla="*/ 152 w 190"/>
                <a:gd name="T85" fmla="*/ 140 h 274"/>
                <a:gd name="T86" fmla="*/ 142 w 190"/>
                <a:gd name="T87" fmla="*/ 140 h 274"/>
                <a:gd name="T88" fmla="*/ 134 w 190"/>
                <a:gd name="T89" fmla="*/ 138 h 274"/>
                <a:gd name="T90" fmla="*/ 132 w 190"/>
                <a:gd name="T91" fmla="*/ 130 h 274"/>
                <a:gd name="T92" fmla="*/ 124 w 190"/>
                <a:gd name="T93" fmla="*/ 130 h 274"/>
                <a:gd name="T94" fmla="*/ 120 w 190"/>
                <a:gd name="T95" fmla="*/ 122 h 274"/>
                <a:gd name="T96" fmla="*/ 110 w 190"/>
                <a:gd name="T97" fmla="*/ 112 h 274"/>
                <a:gd name="T98" fmla="*/ 106 w 190"/>
                <a:gd name="T99" fmla="*/ 100 h 274"/>
                <a:gd name="T100" fmla="*/ 108 w 190"/>
                <a:gd name="T101" fmla="*/ 88 h 274"/>
                <a:gd name="T102" fmla="*/ 116 w 190"/>
                <a:gd name="T103" fmla="*/ 84 h 274"/>
                <a:gd name="T104" fmla="*/ 124 w 190"/>
                <a:gd name="T105" fmla="*/ 78 h 274"/>
                <a:gd name="T106" fmla="*/ 122 w 190"/>
                <a:gd name="T107" fmla="*/ 68 h 274"/>
                <a:gd name="T108" fmla="*/ 126 w 190"/>
                <a:gd name="T109" fmla="*/ 54 h 274"/>
                <a:gd name="T110" fmla="*/ 134 w 190"/>
                <a:gd name="T111" fmla="*/ 48 h 274"/>
                <a:gd name="T112" fmla="*/ 144 w 190"/>
                <a:gd name="T113" fmla="*/ 50 h 274"/>
                <a:gd name="T114" fmla="*/ 152 w 190"/>
                <a:gd name="T115" fmla="*/ 50 h 274"/>
                <a:gd name="T116" fmla="*/ 162 w 190"/>
                <a:gd name="T117" fmla="*/ 42 h 274"/>
                <a:gd name="T118" fmla="*/ 164 w 190"/>
                <a:gd name="T119" fmla="*/ 3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74">
                  <a:moveTo>
                    <a:pt x="154" y="12"/>
                  </a:moveTo>
                  <a:lnTo>
                    <a:pt x="154" y="12"/>
                  </a:lnTo>
                  <a:lnTo>
                    <a:pt x="152" y="10"/>
                  </a:lnTo>
                  <a:lnTo>
                    <a:pt x="148" y="8"/>
                  </a:lnTo>
                  <a:lnTo>
                    <a:pt x="144" y="4"/>
                  </a:lnTo>
                  <a:lnTo>
                    <a:pt x="142" y="4"/>
                  </a:lnTo>
                  <a:lnTo>
                    <a:pt x="140" y="2"/>
                  </a:lnTo>
                  <a:lnTo>
                    <a:pt x="140" y="2"/>
                  </a:lnTo>
                  <a:lnTo>
                    <a:pt x="138" y="2"/>
                  </a:lnTo>
                  <a:lnTo>
                    <a:pt x="134" y="2"/>
                  </a:lnTo>
                  <a:lnTo>
                    <a:pt x="130" y="2"/>
                  </a:lnTo>
                  <a:lnTo>
                    <a:pt x="126" y="2"/>
                  </a:lnTo>
                  <a:lnTo>
                    <a:pt x="118" y="0"/>
                  </a:lnTo>
                  <a:lnTo>
                    <a:pt x="116" y="0"/>
                  </a:lnTo>
                  <a:lnTo>
                    <a:pt x="112" y="4"/>
                  </a:lnTo>
                  <a:lnTo>
                    <a:pt x="110" y="8"/>
                  </a:lnTo>
                  <a:lnTo>
                    <a:pt x="110" y="10"/>
                  </a:lnTo>
                  <a:lnTo>
                    <a:pt x="108" y="10"/>
                  </a:lnTo>
                  <a:lnTo>
                    <a:pt x="106" y="12"/>
                  </a:lnTo>
                  <a:lnTo>
                    <a:pt x="104" y="14"/>
                  </a:lnTo>
                  <a:lnTo>
                    <a:pt x="102" y="14"/>
                  </a:lnTo>
                  <a:lnTo>
                    <a:pt x="100" y="16"/>
                  </a:lnTo>
                  <a:lnTo>
                    <a:pt x="94" y="18"/>
                  </a:lnTo>
                  <a:lnTo>
                    <a:pt x="88" y="20"/>
                  </a:lnTo>
                  <a:lnTo>
                    <a:pt x="76" y="24"/>
                  </a:lnTo>
                  <a:lnTo>
                    <a:pt x="72" y="28"/>
                  </a:lnTo>
                  <a:lnTo>
                    <a:pt x="68" y="28"/>
                  </a:lnTo>
                  <a:lnTo>
                    <a:pt x="66" y="30"/>
                  </a:lnTo>
                  <a:lnTo>
                    <a:pt x="64" y="30"/>
                  </a:lnTo>
                  <a:lnTo>
                    <a:pt x="62" y="32"/>
                  </a:lnTo>
                  <a:lnTo>
                    <a:pt x="56" y="36"/>
                  </a:lnTo>
                  <a:lnTo>
                    <a:pt x="46" y="44"/>
                  </a:lnTo>
                  <a:lnTo>
                    <a:pt x="46" y="44"/>
                  </a:lnTo>
                  <a:lnTo>
                    <a:pt x="44" y="46"/>
                  </a:lnTo>
                  <a:lnTo>
                    <a:pt x="40" y="50"/>
                  </a:lnTo>
                  <a:lnTo>
                    <a:pt x="38" y="52"/>
                  </a:lnTo>
                  <a:lnTo>
                    <a:pt x="36" y="54"/>
                  </a:lnTo>
                  <a:lnTo>
                    <a:pt x="34" y="54"/>
                  </a:lnTo>
                  <a:lnTo>
                    <a:pt x="34" y="54"/>
                  </a:lnTo>
                  <a:lnTo>
                    <a:pt x="32" y="54"/>
                  </a:lnTo>
                  <a:lnTo>
                    <a:pt x="32" y="54"/>
                  </a:lnTo>
                  <a:lnTo>
                    <a:pt x="30" y="54"/>
                  </a:lnTo>
                  <a:lnTo>
                    <a:pt x="30" y="54"/>
                  </a:lnTo>
                  <a:lnTo>
                    <a:pt x="30" y="54"/>
                  </a:lnTo>
                  <a:lnTo>
                    <a:pt x="28" y="52"/>
                  </a:lnTo>
                  <a:lnTo>
                    <a:pt x="26" y="50"/>
                  </a:lnTo>
                  <a:lnTo>
                    <a:pt x="26" y="48"/>
                  </a:lnTo>
                  <a:lnTo>
                    <a:pt x="24" y="46"/>
                  </a:lnTo>
                  <a:lnTo>
                    <a:pt x="22" y="44"/>
                  </a:lnTo>
                  <a:lnTo>
                    <a:pt x="22" y="44"/>
                  </a:lnTo>
                  <a:lnTo>
                    <a:pt x="22" y="42"/>
                  </a:lnTo>
                  <a:lnTo>
                    <a:pt x="20" y="38"/>
                  </a:lnTo>
                  <a:lnTo>
                    <a:pt x="20" y="36"/>
                  </a:lnTo>
                  <a:lnTo>
                    <a:pt x="20" y="34"/>
                  </a:lnTo>
                  <a:lnTo>
                    <a:pt x="18" y="32"/>
                  </a:lnTo>
                  <a:lnTo>
                    <a:pt x="18" y="30"/>
                  </a:lnTo>
                  <a:lnTo>
                    <a:pt x="18" y="30"/>
                  </a:lnTo>
                  <a:lnTo>
                    <a:pt x="18" y="30"/>
                  </a:lnTo>
                  <a:lnTo>
                    <a:pt x="16" y="30"/>
                  </a:lnTo>
                  <a:lnTo>
                    <a:pt x="14" y="30"/>
                  </a:lnTo>
                  <a:lnTo>
                    <a:pt x="14" y="30"/>
                  </a:lnTo>
                  <a:lnTo>
                    <a:pt x="12" y="30"/>
                  </a:lnTo>
                  <a:lnTo>
                    <a:pt x="10" y="32"/>
                  </a:lnTo>
                  <a:lnTo>
                    <a:pt x="8" y="32"/>
                  </a:lnTo>
                  <a:lnTo>
                    <a:pt x="8" y="32"/>
                  </a:lnTo>
                  <a:lnTo>
                    <a:pt x="6" y="34"/>
                  </a:lnTo>
                  <a:lnTo>
                    <a:pt x="4" y="36"/>
                  </a:lnTo>
                  <a:lnTo>
                    <a:pt x="4" y="36"/>
                  </a:lnTo>
                  <a:lnTo>
                    <a:pt x="4" y="38"/>
                  </a:lnTo>
                  <a:lnTo>
                    <a:pt x="4" y="40"/>
                  </a:lnTo>
                  <a:lnTo>
                    <a:pt x="2" y="40"/>
                  </a:lnTo>
                  <a:lnTo>
                    <a:pt x="2" y="46"/>
                  </a:lnTo>
                  <a:lnTo>
                    <a:pt x="2" y="50"/>
                  </a:lnTo>
                  <a:lnTo>
                    <a:pt x="0" y="52"/>
                  </a:lnTo>
                  <a:lnTo>
                    <a:pt x="0" y="56"/>
                  </a:lnTo>
                  <a:lnTo>
                    <a:pt x="0" y="58"/>
                  </a:lnTo>
                  <a:lnTo>
                    <a:pt x="0" y="60"/>
                  </a:lnTo>
                  <a:lnTo>
                    <a:pt x="2" y="62"/>
                  </a:lnTo>
                  <a:lnTo>
                    <a:pt x="2" y="64"/>
                  </a:lnTo>
                  <a:lnTo>
                    <a:pt x="2" y="66"/>
                  </a:lnTo>
                  <a:lnTo>
                    <a:pt x="2" y="68"/>
                  </a:lnTo>
                  <a:lnTo>
                    <a:pt x="4" y="70"/>
                  </a:lnTo>
                  <a:lnTo>
                    <a:pt x="4" y="72"/>
                  </a:lnTo>
                  <a:lnTo>
                    <a:pt x="6" y="72"/>
                  </a:lnTo>
                  <a:lnTo>
                    <a:pt x="6" y="72"/>
                  </a:lnTo>
                  <a:lnTo>
                    <a:pt x="6" y="72"/>
                  </a:lnTo>
                  <a:lnTo>
                    <a:pt x="8" y="72"/>
                  </a:lnTo>
                  <a:lnTo>
                    <a:pt x="10" y="72"/>
                  </a:lnTo>
                  <a:lnTo>
                    <a:pt x="12" y="72"/>
                  </a:lnTo>
                  <a:lnTo>
                    <a:pt x="14" y="72"/>
                  </a:lnTo>
                  <a:lnTo>
                    <a:pt x="16" y="70"/>
                  </a:lnTo>
                  <a:lnTo>
                    <a:pt x="18" y="70"/>
                  </a:lnTo>
                  <a:lnTo>
                    <a:pt x="18" y="70"/>
                  </a:lnTo>
                  <a:lnTo>
                    <a:pt x="18" y="72"/>
                  </a:lnTo>
                  <a:lnTo>
                    <a:pt x="20" y="72"/>
                  </a:lnTo>
                  <a:lnTo>
                    <a:pt x="20" y="72"/>
                  </a:lnTo>
                  <a:lnTo>
                    <a:pt x="22" y="74"/>
                  </a:lnTo>
                  <a:lnTo>
                    <a:pt x="22" y="74"/>
                  </a:lnTo>
                  <a:lnTo>
                    <a:pt x="22" y="76"/>
                  </a:lnTo>
                  <a:lnTo>
                    <a:pt x="22" y="78"/>
                  </a:lnTo>
                  <a:lnTo>
                    <a:pt x="22" y="80"/>
                  </a:lnTo>
                  <a:lnTo>
                    <a:pt x="24" y="84"/>
                  </a:lnTo>
                  <a:lnTo>
                    <a:pt x="24" y="86"/>
                  </a:lnTo>
                  <a:lnTo>
                    <a:pt x="24" y="90"/>
                  </a:lnTo>
                  <a:lnTo>
                    <a:pt x="24" y="92"/>
                  </a:lnTo>
                  <a:lnTo>
                    <a:pt x="24" y="94"/>
                  </a:lnTo>
                  <a:lnTo>
                    <a:pt x="26" y="94"/>
                  </a:lnTo>
                  <a:lnTo>
                    <a:pt x="26" y="96"/>
                  </a:lnTo>
                  <a:lnTo>
                    <a:pt x="26" y="96"/>
                  </a:lnTo>
                  <a:lnTo>
                    <a:pt x="28" y="96"/>
                  </a:lnTo>
                  <a:lnTo>
                    <a:pt x="30" y="98"/>
                  </a:lnTo>
                  <a:lnTo>
                    <a:pt x="32" y="98"/>
                  </a:lnTo>
                  <a:lnTo>
                    <a:pt x="32" y="100"/>
                  </a:lnTo>
                  <a:lnTo>
                    <a:pt x="34" y="100"/>
                  </a:lnTo>
                  <a:lnTo>
                    <a:pt x="34" y="100"/>
                  </a:lnTo>
                  <a:lnTo>
                    <a:pt x="34" y="102"/>
                  </a:lnTo>
                  <a:lnTo>
                    <a:pt x="34" y="102"/>
                  </a:lnTo>
                  <a:lnTo>
                    <a:pt x="34" y="106"/>
                  </a:lnTo>
                  <a:lnTo>
                    <a:pt x="34" y="108"/>
                  </a:lnTo>
                  <a:lnTo>
                    <a:pt x="34" y="112"/>
                  </a:lnTo>
                  <a:lnTo>
                    <a:pt x="34" y="114"/>
                  </a:lnTo>
                  <a:lnTo>
                    <a:pt x="36" y="114"/>
                  </a:lnTo>
                  <a:lnTo>
                    <a:pt x="36" y="118"/>
                  </a:lnTo>
                  <a:lnTo>
                    <a:pt x="38" y="122"/>
                  </a:lnTo>
                  <a:lnTo>
                    <a:pt x="38" y="124"/>
                  </a:lnTo>
                  <a:lnTo>
                    <a:pt x="40" y="126"/>
                  </a:lnTo>
                  <a:lnTo>
                    <a:pt x="40" y="126"/>
                  </a:lnTo>
                  <a:lnTo>
                    <a:pt x="40" y="128"/>
                  </a:lnTo>
                  <a:lnTo>
                    <a:pt x="42" y="128"/>
                  </a:lnTo>
                  <a:lnTo>
                    <a:pt x="42" y="130"/>
                  </a:lnTo>
                  <a:lnTo>
                    <a:pt x="46" y="130"/>
                  </a:lnTo>
                  <a:lnTo>
                    <a:pt x="48" y="132"/>
                  </a:lnTo>
                  <a:lnTo>
                    <a:pt x="48" y="132"/>
                  </a:lnTo>
                  <a:lnTo>
                    <a:pt x="50" y="132"/>
                  </a:lnTo>
                  <a:lnTo>
                    <a:pt x="50" y="134"/>
                  </a:lnTo>
                  <a:lnTo>
                    <a:pt x="50" y="134"/>
                  </a:lnTo>
                  <a:lnTo>
                    <a:pt x="50" y="136"/>
                  </a:lnTo>
                  <a:lnTo>
                    <a:pt x="50" y="138"/>
                  </a:lnTo>
                  <a:lnTo>
                    <a:pt x="50" y="140"/>
                  </a:lnTo>
                  <a:lnTo>
                    <a:pt x="50" y="142"/>
                  </a:lnTo>
                  <a:lnTo>
                    <a:pt x="50" y="144"/>
                  </a:lnTo>
                  <a:lnTo>
                    <a:pt x="50" y="146"/>
                  </a:lnTo>
                  <a:lnTo>
                    <a:pt x="50" y="148"/>
                  </a:lnTo>
                  <a:lnTo>
                    <a:pt x="52" y="148"/>
                  </a:lnTo>
                  <a:lnTo>
                    <a:pt x="52" y="148"/>
                  </a:lnTo>
                  <a:lnTo>
                    <a:pt x="52" y="148"/>
                  </a:lnTo>
                  <a:lnTo>
                    <a:pt x="54" y="150"/>
                  </a:lnTo>
                  <a:lnTo>
                    <a:pt x="54" y="150"/>
                  </a:lnTo>
                  <a:lnTo>
                    <a:pt x="56" y="152"/>
                  </a:lnTo>
                  <a:lnTo>
                    <a:pt x="56" y="154"/>
                  </a:lnTo>
                  <a:lnTo>
                    <a:pt x="58" y="156"/>
                  </a:lnTo>
                  <a:lnTo>
                    <a:pt x="60" y="158"/>
                  </a:lnTo>
                  <a:lnTo>
                    <a:pt x="62" y="160"/>
                  </a:lnTo>
                  <a:lnTo>
                    <a:pt x="62" y="162"/>
                  </a:lnTo>
                  <a:lnTo>
                    <a:pt x="62" y="164"/>
                  </a:lnTo>
                  <a:lnTo>
                    <a:pt x="64" y="168"/>
                  </a:lnTo>
                  <a:lnTo>
                    <a:pt x="64" y="170"/>
                  </a:lnTo>
                  <a:lnTo>
                    <a:pt x="66" y="174"/>
                  </a:lnTo>
                  <a:lnTo>
                    <a:pt x="66" y="178"/>
                  </a:lnTo>
                  <a:lnTo>
                    <a:pt x="68" y="182"/>
                  </a:lnTo>
                  <a:lnTo>
                    <a:pt x="70" y="186"/>
                  </a:lnTo>
                  <a:lnTo>
                    <a:pt x="70" y="188"/>
                  </a:lnTo>
                  <a:lnTo>
                    <a:pt x="72" y="188"/>
                  </a:lnTo>
                  <a:lnTo>
                    <a:pt x="72" y="190"/>
                  </a:lnTo>
                  <a:lnTo>
                    <a:pt x="74" y="190"/>
                  </a:lnTo>
                  <a:lnTo>
                    <a:pt x="76" y="192"/>
                  </a:lnTo>
                  <a:lnTo>
                    <a:pt x="76" y="192"/>
                  </a:lnTo>
                  <a:lnTo>
                    <a:pt x="78" y="192"/>
                  </a:lnTo>
                  <a:lnTo>
                    <a:pt x="78" y="194"/>
                  </a:lnTo>
                  <a:lnTo>
                    <a:pt x="78" y="194"/>
                  </a:lnTo>
                  <a:lnTo>
                    <a:pt x="78" y="194"/>
                  </a:lnTo>
                  <a:lnTo>
                    <a:pt x="78" y="194"/>
                  </a:lnTo>
                  <a:lnTo>
                    <a:pt x="78" y="196"/>
                  </a:lnTo>
                  <a:lnTo>
                    <a:pt x="78" y="198"/>
                  </a:lnTo>
                  <a:lnTo>
                    <a:pt x="76" y="198"/>
                  </a:lnTo>
                  <a:lnTo>
                    <a:pt x="76" y="200"/>
                  </a:lnTo>
                  <a:lnTo>
                    <a:pt x="76" y="200"/>
                  </a:lnTo>
                  <a:lnTo>
                    <a:pt x="76" y="202"/>
                  </a:lnTo>
                  <a:lnTo>
                    <a:pt x="76" y="204"/>
                  </a:lnTo>
                  <a:lnTo>
                    <a:pt x="76" y="206"/>
                  </a:lnTo>
                  <a:lnTo>
                    <a:pt x="78" y="206"/>
                  </a:lnTo>
                  <a:lnTo>
                    <a:pt x="78" y="208"/>
                  </a:lnTo>
                  <a:lnTo>
                    <a:pt x="78" y="210"/>
                  </a:lnTo>
                  <a:lnTo>
                    <a:pt x="80" y="212"/>
                  </a:lnTo>
                  <a:lnTo>
                    <a:pt x="80" y="212"/>
                  </a:lnTo>
                  <a:lnTo>
                    <a:pt x="82" y="214"/>
                  </a:lnTo>
                  <a:lnTo>
                    <a:pt x="84" y="216"/>
                  </a:lnTo>
                  <a:lnTo>
                    <a:pt x="86" y="218"/>
                  </a:lnTo>
                  <a:lnTo>
                    <a:pt x="88" y="218"/>
                  </a:lnTo>
                  <a:lnTo>
                    <a:pt x="92" y="220"/>
                  </a:lnTo>
                  <a:lnTo>
                    <a:pt x="94" y="222"/>
                  </a:lnTo>
                  <a:lnTo>
                    <a:pt x="96" y="224"/>
                  </a:lnTo>
                  <a:lnTo>
                    <a:pt x="98" y="224"/>
                  </a:lnTo>
                  <a:lnTo>
                    <a:pt x="98" y="226"/>
                  </a:lnTo>
                  <a:lnTo>
                    <a:pt x="102" y="232"/>
                  </a:lnTo>
                  <a:lnTo>
                    <a:pt x="104" y="234"/>
                  </a:lnTo>
                  <a:lnTo>
                    <a:pt x="106" y="236"/>
                  </a:lnTo>
                  <a:lnTo>
                    <a:pt x="108" y="238"/>
                  </a:lnTo>
                  <a:lnTo>
                    <a:pt x="110" y="240"/>
                  </a:lnTo>
                  <a:lnTo>
                    <a:pt x="110" y="240"/>
                  </a:lnTo>
                  <a:lnTo>
                    <a:pt x="110" y="240"/>
                  </a:lnTo>
                  <a:lnTo>
                    <a:pt x="112" y="242"/>
                  </a:lnTo>
                  <a:lnTo>
                    <a:pt x="114" y="242"/>
                  </a:lnTo>
                  <a:lnTo>
                    <a:pt x="118" y="244"/>
                  </a:lnTo>
                  <a:lnTo>
                    <a:pt x="120" y="244"/>
                  </a:lnTo>
                  <a:lnTo>
                    <a:pt x="126" y="246"/>
                  </a:lnTo>
                  <a:lnTo>
                    <a:pt x="130" y="248"/>
                  </a:lnTo>
                  <a:lnTo>
                    <a:pt x="132" y="248"/>
                  </a:lnTo>
                  <a:lnTo>
                    <a:pt x="134" y="250"/>
                  </a:lnTo>
                  <a:lnTo>
                    <a:pt x="136" y="252"/>
                  </a:lnTo>
                  <a:lnTo>
                    <a:pt x="142" y="256"/>
                  </a:lnTo>
                  <a:lnTo>
                    <a:pt x="146" y="260"/>
                  </a:lnTo>
                  <a:lnTo>
                    <a:pt x="152" y="264"/>
                  </a:lnTo>
                  <a:lnTo>
                    <a:pt x="158" y="270"/>
                  </a:lnTo>
                  <a:lnTo>
                    <a:pt x="164" y="274"/>
                  </a:lnTo>
                  <a:lnTo>
                    <a:pt x="174" y="264"/>
                  </a:lnTo>
                  <a:lnTo>
                    <a:pt x="174" y="264"/>
                  </a:lnTo>
                  <a:lnTo>
                    <a:pt x="176" y="260"/>
                  </a:lnTo>
                  <a:lnTo>
                    <a:pt x="176" y="258"/>
                  </a:lnTo>
                  <a:lnTo>
                    <a:pt x="176" y="256"/>
                  </a:lnTo>
                  <a:lnTo>
                    <a:pt x="178" y="254"/>
                  </a:lnTo>
                  <a:lnTo>
                    <a:pt x="178" y="254"/>
                  </a:lnTo>
                  <a:lnTo>
                    <a:pt x="178" y="252"/>
                  </a:lnTo>
                  <a:lnTo>
                    <a:pt x="178" y="252"/>
                  </a:lnTo>
                  <a:lnTo>
                    <a:pt x="180" y="252"/>
                  </a:lnTo>
                  <a:lnTo>
                    <a:pt x="182" y="252"/>
                  </a:lnTo>
                  <a:lnTo>
                    <a:pt x="182" y="252"/>
                  </a:lnTo>
                  <a:lnTo>
                    <a:pt x="184" y="252"/>
                  </a:lnTo>
                  <a:lnTo>
                    <a:pt x="184" y="250"/>
                  </a:lnTo>
                  <a:lnTo>
                    <a:pt x="184" y="250"/>
                  </a:lnTo>
                  <a:lnTo>
                    <a:pt x="184" y="250"/>
                  </a:lnTo>
                  <a:lnTo>
                    <a:pt x="184" y="248"/>
                  </a:lnTo>
                  <a:lnTo>
                    <a:pt x="182" y="248"/>
                  </a:lnTo>
                  <a:lnTo>
                    <a:pt x="182" y="246"/>
                  </a:lnTo>
                  <a:lnTo>
                    <a:pt x="180" y="244"/>
                  </a:lnTo>
                  <a:lnTo>
                    <a:pt x="178" y="244"/>
                  </a:lnTo>
                  <a:lnTo>
                    <a:pt x="178" y="242"/>
                  </a:lnTo>
                  <a:lnTo>
                    <a:pt x="178" y="240"/>
                  </a:lnTo>
                  <a:lnTo>
                    <a:pt x="178" y="240"/>
                  </a:lnTo>
                  <a:lnTo>
                    <a:pt x="178" y="236"/>
                  </a:lnTo>
                  <a:lnTo>
                    <a:pt x="178" y="234"/>
                  </a:lnTo>
                  <a:lnTo>
                    <a:pt x="180" y="230"/>
                  </a:lnTo>
                  <a:lnTo>
                    <a:pt x="180" y="222"/>
                  </a:lnTo>
                  <a:lnTo>
                    <a:pt x="180" y="220"/>
                  </a:lnTo>
                  <a:lnTo>
                    <a:pt x="180" y="216"/>
                  </a:lnTo>
                  <a:lnTo>
                    <a:pt x="180" y="214"/>
                  </a:lnTo>
                  <a:lnTo>
                    <a:pt x="180" y="212"/>
                  </a:lnTo>
                  <a:lnTo>
                    <a:pt x="180" y="206"/>
                  </a:lnTo>
                  <a:lnTo>
                    <a:pt x="180" y="204"/>
                  </a:lnTo>
                  <a:lnTo>
                    <a:pt x="180" y="202"/>
                  </a:lnTo>
                  <a:lnTo>
                    <a:pt x="180" y="200"/>
                  </a:lnTo>
                  <a:lnTo>
                    <a:pt x="180" y="198"/>
                  </a:lnTo>
                  <a:lnTo>
                    <a:pt x="180" y="198"/>
                  </a:lnTo>
                  <a:lnTo>
                    <a:pt x="180" y="196"/>
                  </a:lnTo>
                  <a:lnTo>
                    <a:pt x="182" y="196"/>
                  </a:lnTo>
                  <a:lnTo>
                    <a:pt x="184" y="194"/>
                  </a:lnTo>
                  <a:lnTo>
                    <a:pt x="186" y="192"/>
                  </a:lnTo>
                  <a:lnTo>
                    <a:pt x="186" y="192"/>
                  </a:lnTo>
                  <a:lnTo>
                    <a:pt x="188" y="192"/>
                  </a:lnTo>
                  <a:lnTo>
                    <a:pt x="188" y="190"/>
                  </a:lnTo>
                  <a:lnTo>
                    <a:pt x="188" y="188"/>
                  </a:lnTo>
                  <a:lnTo>
                    <a:pt x="188" y="186"/>
                  </a:lnTo>
                  <a:lnTo>
                    <a:pt x="190" y="184"/>
                  </a:lnTo>
                  <a:lnTo>
                    <a:pt x="190" y="182"/>
                  </a:lnTo>
                  <a:lnTo>
                    <a:pt x="190" y="180"/>
                  </a:lnTo>
                  <a:lnTo>
                    <a:pt x="190" y="178"/>
                  </a:lnTo>
                  <a:lnTo>
                    <a:pt x="190" y="176"/>
                  </a:lnTo>
                  <a:lnTo>
                    <a:pt x="188" y="176"/>
                  </a:lnTo>
                  <a:lnTo>
                    <a:pt x="188" y="174"/>
                  </a:lnTo>
                  <a:lnTo>
                    <a:pt x="186" y="172"/>
                  </a:lnTo>
                  <a:lnTo>
                    <a:pt x="186" y="168"/>
                  </a:lnTo>
                  <a:lnTo>
                    <a:pt x="184" y="166"/>
                  </a:lnTo>
                  <a:lnTo>
                    <a:pt x="180" y="162"/>
                  </a:lnTo>
                  <a:lnTo>
                    <a:pt x="178" y="160"/>
                  </a:lnTo>
                  <a:lnTo>
                    <a:pt x="176" y="158"/>
                  </a:lnTo>
                  <a:lnTo>
                    <a:pt x="172" y="156"/>
                  </a:lnTo>
                  <a:lnTo>
                    <a:pt x="170" y="156"/>
                  </a:lnTo>
                  <a:lnTo>
                    <a:pt x="168" y="154"/>
                  </a:lnTo>
                  <a:lnTo>
                    <a:pt x="166" y="154"/>
                  </a:lnTo>
                  <a:lnTo>
                    <a:pt x="166" y="154"/>
                  </a:lnTo>
                  <a:lnTo>
                    <a:pt x="166" y="152"/>
                  </a:lnTo>
                  <a:lnTo>
                    <a:pt x="164" y="152"/>
                  </a:lnTo>
                  <a:lnTo>
                    <a:pt x="164" y="150"/>
                  </a:lnTo>
                  <a:lnTo>
                    <a:pt x="164" y="150"/>
                  </a:lnTo>
                  <a:lnTo>
                    <a:pt x="164" y="148"/>
                  </a:lnTo>
                  <a:lnTo>
                    <a:pt x="164" y="146"/>
                  </a:lnTo>
                  <a:lnTo>
                    <a:pt x="164" y="142"/>
                  </a:lnTo>
                  <a:lnTo>
                    <a:pt x="162" y="140"/>
                  </a:lnTo>
                  <a:lnTo>
                    <a:pt x="162" y="138"/>
                  </a:lnTo>
                  <a:lnTo>
                    <a:pt x="162" y="138"/>
                  </a:lnTo>
                  <a:lnTo>
                    <a:pt x="162" y="136"/>
                  </a:lnTo>
                  <a:lnTo>
                    <a:pt x="162" y="134"/>
                  </a:lnTo>
                  <a:lnTo>
                    <a:pt x="160" y="134"/>
                  </a:lnTo>
                  <a:lnTo>
                    <a:pt x="160" y="134"/>
                  </a:lnTo>
                  <a:lnTo>
                    <a:pt x="158" y="134"/>
                  </a:lnTo>
                  <a:lnTo>
                    <a:pt x="158" y="134"/>
                  </a:lnTo>
                  <a:lnTo>
                    <a:pt x="158" y="134"/>
                  </a:lnTo>
                  <a:lnTo>
                    <a:pt x="158" y="134"/>
                  </a:lnTo>
                  <a:lnTo>
                    <a:pt x="156" y="136"/>
                  </a:lnTo>
                  <a:lnTo>
                    <a:pt x="154" y="136"/>
                  </a:lnTo>
                  <a:lnTo>
                    <a:pt x="152" y="140"/>
                  </a:lnTo>
                  <a:lnTo>
                    <a:pt x="150" y="140"/>
                  </a:lnTo>
                  <a:lnTo>
                    <a:pt x="148" y="140"/>
                  </a:lnTo>
                  <a:lnTo>
                    <a:pt x="148" y="140"/>
                  </a:lnTo>
                  <a:lnTo>
                    <a:pt x="146" y="140"/>
                  </a:lnTo>
                  <a:lnTo>
                    <a:pt x="146" y="142"/>
                  </a:lnTo>
                  <a:lnTo>
                    <a:pt x="144" y="140"/>
                  </a:lnTo>
                  <a:lnTo>
                    <a:pt x="142" y="140"/>
                  </a:lnTo>
                  <a:lnTo>
                    <a:pt x="140" y="140"/>
                  </a:lnTo>
                  <a:lnTo>
                    <a:pt x="138" y="140"/>
                  </a:lnTo>
                  <a:lnTo>
                    <a:pt x="136" y="140"/>
                  </a:lnTo>
                  <a:lnTo>
                    <a:pt x="136" y="140"/>
                  </a:lnTo>
                  <a:lnTo>
                    <a:pt x="136" y="138"/>
                  </a:lnTo>
                  <a:lnTo>
                    <a:pt x="134" y="138"/>
                  </a:lnTo>
                  <a:lnTo>
                    <a:pt x="134" y="138"/>
                  </a:lnTo>
                  <a:lnTo>
                    <a:pt x="134" y="138"/>
                  </a:lnTo>
                  <a:lnTo>
                    <a:pt x="134" y="136"/>
                  </a:lnTo>
                  <a:lnTo>
                    <a:pt x="134" y="134"/>
                  </a:lnTo>
                  <a:lnTo>
                    <a:pt x="134" y="132"/>
                  </a:lnTo>
                  <a:lnTo>
                    <a:pt x="134" y="132"/>
                  </a:lnTo>
                  <a:lnTo>
                    <a:pt x="134" y="130"/>
                  </a:lnTo>
                  <a:lnTo>
                    <a:pt x="132" y="130"/>
                  </a:lnTo>
                  <a:lnTo>
                    <a:pt x="132" y="130"/>
                  </a:lnTo>
                  <a:lnTo>
                    <a:pt x="132" y="130"/>
                  </a:lnTo>
                  <a:lnTo>
                    <a:pt x="130" y="130"/>
                  </a:lnTo>
                  <a:lnTo>
                    <a:pt x="128" y="130"/>
                  </a:lnTo>
                  <a:lnTo>
                    <a:pt x="126" y="130"/>
                  </a:lnTo>
                  <a:lnTo>
                    <a:pt x="126" y="130"/>
                  </a:lnTo>
                  <a:lnTo>
                    <a:pt x="124" y="130"/>
                  </a:lnTo>
                  <a:lnTo>
                    <a:pt x="124" y="130"/>
                  </a:lnTo>
                  <a:lnTo>
                    <a:pt x="124" y="128"/>
                  </a:lnTo>
                  <a:lnTo>
                    <a:pt x="122" y="128"/>
                  </a:lnTo>
                  <a:lnTo>
                    <a:pt x="122" y="126"/>
                  </a:lnTo>
                  <a:lnTo>
                    <a:pt x="122" y="126"/>
                  </a:lnTo>
                  <a:lnTo>
                    <a:pt x="122" y="124"/>
                  </a:lnTo>
                  <a:lnTo>
                    <a:pt x="120" y="122"/>
                  </a:lnTo>
                  <a:lnTo>
                    <a:pt x="120" y="120"/>
                  </a:lnTo>
                  <a:lnTo>
                    <a:pt x="120" y="118"/>
                  </a:lnTo>
                  <a:lnTo>
                    <a:pt x="118" y="118"/>
                  </a:lnTo>
                  <a:lnTo>
                    <a:pt x="118" y="116"/>
                  </a:lnTo>
                  <a:lnTo>
                    <a:pt x="114" y="114"/>
                  </a:lnTo>
                  <a:lnTo>
                    <a:pt x="112" y="112"/>
                  </a:lnTo>
                  <a:lnTo>
                    <a:pt x="110" y="112"/>
                  </a:lnTo>
                  <a:lnTo>
                    <a:pt x="110" y="110"/>
                  </a:lnTo>
                  <a:lnTo>
                    <a:pt x="108" y="110"/>
                  </a:lnTo>
                  <a:lnTo>
                    <a:pt x="108" y="108"/>
                  </a:lnTo>
                  <a:lnTo>
                    <a:pt x="108" y="106"/>
                  </a:lnTo>
                  <a:lnTo>
                    <a:pt x="106" y="102"/>
                  </a:lnTo>
                  <a:lnTo>
                    <a:pt x="106" y="102"/>
                  </a:lnTo>
                  <a:lnTo>
                    <a:pt x="106" y="100"/>
                  </a:lnTo>
                  <a:lnTo>
                    <a:pt x="106" y="100"/>
                  </a:lnTo>
                  <a:lnTo>
                    <a:pt x="106" y="98"/>
                  </a:lnTo>
                  <a:lnTo>
                    <a:pt x="106" y="96"/>
                  </a:lnTo>
                  <a:lnTo>
                    <a:pt x="106" y="94"/>
                  </a:lnTo>
                  <a:lnTo>
                    <a:pt x="106" y="92"/>
                  </a:lnTo>
                  <a:lnTo>
                    <a:pt x="108" y="90"/>
                  </a:lnTo>
                  <a:lnTo>
                    <a:pt x="108" y="88"/>
                  </a:lnTo>
                  <a:lnTo>
                    <a:pt x="108" y="88"/>
                  </a:lnTo>
                  <a:lnTo>
                    <a:pt x="110" y="86"/>
                  </a:lnTo>
                  <a:lnTo>
                    <a:pt x="110" y="86"/>
                  </a:lnTo>
                  <a:lnTo>
                    <a:pt x="112" y="86"/>
                  </a:lnTo>
                  <a:lnTo>
                    <a:pt x="112" y="86"/>
                  </a:lnTo>
                  <a:lnTo>
                    <a:pt x="116" y="84"/>
                  </a:lnTo>
                  <a:lnTo>
                    <a:pt x="116" y="84"/>
                  </a:lnTo>
                  <a:lnTo>
                    <a:pt x="118" y="84"/>
                  </a:lnTo>
                  <a:lnTo>
                    <a:pt x="120" y="82"/>
                  </a:lnTo>
                  <a:lnTo>
                    <a:pt x="122" y="80"/>
                  </a:lnTo>
                  <a:lnTo>
                    <a:pt x="122" y="80"/>
                  </a:lnTo>
                  <a:lnTo>
                    <a:pt x="122" y="80"/>
                  </a:lnTo>
                  <a:lnTo>
                    <a:pt x="124" y="78"/>
                  </a:lnTo>
                  <a:lnTo>
                    <a:pt x="124" y="78"/>
                  </a:lnTo>
                  <a:lnTo>
                    <a:pt x="124" y="76"/>
                  </a:lnTo>
                  <a:lnTo>
                    <a:pt x="124" y="76"/>
                  </a:lnTo>
                  <a:lnTo>
                    <a:pt x="124" y="74"/>
                  </a:lnTo>
                  <a:lnTo>
                    <a:pt x="122" y="72"/>
                  </a:lnTo>
                  <a:lnTo>
                    <a:pt x="122" y="70"/>
                  </a:lnTo>
                  <a:lnTo>
                    <a:pt x="122" y="68"/>
                  </a:lnTo>
                  <a:lnTo>
                    <a:pt x="122" y="68"/>
                  </a:lnTo>
                  <a:lnTo>
                    <a:pt x="122" y="66"/>
                  </a:lnTo>
                  <a:lnTo>
                    <a:pt x="122" y="64"/>
                  </a:lnTo>
                  <a:lnTo>
                    <a:pt x="122" y="62"/>
                  </a:lnTo>
                  <a:lnTo>
                    <a:pt x="124" y="60"/>
                  </a:lnTo>
                  <a:lnTo>
                    <a:pt x="124" y="58"/>
                  </a:lnTo>
                  <a:lnTo>
                    <a:pt x="124" y="56"/>
                  </a:lnTo>
                  <a:lnTo>
                    <a:pt x="126" y="54"/>
                  </a:lnTo>
                  <a:lnTo>
                    <a:pt x="126" y="54"/>
                  </a:lnTo>
                  <a:lnTo>
                    <a:pt x="128" y="52"/>
                  </a:lnTo>
                  <a:lnTo>
                    <a:pt x="128" y="52"/>
                  </a:lnTo>
                  <a:lnTo>
                    <a:pt x="130" y="50"/>
                  </a:lnTo>
                  <a:lnTo>
                    <a:pt x="132" y="50"/>
                  </a:lnTo>
                  <a:lnTo>
                    <a:pt x="132" y="48"/>
                  </a:lnTo>
                  <a:lnTo>
                    <a:pt x="134" y="48"/>
                  </a:lnTo>
                  <a:lnTo>
                    <a:pt x="136" y="48"/>
                  </a:lnTo>
                  <a:lnTo>
                    <a:pt x="136" y="48"/>
                  </a:lnTo>
                  <a:lnTo>
                    <a:pt x="136" y="48"/>
                  </a:lnTo>
                  <a:lnTo>
                    <a:pt x="138" y="48"/>
                  </a:lnTo>
                  <a:lnTo>
                    <a:pt x="140" y="48"/>
                  </a:lnTo>
                  <a:lnTo>
                    <a:pt x="142" y="50"/>
                  </a:lnTo>
                  <a:lnTo>
                    <a:pt x="144" y="50"/>
                  </a:lnTo>
                  <a:lnTo>
                    <a:pt x="146" y="50"/>
                  </a:lnTo>
                  <a:lnTo>
                    <a:pt x="146" y="50"/>
                  </a:lnTo>
                  <a:lnTo>
                    <a:pt x="148" y="50"/>
                  </a:lnTo>
                  <a:lnTo>
                    <a:pt x="148" y="50"/>
                  </a:lnTo>
                  <a:lnTo>
                    <a:pt x="150" y="50"/>
                  </a:lnTo>
                  <a:lnTo>
                    <a:pt x="152" y="50"/>
                  </a:lnTo>
                  <a:lnTo>
                    <a:pt x="152" y="50"/>
                  </a:lnTo>
                  <a:lnTo>
                    <a:pt x="154" y="48"/>
                  </a:lnTo>
                  <a:lnTo>
                    <a:pt x="156" y="48"/>
                  </a:lnTo>
                  <a:lnTo>
                    <a:pt x="158" y="46"/>
                  </a:lnTo>
                  <a:lnTo>
                    <a:pt x="158" y="46"/>
                  </a:lnTo>
                  <a:lnTo>
                    <a:pt x="160" y="44"/>
                  </a:lnTo>
                  <a:lnTo>
                    <a:pt x="160" y="44"/>
                  </a:lnTo>
                  <a:lnTo>
                    <a:pt x="162" y="42"/>
                  </a:lnTo>
                  <a:lnTo>
                    <a:pt x="162" y="40"/>
                  </a:lnTo>
                  <a:lnTo>
                    <a:pt x="162" y="38"/>
                  </a:lnTo>
                  <a:lnTo>
                    <a:pt x="164" y="36"/>
                  </a:lnTo>
                  <a:lnTo>
                    <a:pt x="164" y="34"/>
                  </a:lnTo>
                  <a:lnTo>
                    <a:pt x="164" y="32"/>
                  </a:lnTo>
                  <a:lnTo>
                    <a:pt x="164" y="32"/>
                  </a:lnTo>
                  <a:lnTo>
                    <a:pt x="164" y="30"/>
                  </a:lnTo>
                  <a:lnTo>
                    <a:pt x="162" y="28"/>
                  </a:lnTo>
                  <a:lnTo>
                    <a:pt x="162" y="26"/>
                  </a:lnTo>
                  <a:lnTo>
                    <a:pt x="160" y="22"/>
                  </a:lnTo>
                  <a:lnTo>
                    <a:pt x="158" y="20"/>
                  </a:lnTo>
                  <a:lnTo>
                    <a:pt x="154" y="14"/>
                  </a:lnTo>
                  <a:lnTo>
                    <a:pt x="154"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899" name="Freeform 477"/>
            <p:cNvSpPr>
              <a:spLocks/>
            </p:cNvSpPr>
            <p:nvPr/>
          </p:nvSpPr>
          <p:spPr bwMode="auto">
            <a:xfrm>
              <a:off x="2253076" y="4632354"/>
              <a:ext cx="193992" cy="173207"/>
            </a:xfrm>
            <a:custGeom>
              <a:avLst/>
              <a:gdLst>
                <a:gd name="T0" fmla="*/ 112 w 112"/>
                <a:gd name="T1" fmla="*/ 46 h 100"/>
                <a:gd name="T2" fmla="*/ 106 w 112"/>
                <a:gd name="T3" fmla="*/ 40 h 100"/>
                <a:gd name="T4" fmla="*/ 100 w 112"/>
                <a:gd name="T5" fmla="*/ 32 h 100"/>
                <a:gd name="T6" fmla="*/ 98 w 112"/>
                <a:gd name="T7" fmla="*/ 30 h 100"/>
                <a:gd name="T8" fmla="*/ 92 w 112"/>
                <a:gd name="T9" fmla="*/ 26 h 100"/>
                <a:gd name="T10" fmla="*/ 86 w 112"/>
                <a:gd name="T11" fmla="*/ 22 h 100"/>
                <a:gd name="T12" fmla="*/ 82 w 112"/>
                <a:gd name="T13" fmla="*/ 20 h 100"/>
                <a:gd name="T14" fmla="*/ 78 w 112"/>
                <a:gd name="T15" fmla="*/ 16 h 100"/>
                <a:gd name="T16" fmla="*/ 76 w 112"/>
                <a:gd name="T17" fmla="*/ 12 h 100"/>
                <a:gd name="T18" fmla="*/ 72 w 112"/>
                <a:gd name="T19" fmla="*/ 10 h 100"/>
                <a:gd name="T20" fmla="*/ 70 w 112"/>
                <a:gd name="T21" fmla="*/ 10 h 100"/>
                <a:gd name="T22" fmla="*/ 68 w 112"/>
                <a:gd name="T23" fmla="*/ 10 h 100"/>
                <a:gd name="T24" fmla="*/ 60 w 112"/>
                <a:gd name="T25" fmla="*/ 12 h 100"/>
                <a:gd name="T26" fmla="*/ 54 w 112"/>
                <a:gd name="T27" fmla="*/ 12 h 100"/>
                <a:gd name="T28" fmla="*/ 50 w 112"/>
                <a:gd name="T29" fmla="*/ 12 h 100"/>
                <a:gd name="T30" fmla="*/ 48 w 112"/>
                <a:gd name="T31" fmla="*/ 12 h 100"/>
                <a:gd name="T32" fmla="*/ 42 w 112"/>
                <a:gd name="T33" fmla="*/ 10 h 100"/>
                <a:gd name="T34" fmla="*/ 36 w 112"/>
                <a:gd name="T35" fmla="*/ 6 h 100"/>
                <a:gd name="T36" fmla="*/ 28 w 112"/>
                <a:gd name="T37" fmla="*/ 0 h 100"/>
                <a:gd name="T38" fmla="*/ 22 w 112"/>
                <a:gd name="T39" fmla="*/ 2 h 100"/>
                <a:gd name="T40" fmla="*/ 18 w 112"/>
                <a:gd name="T41" fmla="*/ 4 h 100"/>
                <a:gd name="T42" fmla="*/ 16 w 112"/>
                <a:gd name="T43" fmla="*/ 6 h 100"/>
                <a:gd name="T44" fmla="*/ 14 w 112"/>
                <a:gd name="T45" fmla="*/ 6 h 100"/>
                <a:gd name="T46" fmla="*/ 14 w 112"/>
                <a:gd name="T47" fmla="*/ 10 h 100"/>
                <a:gd name="T48" fmla="*/ 14 w 112"/>
                <a:gd name="T49" fmla="*/ 14 h 100"/>
                <a:gd name="T50" fmla="*/ 12 w 112"/>
                <a:gd name="T51" fmla="*/ 22 h 100"/>
                <a:gd name="T52" fmla="*/ 12 w 112"/>
                <a:gd name="T53" fmla="*/ 24 h 100"/>
                <a:gd name="T54" fmla="*/ 10 w 112"/>
                <a:gd name="T55" fmla="*/ 26 h 100"/>
                <a:gd name="T56" fmla="*/ 8 w 112"/>
                <a:gd name="T57" fmla="*/ 30 h 100"/>
                <a:gd name="T58" fmla="*/ 4 w 112"/>
                <a:gd name="T59" fmla="*/ 34 h 100"/>
                <a:gd name="T60" fmla="*/ 2 w 112"/>
                <a:gd name="T61" fmla="*/ 38 h 100"/>
                <a:gd name="T62" fmla="*/ 0 w 112"/>
                <a:gd name="T63" fmla="*/ 42 h 100"/>
                <a:gd name="T64" fmla="*/ 0 w 112"/>
                <a:gd name="T65" fmla="*/ 44 h 100"/>
                <a:gd name="T66" fmla="*/ 2 w 112"/>
                <a:gd name="T67" fmla="*/ 48 h 100"/>
                <a:gd name="T68" fmla="*/ 4 w 112"/>
                <a:gd name="T69" fmla="*/ 52 h 100"/>
                <a:gd name="T70" fmla="*/ 6 w 112"/>
                <a:gd name="T71" fmla="*/ 56 h 100"/>
                <a:gd name="T72" fmla="*/ 10 w 112"/>
                <a:gd name="T73" fmla="*/ 58 h 100"/>
                <a:gd name="T74" fmla="*/ 14 w 112"/>
                <a:gd name="T75" fmla="*/ 62 h 100"/>
                <a:gd name="T76" fmla="*/ 16 w 112"/>
                <a:gd name="T77" fmla="*/ 64 h 100"/>
                <a:gd name="T78" fmla="*/ 16 w 112"/>
                <a:gd name="T79" fmla="*/ 68 h 100"/>
                <a:gd name="T80" fmla="*/ 18 w 112"/>
                <a:gd name="T81" fmla="*/ 74 h 100"/>
                <a:gd name="T82" fmla="*/ 18 w 112"/>
                <a:gd name="T83" fmla="*/ 84 h 100"/>
                <a:gd name="T84" fmla="*/ 18 w 112"/>
                <a:gd name="T85" fmla="*/ 90 h 100"/>
                <a:gd name="T86" fmla="*/ 20 w 112"/>
                <a:gd name="T87" fmla="*/ 94 h 100"/>
                <a:gd name="T88" fmla="*/ 24 w 112"/>
                <a:gd name="T89" fmla="*/ 98 h 100"/>
                <a:gd name="T90" fmla="*/ 26 w 112"/>
                <a:gd name="T91" fmla="*/ 100 h 100"/>
                <a:gd name="T92" fmla="*/ 28 w 112"/>
                <a:gd name="T93" fmla="*/ 100 h 100"/>
                <a:gd name="T94" fmla="*/ 30 w 112"/>
                <a:gd name="T95" fmla="*/ 100 h 100"/>
                <a:gd name="T96" fmla="*/ 30 w 112"/>
                <a:gd name="T97" fmla="*/ 100 h 100"/>
                <a:gd name="T98" fmla="*/ 36 w 112"/>
                <a:gd name="T99" fmla="*/ 96 h 100"/>
                <a:gd name="T100" fmla="*/ 40 w 112"/>
                <a:gd name="T101" fmla="*/ 90 h 100"/>
                <a:gd name="T102" fmla="*/ 52 w 112"/>
                <a:gd name="T103" fmla="*/ 82 h 100"/>
                <a:gd name="T104" fmla="*/ 60 w 112"/>
                <a:gd name="T105" fmla="*/ 76 h 100"/>
                <a:gd name="T106" fmla="*/ 64 w 112"/>
                <a:gd name="T107" fmla="*/ 74 h 100"/>
                <a:gd name="T108" fmla="*/ 72 w 112"/>
                <a:gd name="T109" fmla="*/ 72 h 100"/>
                <a:gd name="T110" fmla="*/ 90 w 112"/>
                <a:gd name="T111" fmla="*/ 64 h 100"/>
                <a:gd name="T112" fmla="*/ 98 w 112"/>
                <a:gd name="T113" fmla="*/ 60 h 100"/>
                <a:gd name="T114" fmla="*/ 102 w 112"/>
                <a:gd name="T115" fmla="*/ 58 h 100"/>
                <a:gd name="T116" fmla="*/ 104 w 112"/>
                <a:gd name="T117" fmla="*/ 56 h 100"/>
                <a:gd name="T118" fmla="*/ 108 w 112"/>
                <a:gd name="T119"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00">
                  <a:moveTo>
                    <a:pt x="112" y="46"/>
                  </a:moveTo>
                  <a:lnTo>
                    <a:pt x="112" y="46"/>
                  </a:lnTo>
                  <a:lnTo>
                    <a:pt x="110" y="44"/>
                  </a:lnTo>
                  <a:lnTo>
                    <a:pt x="106" y="40"/>
                  </a:lnTo>
                  <a:lnTo>
                    <a:pt x="102" y="34"/>
                  </a:lnTo>
                  <a:lnTo>
                    <a:pt x="100" y="32"/>
                  </a:lnTo>
                  <a:lnTo>
                    <a:pt x="98" y="30"/>
                  </a:lnTo>
                  <a:lnTo>
                    <a:pt x="98" y="30"/>
                  </a:lnTo>
                  <a:lnTo>
                    <a:pt x="96" y="28"/>
                  </a:lnTo>
                  <a:lnTo>
                    <a:pt x="92" y="26"/>
                  </a:lnTo>
                  <a:lnTo>
                    <a:pt x="88" y="22"/>
                  </a:lnTo>
                  <a:lnTo>
                    <a:pt x="86" y="22"/>
                  </a:lnTo>
                  <a:lnTo>
                    <a:pt x="84" y="20"/>
                  </a:lnTo>
                  <a:lnTo>
                    <a:pt x="82" y="20"/>
                  </a:lnTo>
                  <a:lnTo>
                    <a:pt x="82" y="18"/>
                  </a:lnTo>
                  <a:lnTo>
                    <a:pt x="78" y="16"/>
                  </a:lnTo>
                  <a:lnTo>
                    <a:pt x="76" y="14"/>
                  </a:lnTo>
                  <a:lnTo>
                    <a:pt x="76" y="12"/>
                  </a:lnTo>
                  <a:lnTo>
                    <a:pt x="74" y="12"/>
                  </a:lnTo>
                  <a:lnTo>
                    <a:pt x="72" y="10"/>
                  </a:lnTo>
                  <a:lnTo>
                    <a:pt x="72" y="10"/>
                  </a:lnTo>
                  <a:lnTo>
                    <a:pt x="70" y="10"/>
                  </a:lnTo>
                  <a:lnTo>
                    <a:pt x="68" y="10"/>
                  </a:lnTo>
                  <a:lnTo>
                    <a:pt x="68" y="10"/>
                  </a:lnTo>
                  <a:lnTo>
                    <a:pt x="64" y="10"/>
                  </a:lnTo>
                  <a:lnTo>
                    <a:pt x="60" y="12"/>
                  </a:lnTo>
                  <a:lnTo>
                    <a:pt x="58" y="12"/>
                  </a:lnTo>
                  <a:lnTo>
                    <a:pt x="54" y="12"/>
                  </a:lnTo>
                  <a:lnTo>
                    <a:pt x="50" y="12"/>
                  </a:lnTo>
                  <a:lnTo>
                    <a:pt x="50" y="12"/>
                  </a:lnTo>
                  <a:lnTo>
                    <a:pt x="48" y="12"/>
                  </a:lnTo>
                  <a:lnTo>
                    <a:pt x="48" y="12"/>
                  </a:lnTo>
                  <a:lnTo>
                    <a:pt x="46" y="10"/>
                  </a:lnTo>
                  <a:lnTo>
                    <a:pt x="42" y="10"/>
                  </a:lnTo>
                  <a:lnTo>
                    <a:pt x="40" y="8"/>
                  </a:lnTo>
                  <a:lnTo>
                    <a:pt x="36" y="6"/>
                  </a:lnTo>
                  <a:lnTo>
                    <a:pt x="30" y="2"/>
                  </a:lnTo>
                  <a:lnTo>
                    <a:pt x="28" y="0"/>
                  </a:lnTo>
                  <a:lnTo>
                    <a:pt x="26" y="0"/>
                  </a:lnTo>
                  <a:lnTo>
                    <a:pt x="22" y="2"/>
                  </a:lnTo>
                  <a:lnTo>
                    <a:pt x="20" y="2"/>
                  </a:lnTo>
                  <a:lnTo>
                    <a:pt x="18" y="4"/>
                  </a:lnTo>
                  <a:lnTo>
                    <a:pt x="16" y="4"/>
                  </a:lnTo>
                  <a:lnTo>
                    <a:pt x="16" y="6"/>
                  </a:lnTo>
                  <a:lnTo>
                    <a:pt x="14" y="6"/>
                  </a:lnTo>
                  <a:lnTo>
                    <a:pt x="14" y="6"/>
                  </a:lnTo>
                  <a:lnTo>
                    <a:pt x="14" y="8"/>
                  </a:lnTo>
                  <a:lnTo>
                    <a:pt x="14" y="10"/>
                  </a:lnTo>
                  <a:lnTo>
                    <a:pt x="14" y="12"/>
                  </a:lnTo>
                  <a:lnTo>
                    <a:pt x="14" y="14"/>
                  </a:lnTo>
                  <a:lnTo>
                    <a:pt x="12" y="20"/>
                  </a:lnTo>
                  <a:lnTo>
                    <a:pt x="12" y="22"/>
                  </a:lnTo>
                  <a:lnTo>
                    <a:pt x="12" y="22"/>
                  </a:lnTo>
                  <a:lnTo>
                    <a:pt x="12" y="24"/>
                  </a:lnTo>
                  <a:lnTo>
                    <a:pt x="12" y="24"/>
                  </a:lnTo>
                  <a:lnTo>
                    <a:pt x="10" y="26"/>
                  </a:lnTo>
                  <a:lnTo>
                    <a:pt x="10" y="28"/>
                  </a:lnTo>
                  <a:lnTo>
                    <a:pt x="8" y="30"/>
                  </a:lnTo>
                  <a:lnTo>
                    <a:pt x="6" y="32"/>
                  </a:lnTo>
                  <a:lnTo>
                    <a:pt x="4" y="34"/>
                  </a:lnTo>
                  <a:lnTo>
                    <a:pt x="2" y="38"/>
                  </a:lnTo>
                  <a:lnTo>
                    <a:pt x="2" y="38"/>
                  </a:lnTo>
                  <a:lnTo>
                    <a:pt x="2" y="40"/>
                  </a:lnTo>
                  <a:lnTo>
                    <a:pt x="0" y="42"/>
                  </a:lnTo>
                  <a:lnTo>
                    <a:pt x="0" y="44"/>
                  </a:lnTo>
                  <a:lnTo>
                    <a:pt x="0" y="44"/>
                  </a:lnTo>
                  <a:lnTo>
                    <a:pt x="2" y="46"/>
                  </a:lnTo>
                  <a:lnTo>
                    <a:pt x="2" y="48"/>
                  </a:lnTo>
                  <a:lnTo>
                    <a:pt x="2" y="48"/>
                  </a:lnTo>
                  <a:lnTo>
                    <a:pt x="4" y="52"/>
                  </a:lnTo>
                  <a:lnTo>
                    <a:pt x="6" y="54"/>
                  </a:lnTo>
                  <a:lnTo>
                    <a:pt x="6" y="56"/>
                  </a:lnTo>
                  <a:lnTo>
                    <a:pt x="8" y="56"/>
                  </a:lnTo>
                  <a:lnTo>
                    <a:pt x="10" y="58"/>
                  </a:lnTo>
                  <a:lnTo>
                    <a:pt x="12" y="60"/>
                  </a:lnTo>
                  <a:lnTo>
                    <a:pt x="14" y="62"/>
                  </a:lnTo>
                  <a:lnTo>
                    <a:pt x="14" y="64"/>
                  </a:lnTo>
                  <a:lnTo>
                    <a:pt x="16" y="64"/>
                  </a:lnTo>
                  <a:lnTo>
                    <a:pt x="16" y="66"/>
                  </a:lnTo>
                  <a:lnTo>
                    <a:pt x="16" y="68"/>
                  </a:lnTo>
                  <a:lnTo>
                    <a:pt x="16" y="72"/>
                  </a:lnTo>
                  <a:lnTo>
                    <a:pt x="18" y="74"/>
                  </a:lnTo>
                  <a:lnTo>
                    <a:pt x="18" y="78"/>
                  </a:lnTo>
                  <a:lnTo>
                    <a:pt x="18" y="84"/>
                  </a:lnTo>
                  <a:lnTo>
                    <a:pt x="18" y="90"/>
                  </a:lnTo>
                  <a:lnTo>
                    <a:pt x="18" y="90"/>
                  </a:lnTo>
                  <a:lnTo>
                    <a:pt x="20" y="92"/>
                  </a:lnTo>
                  <a:lnTo>
                    <a:pt x="20" y="94"/>
                  </a:lnTo>
                  <a:lnTo>
                    <a:pt x="22" y="96"/>
                  </a:lnTo>
                  <a:lnTo>
                    <a:pt x="24" y="98"/>
                  </a:lnTo>
                  <a:lnTo>
                    <a:pt x="24" y="100"/>
                  </a:lnTo>
                  <a:lnTo>
                    <a:pt x="26" y="100"/>
                  </a:lnTo>
                  <a:lnTo>
                    <a:pt x="26" y="100"/>
                  </a:lnTo>
                  <a:lnTo>
                    <a:pt x="28" y="100"/>
                  </a:lnTo>
                  <a:lnTo>
                    <a:pt x="28" y="100"/>
                  </a:lnTo>
                  <a:lnTo>
                    <a:pt x="30" y="100"/>
                  </a:lnTo>
                  <a:lnTo>
                    <a:pt x="30" y="100"/>
                  </a:lnTo>
                  <a:lnTo>
                    <a:pt x="30" y="100"/>
                  </a:lnTo>
                  <a:lnTo>
                    <a:pt x="32" y="98"/>
                  </a:lnTo>
                  <a:lnTo>
                    <a:pt x="36" y="96"/>
                  </a:lnTo>
                  <a:lnTo>
                    <a:pt x="38" y="92"/>
                  </a:lnTo>
                  <a:lnTo>
                    <a:pt x="40" y="90"/>
                  </a:lnTo>
                  <a:lnTo>
                    <a:pt x="42" y="90"/>
                  </a:lnTo>
                  <a:lnTo>
                    <a:pt x="52" y="82"/>
                  </a:lnTo>
                  <a:lnTo>
                    <a:pt x="58" y="78"/>
                  </a:lnTo>
                  <a:lnTo>
                    <a:pt x="60" y="76"/>
                  </a:lnTo>
                  <a:lnTo>
                    <a:pt x="62" y="76"/>
                  </a:lnTo>
                  <a:lnTo>
                    <a:pt x="64" y="74"/>
                  </a:lnTo>
                  <a:lnTo>
                    <a:pt x="66" y="74"/>
                  </a:lnTo>
                  <a:lnTo>
                    <a:pt x="72" y="72"/>
                  </a:lnTo>
                  <a:lnTo>
                    <a:pt x="84" y="66"/>
                  </a:lnTo>
                  <a:lnTo>
                    <a:pt x="90" y="64"/>
                  </a:lnTo>
                  <a:lnTo>
                    <a:pt x="94" y="62"/>
                  </a:lnTo>
                  <a:lnTo>
                    <a:pt x="98" y="60"/>
                  </a:lnTo>
                  <a:lnTo>
                    <a:pt x="100" y="60"/>
                  </a:lnTo>
                  <a:lnTo>
                    <a:pt x="102" y="58"/>
                  </a:lnTo>
                  <a:lnTo>
                    <a:pt x="104" y="56"/>
                  </a:lnTo>
                  <a:lnTo>
                    <a:pt x="104" y="56"/>
                  </a:lnTo>
                  <a:lnTo>
                    <a:pt x="106" y="54"/>
                  </a:lnTo>
                  <a:lnTo>
                    <a:pt x="108" y="52"/>
                  </a:lnTo>
                  <a:lnTo>
                    <a:pt x="112" y="4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0" name="Freeform 478"/>
            <p:cNvSpPr>
              <a:spLocks/>
            </p:cNvSpPr>
            <p:nvPr/>
          </p:nvSpPr>
          <p:spPr bwMode="auto">
            <a:xfrm>
              <a:off x="2253076" y="4632354"/>
              <a:ext cx="193992" cy="173207"/>
            </a:xfrm>
            <a:custGeom>
              <a:avLst/>
              <a:gdLst>
                <a:gd name="T0" fmla="*/ 112 w 112"/>
                <a:gd name="T1" fmla="*/ 46 h 100"/>
                <a:gd name="T2" fmla="*/ 106 w 112"/>
                <a:gd name="T3" fmla="*/ 40 h 100"/>
                <a:gd name="T4" fmla="*/ 100 w 112"/>
                <a:gd name="T5" fmla="*/ 32 h 100"/>
                <a:gd name="T6" fmla="*/ 98 w 112"/>
                <a:gd name="T7" fmla="*/ 30 h 100"/>
                <a:gd name="T8" fmla="*/ 92 w 112"/>
                <a:gd name="T9" fmla="*/ 26 h 100"/>
                <a:gd name="T10" fmla="*/ 86 w 112"/>
                <a:gd name="T11" fmla="*/ 22 h 100"/>
                <a:gd name="T12" fmla="*/ 82 w 112"/>
                <a:gd name="T13" fmla="*/ 20 h 100"/>
                <a:gd name="T14" fmla="*/ 78 w 112"/>
                <a:gd name="T15" fmla="*/ 16 h 100"/>
                <a:gd name="T16" fmla="*/ 76 w 112"/>
                <a:gd name="T17" fmla="*/ 12 h 100"/>
                <a:gd name="T18" fmla="*/ 72 w 112"/>
                <a:gd name="T19" fmla="*/ 10 h 100"/>
                <a:gd name="T20" fmla="*/ 70 w 112"/>
                <a:gd name="T21" fmla="*/ 10 h 100"/>
                <a:gd name="T22" fmla="*/ 68 w 112"/>
                <a:gd name="T23" fmla="*/ 10 h 100"/>
                <a:gd name="T24" fmla="*/ 60 w 112"/>
                <a:gd name="T25" fmla="*/ 12 h 100"/>
                <a:gd name="T26" fmla="*/ 54 w 112"/>
                <a:gd name="T27" fmla="*/ 12 h 100"/>
                <a:gd name="T28" fmla="*/ 50 w 112"/>
                <a:gd name="T29" fmla="*/ 12 h 100"/>
                <a:gd name="T30" fmla="*/ 48 w 112"/>
                <a:gd name="T31" fmla="*/ 12 h 100"/>
                <a:gd name="T32" fmla="*/ 42 w 112"/>
                <a:gd name="T33" fmla="*/ 10 h 100"/>
                <a:gd name="T34" fmla="*/ 36 w 112"/>
                <a:gd name="T35" fmla="*/ 6 h 100"/>
                <a:gd name="T36" fmla="*/ 28 w 112"/>
                <a:gd name="T37" fmla="*/ 0 h 100"/>
                <a:gd name="T38" fmla="*/ 22 w 112"/>
                <a:gd name="T39" fmla="*/ 2 h 100"/>
                <a:gd name="T40" fmla="*/ 18 w 112"/>
                <a:gd name="T41" fmla="*/ 4 h 100"/>
                <a:gd name="T42" fmla="*/ 16 w 112"/>
                <a:gd name="T43" fmla="*/ 6 h 100"/>
                <a:gd name="T44" fmla="*/ 14 w 112"/>
                <a:gd name="T45" fmla="*/ 6 h 100"/>
                <a:gd name="T46" fmla="*/ 14 w 112"/>
                <a:gd name="T47" fmla="*/ 10 h 100"/>
                <a:gd name="T48" fmla="*/ 14 w 112"/>
                <a:gd name="T49" fmla="*/ 14 h 100"/>
                <a:gd name="T50" fmla="*/ 12 w 112"/>
                <a:gd name="T51" fmla="*/ 22 h 100"/>
                <a:gd name="T52" fmla="*/ 12 w 112"/>
                <a:gd name="T53" fmla="*/ 24 h 100"/>
                <a:gd name="T54" fmla="*/ 10 w 112"/>
                <a:gd name="T55" fmla="*/ 26 h 100"/>
                <a:gd name="T56" fmla="*/ 8 w 112"/>
                <a:gd name="T57" fmla="*/ 30 h 100"/>
                <a:gd name="T58" fmla="*/ 4 w 112"/>
                <a:gd name="T59" fmla="*/ 34 h 100"/>
                <a:gd name="T60" fmla="*/ 2 w 112"/>
                <a:gd name="T61" fmla="*/ 38 h 100"/>
                <a:gd name="T62" fmla="*/ 0 w 112"/>
                <a:gd name="T63" fmla="*/ 42 h 100"/>
                <a:gd name="T64" fmla="*/ 0 w 112"/>
                <a:gd name="T65" fmla="*/ 44 h 100"/>
                <a:gd name="T66" fmla="*/ 2 w 112"/>
                <a:gd name="T67" fmla="*/ 48 h 100"/>
                <a:gd name="T68" fmla="*/ 4 w 112"/>
                <a:gd name="T69" fmla="*/ 52 h 100"/>
                <a:gd name="T70" fmla="*/ 6 w 112"/>
                <a:gd name="T71" fmla="*/ 56 h 100"/>
                <a:gd name="T72" fmla="*/ 10 w 112"/>
                <a:gd name="T73" fmla="*/ 58 h 100"/>
                <a:gd name="T74" fmla="*/ 14 w 112"/>
                <a:gd name="T75" fmla="*/ 62 h 100"/>
                <a:gd name="T76" fmla="*/ 16 w 112"/>
                <a:gd name="T77" fmla="*/ 64 h 100"/>
                <a:gd name="T78" fmla="*/ 16 w 112"/>
                <a:gd name="T79" fmla="*/ 68 h 100"/>
                <a:gd name="T80" fmla="*/ 18 w 112"/>
                <a:gd name="T81" fmla="*/ 74 h 100"/>
                <a:gd name="T82" fmla="*/ 18 w 112"/>
                <a:gd name="T83" fmla="*/ 84 h 100"/>
                <a:gd name="T84" fmla="*/ 18 w 112"/>
                <a:gd name="T85" fmla="*/ 90 h 100"/>
                <a:gd name="T86" fmla="*/ 20 w 112"/>
                <a:gd name="T87" fmla="*/ 94 h 100"/>
                <a:gd name="T88" fmla="*/ 24 w 112"/>
                <a:gd name="T89" fmla="*/ 98 h 100"/>
                <a:gd name="T90" fmla="*/ 26 w 112"/>
                <a:gd name="T91" fmla="*/ 100 h 100"/>
                <a:gd name="T92" fmla="*/ 28 w 112"/>
                <a:gd name="T93" fmla="*/ 100 h 100"/>
                <a:gd name="T94" fmla="*/ 30 w 112"/>
                <a:gd name="T95" fmla="*/ 100 h 100"/>
                <a:gd name="T96" fmla="*/ 30 w 112"/>
                <a:gd name="T97" fmla="*/ 100 h 100"/>
                <a:gd name="T98" fmla="*/ 36 w 112"/>
                <a:gd name="T99" fmla="*/ 96 h 100"/>
                <a:gd name="T100" fmla="*/ 40 w 112"/>
                <a:gd name="T101" fmla="*/ 90 h 100"/>
                <a:gd name="T102" fmla="*/ 52 w 112"/>
                <a:gd name="T103" fmla="*/ 82 h 100"/>
                <a:gd name="T104" fmla="*/ 60 w 112"/>
                <a:gd name="T105" fmla="*/ 76 h 100"/>
                <a:gd name="T106" fmla="*/ 64 w 112"/>
                <a:gd name="T107" fmla="*/ 74 h 100"/>
                <a:gd name="T108" fmla="*/ 72 w 112"/>
                <a:gd name="T109" fmla="*/ 72 h 100"/>
                <a:gd name="T110" fmla="*/ 90 w 112"/>
                <a:gd name="T111" fmla="*/ 64 h 100"/>
                <a:gd name="T112" fmla="*/ 98 w 112"/>
                <a:gd name="T113" fmla="*/ 60 h 100"/>
                <a:gd name="T114" fmla="*/ 102 w 112"/>
                <a:gd name="T115" fmla="*/ 58 h 100"/>
                <a:gd name="T116" fmla="*/ 104 w 112"/>
                <a:gd name="T117" fmla="*/ 56 h 100"/>
                <a:gd name="T118" fmla="*/ 108 w 112"/>
                <a:gd name="T119"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00">
                  <a:moveTo>
                    <a:pt x="112" y="46"/>
                  </a:moveTo>
                  <a:lnTo>
                    <a:pt x="112" y="46"/>
                  </a:lnTo>
                  <a:lnTo>
                    <a:pt x="110" y="44"/>
                  </a:lnTo>
                  <a:lnTo>
                    <a:pt x="106" y="40"/>
                  </a:lnTo>
                  <a:lnTo>
                    <a:pt x="102" y="34"/>
                  </a:lnTo>
                  <a:lnTo>
                    <a:pt x="100" y="32"/>
                  </a:lnTo>
                  <a:lnTo>
                    <a:pt x="98" y="30"/>
                  </a:lnTo>
                  <a:lnTo>
                    <a:pt x="98" y="30"/>
                  </a:lnTo>
                  <a:lnTo>
                    <a:pt x="96" y="28"/>
                  </a:lnTo>
                  <a:lnTo>
                    <a:pt x="92" y="26"/>
                  </a:lnTo>
                  <a:lnTo>
                    <a:pt x="88" y="22"/>
                  </a:lnTo>
                  <a:lnTo>
                    <a:pt x="86" y="22"/>
                  </a:lnTo>
                  <a:lnTo>
                    <a:pt x="84" y="20"/>
                  </a:lnTo>
                  <a:lnTo>
                    <a:pt x="82" y="20"/>
                  </a:lnTo>
                  <a:lnTo>
                    <a:pt x="82" y="18"/>
                  </a:lnTo>
                  <a:lnTo>
                    <a:pt x="78" y="16"/>
                  </a:lnTo>
                  <a:lnTo>
                    <a:pt x="76" y="14"/>
                  </a:lnTo>
                  <a:lnTo>
                    <a:pt x="76" y="12"/>
                  </a:lnTo>
                  <a:lnTo>
                    <a:pt x="74" y="12"/>
                  </a:lnTo>
                  <a:lnTo>
                    <a:pt x="72" y="10"/>
                  </a:lnTo>
                  <a:lnTo>
                    <a:pt x="72" y="10"/>
                  </a:lnTo>
                  <a:lnTo>
                    <a:pt x="70" y="10"/>
                  </a:lnTo>
                  <a:lnTo>
                    <a:pt x="68" y="10"/>
                  </a:lnTo>
                  <a:lnTo>
                    <a:pt x="68" y="10"/>
                  </a:lnTo>
                  <a:lnTo>
                    <a:pt x="64" y="10"/>
                  </a:lnTo>
                  <a:lnTo>
                    <a:pt x="60" y="12"/>
                  </a:lnTo>
                  <a:lnTo>
                    <a:pt x="58" y="12"/>
                  </a:lnTo>
                  <a:lnTo>
                    <a:pt x="54" y="12"/>
                  </a:lnTo>
                  <a:lnTo>
                    <a:pt x="50" y="12"/>
                  </a:lnTo>
                  <a:lnTo>
                    <a:pt x="50" y="12"/>
                  </a:lnTo>
                  <a:lnTo>
                    <a:pt x="48" y="12"/>
                  </a:lnTo>
                  <a:lnTo>
                    <a:pt x="48" y="12"/>
                  </a:lnTo>
                  <a:lnTo>
                    <a:pt x="46" y="10"/>
                  </a:lnTo>
                  <a:lnTo>
                    <a:pt x="42" y="10"/>
                  </a:lnTo>
                  <a:lnTo>
                    <a:pt x="40" y="8"/>
                  </a:lnTo>
                  <a:lnTo>
                    <a:pt x="36" y="6"/>
                  </a:lnTo>
                  <a:lnTo>
                    <a:pt x="30" y="2"/>
                  </a:lnTo>
                  <a:lnTo>
                    <a:pt x="28" y="0"/>
                  </a:lnTo>
                  <a:lnTo>
                    <a:pt x="26" y="0"/>
                  </a:lnTo>
                  <a:lnTo>
                    <a:pt x="22" y="2"/>
                  </a:lnTo>
                  <a:lnTo>
                    <a:pt x="20" y="2"/>
                  </a:lnTo>
                  <a:lnTo>
                    <a:pt x="18" y="4"/>
                  </a:lnTo>
                  <a:lnTo>
                    <a:pt x="16" y="4"/>
                  </a:lnTo>
                  <a:lnTo>
                    <a:pt x="16" y="6"/>
                  </a:lnTo>
                  <a:lnTo>
                    <a:pt x="14" y="6"/>
                  </a:lnTo>
                  <a:lnTo>
                    <a:pt x="14" y="6"/>
                  </a:lnTo>
                  <a:lnTo>
                    <a:pt x="14" y="8"/>
                  </a:lnTo>
                  <a:lnTo>
                    <a:pt x="14" y="10"/>
                  </a:lnTo>
                  <a:lnTo>
                    <a:pt x="14" y="12"/>
                  </a:lnTo>
                  <a:lnTo>
                    <a:pt x="14" y="14"/>
                  </a:lnTo>
                  <a:lnTo>
                    <a:pt x="12" y="20"/>
                  </a:lnTo>
                  <a:lnTo>
                    <a:pt x="12" y="22"/>
                  </a:lnTo>
                  <a:lnTo>
                    <a:pt x="12" y="22"/>
                  </a:lnTo>
                  <a:lnTo>
                    <a:pt x="12" y="24"/>
                  </a:lnTo>
                  <a:lnTo>
                    <a:pt x="12" y="24"/>
                  </a:lnTo>
                  <a:lnTo>
                    <a:pt x="10" y="26"/>
                  </a:lnTo>
                  <a:lnTo>
                    <a:pt x="10" y="28"/>
                  </a:lnTo>
                  <a:lnTo>
                    <a:pt x="8" y="30"/>
                  </a:lnTo>
                  <a:lnTo>
                    <a:pt x="6" y="32"/>
                  </a:lnTo>
                  <a:lnTo>
                    <a:pt x="4" y="34"/>
                  </a:lnTo>
                  <a:lnTo>
                    <a:pt x="2" y="38"/>
                  </a:lnTo>
                  <a:lnTo>
                    <a:pt x="2" y="38"/>
                  </a:lnTo>
                  <a:lnTo>
                    <a:pt x="2" y="40"/>
                  </a:lnTo>
                  <a:lnTo>
                    <a:pt x="0" y="42"/>
                  </a:lnTo>
                  <a:lnTo>
                    <a:pt x="0" y="44"/>
                  </a:lnTo>
                  <a:lnTo>
                    <a:pt x="0" y="44"/>
                  </a:lnTo>
                  <a:lnTo>
                    <a:pt x="2" y="46"/>
                  </a:lnTo>
                  <a:lnTo>
                    <a:pt x="2" y="48"/>
                  </a:lnTo>
                  <a:lnTo>
                    <a:pt x="2" y="48"/>
                  </a:lnTo>
                  <a:lnTo>
                    <a:pt x="4" y="52"/>
                  </a:lnTo>
                  <a:lnTo>
                    <a:pt x="6" y="54"/>
                  </a:lnTo>
                  <a:lnTo>
                    <a:pt x="6" y="56"/>
                  </a:lnTo>
                  <a:lnTo>
                    <a:pt x="8" y="56"/>
                  </a:lnTo>
                  <a:lnTo>
                    <a:pt x="10" y="58"/>
                  </a:lnTo>
                  <a:lnTo>
                    <a:pt x="12" y="60"/>
                  </a:lnTo>
                  <a:lnTo>
                    <a:pt x="14" y="62"/>
                  </a:lnTo>
                  <a:lnTo>
                    <a:pt x="14" y="64"/>
                  </a:lnTo>
                  <a:lnTo>
                    <a:pt x="16" y="64"/>
                  </a:lnTo>
                  <a:lnTo>
                    <a:pt x="16" y="66"/>
                  </a:lnTo>
                  <a:lnTo>
                    <a:pt x="16" y="68"/>
                  </a:lnTo>
                  <a:lnTo>
                    <a:pt x="16" y="72"/>
                  </a:lnTo>
                  <a:lnTo>
                    <a:pt x="18" y="74"/>
                  </a:lnTo>
                  <a:lnTo>
                    <a:pt x="18" y="78"/>
                  </a:lnTo>
                  <a:lnTo>
                    <a:pt x="18" y="84"/>
                  </a:lnTo>
                  <a:lnTo>
                    <a:pt x="18" y="90"/>
                  </a:lnTo>
                  <a:lnTo>
                    <a:pt x="18" y="90"/>
                  </a:lnTo>
                  <a:lnTo>
                    <a:pt x="20" y="92"/>
                  </a:lnTo>
                  <a:lnTo>
                    <a:pt x="20" y="94"/>
                  </a:lnTo>
                  <a:lnTo>
                    <a:pt x="22" y="96"/>
                  </a:lnTo>
                  <a:lnTo>
                    <a:pt x="24" y="98"/>
                  </a:lnTo>
                  <a:lnTo>
                    <a:pt x="24" y="100"/>
                  </a:lnTo>
                  <a:lnTo>
                    <a:pt x="26" y="100"/>
                  </a:lnTo>
                  <a:lnTo>
                    <a:pt x="26" y="100"/>
                  </a:lnTo>
                  <a:lnTo>
                    <a:pt x="28" y="100"/>
                  </a:lnTo>
                  <a:lnTo>
                    <a:pt x="28" y="100"/>
                  </a:lnTo>
                  <a:lnTo>
                    <a:pt x="30" y="100"/>
                  </a:lnTo>
                  <a:lnTo>
                    <a:pt x="30" y="100"/>
                  </a:lnTo>
                  <a:lnTo>
                    <a:pt x="30" y="100"/>
                  </a:lnTo>
                  <a:lnTo>
                    <a:pt x="32" y="98"/>
                  </a:lnTo>
                  <a:lnTo>
                    <a:pt x="36" y="96"/>
                  </a:lnTo>
                  <a:lnTo>
                    <a:pt x="38" y="92"/>
                  </a:lnTo>
                  <a:lnTo>
                    <a:pt x="40" y="90"/>
                  </a:lnTo>
                  <a:lnTo>
                    <a:pt x="42" y="90"/>
                  </a:lnTo>
                  <a:lnTo>
                    <a:pt x="52" y="82"/>
                  </a:lnTo>
                  <a:lnTo>
                    <a:pt x="58" y="78"/>
                  </a:lnTo>
                  <a:lnTo>
                    <a:pt x="60" y="76"/>
                  </a:lnTo>
                  <a:lnTo>
                    <a:pt x="62" y="76"/>
                  </a:lnTo>
                  <a:lnTo>
                    <a:pt x="64" y="74"/>
                  </a:lnTo>
                  <a:lnTo>
                    <a:pt x="66" y="74"/>
                  </a:lnTo>
                  <a:lnTo>
                    <a:pt x="72" y="72"/>
                  </a:lnTo>
                  <a:lnTo>
                    <a:pt x="84" y="66"/>
                  </a:lnTo>
                  <a:lnTo>
                    <a:pt x="90" y="64"/>
                  </a:lnTo>
                  <a:lnTo>
                    <a:pt x="94" y="62"/>
                  </a:lnTo>
                  <a:lnTo>
                    <a:pt x="98" y="60"/>
                  </a:lnTo>
                  <a:lnTo>
                    <a:pt x="100" y="60"/>
                  </a:lnTo>
                  <a:lnTo>
                    <a:pt x="102" y="58"/>
                  </a:lnTo>
                  <a:lnTo>
                    <a:pt x="104" y="56"/>
                  </a:lnTo>
                  <a:lnTo>
                    <a:pt x="104" y="56"/>
                  </a:lnTo>
                  <a:lnTo>
                    <a:pt x="106" y="54"/>
                  </a:lnTo>
                  <a:lnTo>
                    <a:pt x="108" y="52"/>
                  </a:lnTo>
                  <a:lnTo>
                    <a:pt x="112" y="4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1" name="Freeform 479"/>
            <p:cNvSpPr>
              <a:spLocks/>
            </p:cNvSpPr>
            <p:nvPr/>
          </p:nvSpPr>
          <p:spPr bwMode="auto">
            <a:xfrm>
              <a:off x="2301574" y="4303260"/>
              <a:ext cx="294453" cy="429555"/>
            </a:xfrm>
            <a:custGeom>
              <a:avLst/>
              <a:gdLst>
                <a:gd name="T0" fmla="*/ 34 w 170"/>
                <a:gd name="T1" fmla="*/ 72 h 248"/>
                <a:gd name="T2" fmla="*/ 40 w 170"/>
                <a:gd name="T3" fmla="*/ 76 h 248"/>
                <a:gd name="T4" fmla="*/ 42 w 170"/>
                <a:gd name="T5" fmla="*/ 72 h 248"/>
                <a:gd name="T6" fmla="*/ 42 w 170"/>
                <a:gd name="T7" fmla="*/ 56 h 248"/>
                <a:gd name="T8" fmla="*/ 46 w 170"/>
                <a:gd name="T9" fmla="*/ 52 h 248"/>
                <a:gd name="T10" fmla="*/ 56 w 170"/>
                <a:gd name="T11" fmla="*/ 50 h 248"/>
                <a:gd name="T12" fmla="*/ 58 w 170"/>
                <a:gd name="T13" fmla="*/ 44 h 248"/>
                <a:gd name="T14" fmla="*/ 58 w 170"/>
                <a:gd name="T15" fmla="*/ 34 h 248"/>
                <a:gd name="T16" fmla="*/ 68 w 170"/>
                <a:gd name="T17" fmla="*/ 24 h 248"/>
                <a:gd name="T18" fmla="*/ 78 w 170"/>
                <a:gd name="T19" fmla="*/ 20 h 248"/>
                <a:gd name="T20" fmla="*/ 90 w 170"/>
                <a:gd name="T21" fmla="*/ 20 h 248"/>
                <a:gd name="T22" fmla="*/ 94 w 170"/>
                <a:gd name="T23" fmla="*/ 14 h 248"/>
                <a:gd name="T24" fmla="*/ 96 w 170"/>
                <a:gd name="T25" fmla="*/ 6 h 248"/>
                <a:gd name="T26" fmla="*/ 104 w 170"/>
                <a:gd name="T27" fmla="*/ 2 h 248"/>
                <a:gd name="T28" fmla="*/ 112 w 170"/>
                <a:gd name="T29" fmla="*/ 4 h 248"/>
                <a:gd name="T30" fmla="*/ 104 w 170"/>
                <a:gd name="T31" fmla="*/ 18 h 248"/>
                <a:gd name="T32" fmla="*/ 100 w 170"/>
                <a:gd name="T33" fmla="*/ 32 h 248"/>
                <a:gd name="T34" fmla="*/ 96 w 170"/>
                <a:gd name="T35" fmla="*/ 44 h 248"/>
                <a:gd name="T36" fmla="*/ 88 w 170"/>
                <a:gd name="T37" fmla="*/ 48 h 248"/>
                <a:gd name="T38" fmla="*/ 86 w 170"/>
                <a:gd name="T39" fmla="*/ 52 h 248"/>
                <a:gd name="T40" fmla="*/ 94 w 170"/>
                <a:gd name="T41" fmla="*/ 60 h 248"/>
                <a:gd name="T42" fmla="*/ 100 w 170"/>
                <a:gd name="T43" fmla="*/ 68 h 248"/>
                <a:gd name="T44" fmla="*/ 96 w 170"/>
                <a:gd name="T45" fmla="*/ 78 h 248"/>
                <a:gd name="T46" fmla="*/ 96 w 170"/>
                <a:gd name="T47" fmla="*/ 86 h 248"/>
                <a:gd name="T48" fmla="*/ 104 w 170"/>
                <a:gd name="T49" fmla="*/ 86 h 248"/>
                <a:gd name="T50" fmla="*/ 120 w 170"/>
                <a:gd name="T51" fmla="*/ 86 h 248"/>
                <a:gd name="T52" fmla="*/ 122 w 170"/>
                <a:gd name="T53" fmla="*/ 88 h 248"/>
                <a:gd name="T54" fmla="*/ 124 w 170"/>
                <a:gd name="T55" fmla="*/ 96 h 248"/>
                <a:gd name="T56" fmla="*/ 130 w 170"/>
                <a:gd name="T57" fmla="*/ 100 h 248"/>
                <a:gd name="T58" fmla="*/ 150 w 170"/>
                <a:gd name="T59" fmla="*/ 108 h 248"/>
                <a:gd name="T60" fmla="*/ 166 w 170"/>
                <a:gd name="T61" fmla="*/ 112 h 248"/>
                <a:gd name="T62" fmla="*/ 170 w 170"/>
                <a:gd name="T63" fmla="*/ 122 h 248"/>
                <a:gd name="T64" fmla="*/ 168 w 170"/>
                <a:gd name="T65" fmla="*/ 144 h 248"/>
                <a:gd name="T66" fmla="*/ 162 w 170"/>
                <a:gd name="T67" fmla="*/ 162 h 248"/>
                <a:gd name="T68" fmla="*/ 150 w 170"/>
                <a:gd name="T69" fmla="*/ 178 h 248"/>
                <a:gd name="T70" fmla="*/ 138 w 170"/>
                <a:gd name="T71" fmla="*/ 184 h 248"/>
                <a:gd name="T72" fmla="*/ 134 w 170"/>
                <a:gd name="T73" fmla="*/ 192 h 248"/>
                <a:gd name="T74" fmla="*/ 138 w 170"/>
                <a:gd name="T75" fmla="*/ 196 h 248"/>
                <a:gd name="T76" fmla="*/ 140 w 170"/>
                <a:gd name="T77" fmla="*/ 200 h 248"/>
                <a:gd name="T78" fmla="*/ 134 w 170"/>
                <a:gd name="T79" fmla="*/ 204 h 248"/>
                <a:gd name="T80" fmla="*/ 132 w 170"/>
                <a:gd name="T81" fmla="*/ 210 h 248"/>
                <a:gd name="T82" fmla="*/ 136 w 170"/>
                <a:gd name="T83" fmla="*/ 232 h 248"/>
                <a:gd name="T84" fmla="*/ 138 w 170"/>
                <a:gd name="T85" fmla="*/ 244 h 248"/>
                <a:gd name="T86" fmla="*/ 134 w 170"/>
                <a:gd name="T87" fmla="*/ 248 h 248"/>
                <a:gd name="T88" fmla="*/ 122 w 170"/>
                <a:gd name="T89" fmla="*/ 248 h 248"/>
                <a:gd name="T90" fmla="*/ 108 w 170"/>
                <a:gd name="T91" fmla="*/ 238 h 248"/>
                <a:gd name="T92" fmla="*/ 84 w 170"/>
                <a:gd name="T93" fmla="*/ 238 h 248"/>
                <a:gd name="T94" fmla="*/ 70 w 170"/>
                <a:gd name="T95" fmla="*/ 220 h 248"/>
                <a:gd name="T96" fmla="*/ 56 w 170"/>
                <a:gd name="T97" fmla="*/ 210 h 248"/>
                <a:gd name="T98" fmla="*/ 46 w 170"/>
                <a:gd name="T99" fmla="*/ 200 h 248"/>
                <a:gd name="T100" fmla="*/ 34 w 170"/>
                <a:gd name="T101" fmla="*/ 202 h 248"/>
                <a:gd name="T102" fmla="*/ 20 w 170"/>
                <a:gd name="T103" fmla="*/ 202 h 248"/>
                <a:gd name="T104" fmla="*/ 0 w 170"/>
                <a:gd name="T105" fmla="*/ 190 h 248"/>
                <a:gd name="T106" fmla="*/ 12 w 170"/>
                <a:gd name="T107" fmla="*/ 170 h 248"/>
                <a:gd name="T108" fmla="*/ 14 w 170"/>
                <a:gd name="T109" fmla="*/ 164 h 248"/>
                <a:gd name="T110" fmla="*/ 22 w 170"/>
                <a:gd name="T111" fmla="*/ 164 h 248"/>
                <a:gd name="T112" fmla="*/ 28 w 170"/>
                <a:gd name="T113" fmla="*/ 162 h 248"/>
                <a:gd name="T114" fmla="*/ 32 w 170"/>
                <a:gd name="T115" fmla="*/ 150 h 248"/>
                <a:gd name="T116" fmla="*/ 30 w 170"/>
                <a:gd name="T117" fmla="*/ 1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 h="248">
                  <a:moveTo>
                    <a:pt x="24" y="96"/>
                  </a:moveTo>
                  <a:lnTo>
                    <a:pt x="26" y="64"/>
                  </a:lnTo>
                  <a:lnTo>
                    <a:pt x="28" y="66"/>
                  </a:lnTo>
                  <a:lnTo>
                    <a:pt x="30" y="68"/>
                  </a:lnTo>
                  <a:lnTo>
                    <a:pt x="32" y="70"/>
                  </a:lnTo>
                  <a:lnTo>
                    <a:pt x="34" y="72"/>
                  </a:lnTo>
                  <a:lnTo>
                    <a:pt x="36" y="74"/>
                  </a:lnTo>
                  <a:lnTo>
                    <a:pt x="36" y="74"/>
                  </a:lnTo>
                  <a:lnTo>
                    <a:pt x="38" y="76"/>
                  </a:lnTo>
                  <a:lnTo>
                    <a:pt x="38" y="76"/>
                  </a:lnTo>
                  <a:lnTo>
                    <a:pt x="40" y="76"/>
                  </a:lnTo>
                  <a:lnTo>
                    <a:pt x="40" y="76"/>
                  </a:lnTo>
                  <a:lnTo>
                    <a:pt x="40" y="76"/>
                  </a:lnTo>
                  <a:lnTo>
                    <a:pt x="40" y="76"/>
                  </a:lnTo>
                  <a:lnTo>
                    <a:pt x="42" y="74"/>
                  </a:lnTo>
                  <a:lnTo>
                    <a:pt x="42" y="74"/>
                  </a:lnTo>
                  <a:lnTo>
                    <a:pt x="42" y="72"/>
                  </a:lnTo>
                  <a:lnTo>
                    <a:pt x="42" y="72"/>
                  </a:lnTo>
                  <a:lnTo>
                    <a:pt x="42" y="70"/>
                  </a:lnTo>
                  <a:lnTo>
                    <a:pt x="42" y="66"/>
                  </a:lnTo>
                  <a:lnTo>
                    <a:pt x="42" y="62"/>
                  </a:lnTo>
                  <a:lnTo>
                    <a:pt x="42" y="60"/>
                  </a:lnTo>
                  <a:lnTo>
                    <a:pt x="42" y="58"/>
                  </a:lnTo>
                  <a:lnTo>
                    <a:pt x="42" y="56"/>
                  </a:lnTo>
                  <a:lnTo>
                    <a:pt x="42" y="56"/>
                  </a:lnTo>
                  <a:lnTo>
                    <a:pt x="42" y="54"/>
                  </a:lnTo>
                  <a:lnTo>
                    <a:pt x="44" y="54"/>
                  </a:lnTo>
                  <a:lnTo>
                    <a:pt x="44" y="54"/>
                  </a:lnTo>
                  <a:lnTo>
                    <a:pt x="44" y="54"/>
                  </a:lnTo>
                  <a:lnTo>
                    <a:pt x="46" y="52"/>
                  </a:lnTo>
                  <a:lnTo>
                    <a:pt x="48" y="52"/>
                  </a:lnTo>
                  <a:lnTo>
                    <a:pt x="50" y="52"/>
                  </a:lnTo>
                  <a:lnTo>
                    <a:pt x="52" y="52"/>
                  </a:lnTo>
                  <a:lnTo>
                    <a:pt x="54" y="50"/>
                  </a:lnTo>
                  <a:lnTo>
                    <a:pt x="56" y="50"/>
                  </a:lnTo>
                  <a:lnTo>
                    <a:pt x="56" y="50"/>
                  </a:lnTo>
                  <a:lnTo>
                    <a:pt x="58" y="50"/>
                  </a:lnTo>
                  <a:lnTo>
                    <a:pt x="58" y="48"/>
                  </a:lnTo>
                  <a:lnTo>
                    <a:pt x="58" y="48"/>
                  </a:lnTo>
                  <a:lnTo>
                    <a:pt x="58" y="46"/>
                  </a:lnTo>
                  <a:lnTo>
                    <a:pt x="58" y="46"/>
                  </a:lnTo>
                  <a:lnTo>
                    <a:pt x="58" y="44"/>
                  </a:lnTo>
                  <a:lnTo>
                    <a:pt x="58" y="42"/>
                  </a:lnTo>
                  <a:lnTo>
                    <a:pt x="58" y="40"/>
                  </a:lnTo>
                  <a:lnTo>
                    <a:pt x="58" y="38"/>
                  </a:lnTo>
                  <a:lnTo>
                    <a:pt x="58" y="36"/>
                  </a:lnTo>
                  <a:lnTo>
                    <a:pt x="58" y="34"/>
                  </a:lnTo>
                  <a:lnTo>
                    <a:pt x="58" y="34"/>
                  </a:lnTo>
                  <a:lnTo>
                    <a:pt x="58" y="32"/>
                  </a:lnTo>
                  <a:lnTo>
                    <a:pt x="60" y="30"/>
                  </a:lnTo>
                  <a:lnTo>
                    <a:pt x="62" y="28"/>
                  </a:lnTo>
                  <a:lnTo>
                    <a:pt x="64" y="26"/>
                  </a:lnTo>
                  <a:lnTo>
                    <a:pt x="66" y="24"/>
                  </a:lnTo>
                  <a:lnTo>
                    <a:pt x="68" y="24"/>
                  </a:lnTo>
                  <a:lnTo>
                    <a:pt x="70" y="22"/>
                  </a:lnTo>
                  <a:lnTo>
                    <a:pt x="72" y="20"/>
                  </a:lnTo>
                  <a:lnTo>
                    <a:pt x="74" y="20"/>
                  </a:lnTo>
                  <a:lnTo>
                    <a:pt x="74" y="20"/>
                  </a:lnTo>
                  <a:lnTo>
                    <a:pt x="76" y="20"/>
                  </a:lnTo>
                  <a:lnTo>
                    <a:pt x="78" y="20"/>
                  </a:lnTo>
                  <a:lnTo>
                    <a:pt x="80" y="20"/>
                  </a:lnTo>
                  <a:lnTo>
                    <a:pt x="84" y="20"/>
                  </a:lnTo>
                  <a:lnTo>
                    <a:pt x="86" y="20"/>
                  </a:lnTo>
                  <a:lnTo>
                    <a:pt x="88" y="20"/>
                  </a:lnTo>
                  <a:lnTo>
                    <a:pt x="90" y="20"/>
                  </a:lnTo>
                  <a:lnTo>
                    <a:pt x="90" y="20"/>
                  </a:lnTo>
                  <a:lnTo>
                    <a:pt x="92" y="18"/>
                  </a:lnTo>
                  <a:lnTo>
                    <a:pt x="92" y="18"/>
                  </a:lnTo>
                  <a:lnTo>
                    <a:pt x="92" y="18"/>
                  </a:lnTo>
                  <a:lnTo>
                    <a:pt x="92" y="18"/>
                  </a:lnTo>
                  <a:lnTo>
                    <a:pt x="94" y="16"/>
                  </a:lnTo>
                  <a:lnTo>
                    <a:pt x="94" y="14"/>
                  </a:lnTo>
                  <a:lnTo>
                    <a:pt x="94" y="12"/>
                  </a:lnTo>
                  <a:lnTo>
                    <a:pt x="94" y="10"/>
                  </a:lnTo>
                  <a:lnTo>
                    <a:pt x="96" y="8"/>
                  </a:lnTo>
                  <a:lnTo>
                    <a:pt x="96" y="6"/>
                  </a:lnTo>
                  <a:lnTo>
                    <a:pt x="96" y="6"/>
                  </a:lnTo>
                  <a:lnTo>
                    <a:pt x="96" y="6"/>
                  </a:lnTo>
                  <a:lnTo>
                    <a:pt x="98" y="6"/>
                  </a:lnTo>
                  <a:lnTo>
                    <a:pt x="98" y="4"/>
                  </a:lnTo>
                  <a:lnTo>
                    <a:pt x="100" y="4"/>
                  </a:lnTo>
                  <a:lnTo>
                    <a:pt x="102" y="2"/>
                  </a:lnTo>
                  <a:lnTo>
                    <a:pt x="102" y="2"/>
                  </a:lnTo>
                  <a:lnTo>
                    <a:pt x="104" y="2"/>
                  </a:lnTo>
                  <a:lnTo>
                    <a:pt x="106" y="0"/>
                  </a:lnTo>
                  <a:lnTo>
                    <a:pt x="106" y="0"/>
                  </a:lnTo>
                  <a:lnTo>
                    <a:pt x="108" y="0"/>
                  </a:lnTo>
                  <a:lnTo>
                    <a:pt x="110" y="2"/>
                  </a:lnTo>
                  <a:lnTo>
                    <a:pt x="110" y="2"/>
                  </a:lnTo>
                  <a:lnTo>
                    <a:pt x="112" y="4"/>
                  </a:lnTo>
                  <a:lnTo>
                    <a:pt x="114" y="6"/>
                  </a:lnTo>
                  <a:lnTo>
                    <a:pt x="114" y="6"/>
                  </a:lnTo>
                  <a:lnTo>
                    <a:pt x="114" y="8"/>
                  </a:lnTo>
                  <a:lnTo>
                    <a:pt x="110" y="12"/>
                  </a:lnTo>
                  <a:lnTo>
                    <a:pt x="106" y="16"/>
                  </a:lnTo>
                  <a:lnTo>
                    <a:pt x="104" y="18"/>
                  </a:lnTo>
                  <a:lnTo>
                    <a:pt x="104" y="20"/>
                  </a:lnTo>
                  <a:lnTo>
                    <a:pt x="102" y="20"/>
                  </a:lnTo>
                  <a:lnTo>
                    <a:pt x="102" y="22"/>
                  </a:lnTo>
                  <a:lnTo>
                    <a:pt x="102" y="24"/>
                  </a:lnTo>
                  <a:lnTo>
                    <a:pt x="100" y="28"/>
                  </a:lnTo>
                  <a:lnTo>
                    <a:pt x="100" y="32"/>
                  </a:lnTo>
                  <a:lnTo>
                    <a:pt x="100" y="36"/>
                  </a:lnTo>
                  <a:lnTo>
                    <a:pt x="98" y="38"/>
                  </a:lnTo>
                  <a:lnTo>
                    <a:pt x="98" y="40"/>
                  </a:lnTo>
                  <a:lnTo>
                    <a:pt x="98" y="42"/>
                  </a:lnTo>
                  <a:lnTo>
                    <a:pt x="98" y="42"/>
                  </a:lnTo>
                  <a:lnTo>
                    <a:pt x="96" y="44"/>
                  </a:lnTo>
                  <a:lnTo>
                    <a:pt x="96" y="44"/>
                  </a:lnTo>
                  <a:lnTo>
                    <a:pt x="96" y="44"/>
                  </a:lnTo>
                  <a:lnTo>
                    <a:pt x="94" y="44"/>
                  </a:lnTo>
                  <a:lnTo>
                    <a:pt x="92" y="46"/>
                  </a:lnTo>
                  <a:lnTo>
                    <a:pt x="90" y="48"/>
                  </a:lnTo>
                  <a:lnTo>
                    <a:pt x="88" y="48"/>
                  </a:lnTo>
                  <a:lnTo>
                    <a:pt x="88" y="48"/>
                  </a:lnTo>
                  <a:lnTo>
                    <a:pt x="88" y="48"/>
                  </a:lnTo>
                  <a:lnTo>
                    <a:pt x="86" y="50"/>
                  </a:lnTo>
                  <a:lnTo>
                    <a:pt x="86" y="50"/>
                  </a:lnTo>
                  <a:lnTo>
                    <a:pt x="86" y="50"/>
                  </a:lnTo>
                  <a:lnTo>
                    <a:pt x="86" y="52"/>
                  </a:lnTo>
                  <a:lnTo>
                    <a:pt x="88" y="52"/>
                  </a:lnTo>
                  <a:lnTo>
                    <a:pt x="88" y="54"/>
                  </a:lnTo>
                  <a:lnTo>
                    <a:pt x="88" y="56"/>
                  </a:lnTo>
                  <a:lnTo>
                    <a:pt x="90" y="56"/>
                  </a:lnTo>
                  <a:lnTo>
                    <a:pt x="92" y="58"/>
                  </a:lnTo>
                  <a:lnTo>
                    <a:pt x="94" y="60"/>
                  </a:lnTo>
                  <a:lnTo>
                    <a:pt x="96" y="64"/>
                  </a:lnTo>
                  <a:lnTo>
                    <a:pt x="98" y="64"/>
                  </a:lnTo>
                  <a:lnTo>
                    <a:pt x="98" y="66"/>
                  </a:lnTo>
                  <a:lnTo>
                    <a:pt x="98" y="66"/>
                  </a:lnTo>
                  <a:lnTo>
                    <a:pt x="100" y="68"/>
                  </a:lnTo>
                  <a:lnTo>
                    <a:pt x="100" y="68"/>
                  </a:lnTo>
                  <a:lnTo>
                    <a:pt x="100" y="70"/>
                  </a:lnTo>
                  <a:lnTo>
                    <a:pt x="100" y="70"/>
                  </a:lnTo>
                  <a:lnTo>
                    <a:pt x="98" y="72"/>
                  </a:lnTo>
                  <a:lnTo>
                    <a:pt x="98" y="74"/>
                  </a:lnTo>
                  <a:lnTo>
                    <a:pt x="96" y="76"/>
                  </a:lnTo>
                  <a:lnTo>
                    <a:pt x="96" y="78"/>
                  </a:lnTo>
                  <a:lnTo>
                    <a:pt x="96" y="82"/>
                  </a:lnTo>
                  <a:lnTo>
                    <a:pt x="94" y="82"/>
                  </a:lnTo>
                  <a:lnTo>
                    <a:pt x="94" y="84"/>
                  </a:lnTo>
                  <a:lnTo>
                    <a:pt x="96" y="84"/>
                  </a:lnTo>
                  <a:lnTo>
                    <a:pt x="96" y="84"/>
                  </a:lnTo>
                  <a:lnTo>
                    <a:pt x="96" y="86"/>
                  </a:lnTo>
                  <a:lnTo>
                    <a:pt x="96" y="86"/>
                  </a:lnTo>
                  <a:lnTo>
                    <a:pt x="98" y="86"/>
                  </a:lnTo>
                  <a:lnTo>
                    <a:pt x="100" y="86"/>
                  </a:lnTo>
                  <a:lnTo>
                    <a:pt x="100" y="86"/>
                  </a:lnTo>
                  <a:lnTo>
                    <a:pt x="102" y="86"/>
                  </a:lnTo>
                  <a:lnTo>
                    <a:pt x="104" y="86"/>
                  </a:lnTo>
                  <a:lnTo>
                    <a:pt x="108" y="86"/>
                  </a:lnTo>
                  <a:lnTo>
                    <a:pt x="112" y="86"/>
                  </a:lnTo>
                  <a:lnTo>
                    <a:pt x="114" y="86"/>
                  </a:lnTo>
                  <a:lnTo>
                    <a:pt x="116" y="84"/>
                  </a:lnTo>
                  <a:lnTo>
                    <a:pt x="118" y="84"/>
                  </a:lnTo>
                  <a:lnTo>
                    <a:pt x="120" y="86"/>
                  </a:lnTo>
                  <a:lnTo>
                    <a:pt x="122" y="86"/>
                  </a:lnTo>
                  <a:lnTo>
                    <a:pt x="122" y="86"/>
                  </a:lnTo>
                  <a:lnTo>
                    <a:pt x="122" y="86"/>
                  </a:lnTo>
                  <a:lnTo>
                    <a:pt x="122" y="86"/>
                  </a:lnTo>
                  <a:lnTo>
                    <a:pt x="122" y="88"/>
                  </a:lnTo>
                  <a:lnTo>
                    <a:pt x="122" y="88"/>
                  </a:lnTo>
                  <a:lnTo>
                    <a:pt x="122" y="90"/>
                  </a:lnTo>
                  <a:lnTo>
                    <a:pt x="122" y="92"/>
                  </a:lnTo>
                  <a:lnTo>
                    <a:pt x="122" y="92"/>
                  </a:lnTo>
                  <a:lnTo>
                    <a:pt x="122" y="94"/>
                  </a:lnTo>
                  <a:lnTo>
                    <a:pt x="122" y="96"/>
                  </a:lnTo>
                  <a:lnTo>
                    <a:pt x="124" y="96"/>
                  </a:lnTo>
                  <a:lnTo>
                    <a:pt x="124" y="96"/>
                  </a:lnTo>
                  <a:lnTo>
                    <a:pt x="124" y="98"/>
                  </a:lnTo>
                  <a:lnTo>
                    <a:pt x="124" y="98"/>
                  </a:lnTo>
                  <a:lnTo>
                    <a:pt x="126" y="98"/>
                  </a:lnTo>
                  <a:lnTo>
                    <a:pt x="128" y="100"/>
                  </a:lnTo>
                  <a:lnTo>
                    <a:pt x="130" y="100"/>
                  </a:lnTo>
                  <a:lnTo>
                    <a:pt x="134" y="102"/>
                  </a:lnTo>
                  <a:lnTo>
                    <a:pt x="136" y="104"/>
                  </a:lnTo>
                  <a:lnTo>
                    <a:pt x="140" y="104"/>
                  </a:lnTo>
                  <a:lnTo>
                    <a:pt x="144" y="106"/>
                  </a:lnTo>
                  <a:lnTo>
                    <a:pt x="148" y="108"/>
                  </a:lnTo>
                  <a:lnTo>
                    <a:pt x="150" y="108"/>
                  </a:lnTo>
                  <a:lnTo>
                    <a:pt x="156" y="110"/>
                  </a:lnTo>
                  <a:lnTo>
                    <a:pt x="160" y="110"/>
                  </a:lnTo>
                  <a:lnTo>
                    <a:pt x="164" y="110"/>
                  </a:lnTo>
                  <a:lnTo>
                    <a:pt x="164" y="112"/>
                  </a:lnTo>
                  <a:lnTo>
                    <a:pt x="166" y="112"/>
                  </a:lnTo>
                  <a:lnTo>
                    <a:pt x="166" y="112"/>
                  </a:lnTo>
                  <a:lnTo>
                    <a:pt x="168" y="114"/>
                  </a:lnTo>
                  <a:lnTo>
                    <a:pt x="168" y="116"/>
                  </a:lnTo>
                  <a:lnTo>
                    <a:pt x="168" y="116"/>
                  </a:lnTo>
                  <a:lnTo>
                    <a:pt x="170" y="118"/>
                  </a:lnTo>
                  <a:lnTo>
                    <a:pt x="170" y="120"/>
                  </a:lnTo>
                  <a:lnTo>
                    <a:pt x="170" y="122"/>
                  </a:lnTo>
                  <a:lnTo>
                    <a:pt x="170" y="124"/>
                  </a:lnTo>
                  <a:lnTo>
                    <a:pt x="170" y="128"/>
                  </a:lnTo>
                  <a:lnTo>
                    <a:pt x="168" y="132"/>
                  </a:lnTo>
                  <a:lnTo>
                    <a:pt x="168" y="136"/>
                  </a:lnTo>
                  <a:lnTo>
                    <a:pt x="168" y="142"/>
                  </a:lnTo>
                  <a:lnTo>
                    <a:pt x="168" y="144"/>
                  </a:lnTo>
                  <a:lnTo>
                    <a:pt x="166" y="146"/>
                  </a:lnTo>
                  <a:lnTo>
                    <a:pt x="164" y="152"/>
                  </a:lnTo>
                  <a:lnTo>
                    <a:pt x="164" y="156"/>
                  </a:lnTo>
                  <a:lnTo>
                    <a:pt x="162" y="158"/>
                  </a:lnTo>
                  <a:lnTo>
                    <a:pt x="162" y="160"/>
                  </a:lnTo>
                  <a:lnTo>
                    <a:pt x="162" y="162"/>
                  </a:lnTo>
                  <a:lnTo>
                    <a:pt x="162" y="164"/>
                  </a:lnTo>
                  <a:lnTo>
                    <a:pt x="164" y="168"/>
                  </a:lnTo>
                  <a:lnTo>
                    <a:pt x="164" y="174"/>
                  </a:lnTo>
                  <a:lnTo>
                    <a:pt x="162" y="176"/>
                  </a:lnTo>
                  <a:lnTo>
                    <a:pt x="154" y="176"/>
                  </a:lnTo>
                  <a:lnTo>
                    <a:pt x="150" y="178"/>
                  </a:lnTo>
                  <a:lnTo>
                    <a:pt x="146" y="180"/>
                  </a:lnTo>
                  <a:lnTo>
                    <a:pt x="142" y="182"/>
                  </a:lnTo>
                  <a:lnTo>
                    <a:pt x="140" y="182"/>
                  </a:lnTo>
                  <a:lnTo>
                    <a:pt x="140" y="182"/>
                  </a:lnTo>
                  <a:lnTo>
                    <a:pt x="138" y="184"/>
                  </a:lnTo>
                  <a:lnTo>
                    <a:pt x="138" y="184"/>
                  </a:lnTo>
                  <a:lnTo>
                    <a:pt x="136" y="186"/>
                  </a:lnTo>
                  <a:lnTo>
                    <a:pt x="136" y="188"/>
                  </a:lnTo>
                  <a:lnTo>
                    <a:pt x="134" y="190"/>
                  </a:lnTo>
                  <a:lnTo>
                    <a:pt x="134" y="190"/>
                  </a:lnTo>
                  <a:lnTo>
                    <a:pt x="134" y="192"/>
                  </a:lnTo>
                  <a:lnTo>
                    <a:pt x="134" y="192"/>
                  </a:lnTo>
                  <a:lnTo>
                    <a:pt x="134" y="194"/>
                  </a:lnTo>
                  <a:lnTo>
                    <a:pt x="134" y="194"/>
                  </a:lnTo>
                  <a:lnTo>
                    <a:pt x="134" y="194"/>
                  </a:lnTo>
                  <a:lnTo>
                    <a:pt x="134" y="194"/>
                  </a:lnTo>
                  <a:lnTo>
                    <a:pt x="136" y="196"/>
                  </a:lnTo>
                  <a:lnTo>
                    <a:pt x="138" y="196"/>
                  </a:lnTo>
                  <a:lnTo>
                    <a:pt x="138" y="198"/>
                  </a:lnTo>
                  <a:lnTo>
                    <a:pt x="140" y="198"/>
                  </a:lnTo>
                  <a:lnTo>
                    <a:pt x="140" y="200"/>
                  </a:lnTo>
                  <a:lnTo>
                    <a:pt x="140" y="200"/>
                  </a:lnTo>
                  <a:lnTo>
                    <a:pt x="140" y="200"/>
                  </a:lnTo>
                  <a:lnTo>
                    <a:pt x="140" y="200"/>
                  </a:lnTo>
                  <a:lnTo>
                    <a:pt x="140" y="202"/>
                  </a:lnTo>
                  <a:lnTo>
                    <a:pt x="140" y="202"/>
                  </a:lnTo>
                  <a:lnTo>
                    <a:pt x="140" y="202"/>
                  </a:lnTo>
                  <a:lnTo>
                    <a:pt x="138" y="202"/>
                  </a:lnTo>
                  <a:lnTo>
                    <a:pt x="138" y="204"/>
                  </a:lnTo>
                  <a:lnTo>
                    <a:pt x="134" y="204"/>
                  </a:lnTo>
                  <a:lnTo>
                    <a:pt x="134" y="204"/>
                  </a:lnTo>
                  <a:lnTo>
                    <a:pt x="134" y="206"/>
                  </a:lnTo>
                  <a:lnTo>
                    <a:pt x="134" y="206"/>
                  </a:lnTo>
                  <a:lnTo>
                    <a:pt x="132" y="206"/>
                  </a:lnTo>
                  <a:lnTo>
                    <a:pt x="132" y="208"/>
                  </a:lnTo>
                  <a:lnTo>
                    <a:pt x="132" y="210"/>
                  </a:lnTo>
                  <a:lnTo>
                    <a:pt x="132" y="212"/>
                  </a:lnTo>
                  <a:lnTo>
                    <a:pt x="132" y="214"/>
                  </a:lnTo>
                  <a:lnTo>
                    <a:pt x="134" y="216"/>
                  </a:lnTo>
                  <a:lnTo>
                    <a:pt x="134" y="220"/>
                  </a:lnTo>
                  <a:lnTo>
                    <a:pt x="136" y="228"/>
                  </a:lnTo>
                  <a:lnTo>
                    <a:pt x="136" y="232"/>
                  </a:lnTo>
                  <a:lnTo>
                    <a:pt x="136" y="232"/>
                  </a:lnTo>
                  <a:lnTo>
                    <a:pt x="138" y="234"/>
                  </a:lnTo>
                  <a:lnTo>
                    <a:pt x="138" y="238"/>
                  </a:lnTo>
                  <a:lnTo>
                    <a:pt x="138" y="242"/>
                  </a:lnTo>
                  <a:lnTo>
                    <a:pt x="138" y="242"/>
                  </a:lnTo>
                  <a:lnTo>
                    <a:pt x="138" y="244"/>
                  </a:lnTo>
                  <a:lnTo>
                    <a:pt x="138" y="246"/>
                  </a:lnTo>
                  <a:lnTo>
                    <a:pt x="138" y="246"/>
                  </a:lnTo>
                  <a:lnTo>
                    <a:pt x="138" y="248"/>
                  </a:lnTo>
                  <a:lnTo>
                    <a:pt x="136" y="248"/>
                  </a:lnTo>
                  <a:lnTo>
                    <a:pt x="136" y="248"/>
                  </a:lnTo>
                  <a:lnTo>
                    <a:pt x="134" y="248"/>
                  </a:lnTo>
                  <a:lnTo>
                    <a:pt x="134" y="248"/>
                  </a:lnTo>
                  <a:lnTo>
                    <a:pt x="132" y="248"/>
                  </a:lnTo>
                  <a:lnTo>
                    <a:pt x="128" y="248"/>
                  </a:lnTo>
                  <a:lnTo>
                    <a:pt x="126" y="248"/>
                  </a:lnTo>
                  <a:lnTo>
                    <a:pt x="124" y="248"/>
                  </a:lnTo>
                  <a:lnTo>
                    <a:pt x="122" y="248"/>
                  </a:lnTo>
                  <a:lnTo>
                    <a:pt x="120" y="248"/>
                  </a:lnTo>
                  <a:lnTo>
                    <a:pt x="118" y="244"/>
                  </a:lnTo>
                  <a:lnTo>
                    <a:pt x="112" y="242"/>
                  </a:lnTo>
                  <a:lnTo>
                    <a:pt x="110" y="240"/>
                  </a:lnTo>
                  <a:lnTo>
                    <a:pt x="110" y="240"/>
                  </a:lnTo>
                  <a:lnTo>
                    <a:pt x="108" y="238"/>
                  </a:lnTo>
                  <a:lnTo>
                    <a:pt x="106" y="238"/>
                  </a:lnTo>
                  <a:lnTo>
                    <a:pt x="102" y="238"/>
                  </a:lnTo>
                  <a:lnTo>
                    <a:pt x="98" y="238"/>
                  </a:lnTo>
                  <a:lnTo>
                    <a:pt x="94" y="238"/>
                  </a:lnTo>
                  <a:lnTo>
                    <a:pt x="88" y="238"/>
                  </a:lnTo>
                  <a:lnTo>
                    <a:pt x="84" y="238"/>
                  </a:lnTo>
                  <a:lnTo>
                    <a:pt x="82" y="234"/>
                  </a:lnTo>
                  <a:lnTo>
                    <a:pt x="80" y="230"/>
                  </a:lnTo>
                  <a:lnTo>
                    <a:pt x="76" y="224"/>
                  </a:lnTo>
                  <a:lnTo>
                    <a:pt x="74" y="222"/>
                  </a:lnTo>
                  <a:lnTo>
                    <a:pt x="72" y="220"/>
                  </a:lnTo>
                  <a:lnTo>
                    <a:pt x="70" y="220"/>
                  </a:lnTo>
                  <a:lnTo>
                    <a:pt x="68" y="218"/>
                  </a:lnTo>
                  <a:lnTo>
                    <a:pt x="64" y="216"/>
                  </a:lnTo>
                  <a:lnTo>
                    <a:pt x="60" y="212"/>
                  </a:lnTo>
                  <a:lnTo>
                    <a:pt x="58" y="212"/>
                  </a:lnTo>
                  <a:lnTo>
                    <a:pt x="56" y="210"/>
                  </a:lnTo>
                  <a:lnTo>
                    <a:pt x="56" y="210"/>
                  </a:lnTo>
                  <a:lnTo>
                    <a:pt x="54" y="208"/>
                  </a:lnTo>
                  <a:lnTo>
                    <a:pt x="52" y="206"/>
                  </a:lnTo>
                  <a:lnTo>
                    <a:pt x="50" y="204"/>
                  </a:lnTo>
                  <a:lnTo>
                    <a:pt x="48" y="202"/>
                  </a:lnTo>
                  <a:lnTo>
                    <a:pt x="46" y="202"/>
                  </a:lnTo>
                  <a:lnTo>
                    <a:pt x="46" y="200"/>
                  </a:lnTo>
                  <a:lnTo>
                    <a:pt x="44" y="200"/>
                  </a:lnTo>
                  <a:lnTo>
                    <a:pt x="42" y="200"/>
                  </a:lnTo>
                  <a:lnTo>
                    <a:pt x="42" y="200"/>
                  </a:lnTo>
                  <a:lnTo>
                    <a:pt x="40" y="200"/>
                  </a:lnTo>
                  <a:lnTo>
                    <a:pt x="36" y="200"/>
                  </a:lnTo>
                  <a:lnTo>
                    <a:pt x="34" y="202"/>
                  </a:lnTo>
                  <a:lnTo>
                    <a:pt x="30" y="202"/>
                  </a:lnTo>
                  <a:lnTo>
                    <a:pt x="26" y="202"/>
                  </a:lnTo>
                  <a:lnTo>
                    <a:pt x="24" y="202"/>
                  </a:lnTo>
                  <a:lnTo>
                    <a:pt x="22" y="202"/>
                  </a:lnTo>
                  <a:lnTo>
                    <a:pt x="22" y="202"/>
                  </a:lnTo>
                  <a:lnTo>
                    <a:pt x="20" y="202"/>
                  </a:lnTo>
                  <a:lnTo>
                    <a:pt x="18" y="200"/>
                  </a:lnTo>
                  <a:lnTo>
                    <a:pt x="16" y="200"/>
                  </a:lnTo>
                  <a:lnTo>
                    <a:pt x="12" y="198"/>
                  </a:lnTo>
                  <a:lnTo>
                    <a:pt x="8" y="196"/>
                  </a:lnTo>
                  <a:lnTo>
                    <a:pt x="2" y="190"/>
                  </a:lnTo>
                  <a:lnTo>
                    <a:pt x="0" y="190"/>
                  </a:lnTo>
                  <a:lnTo>
                    <a:pt x="4" y="182"/>
                  </a:lnTo>
                  <a:lnTo>
                    <a:pt x="8" y="178"/>
                  </a:lnTo>
                  <a:lnTo>
                    <a:pt x="10" y="176"/>
                  </a:lnTo>
                  <a:lnTo>
                    <a:pt x="12" y="172"/>
                  </a:lnTo>
                  <a:lnTo>
                    <a:pt x="12" y="172"/>
                  </a:lnTo>
                  <a:lnTo>
                    <a:pt x="12" y="170"/>
                  </a:lnTo>
                  <a:lnTo>
                    <a:pt x="12" y="168"/>
                  </a:lnTo>
                  <a:lnTo>
                    <a:pt x="12" y="166"/>
                  </a:lnTo>
                  <a:lnTo>
                    <a:pt x="12" y="166"/>
                  </a:lnTo>
                  <a:lnTo>
                    <a:pt x="14" y="164"/>
                  </a:lnTo>
                  <a:lnTo>
                    <a:pt x="14" y="164"/>
                  </a:lnTo>
                  <a:lnTo>
                    <a:pt x="14" y="164"/>
                  </a:lnTo>
                  <a:lnTo>
                    <a:pt x="14" y="164"/>
                  </a:lnTo>
                  <a:lnTo>
                    <a:pt x="16" y="164"/>
                  </a:lnTo>
                  <a:lnTo>
                    <a:pt x="16" y="164"/>
                  </a:lnTo>
                  <a:lnTo>
                    <a:pt x="18" y="164"/>
                  </a:lnTo>
                  <a:lnTo>
                    <a:pt x="20" y="164"/>
                  </a:lnTo>
                  <a:lnTo>
                    <a:pt x="22" y="164"/>
                  </a:lnTo>
                  <a:lnTo>
                    <a:pt x="24" y="164"/>
                  </a:lnTo>
                  <a:lnTo>
                    <a:pt x="26" y="164"/>
                  </a:lnTo>
                  <a:lnTo>
                    <a:pt x="26" y="164"/>
                  </a:lnTo>
                  <a:lnTo>
                    <a:pt x="28" y="164"/>
                  </a:lnTo>
                  <a:lnTo>
                    <a:pt x="28" y="162"/>
                  </a:lnTo>
                  <a:lnTo>
                    <a:pt x="28" y="162"/>
                  </a:lnTo>
                  <a:lnTo>
                    <a:pt x="30" y="160"/>
                  </a:lnTo>
                  <a:lnTo>
                    <a:pt x="30" y="158"/>
                  </a:lnTo>
                  <a:lnTo>
                    <a:pt x="30" y="156"/>
                  </a:lnTo>
                  <a:lnTo>
                    <a:pt x="32" y="154"/>
                  </a:lnTo>
                  <a:lnTo>
                    <a:pt x="32" y="152"/>
                  </a:lnTo>
                  <a:lnTo>
                    <a:pt x="32" y="150"/>
                  </a:lnTo>
                  <a:lnTo>
                    <a:pt x="32" y="146"/>
                  </a:lnTo>
                  <a:lnTo>
                    <a:pt x="32" y="142"/>
                  </a:lnTo>
                  <a:lnTo>
                    <a:pt x="32" y="136"/>
                  </a:lnTo>
                  <a:lnTo>
                    <a:pt x="30" y="130"/>
                  </a:lnTo>
                  <a:lnTo>
                    <a:pt x="30" y="124"/>
                  </a:lnTo>
                  <a:lnTo>
                    <a:pt x="30" y="118"/>
                  </a:lnTo>
                  <a:lnTo>
                    <a:pt x="28" y="114"/>
                  </a:lnTo>
                  <a:lnTo>
                    <a:pt x="26" y="104"/>
                  </a:lnTo>
                  <a:lnTo>
                    <a:pt x="24" y="98"/>
                  </a:lnTo>
                  <a:lnTo>
                    <a:pt x="24" y="9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2" name="Freeform 480"/>
            <p:cNvSpPr>
              <a:spLocks/>
            </p:cNvSpPr>
            <p:nvPr/>
          </p:nvSpPr>
          <p:spPr bwMode="auto">
            <a:xfrm>
              <a:off x="2301574" y="4303260"/>
              <a:ext cx="294453" cy="429555"/>
            </a:xfrm>
            <a:custGeom>
              <a:avLst/>
              <a:gdLst>
                <a:gd name="T0" fmla="*/ 34 w 170"/>
                <a:gd name="T1" fmla="*/ 72 h 248"/>
                <a:gd name="T2" fmla="*/ 40 w 170"/>
                <a:gd name="T3" fmla="*/ 76 h 248"/>
                <a:gd name="T4" fmla="*/ 42 w 170"/>
                <a:gd name="T5" fmla="*/ 72 h 248"/>
                <a:gd name="T6" fmla="*/ 42 w 170"/>
                <a:gd name="T7" fmla="*/ 56 h 248"/>
                <a:gd name="T8" fmla="*/ 46 w 170"/>
                <a:gd name="T9" fmla="*/ 52 h 248"/>
                <a:gd name="T10" fmla="*/ 56 w 170"/>
                <a:gd name="T11" fmla="*/ 50 h 248"/>
                <a:gd name="T12" fmla="*/ 58 w 170"/>
                <a:gd name="T13" fmla="*/ 44 h 248"/>
                <a:gd name="T14" fmla="*/ 58 w 170"/>
                <a:gd name="T15" fmla="*/ 34 h 248"/>
                <a:gd name="T16" fmla="*/ 68 w 170"/>
                <a:gd name="T17" fmla="*/ 24 h 248"/>
                <a:gd name="T18" fmla="*/ 78 w 170"/>
                <a:gd name="T19" fmla="*/ 20 h 248"/>
                <a:gd name="T20" fmla="*/ 90 w 170"/>
                <a:gd name="T21" fmla="*/ 20 h 248"/>
                <a:gd name="T22" fmla="*/ 94 w 170"/>
                <a:gd name="T23" fmla="*/ 14 h 248"/>
                <a:gd name="T24" fmla="*/ 96 w 170"/>
                <a:gd name="T25" fmla="*/ 6 h 248"/>
                <a:gd name="T26" fmla="*/ 104 w 170"/>
                <a:gd name="T27" fmla="*/ 2 h 248"/>
                <a:gd name="T28" fmla="*/ 112 w 170"/>
                <a:gd name="T29" fmla="*/ 4 h 248"/>
                <a:gd name="T30" fmla="*/ 104 w 170"/>
                <a:gd name="T31" fmla="*/ 18 h 248"/>
                <a:gd name="T32" fmla="*/ 100 w 170"/>
                <a:gd name="T33" fmla="*/ 32 h 248"/>
                <a:gd name="T34" fmla="*/ 96 w 170"/>
                <a:gd name="T35" fmla="*/ 44 h 248"/>
                <a:gd name="T36" fmla="*/ 88 w 170"/>
                <a:gd name="T37" fmla="*/ 48 h 248"/>
                <a:gd name="T38" fmla="*/ 86 w 170"/>
                <a:gd name="T39" fmla="*/ 52 h 248"/>
                <a:gd name="T40" fmla="*/ 94 w 170"/>
                <a:gd name="T41" fmla="*/ 60 h 248"/>
                <a:gd name="T42" fmla="*/ 100 w 170"/>
                <a:gd name="T43" fmla="*/ 68 h 248"/>
                <a:gd name="T44" fmla="*/ 96 w 170"/>
                <a:gd name="T45" fmla="*/ 78 h 248"/>
                <a:gd name="T46" fmla="*/ 96 w 170"/>
                <a:gd name="T47" fmla="*/ 86 h 248"/>
                <a:gd name="T48" fmla="*/ 104 w 170"/>
                <a:gd name="T49" fmla="*/ 86 h 248"/>
                <a:gd name="T50" fmla="*/ 120 w 170"/>
                <a:gd name="T51" fmla="*/ 86 h 248"/>
                <a:gd name="T52" fmla="*/ 122 w 170"/>
                <a:gd name="T53" fmla="*/ 88 h 248"/>
                <a:gd name="T54" fmla="*/ 124 w 170"/>
                <a:gd name="T55" fmla="*/ 96 h 248"/>
                <a:gd name="T56" fmla="*/ 130 w 170"/>
                <a:gd name="T57" fmla="*/ 100 h 248"/>
                <a:gd name="T58" fmla="*/ 150 w 170"/>
                <a:gd name="T59" fmla="*/ 108 h 248"/>
                <a:gd name="T60" fmla="*/ 166 w 170"/>
                <a:gd name="T61" fmla="*/ 112 h 248"/>
                <a:gd name="T62" fmla="*/ 170 w 170"/>
                <a:gd name="T63" fmla="*/ 122 h 248"/>
                <a:gd name="T64" fmla="*/ 168 w 170"/>
                <a:gd name="T65" fmla="*/ 144 h 248"/>
                <a:gd name="T66" fmla="*/ 162 w 170"/>
                <a:gd name="T67" fmla="*/ 162 h 248"/>
                <a:gd name="T68" fmla="*/ 150 w 170"/>
                <a:gd name="T69" fmla="*/ 178 h 248"/>
                <a:gd name="T70" fmla="*/ 138 w 170"/>
                <a:gd name="T71" fmla="*/ 184 h 248"/>
                <a:gd name="T72" fmla="*/ 134 w 170"/>
                <a:gd name="T73" fmla="*/ 192 h 248"/>
                <a:gd name="T74" fmla="*/ 138 w 170"/>
                <a:gd name="T75" fmla="*/ 196 h 248"/>
                <a:gd name="T76" fmla="*/ 140 w 170"/>
                <a:gd name="T77" fmla="*/ 200 h 248"/>
                <a:gd name="T78" fmla="*/ 134 w 170"/>
                <a:gd name="T79" fmla="*/ 204 h 248"/>
                <a:gd name="T80" fmla="*/ 132 w 170"/>
                <a:gd name="T81" fmla="*/ 210 h 248"/>
                <a:gd name="T82" fmla="*/ 136 w 170"/>
                <a:gd name="T83" fmla="*/ 232 h 248"/>
                <a:gd name="T84" fmla="*/ 138 w 170"/>
                <a:gd name="T85" fmla="*/ 244 h 248"/>
                <a:gd name="T86" fmla="*/ 134 w 170"/>
                <a:gd name="T87" fmla="*/ 248 h 248"/>
                <a:gd name="T88" fmla="*/ 122 w 170"/>
                <a:gd name="T89" fmla="*/ 248 h 248"/>
                <a:gd name="T90" fmla="*/ 108 w 170"/>
                <a:gd name="T91" fmla="*/ 238 h 248"/>
                <a:gd name="T92" fmla="*/ 84 w 170"/>
                <a:gd name="T93" fmla="*/ 238 h 248"/>
                <a:gd name="T94" fmla="*/ 70 w 170"/>
                <a:gd name="T95" fmla="*/ 220 h 248"/>
                <a:gd name="T96" fmla="*/ 56 w 170"/>
                <a:gd name="T97" fmla="*/ 210 h 248"/>
                <a:gd name="T98" fmla="*/ 46 w 170"/>
                <a:gd name="T99" fmla="*/ 200 h 248"/>
                <a:gd name="T100" fmla="*/ 34 w 170"/>
                <a:gd name="T101" fmla="*/ 202 h 248"/>
                <a:gd name="T102" fmla="*/ 20 w 170"/>
                <a:gd name="T103" fmla="*/ 202 h 248"/>
                <a:gd name="T104" fmla="*/ 0 w 170"/>
                <a:gd name="T105" fmla="*/ 190 h 248"/>
                <a:gd name="T106" fmla="*/ 12 w 170"/>
                <a:gd name="T107" fmla="*/ 170 h 248"/>
                <a:gd name="T108" fmla="*/ 14 w 170"/>
                <a:gd name="T109" fmla="*/ 164 h 248"/>
                <a:gd name="T110" fmla="*/ 22 w 170"/>
                <a:gd name="T111" fmla="*/ 164 h 248"/>
                <a:gd name="T112" fmla="*/ 28 w 170"/>
                <a:gd name="T113" fmla="*/ 162 h 248"/>
                <a:gd name="T114" fmla="*/ 32 w 170"/>
                <a:gd name="T115" fmla="*/ 150 h 248"/>
                <a:gd name="T116" fmla="*/ 30 w 170"/>
                <a:gd name="T117" fmla="*/ 1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 h="248">
                  <a:moveTo>
                    <a:pt x="24" y="96"/>
                  </a:moveTo>
                  <a:lnTo>
                    <a:pt x="26" y="64"/>
                  </a:lnTo>
                  <a:lnTo>
                    <a:pt x="28" y="66"/>
                  </a:lnTo>
                  <a:lnTo>
                    <a:pt x="30" y="68"/>
                  </a:lnTo>
                  <a:lnTo>
                    <a:pt x="32" y="70"/>
                  </a:lnTo>
                  <a:lnTo>
                    <a:pt x="34" y="72"/>
                  </a:lnTo>
                  <a:lnTo>
                    <a:pt x="36" y="74"/>
                  </a:lnTo>
                  <a:lnTo>
                    <a:pt x="36" y="74"/>
                  </a:lnTo>
                  <a:lnTo>
                    <a:pt x="38" y="76"/>
                  </a:lnTo>
                  <a:lnTo>
                    <a:pt x="38" y="76"/>
                  </a:lnTo>
                  <a:lnTo>
                    <a:pt x="40" y="76"/>
                  </a:lnTo>
                  <a:lnTo>
                    <a:pt x="40" y="76"/>
                  </a:lnTo>
                  <a:lnTo>
                    <a:pt x="40" y="76"/>
                  </a:lnTo>
                  <a:lnTo>
                    <a:pt x="40" y="76"/>
                  </a:lnTo>
                  <a:lnTo>
                    <a:pt x="42" y="74"/>
                  </a:lnTo>
                  <a:lnTo>
                    <a:pt x="42" y="74"/>
                  </a:lnTo>
                  <a:lnTo>
                    <a:pt x="42" y="72"/>
                  </a:lnTo>
                  <a:lnTo>
                    <a:pt x="42" y="72"/>
                  </a:lnTo>
                  <a:lnTo>
                    <a:pt x="42" y="70"/>
                  </a:lnTo>
                  <a:lnTo>
                    <a:pt x="42" y="66"/>
                  </a:lnTo>
                  <a:lnTo>
                    <a:pt x="42" y="62"/>
                  </a:lnTo>
                  <a:lnTo>
                    <a:pt x="42" y="60"/>
                  </a:lnTo>
                  <a:lnTo>
                    <a:pt x="42" y="58"/>
                  </a:lnTo>
                  <a:lnTo>
                    <a:pt x="42" y="56"/>
                  </a:lnTo>
                  <a:lnTo>
                    <a:pt x="42" y="56"/>
                  </a:lnTo>
                  <a:lnTo>
                    <a:pt x="42" y="54"/>
                  </a:lnTo>
                  <a:lnTo>
                    <a:pt x="44" y="54"/>
                  </a:lnTo>
                  <a:lnTo>
                    <a:pt x="44" y="54"/>
                  </a:lnTo>
                  <a:lnTo>
                    <a:pt x="44" y="54"/>
                  </a:lnTo>
                  <a:lnTo>
                    <a:pt x="46" y="52"/>
                  </a:lnTo>
                  <a:lnTo>
                    <a:pt x="48" y="52"/>
                  </a:lnTo>
                  <a:lnTo>
                    <a:pt x="50" y="52"/>
                  </a:lnTo>
                  <a:lnTo>
                    <a:pt x="52" y="52"/>
                  </a:lnTo>
                  <a:lnTo>
                    <a:pt x="54" y="50"/>
                  </a:lnTo>
                  <a:lnTo>
                    <a:pt x="56" y="50"/>
                  </a:lnTo>
                  <a:lnTo>
                    <a:pt x="56" y="50"/>
                  </a:lnTo>
                  <a:lnTo>
                    <a:pt x="58" y="50"/>
                  </a:lnTo>
                  <a:lnTo>
                    <a:pt x="58" y="48"/>
                  </a:lnTo>
                  <a:lnTo>
                    <a:pt x="58" y="48"/>
                  </a:lnTo>
                  <a:lnTo>
                    <a:pt x="58" y="46"/>
                  </a:lnTo>
                  <a:lnTo>
                    <a:pt x="58" y="46"/>
                  </a:lnTo>
                  <a:lnTo>
                    <a:pt x="58" y="44"/>
                  </a:lnTo>
                  <a:lnTo>
                    <a:pt x="58" y="42"/>
                  </a:lnTo>
                  <a:lnTo>
                    <a:pt x="58" y="40"/>
                  </a:lnTo>
                  <a:lnTo>
                    <a:pt x="58" y="38"/>
                  </a:lnTo>
                  <a:lnTo>
                    <a:pt x="58" y="36"/>
                  </a:lnTo>
                  <a:lnTo>
                    <a:pt x="58" y="34"/>
                  </a:lnTo>
                  <a:lnTo>
                    <a:pt x="58" y="34"/>
                  </a:lnTo>
                  <a:lnTo>
                    <a:pt x="58" y="32"/>
                  </a:lnTo>
                  <a:lnTo>
                    <a:pt x="60" y="30"/>
                  </a:lnTo>
                  <a:lnTo>
                    <a:pt x="62" y="28"/>
                  </a:lnTo>
                  <a:lnTo>
                    <a:pt x="64" y="26"/>
                  </a:lnTo>
                  <a:lnTo>
                    <a:pt x="66" y="24"/>
                  </a:lnTo>
                  <a:lnTo>
                    <a:pt x="68" y="24"/>
                  </a:lnTo>
                  <a:lnTo>
                    <a:pt x="70" y="22"/>
                  </a:lnTo>
                  <a:lnTo>
                    <a:pt x="72" y="20"/>
                  </a:lnTo>
                  <a:lnTo>
                    <a:pt x="74" y="20"/>
                  </a:lnTo>
                  <a:lnTo>
                    <a:pt x="74" y="20"/>
                  </a:lnTo>
                  <a:lnTo>
                    <a:pt x="76" y="20"/>
                  </a:lnTo>
                  <a:lnTo>
                    <a:pt x="78" y="20"/>
                  </a:lnTo>
                  <a:lnTo>
                    <a:pt x="80" y="20"/>
                  </a:lnTo>
                  <a:lnTo>
                    <a:pt x="84" y="20"/>
                  </a:lnTo>
                  <a:lnTo>
                    <a:pt x="86" y="20"/>
                  </a:lnTo>
                  <a:lnTo>
                    <a:pt x="88" y="20"/>
                  </a:lnTo>
                  <a:lnTo>
                    <a:pt x="90" y="20"/>
                  </a:lnTo>
                  <a:lnTo>
                    <a:pt x="90" y="20"/>
                  </a:lnTo>
                  <a:lnTo>
                    <a:pt x="92" y="18"/>
                  </a:lnTo>
                  <a:lnTo>
                    <a:pt x="92" y="18"/>
                  </a:lnTo>
                  <a:lnTo>
                    <a:pt x="92" y="18"/>
                  </a:lnTo>
                  <a:lnTo>
                    <a:pt x="92" y="18"/>
                  </a:lnTo>
                  <a:lnTo>
                    <a:pt x="94" y="16"/>
                  </a:lnTo>
                  <a:lnTo>
                    <a:pt x="94" y="14"/>
                  </a:lnTo>
                  <a:lnTo>
                    <a:pt x="94" y="12"/>
                  </a:lnTo>
                  <a:lnTo>
                    <a:pt x="94" y="10"/>
                  </a:lnTo>
                  <a:lnTo>
                    <a:pt x="96" y="8"/>
                  </a:lnTo>
                  <a:lnTo>
                    <a:pt x="96" y="6"/>
                  </a:lnTo>
                  <a:lnTo>
                    <a:pt x="96" y="6"/>
                  </a:lnTo>
                  <a:lnTo>
                    <a:pt x="96" y="6"/>
                  </a:lnTo>
                  <a:lnTo>
                    <a:pt x="98" y="6"/>
                  </a:lnTo>
                  <a:lnTo>
                    <a:pt x="98" y="4"/>
                  </a:lnTo>
                  <a:lnTo>
                    <a:pt x="100" y="4"/>
                  </a:lnTo>
                  <a:lnTo>
                    <a:pt x="102" y="2"/>
                  </a:lnTo>
                  <a:lnTo>
                    <a:pt x="102" y="2"/>
                  </a:lnTo>
                  <a:lnTo>
                    <a:pt x="104" y="2"/>
                  </a:lnTo>
                  <a:lnTo>
                    <a:pt x="106" y="0"/>
                  </a:lnTo>
                  <a:lnTo>
                    <a:pt x="106" y="0"/>
                  </a:lnTo>
                  <a:lnTo>
                    <a:pt x="108" y="0"/>
                  </a:lnTo>
                  <a:lnTo>
                    <a:pt x="110" y="2"/>
                  </a:lnTo>
                  <a:lnTo>
                    <a:pt x="110" y="2"/>
                  </a:lnTo>
                  <a:lnTo>
                    <a:pt x="112" y="4"/>
                  </a:lnTo>
                  <a:lnTo>
                    <a:pt x="114" y="6"/>
                  </a:lnTo>
                  <a:lnTo>
                    <a:pt x="114" y="6"/>
                  </a:lnTo>
                  <a:lnTo>
                    <a:pt x="114" y="8"/>
                  </a:lnTo>
                  <a:lnTo>
                    <a:pt x="110" y="12"/>
                  </a:lnTo>
                  <a:lnTo>
                    <a:pt x="106" y="16"/>
                  </a:lnTo>
                  <a:lnTo>
                    <a:pt x="104" y="18"/>
                  </a:lnTo>
                  <a:lnTo>
                    <a:pt x="104" y="20"/>
                  </a:lnTo>
                  <a:lnTo>
                    <a:pt x="102" y="20"/>
                  </a:lnTo>
                  <a:lnTo>
                    <a:pt x="102" y="22"/>
                  </a:lnTo>
                  <a:lnTo>
                    <a:pt x="102" y="24"/>
                  </a:lnTo>
                  <a:lnTo>
                    <a:pt x="100" y="28"/>
                  </a:lnTo>
                  <a:lnTo>
                    <a:pt x="100" y="32"/>
                  </a:lnTo>
                  <a:lnTo>
                    <a:pt x="100" y="36"/>
                  </a:lnTo>
                  <a:lnTo>
                    <a:pt x="98" y="38"/>
                  </a:lnTo>
                  <a:lnTo>
                    <a:pt x="98" y="40"/>
                  </a:lnTo>
                  <a:lnTo>
                    <a:pt x="98" y="42"/>
                  </a:lnTo>
                  <a:lnTo>
                    <a:pt x="98" y="42"/>
                  </a:lnTo>
                  <a:lnTo>
                    <a:pt x="96" y="44"/>
                  </a:lnTo>
                  <a:lnTo>
                    <a:pt x="96" y="44"/>
                  </a:lnTo>
                  <a:lnTo>
                    <a:pt x="96" y="44"/>
                  </a:lnTo>
                  <a:lnTo>
                    <a:pt x="94" y="44"/>
                  </a:lnTo>
                  <a:lnTo>
                    <a:pt x="92" y="46"/>
                  </a:lnTo>
                  <a:lnTo>
                    <a:pt x="90" y="48"/>
                  </a:lnTo>
                  <a:lnTo>
                    <a:pt x="88" y="48"/>
                  </a:lnTo>
                  <a:lnTo>
                    <a:pt x="88" y="48"/>
                  </a:lnTo>
                  <a:lnTo>
                    <a:pt x="88" y="48"/>
                  </a:lnTo>
                  <a:lnTo>
                    <a:pt x="86" y="50"/>
                  </a:lnTo>
                  <a:lnTo>
                    <a:pt x="86" y="50"/>
                  </a:lnTo>
                  <a:lnTo>
                    <a:pt x="86" y="50"/>
                  </a:lnTo>
                  <a:lnTo>
                    <a:pt x="86" y="52"/>
                  </a:lnTo>
                  <a:lnTo>
                    <a:pt x="88" y="52"/>
                  </a:lnTo>
                  <a:lnTo>
                    <a:pt x="88" y="54"/>
                  </a:lnTo>
                  <a:lnTo>
                    <a:pt x="88" y="56"/>
                  </a:lnTo>
                  <a:lnTo>
                    <a:pt x="90" y="56"/>
                  </a:lnTo>
                  <a:lnTo>
                    <a:pt x="92" y="58"/>
                  </a:lnTo>
                  <a:lnTo>
                    <a:pt x="94" y="60"/>
                  </a:lnTo>
                  <a:lnTo>
                    <a:pt x="96" y="64"/>
                  </a:lnTo>
                  <a:lnTo>
                    <a:pt x="98" y="64"/>
                  </a:lnTo>
                  <a:lnTo>
                    <a:pt x="98" y="66"/>
                  </a:lnTo>
                  <a:lnTo>
                    <a:pt x="98" y="66"/>
                  </a:lnTo>
                  <a:lnTo>
                    <a:pt x="100" y="68"/>
                  </a:lnTo>
                  <a:lnTo>
                    <a:pt x="100" y="68"/>
                  </a:lnTo>
                  <a:lnTo>
                    <a:pt x="100" y="70"/>
                  </a:lnTo>
                  <a:lnTo>
                    <a:pt x="100" y="70"/>
                  </a:lnTo>
                  <a:lnTo>
                    <a:pt x="98" y="72"/>
                  </a:lnTo>
                  <a:lnTo>
                    <a:pt x="98" y="74"/>
                  </a:lnTo>
                  <a:lnTo>
                    <a:pt x="96" y="76"/>
                  </a:lnTo>
                  <a:lnTo>
                    <a:pt x="96" y="78"/>
                  </a:lnTo>
                  <a:lnTo>
                    <a:pt x="96" y="82"/>
                  </a:lnTo>
                  <a:lnTo>
                    <a:pt x="94" y="82"/>
                  </a:lnTo>
                  <a:lnTo>
                    <a:pt x="94" y="84"/>
                  </a:lnTo>
                  <a:lnTo>
                    <a:pt x="96" y="84"/>
                  </a:lnTo>
                  <a:lnTo>
                    <a:pt x="96" y="84"/>
                  </a:lnTo>
                  <a:lnTo>
                    <a:pt x="96" y="86"/>
                  </a:lnTo>
                  <a:lnTo>
                    <a:pt x="96" y="86"/>
                  </a:lnTo>
                  <a:lnTo>
                    <a:pt x="98" y="86"/>
                  </a:lnTo>
                  <a:lnTo>
                    <a:pt x="100" y="86"/>
                  </a:lnTo>
                  <a:lnTo>
                    <a:pt x="100" y="86"/>
                  </a:lnTo>
                  <a:lnTo>
                    <a:pt x="102" y="86"/>
                  </a:lnTo>
                  <a:lnTo>
                    <a:pt x="104" y="86"/>
                  </a:lnTo>
                  <a:lnTo>
                    <a:pt x="108" y="86"/>
                  </a:lnTo>
                  <a:lnTo>
                    <a:pt x="112" y="86"/>
                  </a:lnTo>
                  <a:lnTo>
                    <a:pt x="114" y="86"/>
                  </a:lnTo>
                  <a:lnTo>
                    <a:pt x="116" y="84"/>
                  </a:lnTo>
                  <a:lnTo>
                    <a:pt x="118" y="84"/>
                  </a:lnTo>
                  <a:lnTo>
                    <a:pt x="120" y="86"/>
                  </a:lnTo>
                  <a:lnTo>
                    <a:pt x="122" y="86"/>
                  </a:lnTo>
                  <a:lnTo>
                    <a:pt x="122" y="86"/>
                  </a:lnTo>
                  <a:lnTo>
                    <a:pt x="122" y="86"/>
                  </a:lnTo>
                  <a:lnTo>
                    <a:pt x="122" y="86"/>
                  </a:lnTo>
                  <a:lnTo>
                    <a:pt x="122" y="88"/>
                  </a:lnTo>
                  <a:lnTo>
                    <a:pt x="122" y="88"/>
                  </a:lnTo>
                  <a:lnTo>
                    <a:pt x="122" y="90"/>
                  </a:lnTo>
                  <a:lnTo>
                    <a:pt x="122" y="92"/>
                  </a:lnTo>
                  <a:lnTo>
                    <a:pt x="122" y="92"/>
                  </a:lnTo>
                  <a:lnTo>
                    <a:pt x="122" y="94"/>
                  </a:lnTo>
                  <a:lnTo>
                    <a:pt x="122" y="96"/>
                  </a:lnTo>
                  <a:lnTo>
                    <a:pt x="124" y="96"/>
                  </a:lnTo>
                  <a:lnTo>
                    <a:pt x="124" y="96"/>
                  </a:lnTo>
                  <a:lnTo>
                    <a:pt x="124" y="98"/>
                  </a:lnTo>
                  <a:lnTo>
                    <a:pt x="124" y="98"/>
                  </a:lnTo>
                  <a:lnTo>
                    <a:pt x="126" y="98"/>
                  </a:lnTo>
                  <a:lnTo>
                    <a:pt x="128" y="100"/>
                  </a:lnTo>
                  <a:lnTo>
                    <a:pt x="130" y="100"/>
                  </a:lnTo>
                  <a:lnTo>
                    <a:pt x="134" y="102"/>
                  </a:lnTo>
                  <a:lnTo>
                    <a:pt x="136" y="104"/>
                  </a:lnTo>
                  <a:lnTo>
                    <a:pt x="140" y="104"/>
                  </a:lnTo>
                  <a:lnTo>
                    <a:pt x="144" y="106"/>
                  </a:lnTo>
                  <a:lnTo>
                    <a:pt x="148" y="108"/>
                  </a:lnTo>
                  <a:lnTo>
                    <a:pt x="150" y="108"/>
                  </a:lnTo>
                  <a:lnTo>
                    <a:pt x="156" y="110"/>
                  </a:lnTo>
                  <a:lnTo>
                    <a:pt x="160" y="110"/>
                  </a:lnTo>
                  <a:lnTo>
                    <a:pt x="164" y="110"/>
                  </a:lnTo>
                  <a:lnTo>
                    <a:pt x="164" y="112"/>
                  </a:lnTo>
                  <a:lnTo>
                    <a:pt x="166" y="112"/>
                  </a:lnTo>
                  <a:lnTo>
                    <a:pt x="166" y="112"/>
                  </a:lnTo>
                  <a:lnTo>
                    <a:pt x="168" y="114"/>
                  </a:lnTo>
                  <a:lnTo>
                    <a:pt x="168" y="116"/>
                  </a:lnTo>
                  <a:lnTo>
                    <a:pt x="168" y="116"/>
                  </a:lnTo>
                  <a:lnTo>
                    <a:pt x="170" y="118"/>
                  </a:lnTo>
                  <a:lnTo>
                    <a:pt x="170" y="120"/>
                  </a:lnTo>
                  <a:lnTo>
                    <a:pt x="170" y="122"/>
                  </a:lnTo>
                  <a:lnTo>
                    <a:pt x="170" y="124"/>
                  </a:lnTo>
                  <a:lnTo>
                    <a:pt x="170" y="128"/>
                  </a:lnTo>
                  <a:lnTo>
                    <a:pt x="168" y="132"/>
                  </a:lnTo>
                  <a:lnTo>
                    <a:pt x="168" y="136"/>
                  </a:lnTo>
                  <a:lnTo>
                    <a:pt x="168" y="142"/>
                  </a:lnTo>
                  <a:lnTo>
                    <a:pt x="168" y="144"/>
                  </a:lnTo>
                  <a:lnTo>
                    <a:pt x="166" y="146"/>
                  </a:lnTo>
                  <a:lnTo>
                    <a:pt x="164" y="152"/>
                  </a:lnTo>
                  <a:lnTo>
                    <a:pt x="164" y="156"/>
                  </a:lnTo>
                  <a:lnTo>
                    <a:pt x="162" y="158"/>
                  </a:lnTo>
                  <a:lnTo>
                    <a:pt x="162" y="160"/>
                  </a:lnTo>
                  <a:lnTo>
                    <a:pt x="162" y="162"/>
                  </a:lnTo>
                  <a:lnTo>
                    <a:pt x="162" y="164"/>
                  </a:lnTo>
                  <a:lnTo>
                    <a:pt x="164" y="168"/>
                  </a:lnTo>
                  <a:lnTo>
                    <a:pt x="164" y="174"/>
                  </a:lnTo>
                  <a:lnTo>
                    <a:pt x="162" y="176"/>
                  </a:lnTo>
                  <a:lnTo>
                    <a:pt x="154" y="176"/>
                  </a:lnTo>
                  <a:lnTo>
                    <a:pt x="150" y="178"/>
                  </a:lnTo>
                  <a:lnTo>
                    <a:pt x="146" y="180"/>
                  </a:lnTo>
                  <a:lnTo>
                    <a:pt x="142" y="182"/>
                  </a:lnTo>
                  <a:lnTo>
                    <a:pt x="140" y="182"/>
                  </a:lnTo>
                  <a:lnTo>
                    <a:pt x="140" y="182"/>
                  </a:lnTo>
                  <a:lnTo>
                    <a:pt x="138" y="184"/>
                  </a:lnTo>
                  <a:lnTo>
                    <a:pt x="138" y="184"/>
                  </a:lnTo>
                  <a:lnTo>
                    <a:pt x="136" y="186"/>
                  </a:lnTo>
                  <a:lnTo>
                    <a:pt x="136" y="188"/>
                  </a:lnTo>
                  <a:lnTo>
                    <a:pt x="134" y="190"/>
                  </a:lnTo>
                  <a:lnTo>
                    <a:pt x="134" y="190"/>
                  </a:lnTo>
                  <a:lnTo>
                    <a:pt x="134" y="192"/>
                  </a:lnTo>
                  <a:lnTo>
                    <a:pt x="134" y="192"/>
                  </a:lnTo>
                  <a:lnTo>
                    <a:pt x="134" y="194"/>
                  </a:lnTo>
                  <a:lnTo>
                    <a:pt x="134" y="194"/>
                  </a:lnTo>
                  <a:lnTo>
                    <a:pt x="134" y="194"/>
                  </a:lnTo>
                  <a:lnTo>
                    <a:pt x="134" y="194"/>
                  </a:lnTo>
                  <a:lnTo>
                    <a:pt x="136" y="196"/>
                  </a:lnTo>
                  <a:lnTo>
                    <a:pt x="138" y="196"/>
                  </a:lnTo>
                  <a:lnTo>
                    <a:pt x="138" y="198"/>
                  </a:lnTo>
                  <a:lnTo>
                    <a:pt x="140" y="198"/>
                  </a:lnTo>
                  <a:lnTo>
                    <a:pt x="140" y="200"/>
                  </a:lnTo>
                  <a:lnTo>
                    <a:pt x="140" y="200"/>
                  </a:lnTo>
                  <a:lnTo>
                    <a:pt x="140" y="200"/>
                  </a:lnTo>
                  <a:lnTo>
                    <a:pt x="140" y="200"/>
                  </a:lnTo>
                  <a:lnTo>
                    <a:pt x="140" y="202"/>
                  </a:lnTo>
                  <a:lnTo>
                    <a:pt x="140" y="202"/>
                  </a:lnTo>
                  <a:lnTo>
                    <a:pt x="140" y="202"/>
                  </a:lnTo>
                  <a:lnTo>
                    <a:pt x="138" y="202"/>
                  </a:lnTo>
                  <a:lnTo>
                    <a:pt x="138" y="204"/>
                  </a:lnTo>
                  <a:lnTo>
                    <a:pt x="134" y="204"/>
                  </a:lnTo>
                  <a:lnTo>
                    <a:pt x="134" y="204"/>
                  </a:lnTo>
                  <a:lnTo>
                    <a:pt x="134" y="206"/>
                  </a:lnTo>
                  <a:lnTo>
                    <a:pt x="134" y="206"/>
                  </a:lnTo>
                  <a:lnTo>
                    <a:pt x="132" y="206"/>
                  </a:lnTo>
                  <a:lnTo>
                    <a:pt x="132" y="208"/>
                  </a:lnTo>
                  <a:lnTo>
                    <a:pt x="132" y="210"/>
                  </a:lnTo>
                  <a:lnTo>
                    <a:pt x="132" y="212"/>
                  </a:lnTo>
                  <a:lnTo>
                    <a:pt x="132" y="214"/>
                  </a:lnTo>
                  <a:lnTo>
                    <a:pt x="134" y="216"/>
                  </a:lnTo>
                  <a:lnTo>
                    <a:pt x="134" y="220"/>
                  </a:lnTo>
                  <a:lnTo>
                    <a:pt x="136" y="228"/>
                  </a:lnTo>
                  <a:lnTo>
                    <a:pt x="136" y="232"/>
                  </a:lnTo>
                  <a:lnTo>
                    <a:pt x="136" y="232"/>
                  </a:lnTo>
                  <a:lnTo>
                    <a:pt x="138" y="234"/>
                  </a:lnTo>
                  <a:lnTo>
                    <a:pt x="138" y="238"/>
                  </a:lnTo>
                  <a:lnTo>
                    <a:pt x="138" y="242"/>
                  </a:lnTo>
                  <a:lnTo>
                    <a:pt x="138" y="242"/>
                  </a:lnTo>
                  <a:lnTo>
                    <a:pt x="138" y="244"/>
                  </a:lnTo>
                  <a:lnTo>
                    <a:pt x="138" y="246"/>
                  </a:lnTo>
                  <a:lnTo>
                    <a:pt x="138" y="246"/>
                  </a:lnTo>
                  <a:lnTo>
                    <a:pt x="138" y="248"/>
                  </a:lnTo>
                  <a:lnTo>
                    <a:pt x="136" y="248"/>
                  </a:lnTo>
                  <a:lnTo>
                    <a:pt x="136" y="248"/>
                  </a:lnTo>
                  <a:lnTo>
                    <a:pt x="134" y="248"/>
                  </a:lnTo>
                  <a:lnTo>
                    <a:pt x="134" y="248"/>
                  </a:lnTo>
                  <a:lnTo>
                    <a:pt x="132" y="248"/>
                  </a:lnTo>
                  <a:lnTo>
                    <a:pt x="128" y="248"/>
                  </a:lnTo>
                  <a:lnTo>
                    <a:pt x="126" y="248"/>
                  </a:lnTo>
                  <a:lnTo>
                    <a:pt x="124" y="248"/>
                  </a:lnTo>
                  <a:lnTo>
                    <a:pt x="122" y="248"/>
                  </a:lnTo>
                  <a:lnTo>
                    <a:pt x="120" y="248"/>
                  </a:lnTo>
                  <a:lnTo>
                    <a:pt x="118" y="244"/>
                  </a:lnTo>
                  <a:lnTo>
                    <a:pt x="112" y="242"/>
                  </a:lnTo>
                  <a:lnTo>
                    <a:pt x="110" y="240"/>
                  </a:lnTo>
                  <a:lnTo>
                    <a:pt x="110" y="240"/>
                  </a:lnTo>
                  <a:lnTo>
                    <a:pt x="108" y="238"/>
                  </a:lnTo>
                  <a:lnTo>
                    <a:pt x="106" y="238"/>
                  </a:lnTo>
                  <a:lnTo>
                    <a:pt x="102" y="238"/>
                  </a:lnTo>
                  <a:lnTo>
                    <a:pt x="98" y="238"/>
                  </a:lnTo>
                  <a:lnTo>
                    <a:pt x="94" y="238"/>
                  </a:lnTo>
                  <a:lnTo>
                    <a:pt x="88" y="238"/>
                  </a:lnTo>
                  <a:lnTo>
                    <a:pt x="84" y="238"/>
                  </a:lnTo>
                  <a:lnTo>
                    <a:pt x="82" y="234"/>
                  </a:lnTo>
                  <a:lnTo>
                    <a:pt x="80" y="230"/>
                  </a:lnTo>
                  <a:lnTo>
                    <a:pt x="76" y="224"/>
                  </a:lnTo>
                  <a:lnTo>
                    <a:pt x="74" y="222"/>
                  </a:lnTo>
                  <a:lnTo>
                    <a:pt x="72" y="220"/>
                  </a:lnTo>
                  <a:lnTo>
                    <a:pt x="70" y="220"/>
                  </a:lnTo>
                  <a:lnTo>
                    <a:pt x="68" y="218"/>
                  </a:lnTo>
                  <a:lnTo>
                    <a:pt x="64" y="216"/>
                  </a:lnTo>
                  <a:lnTo>
                    <a:pt x="60" y="212"/>
                  </a:lnTo>
                  <a:lnTo>
                    <a:pt x="58" y="212"/>
                  </a:lnTo>
                  <a:lnTo>
                    <a:pt x="56" y="210"/>
                  </a:lnTo>
                  <a:lnTo>
                    <a:pt x="56" y="210"/>
                  </a:lnTo>
                  <a:lnTo>
                    <a:pt x="54" y="208"/>
                  </a:lnTo>
                  <a:lnTo>
                    <a:pt x="52" y="206"/>
                  </a:lnTo>
                  <a:lnTo>
                    <a:pt x="50" y="204"/>
                  </a:lnTo>
                  <a:lnTo>
                    <a:pt x="48" y="202"/>
                  </a:lnTo>
                  <a:lnTo>
                    <a:pt x="46" y="202"/>
                  </a:lnTo>
                  <a:lnTo>
                    <a:pt x="46" y="200"/>
                  </a:lnTo>
                  <a:lnTo>
                    <a:pt x="44" y="200"/>
                  </a:lnTo>
                  <a:lnTo>
                    <a:pt x="42" y="200"/>
                  </a:lnTo>
                  <a:lnTo>
                    <a:pt x="42" y="200"/>
                  </a:lnTo>
                  <a:lnTo>
                    <a:pt x="40" y="200"/>
                  </a:lnTo>
                  <a:lnTo>
                    <a:pt x="36" y="200"/>
                  </a:lnTo>
                  <a:lnTo>
                    <a:pt x="34" y="202"/>
                  </a:lnTo>
                  <a:lnTo>
                    <a:pt x="30" y="202"/>
                  </a:lnTo>
                  <a:lnTo>
                    <a:pt x="26" y="202"/>
                  </a:lnTo>
                  <a:lnTo>
                    <a:pt x="24" y="202"/>
                  </a:lnTo>
                  <a:lnTo>
                    <a:pt x="22" y="202"/>
                  </a:lnTo>
                  <a:lnTo>
                    <a:pt x="22" y="202"/>
                  </a:lnTo>
                  <a:lnTo>
                    <a:pt x="20" y="202"/>
                  </a:lnTo>
                  <a:lnTo>
                    <a:pt x="18" y="200"/>
                  </a:lnTo>
                  <a:lnTo>
                    <a:pt x="16" y="200"/>
                  </a:lnTo>
                  <a:lnTo>
                    <a:pt x="12" y="198"/>
                  </a:lnTo>
                  <a:lnTo>
                    <a:pt x="8" y="196"/>
                  </a:lnTo>
                  <a:lnTo>
                    <a:pt x="2" y="190"/>
                  </a:lnTo>
                  <a:lnTo>
                    <a:pt x="0" y="190"/>
                  </a:lnTo>
                  <a:lnTo>
                    <a:pt x="4" y="182"/>
                  </a:lnTo>
                  <a:lnTo>
                    <a:pt x="8" y="178"/>
                  </a:lnTo>
                  <a:lnTo>
                    <a:pt x="10" y="176"/>
                  </a:lnTo>
                  <a:lnTo>
                    <a:pt x="12" y="172"/>
                  </a:lnTo>
                  <a:lnTo>
                    <a:pt x="12" y="172"/>
                  </a:lnTo>
                  <a:lnTo>
                    <a:pt x="12" y="170"/>
                  </a:lnTo>
                  <a:lnTo>
                    <a:pt x="12" y="168"/>
                  </a:lnTo>
                  <a:lnTo>
                    <a:pt x="12" y="166"/>
                  </a:lnTo>
                  <a:lnTo>
                    <a:pt x="12" y="166"/>
                  </a:lnTo>
                  <a:lnTo>
                    <a:pt x="14" y="164"/>
                  </a:lnTo>
                  <a:lnTo>
                    <a:pt x="14" y="164"/>
                  </a:lnTo>
                  <a:lnTo>
                    <a:pt x="14" y="164"/>
                  </a:lnTo>
                  <a:lnTo>
                    <a:pt x="14" y="164"/>
                  </a:lnTo>
                  <a:lnTo>
                    <a:pt x="16" y="164"/>
                  </a:lnTo>
                  <a:lnTo>
                    <a:pt x="16" y="164"/>
                  </a:lnTo>
                  <a:lnTo>
                    <a:pt x="18" y="164"/>
                  </a:lnTo>
                  <a:lnTo>
                    <a:pt x="20" y="164"/>
                  </a:lnTo>
                  <a:lnTo>
                    <a:pt x="22" y="164"/>
                  </a:lnTo>
                  <a:lnTo>
                    <a:pt x="24" y="164"/>
                  </a:lnTo>
                  <a:lnTo>
                    <a:pt x="26" y="164"/>
                  </a:lnTo>
                  <a:lnTo>
                    <a:pt x="26" y="164"/>
                  </a:lnTo>
                  <a:lnTo>
                    <a:pt x="28" y="164"/>
                  </a:lnTo>
                  <a:lnTo>
                    <a:pt x="28" y="162"/>
                  </a:lnTo>
                  <a:lnTo>
                    <a:pt x="28" y="162"/>
                  </a:lnTo>
                  <a:lnTo>
                    <a:pt x="30" y="160"/>
                  </a:lnTo>
                  <a:lnTo>
                    <a:pt x="30" y="158"/>
                  </a:lnTo>
                  <a:lnTo>
                    <a:pt x="30" y="156"/>
                  </a:lnTo>
                  <a:lnTo>
                    <a:pt x="32" y="154"/>
                  </a:lnTo>
                  <a:lnTo>
                    <a:pt x="32" y="152"/>
                  </a:lnTo>
                  <a:lnTo>
                    <a:pt x="32" y="150"/>
                  </a:lnTo>
                  <a:lnTo>
                    <a:pt x="32" y="146"/>
                  </a:lnTo>
                  <a:lnTo>
                    <a:pt x="32" y="142"/>
                  </a:lnTo>
                  <a:lnTo>
                    <a:pt x="32" y="136"/>
                  </a:lnTo>
                  <a:lnTo>
                    <a:pt x="30" y="130"/>
                  </a:lnTo>
                  <a:lnTo>
                    <a:pt x="30" y="124"/>
                  </a:lnTo>
                  <a:lnTo>
                    <a:pt x="30" y="118"/>
                  </a:lnTo>
                  <a:lnTo>
                    <a:pt x="28" y="114"/>
                  </a:lnTo>
                  <a:lnTo>
                    <a:pt x="26" y="104"/>
                  </a:lnTo>
                  <a:lnTo>
                    <a:pt x="24" y="98"/>
                  </a:lnTo>
                  <a:lnTo>
                    <a:pt x="24" y="9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3" name="Freeform 481"/>
            <p:cNvSpPr>
              <a:spLocks/>
            </p:cNvSpPr>
            <p:nvPr/>
          </p:nvSpPr>
          <p:spPr bwMode="auto">
            <a:xfrm>
              <a:off x="2197650" y="4382936"/>
              <a:ext cx="148958" cy="86604"/>
            </a:xfrm>
            <a:custGeom>
              <a:avLst/>
              <a:gdLst>
                <a:gd name="T0" fmla="*/ 0 w 86"/>
                <a:gd name="T1" fmla="*/ 10 h 50"/>
                <a:gd name="T2" fmla="*/ 0 w 86"/>
                <a:gd name="T3" fmla="*/ 16 h 50"/>
                <a:gd name="T4" fmla="*/ 0 w 86"/>
                <a:gd name="T5" fmla="*/ 22 h 50"/>
                <a:gd name="T6" fmla="*/ 0 w 86"/>
                <a:gd name="T7" fmla="*/ 24 h 50"/>
                <a:gd name="T8" fmla="*/ 2 w 86"/>
                <a:gd name="T9" fmla="*/ 26 h 50"/>
                <a:gd name="T10" fmla="*/ 4 w 86"/>
                <a:gd name="T11" fmla="*/ 28 h 50"/>
                <a:gd name="T12" fmla="*/ 6 w 86"/>
                <a:gd name="T13" fmla="*/ 30 h 50"/>
                <a:gd name="T14" fmla="*/ 10 w 86"/>
                <a:gd name="T15" fmla="*/ 30 h 50"/>
                <a:gd name="T16" fmla="*/ 16 w 86"/>
                <a:gd name="T17" fmla="*/ 30 h 50"/>
                <a:gd name="T18" fmla="*/ 24 w 86"/>
                <a:gd name="T19" fmla="*/ 30 h 50"/>
                <a:gd name="T20" fmla="*/ 28 w 86"/>
                <a:gd name="T21" fmla="*/ 30 h 50"/>
                <a:gd name="T22" fmla="*/ 32 w 86"/>
                <a:gd name="T23" fmla="*/ 32 h 50"/>
                <a:gd name="T24" fmla="*/ 32 w 86"/>
                <a:gd name="T25" fmla="*/ 32 h 50"/>
                <a:gd name="T26" fmla="*/ 36 w 86"/>
                <a:gd name="T27" fmla="*/ 36 h 50"/>
                <a:gd name="T28" fmla="*/ 40 w 86"/>
                <a:gd name="T29" fmla="*/ 40 h 50"/>
                <a:gd name="T30" fmla="*/ 40 w 86"/>
                <a:gd name="T31" fmla="*/ 40 h 50"/>
                <a:gd name="T32" fmla="*/ 42 w 86"/>
                <a:gd name="T33" fmla="*/ 42 h 50"/>
                <a:gd name="T34" fmla="*/ 46 w 86"/>
                <a:gd name="T35" fmla="*/ 42 h 50"/>
                <a:gd name="T36" fmla="*/ 50 w 86"/>
                <a:gd name="T37" fmla="*/ 40 h 50"/>
                <a:gd name="T38" fmla="*/ 54 w 86"/>
                <a:gd name="T39" fmla="*/ 38 h 50"/>
                <a:gd name="T40" fmla="*/ 54 w 86"/>
                <a:gd name="T41" fmla="*/ 36 h 50"/>
                <a:gd name="T42" fmla="*/ 56 w 86"/>
                <a:gd name="T43" fmla="*/ 34 h 50"/>
                <a:gd name="T44" fmla="*/ 54 w 86"/>
                <a:gd name="T45" fmla="*/ 32 h 50"/>
                <a:gd name="T46" fmla="*/ 54 w 86"/>
                <a:gd name="T47" fmla="*/ 30 h 50"/>
                <a:gd name="T48" fmla="*/ 52 w 86"/>
                <a:gd name="T49" fmla="*/ 26 h 50"/>
                <a:gd name="T50" fmla="*/ 50 w 86"/>
                <a:gd name="T51" fmla="*/ 24 h 50"/>
                <a:gd name="T52" fmla="*/ 50 w 86"/>
                <a:gd name="T53" fmla="*/ 22 h 50"/>
                <a:gd name="T54" fmla="*/ 50 w 86"/>
                <a:gd name="T55" fmla="*/ 22 h 50"/>
                <a:gd name="T56" fmla="*/ 52 w 86"/>
                <a:gd name="T57" fmla="*/ 22 h 50"/>
                <a:gd name="T58" fmla="*/ 54 w 86"/>
                <a:gd name="T59" fmla="*/ 20 h 50"/>
                <a:gd name="T60" fmla="*/ 58 w 86"/>
                <a:gd name="T61" fmla="*/ 20 h 50"/>
                <a:gd name="T62" fmla="*/ 62 w 86"/>
                <a:gd name="T63" fmla="*/ 20 h 50"/>
                <a:gd name="T64" fmla="*/ 64 w 86"/>
                <a:gd name="T65" fmla="*/ 22 h 50"/>
                <a:gd name="T66" fmla="*/ 66 w 86"/>
                <a:gd name="T67" fmla="*/ 24 h 50"/>
                <a:gd name="T68" fmla="*/ 70 w 86"/>
                <a:gd name="T69" fmla="*/ 26 h 50"/>
                <a:gd name="T70" fmla="*/ 74 w 86"/>
                <a:gd name="T71" fmla="*/ 32 h 50"/>
                <a:gd name="T72" fmla="*/ 76 w 86"/>
                <a:gd name="T73" fmla="*/ 36 h 50"/>
                <a:gd name="T74" fmla="*/ 80 w 86"/>
                <a:gd name="T75" fmla="*/ 42 h 50"/>
                <a:gd name="T76" fmla="*/ 84 w 86"/>
                <a:gd name="T77" fmla="*/ 50 h 50"/>
                <a:gd name="T78" fmla="*/ 84 w 86"/>
                <a:gd name="T79" fmla="*/ 16 h 50"/>
                <a:gd name="T80" fmla="*/ 76 w 86"/>
                <a:gd name="T81" fmla="*/ 10 h 50"/>
                <a:gd name="T82" fmla="*/ 72 w 86"/>
                <a:gd name="T83" fmla="*/ 6 h 50"/>
                <a:gd name="T84" fmla="*/ 66 w 86"/>
                <a:gd name="T85" fmla="*/ 2 h 50"/>
                <a:gd name="T86" fmla="*/ 58 w 86"/>
                <a:gd name="T87" fmla="*/ 0 h 50"/>
                <a:gd name="T88" fmla="*/ 54 w 86"/>
                <a:gd name="T89" fmla="*/ 0 h 50"/>
                <a:gd name="T90" fmla="*/ 52 w 86"/>
                <a:gd name="T91" fmla="*/ 0 h 50"/>
                <a:gd name="T92" fmla="*/ 50 w 86"/>
                <a:gd name="T93" fmla="*/ 0 h 50"/>
                <a:gd name="T94" fmla="*/ 50 w 86"/>
                <a:gd name="T95" fmla="*/ 2 h 50"/>
                <a:gd name="T96" fmla="*/ 46 w 86"/>
                <a:gd name="T97" fmla="*/ 6 h 50"/>
                <a:gd name="T98" fmla="*/ 44 w 86"/>
                <a:gd name="T99" fmla="*/ 8 h 50"/>
                <a:gd name="T100" fmla="*/ 42 w 86"/>
                <a:gd name="T101" fmla="*/ 10 h 50"/>
                <a:gd name="T102" fmla="*/ 42 w 86"/>
                <a:gd name="T103" fmla="*/ 10 h 50"/>
                <a:gd name="T104" fmla="*/ 38 w 86"/>
                <a:gd name="T105" fmla="*/ 10 h 50"/>
                <a:gd name="T106" fmla="*/ 34 w 86"/>
                <a:gd name="T107" fmla="*/ 10 h 50"/>
                <a:gd name="T108" fmla="*/ 24 w 86"/>
                <a:gd name="T109" fmla="*/ 8 h 50"/>
                <a:gd name="T110" fmla="*/ 16 w 86"/>
                <a:gd name="T11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50">
                  <a:moveTo>
                    <a:pt x="14" y="4"/>
                  </a:moveTo>
                  <a:lnTo>
                    <a:pt x="0" y="10"/>
                  </a:lnTo>
                  <a:lnTo>
                    <a:pt x="0" y="14"/>
                  </a:lnTo>
                  <a:lnTo>
                    <a:pt x="0" y="16"/>
                  </a:lnTo>
                  <a:lnTo>
                    <a:pt x="0" y="18"/>
                  </a:lnTo>
                  <a:lnTo>
                    <a:pt x="0" y="22"/>
                  </a:lnTo>
                  <a:lnTo>
                    <a:pt x="0" y="24"/>
                  </a:lnTo>
                  <a:lnTo>
                    <a:pt x="0" y="24"/>
                  </a:lnTo>
                  <a:lnTo>
                    <a:pt x="2" y="26"/>
                  </a:lnTo>
                  <a:lnTo>
                    <a:pt x="2" y="26"/>
                  </a:lnTo>
                  <a:lnTo>
                    <a:pt x="2" y="28"/>
                  </a:lnTo>
                  <a:lnTo>
                    <a:pt x="4" y="28"/>
                  </a:lnTo>
                  <a:lnTo>
                    <a:pt x="4" y="28"/>
                  </a:lnTo>
                  <a:lnTo>
                    <a:pt x="6" y="30"/>
                  </a:lnTo>
                  <a:lnTo>
                    <a:pt x="8" y="30"/>
                  </a:lnTo>
                  <a:lnTo>
                    <a:pt x="10" y="30"/>
                  </a:lnTo>
                  <a:lnTo>
                    <a:pt x="12" y="30"/>
                  </a:lnTo>
                  <a:lnTo>
                    <a:pt x="16" y="30"/>
                  </a:lnTo>
                  <a:lnTo>
                    <a:pt x="20" y="30"/>
                  </a:lnTo>
                  <a:lnTo>
                    <a:pt x="24" y="30"/>
                  </a:lnTo>
                  <a:lnTo>
                    <a:pt x="26" y="30"/>
                  </a:lnTo>
                  <a:lnTo>
                    <a:pt x="28" y="30"/>
                  </a:lnTo>
                  <a:lnTo>
                    <a:pt x="30" y="30"/>
                  </a:lnTo>
                  <a:lnTo>
                    <a:pt x="32" y="32"/>
                  </a:lnTo>
                  <a:lnTo>
                    <a:pt x="32" y="32"/>
                  </a:lnTo>
                  <a:lnTo>
                    <a:pt x="32" y="32"/>
                  </a:lnTo>
                  <a:lnTo>
                    <a:pt x="34" y="34"/>
                  </a:lnTo>
                  <a:lnTo>
                    <a:pt x="36" y="36"/>
                  </a:lnTo>
                  <a:lnTo>
                    <a:pt x="38" y="38"/>
                  </a:lnTo>
                  <a:lnTo>
                    <a:pt x="40" y="40"/>
                  </a:lnTo>
                  <a:lnTo>
                    <a:pt x="40" y="40"/>
                  </a:lnTo>
                  <a:lnTo>
                    <a:pt x="40" y="40"/>
                  </a:lnTo>
                  <a:lnTo>
                    <a:pt x="42" y="42"/>
                  </a:lnTo>
                  <a:lnTo>
                    <a:pt x="42" y="42"/>
                  </a:lnTo>
                  <a:lnTo>
                    <a:pt x="44" y="42"/>
                  </a:lnTo>
                  <a:lnTo>
                    <a:pt x="46" y="42"/>
                  </a:lnTo>
                  <a:lnTo>
                    <a:pt x="48" y="40"/>
                  </a:lnTo>
                  <a:lnTo>
                    <a:pt x="50" y="40"/>
                  </a:lnTo>
                  <a:lnTo>
                    <a:pt x="52" y="38"/>
                  </a:lnTo>
                  <a:lnTo>
                    <a:pt x="54" y="38"/>
                  </a:lnTo>
                  <a:lnTo>
                    <a:pt x="54" y="36"/>
                  </a:lnTo>
                  <a:lnTo>
                    <a:pt x="54" y="36"/>
                  </a:lnTo>
                  <a:lnTo>
                    <a:pt x="56" y="36"/>
                  </a:lnTo>
                  <a:lnTo>
                    <a:pt x="56" y="34"/>
                  </a:lnTo>
                  <a:lnTo>
                    <a:pt x="56" y="34"/>
                  </a:lnTo>
                  <a:lnTo>
                    <a:pt x="54" y="32"/>
                  </a:lnTo>
                  <a:lnTo>
                    <a:pt x="54" y="32"/>
                  </a:lnTo>
                  <a:lnTo>
                    <a:pt x="54" y="30"/>
                  </a:lnTo>
                  <a:lnTo>
                    <a:pt x="52" y="28"/>
                  </a:lnTo>
                  <a:lnTo>
                    <a:pt x="52" y="26"/>
                  </a:lnTo>
                  <a:lnTo>
                    <a:pt x="50" y="26"/>
                  </a:lnTo>
                  <a:lnTo>
                    <a:pt x="50" y="24"/>
                  </a:lnTo>
                  <a:lnTo>
                    <a:pt x="50" y="24"/>
                  </a:lnTo>
                  <a:lnTo>
                    <a:pt x="50" y="22"/>
                  </a:lnTo>
                  <a:lnTo>
                    <a:pt x="50" y="22"/>
                  </a:lnTo>
                  <a:lnTo>
                    <a:pt x="50" y="22"/>
                  </a:lnTo>
                  <a:lnTo>
                    <a:pt x="50" y="22"/>
                  </a:lnTo>
                  <a:lnTo>
                    <a:pt x="52" y="22"/>
                  </a:lnTo>
                  <a:lnTo>
                    <a:pt x="52" y="20"/>
                  </a:lnTo>
                  <a:lnTo>
                    <a:pt x="54" y="20"/>
                  </a:lnTo>
                  <a:lnTo>
                    <a:pt x="56" y="20"/>
                  </a:lnTo>
                  <a:lnTo>
                    <a:pt x="58" y="20"/>
                  </a:lnTo>
                  <a:lnTo>
                    <a:pt x="60" y="20"/>
                  </a:lnTo>
                  <a:lnTo>
                    <a:pt x="62" y="20"/>
                  </a:lnTo>
                  <a:lnTo>
                    <a:pt x="64" y="22"/>
                  </a:lnTo>
                  <a:lnTo>
                    <a:pt x="64" y="22"/>
                  </a:lnTo>
                  <a:lnTo>
                    <a:pt x="66" y="22"/>
                  </a:lnTo>
                  <a:lnTo>
                    <a:pt x="66" y="24"/>
                  </a:lnTo>
                  <a:lnTo>
                    <a:pt x="68" y="24"/>
                  </a:lnTo>
                  <a:lnTo>
                    <a:pt x="70" y="26"/>
                  </a:lnTo>
                  <a:lnTo>
                    <a:pt x="72" y="28"/>
                  </a:lnTo>
                  <a:lnTo>
                    <a:pt x="74" y="32"/>
                  </a:lnTo>
                  <a:lnTo>
                    <a:pt x="76" y="34"/>
                  </a:lnTo>
                  <a:lnTo>
                    <a:pt x="76" y="36"/>
                  </a:lnTo>
                  <a:lnTo>
                    <a:pt x="78" y="38"/>
                  </a:lnTo>
                  <a:lnTo>
                    <a:pt x="80" y="42"/>
                  </a:lnTo>
                  <a:lnTo>
                    <a:pt x="82" y="46"/>
                  </a:lnTo>
                  <a:lnTo>
                    <a:pt x="84" y="50"/>
                  </a:lnTo>
                  <a:lnTo>
                    <a:pt x="86" y="16"/>
                  </a:lnTo>
                  <a:lnTo>
                    <a:pt x="84" y="16"/>
                  </a:lnTo>
                  <a:lnTo>
                    <a:pt x="80" y="12"/>
                  </a:lnTo>
                  <a:lnTo>
                    <a:pt x="76" y="10"/>
                  </a:lnTo>
                  <a:lnTo>
                    <a:pt x="74" y="8"/>
                  </a:lnTo>
                  <a:lnTo>
                    <a:pt x="72" y="6"/>
                  </a:lnTo>
                  <a:lnTo>
                    <a:pt x="68" y="4"/>
                  </a:lnTo>
                  <a:lnTo>
                    <a:pt x="66" y="2"/>
                  </a:lnTo>
                  <a:lnTo>
                    <a:pt x="60" y="0"/>
                  </a:lnTo>
                  <a:lnTo>
                    <a:pt x="58" y="0"/>
                  </a:lnTo>
                  <a:lnTo>
                    <a:pt x="56" y="0"/>
                  </a:lnTo>
                  <a:lnTo>
                    <a:pt x="54" y="0"/>
                  </a:lnTo>
                  <a:lnTo>
                    <a:pt x="54" y="0"/>
                  </a:lnTo>
                  <a:lnTo>
                    <a:pt x="52" y="0"/>
                  </a:lnTo>
                  <a:lnTo>
                    <a:pt x="52" y="0"/>
                  </a:lnTo>
                  <a:lnTo>
                    <a:pt x="50" y="0"/>
                  </a:lnTo>
                  <a:lnTo>
                    <a:pt x="50" y="0"/>
                  </a:lnTo>
                  <a:lnTo>
                    <a:pt x="50" y="2"/>
                  </a:lnTo>
                  <a:lnTo>
                    <a:pt x="48" y="4"/>
                  </a:lnTo>
                  <a:lnTo>
                    <a:pt x="46" y="6"/>
                  </a:lnTo>
                  <a:lnTo>
                    <a:pt x="46" y="6"/>
                  </a:lnTo>
                  <a:lnTo>
                    <a:pt x="44" y="8"/>
                  </a:lnTo>
                  <a:lnTo>
                    <a:pt x="44" y="10"/>
                  </a:lnTo>
                  <a:lnTo>
                    <a:pt x="42" y="10"/>
                  </a:lnTo>
                  <a:lnTo>
                    <a:pt x="42" y="10"/>
                  </a:lnTo>
                  <a:lnTo>
                    <a:pt x="42" y="10"/>
                  </a:lnTo>
                  <a:lnTo>
                    <a:pt x="40" y="10"/>
                  </a:lnTo>
                  <a:lnTo>
                    <a:pt x="38" y="10"/>
                  </a:lnTo>
                  <a:lnTo>
                    <a:pt x="36" y="10"/>
                  </a:lnTo>
                  <a:lnTo>
                    <a:pt x="34" y="10"/>
                  </a:lnTo>
                  <a:lnTo>
                    <a:pt x="30" y="10"/>
                  </a:lnTo>
                  <a:lnTo>
                    <a:pt x="24" y="8"/>
                  </a:lnTo>
                  <a:lnTo>
                    <a:pt x="20" y="6"/>
                  </a:lnTo>
                  <a:lnTo>
                    <a:pt x="16" y="6"/>
                  </a:lnTo>
                  <a:lnTo>
                    <a:pt x="14"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4" name="Freeform 482"/>
            <p:cNvSpPr>
              <a:spLocks/>
            </p:cNvSpPr>
            <p:nvPr/>
          </p:nvSpPr>
          <p:spPr bwMode="auto">
            <a:xfrm>
              <a:off x="2197650" y="4382936"/>
              <a:ext cx="148958" cy="86604"/>
            </a:xfrm>
            <a:custGeom>
              <a:avLst/>
              <a:gdLst>
                <a:gd name="T0" fmla="*/ 0 w 86"/>
                <a:gd name="T1" fmla="*/ 10 h 50"/>
                <a:gd name="T2" fmla="*/ 0 w 86"/>
                <a:gd name="T3" fmla="*/ 16 h 50"/>
                <a:gd name="T4" fmla="*/ 0 w 86"/>
                <a:gd name="T5" fmla="*/ 22 h 50"/>
                <a:gd name="T6" fmla="*/ 0 w 86"/>
                <a:gd name="T7" fmla="*/ 24 h 50"/>
                <a:gd name="T8" fmla="*/ 2 w 86"/>
                <a:gd name="T9" fmla="*/ 26 h 50"/>
                <a:gd name="T10" fmla="*/ 4 w 86"/>
                <a:gd name="T11" fmla="*/ 28 h 50"/>
                <a:gd name="T12" fmla="*/ 6 w 86"/>
                <a:gd name="T13" fmla="*/ 30 h 50"/>
                <a:gd name="T14" fmla="*/ 10 w 86"/>
                <a:gd name="T15" fmla="*/ 30 h 50"/>
                <a:gd name="T16" fmla="*/ 16 w 86"/>
                <a:gd name="T17" fmla="*/ 30 h 50"/>
                <a:gd name="T18" fmla="*/ 24 w 86"/>
                <a:gd name="T19" fmla="*/ 30 h 50"/>
                <a:gd name="T20" fmla="*/ 28 w 86"/>
                <a:gd name="T21" fmla="*/ 30 h 50"/>
                <a:gd name="T22" fmla="*/ 32 w 86"/>
                <a:gd name="T23" fmla="*/ 32 h 50"/>
                <a:gd name="T24" fmla="*/ 32 w 86"/>
                <a:gd name="T25" fmla="*/ 32 h 50"/>
                <a:gd name="T26" fmla="*/ 36 w 86"/>
                <a:gd name="T27" fmla="*/ 36 h 50"/>
                <a:gd name="T28" fmla="*/ 40 w 86"/>
                <a:gd name="T29" fmla="*/ 40 h 50"/>
                <a:gd name="T30" fmla="*/ 40 w 86"/>
                <a:gd name="T31" fmla="*/ 40 h 50"/>
                <a:gd name="T32" fmla="*/ 42 w 86"/>
                <a:gd name="T33" fmla="*/ 42 h 50"/>
                <a:gd name="T34" fmla="*/ 46 w 86"/>
                <a:gd name="T35" fmla="*/ 42 h 50"/>
                <a:gd name="T36" fmla="*/ 50 w 86"/>
                <a:gd name="T37" fmla="*/ 40 h 50"/>
                <a:gd name="T38" fmla="*/ 54 w 86"/>
                <a:gd name="T39" fmla="*/ 38 h 50"/>
                <a:gd name="T40" fmla="*/ 54 w 86"/>
                <a:gd name="T41" fmla="*/ 36 h 50"/>
                <a:gd name="T42" fmla="*/ 56 w 86"/>
                <a:gd name="T43" fmla="*/ 34 h 50"/>
                <a:gd name="T44" fmla="*/ 54 w 86"/>
                <a:gd name="T45" fmla="*/ 32 h 50"/>
                <a:gd name="T46" fmla="*/ 54 w 86"/>
                <a:gd name="T47" fmla="*/ 30 h 50"/>
                <a:gd name="T48" fmla="*/ 52 w 86"/>
                <a:gd name="T49" fmla="*/ 26 h 50"/>
                <a:gd name="T50" fmla="*/ 50 w 86"/>
                <a:gd name="T51" fmla="*/ 24 h 50"/>
                <a:gd name="T52" fmla="*/ 50 w 86"/>
                <a:gd name="T53" fmla="*/ 22 h 50"/>
                <a:gd name="T54" fmla="*/ 50 w 86"/>
                <a:gd name="T55" fmla="*/ 22 h 50"/>
                <a:gd name="T56" fmla="*/ 52 w 86"/>
                <a:gd name="T57" fmla="*/ 22 h 50"/>
                <a:gd name="T58" fmla="*/ 54 w 86"/>
                <a:gd name="T59" fmla="*/ 20 h 50"/>
                <a:gd name="T60" fmla="*/ 58 w 86"/>
                <a:gd name="T61" fmla="*/ 20 h 50"/>
                <a:gd name="T62" fmla="*/ 62 w 86"/>
                <a:gd name="T63" fmla="*/ 20 h 50"/>
                <a:gd name="T64" fmla="*/ 64 w 86"/>
                <a:gd name="T65" fmla="*/ 22 h 50"/>
                <a:gd name="T66" fmla="*/ 66 w 86"/>
                <a:gd name="T67" fmla="*/ 24 h 50"/>
                <a:gd name="T68" fmla="*/ 70 w 86"/>
                <a:gd name="T69" fmla="*/ 26 h 50"/>
                <a:gd name="T70" fmla="*/ 74 w 86"/>
                <a:gd name="T71" fmla="*/ 32 h 50"/>
                <a:gd name="T72" fmla="*/ 76 w 86"/>
                <a:gd name="T73" fmla="*/ 36 h 50"/>
                <a:gd name="T74" fmla="*/ 80 w 86"/>
                <a:gd name="T75" fmla="*/ 42 h 50"/>
                <a:gd name="T76" fmla="*/ 84 w 86"/>
                <a:gd name="T77" fmla="*/ 50 h 50"/>
                <a:gd name="T78" fmla="*/ 84 w 86"/>
                <a:gd name="T79" fmla="*/ 16 h 50"/>
                <a:gd name="T80" fmla="*/ 76 w 86"/>
                <a:gd name="T81" fmla="*/ 10 h 50"/>
                <a:gd name="T82" fmla="*/ 72 w 86"/>
                <a:gd name="T83" fmla="*/ 6 h 50"/>
                <a:gd name="T84" fmla="*/ 66 w 86"/>
                <a:gd name="T85" fmla="*/ 2 h 50"/>
                <a:gd name="T86" fmla="*/ 58 w 86"/>
                <a:gd name="T87" fmla="*/ 0 h 50"/>
                <a:gd name="T88" fmla="*/ 54 w 86"/>
                <a:gd name="T89" fmla="*/ 0 h 50"/>
                <a:gd name="T90" fmla="*/ 52 w 86"/>
                <a:gd name="T91" fmla="*/ 0 h 50"/>
                <a:gd name="T92" fmla="*/ 50 w 86"/>
                <a:gd name="T93" fmla="*/ 0 h 50"/>
                <a:gd name="T94" fmla="*/ 50 w 86"/>
                <a:gd name="T95" fmla="*/ 2 h 50"/>
                <a:gd name="T96" fmla="*/ 46 w 86"/>
                <a:gd name="T97" fmla="*/ 6 h 50"/>
                <a:gd name="T98" fmla="*/ 44 w 86"/>
                <a:gd name="T99" fmla="*/ 8 h 50"/>
                <a:gd name="T100" fmla="*/ 42 w 86"/>
                <a:gd name="T101" fmla="*/ 10 h 50"/>
                <a:gd name="T102" fmla="*/ 42 w 86"/>
                <a:gd name="T103" fmla="*/ 10 h 50"/>
                <a:gd name="T104" fmla="*/ 38 w 86"/>
                <a:gd name="T105" fmla="*/ 10 h 50"/>
                <a:gd name="T106" fmla="*/ 34 w 86"/>
                <a:gd name="T107" fmla="*/ 10 h 50"/>
                <a:gd name="T108" fmla="*/ 24 w 86"/>
                <a:gd name="T109" fmla="*/ 8 h 50"/>
                <a:gd name="T110" fmla="*/ 16 w 86"/>
                <a:gd name="T11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50">
                  <a:moveTo>
                    <a:pt x="14" y="4"/>
                  </a:moveTo>
                  <a:lnTo>
                    <a:pt x="0" y="10"/>
                  </a:lnTo>
                  <a:lnTo>
                    <a:pt x="0" y="14"/>
                  </a:lnTo>
                  <a:lnTo>
                    <a:pt x="0" y="16"/>
                  </a:lnTo>
                  <a:lnTo>
                    <a:pt x="0" y="18"/>
                  </a:lnTo>
                  <a:lnTo>
                    <a:pt x="0" y="22"/>
                  </a:lnTo>
                  <a:lnTo>
                    <a:pt x="0" y="24"/>
                  </a:lnTo>
                  <a:lnTo>
                    <a:pt x="0" y="24"/>
                  </a:lnTo>
                  <a:lnTo>
                    <a:pt x="2" y="26"/>
                  </a:lnTo>
                  <a:lnTo>
                    <a:pt x="2" y="26"/>
                  </a:lnTo>
                  <a:lnTo>
                    <a:pt x="2" y="28"/>
                  </a:lnTo>
                  <a:lnTo>
                    <a:pt x="4" y="28"/>
                  </a:lnTo>
                  <a:lnTo>
                    <a:pt x="4" y="28"/>
                  </a:lnTo>
                  <a:lnTo>
                    <a:pt x="6" y="30"/>
                  </a:lnTo>
                  <a:lnTo>
                    <a:pt x="8" y="30"/>
                  </a:lnTo>
                  <a:lnTo>
                    <a:pt x="10" y="30"/>
                  </a:lnTo>
                  <a:lnTo>
                    <a:pt x="12" y="30"/>
                  </a:lnTo>
                  <a:lnTo>
                    <a:pt x="16" y="30"/>
                  </a:lnTo>
                  <a:lnTo>
                    <a:pt x="20" y="30"/>
                  </a:lnTo>
                  <a:lnTo>
                    <a:pt x="24" y="30"/>
                  </a:lnTo>
                  <a:lnTo>
                    <a:pt x="26" y="30"/>
                  </a:lnTo>
                  <a:lnTo>
                    <a:pt x="28" y="30"/>
                  </a:lnTo>
                  <a:lnTo>
                    <a:pt x="30" y="30"/>
                  </a:lnTo>
                  <a:lnTo>
                    <a:pt x="32" y="32"/>
                  </a:lnTo>
                  <a:lnTo>
                    <a:pt x="32" y="32"/>
                  </a:lnTo>
                  <a:lnTo>
                    <a:pt x="32" y="32"/>
                  </a:lnTo>
                  <a:lnTo>
                    <a:pt x="34" y="34"/>
                  </a:lnTo>
                  <a:lnTo>
                    <a:pt x="36" y="36"/>
                  </a:lnTo>
                  <a:lnTo>
                    <a:pt x="38" y="38"/>
                  </a:lnTo>
                  <a:lnTo>
                    <a:pt x="40" y="40"/>
                  </a:lnTo>
                  <a:lnTo>
                    <a:pt x="40" y="40"/>
                  </a:lnTo>
                  <a:lnTo>
                    <a:pt x="40" y="40"/>
                  </a:lnTo>
                  <a:lnTo>
                    <a:pt x="42" y="42"/>
                  </a:lnTo>
                  <a:lnTo>
                    <a:pt x="42" y="42"/>
                  </a:lnTo>
                  <a:lnTo>
                    <a:pt x="44" y="42"/>
                  </a:lnTo>
                  <a:lnTo>
                    <a:pt x="46" y="42"/>
                  </a:lnTo>
                  <a:lnTo>
                    <a:pt x="48" y="40"/>
                  </a:lnTo>
                  <a:lnTo>
                    <a:pt x="50" y="40"/>
                  </a:lnTo>
                  <a:lnTo>
                    <a:pt x="52" y="38"/>
                  </a:lnTo>
                  <a:lnTo>
                    <a:pt x="54" y="38"/>
                  </a:lnTo>
                  <a:lnTo>
                    <a:pt x="54" y="36"/>
                  </a:lnTo>
                  <a:lnTo>
                    <a:pt x="54" y="36"/>
                  </a:lnTo>
                  <a:lnTo>
                    <a:pt x="56" y="36"/>
                  </a:lnTo>
                  <a:lnTo>
                    <a:pt x="56" y="34"/>
                  </a:lnTo>
                  <a:lnTo>
                    <a:pt x="56" y="34"/>
                  </a:lnTo>
                  <a:lnTo>
                    <a:pt x="54" y="32"/>
                  </a:lnTo>
                  <a:lnTo>
                    <a:pt x="54" y="32"/>
                  </a:lnTo>
                  <a:lnTo>
                    <a:pt x="54" y="30"/>
                  </a:lnTo>
                  <a:lnTo>
                    <a:pt x="52" y="28"/>
                  </a:lnTo>
                  <a:lnTo>
                    <a:pt x="52" y="26"/>
                  </a:lnTo>
                  <a:lnTo>
                    <a:pt x="50" y="26"/>
                  </a:lnTo>
                  <a:lnTo>
                    <a:pt x="50" y="24"/>
                  </a:lnTo>
                  <a:lnTo>
                    <a:pt x="50" y="24"/>
                  </a:lnTo>
                  <a:lnTo>
                    <a:pt x="50" y="22"/>
                  </a:lnTo>
                  <a:lnTo>
                    <a:pt x="50" y="22"/>
                  </a:lnTo>
                  <a:lnTo>
                    <a:pt x="50" y="22"/>
                  </a:lnTo>
                  <a:lnTo>
                    <a:pt x="50" y="22"/>
                  </a:lnTo>
                  <a:lnTo>
                    <a:pt x="52" y="22"/>
                  </a:lnTo>
                  <a:lnTo>
                    <a:pt x="52" y="20"/>
                  </a:lnTo>
                  <a:lnTo>
                    <a:pt x="54" y="20"/>
                  </a:lnTo>
                  <a:lnTo>
                    <a:pt x="56" y="20"/>
                  </a:lnTo>
                  <a:lnTo>
                    <a:pt x="58" y="20"/>
                  </a:lnTo>
                  <a:lnTo>
                    <a:pt x="60" y="20"/>
                  </a:lnTo>
                  <a:lnTo>
                    <a:pt x="62" y="20"/>
                  </a:lnTo>
                  <a:lnTo>
                    <a:pt x="64" y="22"/>
                  </a:lnTo>
                  <a:lnTo>
                    <a:pt x="64" y="22"/>
                  </a:lnTo>
                  <a:lnTo>
                    <a:pt x="66" y="22"/>
                  </a:lnTo>
                  <a:lnTo>
                    <a:pt x="66" y="24"/>
                  </a:lnTo>
                  <a:lnTo>
                    <a:pt x="68" y="24"/>
                  </a:lnTo>
                  <a:lnTo>
                    <a:pt x="70" y="26"/>
                  </a:lnTo>
                  <a:lnTo>
                    <a:pt x="72" y="28"/>
                  </a:lnTo>
                  <a:lnTo>
                    <a:pt x="74" y="32"/>
                  </a:lnTo>
                  <a:lnTo>
                    <a:pt x="76" y="34"/>
                  </a:lnTo>
                  <a:lnTo>
                    <a:pt x="76" y="36"/>
                  </a:lnTo>
                  <a:lnTo>
                    <a:pt x="78" y="38"/>
                  </a:lnTo>
                  <a:lnTo>
                    <a:pt x="80" y="42"/>
                  </a:lnTo>
                  <a:lnTo>
                    <a:pt x="82" y="46"/>
                  </a:lnTo>
                  <a:lnTo>
                    <a:pt x="84" y="50"/>
                  </a:lnTo>
                  <a:lnTo>
                    <a:pt x="86" y="16"/>
                  </a:lnTo>
                  <a:lnTo>
                    <a:pt x="84" y="16"/>
                  </a:lnTo>
                  <a:lnTo>
                    <a:pt x="80" y="12"/>
                  </a:lnTo>
                  <a:lnTo>
                    <a:pt x="76" y="10"/>
                  </a:lnTo>
                  <a:lnTo>
                    <a:pt x="74" y="8"/>
                  </a:lnTo>
                  <a:lnTo>
                    <a:pt x="72" y="6"/>
                  </a:lnTo>
                  <a:lnTo>
                    <a:pt x="68" y="4"/>
                  </a:lnTo>
                  <a:lnTo>
                    <a:pt x="66" y="2"/>
                  </a:lnTo>
                  <a:lnTo>
                    <a:pt x="60" y="0"/>
                  </a:lnTo>
                  <a:lnTo>
                    <a:pt x="58" y="0"/>
                  </a:lnTo>
                  <a:lnTo>
                    <a:pt x="56" y="0"/>
                  </a:lnTo>
                  <a:lnTo>
                    <a:pt x="54" y="0"/>
                  </a:lnTo>
                  <a:lnTo>
                    <a:pt x="54" y="0"/>
                  </a:lnTo>
                  <a:lnTo>
                    <a:pt x="52" y="0"/>
                  </a:lnTo>
                  <a:lnTo>
                    <a:pt x="52" y="0"/>
                  </a:lnTo>
                  <a:lnTo>
                    <a:pt x="50" y="0"/>
                  </a:lnTo>
                  <a:lnTo>
                    <a:pt x="50" y="0"/>
                  </a:lnTo>
                  <a:lnTo>
                    <a:pt x="50" y="2"/>
                  </a:lnTo>
                  <a:lnTo>
                    <a:pt x="48" y="4"/>
                  </a:lnTo>
                  <a:lnTo>
                    <a:pt x="46" y="6"/>
                  </a:lnTo>
                  <a:lnTo>
                    <a:pt x="46" y="6"/>
                  </a:lnTo>
                  <a:lnTo>
                    <a:pt x="44" y="8"/>
                  </a:lnTo>
                  <a:lnTo>
                    <a:pt x="44" y="10"/>
                  </a:lnTo>
                  <a:lnTo>
                    <a:pt x="42" y="10"/>
                  </a:lnTo>
                  <a:lnTo>
                    <a:pt x="42" y="10"/>
                  </a:lnTo>
                  <a:lnTo>
                    <a:pt x="42" y="10"/>
                  </a:lnTo>
                  <a:lnTo>
                    <a:pt x="40" y="10"/>
                  </a:lnTo>
                  <a:lnTo>
                    <a:pt x="38" y="10"/>
                  </a:lnTo>
                  <a:lnTo>
                    <a:pt x="36" y="10"/>
                  </a:lnTo>
                  <a:lnTo>
                    <a:pt x="34" y="10"/>
                  </a:lnTo>
                  <a:lnTo>
                    <a:pt x="30" y="10"/>
                  </a:lnTo>
                  <a:lnTo>
                    <a:pt x="24" y="8"/>
                  </a:lnTo>
                  <a:lnTo>
                    <a:pt x="20" y="6"/>
                  </a:lnTo>
                  <a:lnTo>
                    <a:pt x="16" y="6"/>
                  </a:lnTo>
                  <a:lnTo>
                    <a:pt x="14"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5" name="Freeform 483"/>
            <p:cNvSpPr>
              <a:spLocks/>
            </p:cNvSpPr>
            <p:nvPr/>
          </p:nvSpPr>
          <p:spPr bwMode="auto">
            <a:xfrm>
              <a:off x="2138759" y="4348294"/>
              <a:ext cx="79675" cy="55426"/>
            </a:xfrm>
            <a:custGeom>
              <a:avLst/>
              <a:gdLst>
                <a:gd name="T0" fmla="*/ 32 w 46"/>
                <a:gd name="T1" fmla="*/ 2 h 32"/>
                <a:gd name="T2" fmla="*/ 0 w 46"/>
                <a:gd name="T3" fmla="*/ 0 h 32"/>
                <a:gd name="T4" fmla="*/ 0 w 46"/>
                <a:gd name="T5" fmla="*/ 2 h 32"/>
                <a:gd name="T6" fmla="*/ 0 w 46"/>
                <a:gd name="T7" fmla="*/ 4 h 32"/>
                <a:gd name="T8" fmla="*/ 0 w 46"/>
                <a:gd name="T9" fmla="*/ 8 h 32"/>
                <a:gd name="T10" fmla="*/ 0 w 46"/>
                <a:gd name="T11" fmla="*/ 10 h 32"/>
                <a:gd name="T12" fmla="*/ 0 w 46"/>
                <a:gd name="T13" fmla="*/ 12 h 32"/>
                <a:gd name="T14" fmla="*/ 0 w 46"/>
                <a:gd name="T15" fmla="*/ 14 h 32"/>
                <a:gd name="T16" fmla="*/ 0 w 46"/>
                <a:gd name="T17" fmla="*/ 14 h 32"/>
                <a:gd name="T18" fmla="*/ 2 w 46"/>
                <a:gd name="T19" fmla="*/ 16 h 32"/>
                <a:gd name="T20" fmla="*/ 2 w 46"/>
                <a:gd name="T21" fmla="*/ 18 h 32"/>
                <a:gd name="T22" fmla="*/ 4 w 46"/>
                <a:gd name="T23" fmla="*/ 20 h 32"/>
                <a:gd name="T24" fmla="*/ 4 w 46"/>
                <a:gd name="T25" fmla="*/ 22 h 32"/>
                <a:gd name="T26" fmla="*/ 6 w 46"/>
                <a:gd name="T27" fmla="*/ 22 h 32"/>
                <a:gd name="T28" fmla="*/ 6 w 46"/>
                <a:gd name="T29" fmla="*/ 24 h 32"/>
                <a:gd name="T30" fmla="*/ 8 w 46"/>
                <a:gd name="T31" fmla="*/ 24 h 32"/>
                <a:gd name="T32" fmla="*/ 10 w 46"/>
                <a:gd name="T33" fmla="*/ 26 h 32"/>
                <a:gd name="T34" fmla="*/ 12 w 46"/>
                <a:gd name="T35" fmla="*/ 26 h 32"/>
                <a:gd name="T36" fmla="*/ 14 w 46"/>
                <a:gd name="T37" fmla="*/ 26 h 32"/>
                <a:gd name="T38" fmla="*/ 18 w 46"/>
                <a:gd name="T39" fmla="*/ 28 h 32"/>
                <a:gd name="T40" fmla="*/ 22 w 46"/>
                <a:gd name="T41" fmla="*/ 30 h 32"/>
                <a:gd name="T42" fmla="*/ 28 w 46"/>
                <a:gd name="T43" fmla="*/ 30 h 32"/>
                <a:gd name="T44" fmla="*/ 30 w 46"/>
                <a:gd name="T45" fmla="*/ 30 h 32"/>
                <a:gd name="T46" fmla="*/ 34 w 46"/>
                <a:gd name="T47" fmla="*/ 32 h 32"/>
                <a:gd name="T48" fmla="*/ 46 w 46"/>
                <a:gd name="T49" fmla="*/ 24 h 32"/>
                <a:gd name="T50" fmla="*/ 46 w 46"/>
                <a:gd name="T51" fmla="*/ 24 h 32"/>
                <a:gd name="T52" fmla="*/ 46 w 46"/>
                <a:gd name="T53" fmla="*/ 18 h 32"/>
                <a:gd name="T54" fmla="*/ 46 w 46"/>
                <a:gd name="T55" fmla="*/ 16 h 32"/>
                <a:gd name="T56" fmla="*/ 46 w 46"/>
                <a:gd name="T57" fmla="*/ 14 h 32"/>
                <a:gd name="T58" fmla="*/ 46 w 46"/>
                <a:gd name="T59" fmla="*/ 12 h 32"/>
                <a:gd name="T60" fmla="*/ 46 w 46"/>
                <a:gd name="T61" fmla="*/ 12 h 32"/>
                <a:gd name="T62" fmla="*/ 46 w 46"/>
                <a:gd name="T63" fmla="*/ 10 h 32"/>
                <a:gd name="T64" fmla="*/ 44 w 46"/>
                <a:gd name="T65" fmla="*/ 10 h 32"/>
                <a:gd name="T66" fmla="*/ 44 w 46"/>
                <a:gd name="T67" fmla="*/ 10 h 32"/>
                <a:gd name="T68" fmla="*/ 42 w 46"/>
                <a:gd name="T69" fmla="*/ 8 h 32"/>
                <a:gd name="T70" fmla="*/ 40 w 46"/>
                <a:gd name="T71" fmla="*/ 6 h 32"/>
                <a:gd name="T72" fmla="*/ 38 w 46"/>
                <a:gd name="T73" fmla="*/ 4 h 32"/>
                <a:gd name="T74" fmla="*/ 34 w 46"/>
                <a:gd name="T75" fmla="*/ 2 h 32"/>
                <a:gd name="T76" fmla="*/ 32 w 46"/>
                <a:gd name="T7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32">
                  <a:moveTo>
                    <a:pt x="32" y="2"/>
                  </a:moveTo>
                  <a:lnTo>
                    <a:pt x="0" y="0"/>
                  </a:lnTo>
                  <a:lnTo>
                    <a:pt x="0" y="2"/>
                  </a:lnTo>
                  <a:lnTo>
                    <a:pt x="0" y="4"/>
                  </a:lnTo>
                  <a:lnTo>
                    <a:pt x="0" y="8"/>
                  </a:lnTo>
                  <a:lnTo>
                    <a:pt x="0" y="10"/>
                  </a:lnTo>
                  <a:lnTo>
                    <a:pt x="0" y="12"/>
                  </a:lnTo>
                  <a:lnTo>
                    <a:pt x="0" y="14"/>
                  </a:lnTo>
                  <a:lnTo>
                    <a:pt x="0" y="14"/>
                  </a:lnTo>
                  <a:lnTo>
                    <a:pt x="2" y="16"/>
                  </a:lnTo>
                  <a:lnTo>
                    <a:pt x="2" y="18"/>
                  </a:lnTo>
                  <a:lnTo>
                    <a:pt x="4" y="20"/>
                  </a:lnTo>
                  <a:lnTo>
                    <a:pt x="4" y="22"/>
                  </a:lnTo>
                  <a:lnTo>
                    <a:pt x="6" y="22"/>
                  </a:lnTo>
                  <a:lnTo>
                    <a:pt x="6" y="24"/>
                  </a:lnTo>
                  <a:lnTo>
                    <a:pt x="8" y="24"/>
                  </a:lnTo>
                  <a:lnTo>
                    <a:pt x="10" y="26"/>
                  </a:lnTo>
                  <a:lnTo>
                    <a:pt x="12" y="26"/>
                  </a:lnTo>
                  <a:lnTo>
                    <a:pt x="14" y="26"/>
                  </a:lnTo>
                  <a:lnTo>
                    <a:pt x="18" y="28"/>
                  </a:lnTo>
                  <a:lnTo>
                    <a:pt x="22" y="30"/>
                  </a:lnTo>
                  <a:lnTo>
                    <a:pt x="28" y="30"/>
                  </a:lnTo>
                  <a:lnTo>
                    <a:pt x="30" y="30"/>
                  </a:lnTo>
                  <a:lnTo>
                    <a:pt x="34" y="32"/>
                  </a:lnTo>
                  <a:lnTo>
                    <a:pt x="46" y="24"/>
                  </a:lnTo>
                  <a:lnTo>
                    <a:pt x="46" y="24"/>
                  </a:lnTo>
                  <a:lnTo>
                    <a:pt x="46" y="18"/>
                  </a:lnTo>
                  <a:lnTo>
                    <a:pt x="46" y="16"/>
                  </a:lnTo>
                  <a:lnTo>
                    <a:pt x="46" y="14"/>
                  </a:lnTo>
                  <a:lnTo>
                    <a:pt x="46" y="12"/>
                  </a:lnTo>
                  <a:lnTo>
                    <a:pt x="46" y="12"/>
                  </a:lnTo>
                  <a:lnTo>
                    <a:pt x="46" y="10"/>
                  </a:lnTo>
                  <a:lnTo>
                    <a:pt x="44" y="10"/>
                  </a:lnTo>
                  <a:lnTo>
                    <a:pt x="44" y="10"/>
                  </a:lnTo>
                  <a:lnTo>
                    <a:pt x="42" y="8"/>
                  </a:lnTo>
                  <a:lnTo>
                    <a:pt x="40" y="6"/>
                  </a:lnTo>
                  <a:lnTo>
                    <a:pt x="38" y="4"/>
                  </a:lnTo>
                  <a:lnTo>
                    <a:pt x="34" y="2"/>
                  </a:lnTo>
                  <a:lnTo>
                    <a:pt x="3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6" name="Freeform 484"/>
            <p:cNvSpPr>
              <a:spLocks/>
            </p:cNvSpPr>
            <p:nvPr/>
          </p:nvSpPr>
          <p:spPr bwMode="auto">
            <a:xfrm>
              <a:off x="2138759" y="4348294"/>
              <a:ext cx="79675" cy="55426"/>
            </a:xfrm>
            <a:custGeom>
              <a:avLst/>
              <a:gdLst>
                <a:gd name="T0" fmla="*/ 32 w 46"/>
                <a:gd name="T1" fmla="*/ 2 h 32"/>
                <a:gd name="T2" fmla="*/ 0 w 46"/>
                <a:gd name="T3" fmla="*/ 0 h 32"/>
                <a:gd name="T4" fmla="*/ 0 w 46"/>
                <a:gd name="T5" fmla="*/ 2 h 32"/>
                <a:gd name="T6" fmla="*/ 0 w 46"/>
                <a:gd name="T7" fmla="*/ 4 h 32"/>
                <a:gd name="T8" fmla="*/ 0 w 46"/>
                <a:gd name="T9" fmla="*/ 8 h 32"/>
                <a:gd name="T10" fmla="*/ 0 w 46"/>
                <a:gd name="T11" fmla="*/ 10 h 32"/>
                <a:gd name="T12" fmla="*/ 0 w 46"/>
                <a:gd name="T13" fmla="*/ 12 h 32"/>
                <a:gd name="T14" fmla="*/ 0 w 46"/>
                <a:gd name="T15" fmla="*/ 14 h 32"/>
                <a:gd name="T16" fmla="*/ 0 w 46"/>
                <a:gd name="T17" fmla="*/ 14 h 32"/>
                <a:gd name="T18" fmla="*/ 2 w 46"/>
                <a:gd name="T19" fmla="*/ 16 h 32"/>
                <a:gd name="T20" fmla="*/ 2 w 46"/>
                <a:gd name="T21" fmla="*/ 18 h 32"/>
                <a:gd name="T22" fmla="*/ 4 w 46"/>
                <a:gd name="T23" fmla="*/ 20 h 32"/>
                <a:gd name="T24" fmla="*/ 4 w 46"/>
                <a:gd name="T25" fmla="*/ 22 h 32"/>
                <a:gd name="T26" fmla="*/ 6 w 46"/>
                <a:gd name="T27" fmla="*/ 22 h 32"/>
                <a:gd name="T28" fmla="*/ 6 w 46"/>
                <a:gd name="T29" fmla="*/ 24 h 32"/>
                <a:gd name="T30" fmla="*/ 8 w 46"/>
                <a:gd name="T31" fmla="*/ 24 h 32"/>
                <a:gd name="T32" fmla="*/ 10 w 46"/>
                <a:gd name="T33" fmla="*/ 26 h 32"/>
                <a:gd name="T34" fmla="*/ 12 w 46"/>
                <a:gd name="T35" fmla="*/ 26 h 32"/>
                <a:gd name="T36" fmla="*/ 14 w 46"/>
                <a:gd name="T37" fmla="*/ 26 h 32"/>
                <a:gd name="T38" fmla="*/ 18 w 46"/>
                <a:gd name="T39" fmla="*/ 28 h 32"/>
                <a:gd name="T40" fmla="*/ 22 w 46"/>
                <a:gd name="T41" fmla="*/ 30 h 32"/>
                <a:gd name="T42" fmla="*/ 28 w 46"/>
                <a:gd name="T43" fmla="*/ 30 h 32"/>
                <a:gd name="T44" fmla="*/ 30 w 46"/>
                <a:gd name="T45" fmla="*/ 30 h 32"/>
                <a:gd name="T46" fmla="*/ 34 w 46"/>
                <a:gd name="T47" fmla="*/ 32 h 32"/>
                <a:gd name="T48" fmla="*/ 46 w 46"/>
                <a:gd name="T49" fmla="*/ 24 h 32"/>
                <a:gd name="T50" fmla="*/ 46 w 46"/>
                <a:gd name="T51" fmla="*/ 24 h 32"/>
                <a:gd name="T52" fmla="*/ 46 w 46"/>
                <a:gd name="T53" fmla="*/ 18 h 32"/>
                <a:gd name="T54" fmla="*/ 46 w 46"/>
                <a:gd name="T55" fmla="*/ 16 h 32"/>
                <a:gd name="T56" fmla="*/ 46 w 46"/>
                <a:gd name="T57" fmla="*/ 14 h 32"/>
                <a:gd name="T58" fmla="*/ 46 w 46"/>
                <a:gd name="T59" fmla="*/ 12 h 32"/>
                <a:gd name="T60" fmla="*/ 46 w 46"/>
                <a:gd name="T61" fmla="*/ 12 h 32"/>
                <a:gd name="T62" fmla="*/ 46 w 46"/>
                <a:gd name="T63" fmla="*/ 10 h 32"/>
                <a:gd name="T64" fmla="*/ 44 w 46"/>
                <a:gd name="T65" fmla="*/ 10 h 32"/>
                <a:gd name="T66" fmla="*/ 44 w 46"/>
                <a:gd name="T67" fmla="*/ 10 h 32"/>
                <a:gd name="T68" fmla="*/ 42 w 46"/>
                <a:gd name="T69" fmla="*/ 8 h 32"/>
                <a:gd name="T70" fmla="*/ 40 w 46"/>
                <a:gd name="T71" fmla="*/ 6 h 32"/>
                <a:gd name="T72" fmla="*/ 38 w 46"/>
                <a:gd name="T73" fmla="*/ 4 h 32"/>
                <a:gd name="T74" fmla="*/ 34 w 46"/>
                <a:gd name="T75" fmla="*/ 2 h 32"/>
                <a:gd name="T76" fmla="*/ 32 w 46"/>
                <a:gd name="T7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32">
                  <a:moveTo>
                    <a:pt x="32" y="2"/>
                  </a:moveTo>
                  <a:lnTo>
                    <a:pt x="0" y="0"/>
                  </a:lnTo>
                  <a:lnTo>
                    <a:pt x="0" y="2"/>
                  </a:lnTo>
                  <a:lnTo>
                    <a:pt x="0" y="4"/>
                  </a:lnTo>
                  <a:lnTo>
                    <a:pt x="0" y="8"/>
                  </a:lnTo>
                  <a:lnTo>
                    <a:pt x="0" y="10"/>
                  </a:lnTo>
                  <a:lnTo>
                    <a:pt x="0" y="12"/>
                  </a:lnTo>
                  <a:lnTo>
                    <a:pt x="0" y="14"/>
                  </a:lnTo>
                  <a:lnTo>
                    <a:pt x="0" y="14"/>
                  </a:lnTo>
                  <a:lnTo>
                    <a:pt x="2" y="16"/>
                  </a:lnTo>
                  <a:lnTo>
                    <a:pt x="2" y="18"/>
                  </a:lnTo>
                  <a:lnTo>
                    <a:pt x="4" y="20"/>
                  </a:lnTo>
                  <a:lnTo>
                    <a:pt x="4" y="22"/>
                  </a:lnTo>
                  <a:lnTo>
                    <a:pt x="6" y="22"/>
                  </a:lnTo>
                  <a:lnTo>
                    <a:pt x="6" y="24"/>
                  </a:lnTo>
                  <a:lnTo>
                    <a:pt x="8" y="24"/>
                  </a:lnTo>
                  <a:lnTo>
                    <a:pt x="10" y="26"/>
                  </a:lnTo>
                  <a:lnTo>
                    <a:pt x="12" y="26"/>
                  </a:lnTo>
                  <a:lnTo>
                    <a:pt x="14" y="26"/>
                  </a:lnTo>
                  <a:lnTo>
                    <a:pt x="18" y="28"/>
                  </a:lnTo>
                  <a:lnTo>
                    <a:pt x="22" y="30"/>
                  </a:lnTo>
                  <a:lnTo>
                    <a:pt x="28" y="30"/>
                  </a:lnTo>
                  <a:lnTo>
                    <a:pt x="30" y="30"/>
                  </a:lnTo>
                  <a:lnTo>
                    <a:pt x="34" y="32"/>
                  </a:lnTo>
                  <a:lnTo>
                    <a:pt x="46" y="24"/>
                  </a:lnTo>
                  <a:lnTo>
                    <a:pt x="46" y="24"/>
                  </a:lnTo>
                  <a:lnTo>
                    <a:pt x="46" y="18"/>
                  </a:lnTo>
                  <a:lnTo>
                    <a:pt x="46" y="16"/>
                  </a:lnTo>
                  <a:lnTo>
                    <a:pt x="46" y="14"/>
                  </a:lnTo>
                  <a:lnTo>
                    <a:pt x="46" y="12"/>
                  </a:lnTo>
                  <a:lnTo>
                    <a:pt x="46" y="12"/>
                  </a:lnTo>
                  <a:lnTo>
                    <a:pt x="46" y="10"/>
                  </a:lnTo>
                  <a:lnTo>
                    <a:pt x="44" y="10"/>
                  </a:lnTo>
                  <a:lnTo>
                    <a:pt x="44" y="10"/>
                  </a:lnTo>
                  <a:lnTo>
                    <a:pt x="42" y="8"/>
                  </a:lnTo>
                  <a:lnTo>
                    <a:pt x="40" y="6"/>
                  </a:lnTo>
                  <a:lnTo>
                    <a:pt x="38" y="4"/>
                  </a:lnTo>
                  <a:lnTo>
                    <a:pt x="34" y="2"/>
                  </a:lnTo>
                  <a:lnTo>
                    <a:pt x="3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7" name="Freeform 485"/>
            <p:cNvSpPr>
              <a:spLocks/>
            </p:cNvSpPr>
            <p:nvPr/>
          </p:nvSpPr>
          <p:spPr bwMode="auto">
            <a:xfrm>
              <a:off x="2097190" y="4240905"/>
              <a:ext cx="114317" cy="110853"/>
            </a:xfrm>
            <a:custGeom>
              <a:avLst/>
              <a:gdLst>
                <a:gd name="T0" fmla="*/ 60 w 66"/>
                <a:gd name="T1" fmla="*/ 2 h 64"/>
                <a:gd name="T2" fmla="*/ 54 w 66"/>
                <a:gd name="T3" fmla="*/ 2 h 64"/>
                <a:gd name="T4" fmla="*/ 46 w 66"/>
                <a:gd name="T5" fmla="*/ 0 h 64"/>
                <a:gd name="T6" fmla="*/ 42 w 66"/>
                <a:gd name="T7" fmla="*/ 0 h 64"/>
                <a:gd name="T8" fmla="*/ 38 w 66"/>
                <a:gd name="T9" fmla="*/ 0 h 64"/>
                <a:gd name="T10" fmla="*/ 36 w 66"/>
                <a:gd name="T11" fmla="*/ 2 h 64"/>
                <a:gd name="T12" fmla="*/ 36 w 66"/>
                <a:gd name="T13" fmla="*/ 4 h 64"/>
                <a:gd name="T14" fmla="*/ 36 w 66"/>
                <a:gd name="T15" fmla="*/ 6 h 64"/>
                <a:gd name="T16" fmla="*/ 34 w 66"/>
                <a:gd name="T17" fmla="*/ 12 h 64"/>
                <a:gd name="T18" fmla="*/ 34 w 66"/>
                <a:gd name="T19" fmla="*/ 14 h 64"/>
                <a:gd name="T20" fmla="*/ 34 w 66"/>
                <a:gd name="T21" fmla="*/ 16 h 64"/>
                <a:gd name="T22" fmla="*/ 32 w 66"/>
                <a:gd name="T23" fmla="*/ 16 h 64"/>
                <a:gd name="T24" fmla="*/ 30 w 66"/>
                <a:gd name="T25" fmla="*/ 18 h 64"/>
                <a:gd name="T26" fmla="*/ 26 w 66"/>
                <a:gd name="T27" fmla="*/ 18 h 64"/>
                <a:gd name="T28" fmla="*/ 18 w 66"/>
                <a:gd name="T29" fmla="*/ 18 h 64"/>
                <a:gd name="T30" fmla="*/ 14 w 66"/>
                <a:gd name="T31" fmla="*/ 18 h 64"/>
                <a:gd name="T32" fmla="*/ 12 w 66"/>
                <a:gd name="T33" fmla="*/ 18 h 64"/>
                <a:gd name="T34" fmla="*/ 4 w 66"/>
                <a:gd name="T35" fmla="*/ 22 h 64"/>
                <a:gd name="T36" fmla="*/ 0 w 66"/>
                <a:gd name="T37" fmla="*/ 26 h 64"/>
                <a:gd name="T38" fmla="*/ 6 w 66"/>
                <a:gd name="T39" fmla="*/ 30 h 64"/>
                <a:gd name="T40" fmla="*/ 8 w 66"/>
                <a:gd name="T41" fmla="*/ 32 h 64"/>
                <a:gd name="T42" fmla="*/ 10 w 66"/>
                <a:gd name="T43" fmla="*/ 36 h 64"/>
                <a:gd name="T44" fmla="*/ 10 w 66"/>
                <a:gd name="T45" fmla="*/ 42 h 64"/>
                <a:gd name="T46" fmla="*/ 14 w 66"/>
                <a:gd name="T47" fmla="*/ 50 h 64"/>
                <a:gd name="T48" fmla="*/ 16 w 66"/>
                <a:gd name="T49" fmla="*/ 52 h 64"/>
                <a:gd name="T50" fmla="*/ 20 w 66"/>
                <a:gd name="T51" fmla="*/ 58 h 64"/>
                <a:gd name="T52" fmla="*/ 56 w 66"/>
                <a:gd name="T53" fmla="*/ 64 h 64"/>
                <a:gd name="T54" fmla="*/ 58 w 66"/>
                <a:gd name="T55" fmla="*/ 46 h 64"/>
                <a:gd name="T56" fmla="*/ 58 w 66"/>
                <a:gd name="T57" fmla="*/ 32 h 64"/>
                <a:gd name="T58" fmla="*/ 60 w 66"/>
                <a:gd name="T59" fmla="*/ 22 h 64"/>
                <a:gd name="T60" fmla="*/ 60 w 66"/>
                <a:gd name="T61" fmla="*/ 20 h 64"/>
                <a:gd name="T62" fmla="*/ 64 w 66"/>
                <a:gd name="T63" fmla="*/ 14 h 64"/>
                <a:gd name="T64" fmla="*/ 64 w 66"/>
                <a:gd name="T65" fmla="*/ 12 h 64"/>
                <a:gd name="T66" fmla="*/ 66 w 66"/>
                <a:gd name="T67" fmla="*/ 10 h 64"/>
                <a:gd name="T68" fmla="*/ 64 w 66"/>
                <a:gd name="T69" fmla="*/ 8 h 64"/>
                <a:gd name="T70" fmla="*/ 64 w 66"/>
                <a:gd name="T71" fmla="*/ 6 h 64"/>
                <a:gd name="T72" fmla="*/ 62 w 66"/>
                <a:gd name="T7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4">
                  <a:moveTo>
                    <a:pt x="60" y="2"/>
                  </a:moveTo>
                  <a:lnTo>
                    <a:pt x="60" y="2"/>
                  </a:lnTo>
                  <a:lnTo>
                    <a:pt x="58" y="2"/>
                  </a:lnTo>
                  <a:lnTo>
                    <a:pt x="54" y="2"/>
                  </a:lnTo>
                  <a:lnTo>
                    <a:pt x="50" y="0"/>
                  </a:lnTo>
                  <a:lnTo>
                    <a:pt x="46" y="0"/>
                  </a:lnTo>
                  <a:lnTo>
                    <a:pt x="42" y="0"/>
                  </a:lnTo>
                  <a:lnTo>
                    <a:pt x="42" y="0"/>
                  </a:lnTo>
                  <a:lnTo>
                    <a:pt x="40" y="0"/>
                  </a:lnTo>
                  <a:lnTo>
                    <a:pt x="38" y="0"/>
                  </a:lnTo>
                  <a:lnTo>
                    <a:pt x="38" y="2"/>
                  </a:lnTo>
                  <a:lnTo>
                    <a:pt x="36" y="2"/>
                  </a:lnTo>
                  <a:lnTo>
                    <a:pt x="36" y="2"/>
                  </a:lnTo>
                  <a:lnTo>
                    <a:pt x="36" y="4"/>
                  </a:lnTo>
                  <a:lnTo>
                    <a:pt x="36" y="4"/>
                  </a:lnTo>
                  <a:lnTo>
                    <a:pt x="36" y="6"/>
                  </a:lnTo>
                  <a:lnTo>
                    <a:pt x="34" y="8"/>
                  </a:lnTo>
                  <a:lnTo>
                    <a:pt x="34" y="12"/>
                  </a:lnTo>
                  <a:lnTo>
                    <a:pt x="34" y="14"/>
                  </a:lnTo>
                  <a:lnTo>
                    <a:pt x="34" y="14"/>
                  </a:lnTo>
                  <a:lnTo>
                    <a:pt x="34" y="16"/>
                  </a:lnTo>
                  <a:lnTo>
                    <a:pt x="34" y="16"/>
                  </a:lnTo>
                  <a:lnTo>
                    <a:pt x="32" y="16"/>
                  </a:lnTo>
                  <a:lnTo>
                    <a:pt x="32" y="16"/>
                  </a:lnTo>
                  <a:lnTo>
                    <a:pt x="30" y="18"/>
                  </a:lnTo>
                  <a:lnTo>
                    <a:pt x="30" y="18"/>
                  </a:lnTo>
                  <a:lnTo>
                    <a:pt x="28" y="18"/>
                  </a:lnTo>
                  <a:lnTo>
                    <a:pt x="26" y="18"/>
                  </a:lnTo>
                  <a:lnTo>
                    <a:pt x="24" y="18"/>
                  </a:lnTo>
                  <a:lnTo>
                    <a:pt x="18" y="18"/>
                  </a:lnTo>
                  <a:lnTo>
                    <a:pt x="16" y="18"/>
                  </a:lnTo>
                  <a:lnTo>
                    <a:pt x="14" y="18"/>
                  </a:lnTo>
                  <a:lnTo>
                    <a:pt x="14" y="18"/>
                  </a:lnTo>
                  <a:lnTo>
                    <a:pt x="12" y="18"/>
                  </a:lnTo>
                  <a:lnTo>
                    <a:pt x="10" y="20"/>
                  </a:lnTo>
                  <a:lnTo>
                    <a:pt x="4" y="22"/>
                  </a:lnTo>
                  <a:lnTo>
                    <a:pt x="0" y="24"/>
                  </a:lnTo>
                  <a:lnTo>
                    <a:pt x="0" y="26"/>
                  </a:lnTo>
                  <a:lnTo>
                    <a:pt x="2" y="28"/>
                  </a:lnTo>
                  <a:lnTo>
                    <a:pt x="6" y="30"/>
                  </a:lnTo>
                  <a:lnTo>
                    <a:pt x="6" y="32"/>
                  </a:lnTo>
                  <a:lnTo>
                    <a:pt x="8" y="32"/>
                  </a:lnTo>
                  <a:lnTo>
                    <a:pt x="8" y="34"/>
                  </a:lnTo>
                  <a:lnTo>
                    <a:pt x="10" y="36"/>
                  </a:lnTo>
                  <a:lnTo>
                    <a:pt x="10" y="40"/>
                  </a:lnTo>
                  <a:lnTo>
                    <a:pt x="10" y="42"/>
                  </a:lnTo>
                  <a:lnTo>
                    <a:pt x="12" y="48"/>
                  </a:lnTo>
                  <a:lnTo>
                    <a:pt x="14" y="50"/>
                  </a:lnTo>
                  <a:lnTo>
                    <a:pt x="14" y="52"/>
                  </a:lnTo>
                  <a:lnTo>
                    <a:pt x="16" y="52"/>
                  </a:lnTo>
                  <a:lnTo>
                    <a:pt x="18" y="54"/>
                  </a:lnTo>
                  <a:lnTo>
                    <a:pt x="20" y="58"/>
                  </a:lnTo>
                  <a:lnTo>
                    <a:pt x="24" y="62"/>
                  </a:lnTo>
                  <a:lnTo>
                    <a:pt x="56" y="64"/>
                  </a:lnTo>
                  <a:lnTo>
                    <a:pt x="56" y="58"/>
                  </a:lnTo>
                  <a:lnTo>
                    <a:pt x="58" y="46"/>
                  </a:lnTo>
                  <a:lnTo>
                    <a:pt x="58" y="38"/>
                  </a:lnTo>
                  <a:lnTo>
                    <a:pt x="58" y="32"/>
                  </a:lnTo>
                  <a:lnTo>
                    <a:pt x="60" y="26"/>
                  </a:lnTo>
                  <a:lnTo>
                    <a:pt x="60" y="22"/>
                  </a:lnTo>
                  <a:lnTo>
                    <a:pt x="60" y="20"/>
                  </a:lnTo>
                  <a:lnTo>
                    <a:pt x="60" y="20"/>
                  </a:lnTo>
                  <a:lnTo>
                    <a:pt x="62" y="18"/>
                  </a:lnTo>
                  <a:lnTo>
                    <a:pt x="64" y="14"/>
                  </a:lnTo>
                  <a:lnTo>
                    <a:pt x="64" y="14"/>
                  </a:lnTo>
                  <a:lnTo>
                    <a:pt x="64" y="12"/>
                  </a:lnTo>
                  <a:lnTo>
                    <a:pt x="66" y="10"/>
                  </a:lnTo>
                  <a:lnTo>
                    <a:pt x="66" y="10"/>
                  </a:lnTo>
                  <a:lnTo>
                    <a:pt x="66" y="10"/>
                  </a:lnTo>
                  <a:lnTo>
                    <a:pt x="64" y="8"/>
                  </a:lnTo>
                  <a:lnTo>
                    <a:pt x="64" y="8"/>
                  </a:lnTo>
                  <a:lnTo>
                    <a:pt x="64" y="6"/>
                  </a:lnTo>
                  <a:lnTo>
                    <a:pt x="62" y="6"/>
                  </a:lnTo>
                  <a:lnTo>
                    <a:pt x="62" y="4"/>
                  </a:lnTo>
                  <a:lnTo>
                    <a:pt x="6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8" name="Freeform 486"/>
            <p:cNvSpPr>
              <a:spLocks/>
            </p:cNvSpPr>
            <p:nvPr/>
          </p:nvSpPr>
          <p:spPr bwMode="auto">
            <a:xfrm>
              <a:off x="2097190" y="4240905"/>
              <a:ext cx="114317" cy="110853"/>
            </a:xfrm>
            <a:custGeom>
              <a:avLst/>
              <a:gdLst>
                <a:gd name="T0" fmla="*/ 60 w 66"/>
                <a:gd name="T1" fmla="*/ 2 h 64"/>
                <a:gd name="T2" fmla="*/ 54 w 66"/>
                <a:gd name="T3" fmla="*/ 2 h 64"/>
                <a:gd name="T4" fmla="*/ 46 w 66"/>
                <a:gd name="T5" fmla="*/ 0 h 64"/>
                <a:gd name="T6" fmla="*/ 42 w 66"/>
                <a:gd name="T7" fmla="*/ 0 h 64"/>
                <a:gd name="T8" fmla="*/ 38 w 66"/>
                <a:gd name="T9" fmla="*/ 0 h 64"/>
                <a:gd name="T10" fmla="*/ 36 w 66"/>
                <a:gd name="T11" fmla="*/ 2 h 64"/>
                <a:gd name="T12" fmla="*/ 36 w 66"/>
                <a:gd name="T13" fmla="*/ 4 h 64"/>
                <a:gd name="T14" fmla="*/ 36 w 66"/>
                <a:gd name="T15" fmla="*/ 6 h 64"/>
                <a:gd name="T16" fmla="*/ 34 w 66"/>
                <a:gd name="T17" fmla="*/ 12 h 64"/>
                <a:gd name="T18" fmla="*/ 34 w 66"/>
                <a:gd name="T19" fmla="*/ 14 h 64"/>
                <a:gd name="T20" fmla="*/ 34 w 66"/>
                <a:gd name="T21" fmla="*/ 16 h 64"/>
                <a:gd name="T22" fmla="*/ 32 w 66"/>
                <a:gd name="T23" fmla="*/ 16 h 64"/>
                <a:gd name="T24" fmla="*/ 30 w 66"/>
                <a:gd name="T25" fmla="*/ 18 h 64"/>
                <a:gd name="T26" fmla="*/ 26 w 66"/>
                <a:gd name="T27" fmla="*/ 18 h 64"/>
                <a:gd name="T28" fmla="*/ 18 w 66"/>
                <a:gd name="T29" fmla="*/ 18 h 64"/>
                <a:gd name="T30" fmla="*/ 14 w 66"/>
                <a:gd name="T31" fmla="*/ 18 h 64"/>
                <a:gd name="T32" fmla="*/ 12 w 66"/>
                <a:gd name="T33" fmla="*/ 18 h 64"/>
                <a:gd name="T34" fmla="*/ 4 w 66"/>
                <a:gd name="T35" fmla="*/ 22 h 64"/>
                <a:gd name="T36" fmla="*/ 0 w 66"/>
                <a:gd name="T37" fmla="*/ 26 h 64"/>
                <a:gd name="T38" fmla="*/ 6 w 66"/>
                <a:gd name="T39" fmla="*/ 30 h 64"/>
                <a:gd name="T40" fmla="*/ 8 w 66"/>
                <a:gd name="T41" fmla="*/ 32 h 64"/>
                <a:gd name="T42" fmla="*/ 10 w 66"/>
                <a:gd name="T43" fmla="*/ 36 h 64"/>
                <a:gd name="T44" fmla="*/ 10 w 66"/>
                <a:gd name="T45" fmla="*/ 42 h 64"/>
                <a:gd name="T46" fmla="*/ 14 w 66"/>
                <a:gd name="T47" fmla="*/ 50 h 64"/>
                <a:gd name="T48" fmla="*/ 16 w 66"/>
                <a:gd name="T49" fmla="*/ 52 h 64"/>
                <a:gd name="T50" fmla="*/ 20 w 66"/>
                <a:gd name="T51" fmla="*/ 58 h 64"/>
                <a:gd name="T52" fmla="*/ 56 w 66"/>
                <a:gd name="T53" fmla="*/ 64 h 64"/>
                <a:gd name="T54" fmla="*/ 58 w 66"/>
                <a:gd name="T55" fmla="*/ 46 h 64"/>
                <a:gd name="T56" fmla="*/ 58 w 66"/>
                <a:gd name="T57" fmla="*/ 32 h 64"/>
                <a:gd name="T58" fmla="*/ 60 w 66"/>
                <a:gd name="T59" fmla="*/ 22 h 64"/>
                <a:gd name="T60" fmla="*/ 60 w 66"/>
                <a:gd name="T61" fmla="*/ 20 h 64"/>
                <a:gd name="T62" fmla="*/ 64 w 66"/>
                <a:gd name="T63" fmla="*/ 14 h 64"/>
                <a:gd name="T64" fmla="*/ 64 w 66"/>
                <a:gd name="T65" fmla="*/ 12 h 64"/>
                <a:gd name="T66" fmla="*/ 66 w 66"/>
                <a:gd name="T67" fmla="*/ 10 h 64"/>
                <a:gd name="T68" fmla="*/ 64 w 66"/>
                <a:gd name="T69" fmla="*/ 8 h 64"/>
                <a:gd name="T70" fmla="*/ 64 w 66"/>
                <a:gd name="T71" fmla="*/ 6 h 64"/>
                <a:gd name="T72" fmla="*/ 62 w 66"/>
                <a:gd name="T7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4">
                  <a:moveTo>
                    <a:pt x="60" y="2"/>
                  </a:moveTo>
                  <a:lnTo>
                    <a:pt x="60" y="2"/>
                  </a:lnTo>
                  <a:lnTo>
                    <a:pt x="58" y="2"/>
                  </a:lnTo>
                  <a:lnTo>
                    <a:pt x="54" y="2"/>
                  </a:lnTo>
                  <a:lnTo>
                    <a:pt x="50" y="0"/>
                  </a:lnTo>
                  <a:lnTo>
                    <a:pt x="46" y="0"/>
                  </a:lnTo>
                  <a:lnTo>
                    <a:pt x="42" y="0"/>
                  </a:lnTo>
                  <a:lnTo>
                    <a:pt x="42" y="0"/>
                  </a:lnTo>
                  <a:lnTo>
                    <a:pt x="40" y="0"/>
                  </a:lnTo>
                  <a:lnTo>
                    <a:pt x="38" y="0"/>
                  </a:lnTo>
                  <a:lnTo>
                    <a:pt x="38" y="2"/>
                  </a:lnTo>
                  <a:lnTo>
                    <a:pt x="36" y="2"/>
                  </a:lnTo>
                  <a:lnTo>
                    <a:pt x="36" y="2"/>
                  </a:lnTo>
                  <a:lnTo>
                    <a:pt x="36" y="4"/>
                  </a:lnTo>
                  <a:lnTo>
                    <a:pt x="36" y="4"/>
                  </a:lnTo>
                  <a:lnTo>
                    <a:pt x="36" y="6"/>
                  </a:lnTo>
                  <a:lnTo>
                    <a:pt x="34" y="8"/>
                  </a:lnTo>
                  <a:lnTo>
                    <a:pt x="34" y="12"/>
                  </a:lnTo>
                  <a:lnTo>
                    <a:pt x="34" y="14"/>
                  </a:lnTo>
                  <a:lnTo>
                    <a:pt x="34" y="14"/>
                  </a:lnTo>
                  <a:lnTo>
                    <a:pt x="34" y="16"/>
                  </a:lnTo>
                  <a:lnTo>
                    <a:pt x="34" y="16"/>
                  </a:lnTo>
                  <a:lnTo>
                    <a:pt x="32" y="16"/>
                  </a:lnTo>
                  <a:lnTo>
                    <a:pt x="32" y="16"/>
                  </a:lnTo>
                  <a:lnTo>
                    <a:pt x="30" y="18"/>
                  </a:lnTo>
                  <a:lnTo>
                    <a:pt x="30" y="18"/>
                  </a:lnTo>
                  <a:lnTo>
                    <a:pt x="28" y="18"/>
                  </a:lnTo>
                  <a:lnTo>
                    <a:pt x="26" y="18"/>
                  </a:lnTo>
                  <a:lnTo>
                    <a:pt x="24" y="18"/>
                  </a:lnTo>
                  <a:lnTo>
                    <a:pt x="18" y="18"/>
                  </a:lnTo>
                  <a:lnTo>
                    <a:pt x="16" y="18"/>
                  </a:lnTo>
                  <a:lnTo>
                    <a:pt x="14" y="18"/>
                  </a:lnTo>
                  <a:lnTo>
                    <a:pt x="14" y="18"/>
                  </a:lnTo>
                  <a:lnTo>
                    <a:pt x="12" y="18"/>
                  </a:lnTo>
                  <a:lnTo>
                    <a:pt x="10" y="20"/>
                  </a:lnTo>
                  <a:lnTo>
                    <a:pt x="4" y="22"/>
                  </a:lnTo>
                  <a:lnTo>
                    <a:pt x="0" y="24"/>
                  </a:lnTo>
                  <a:lnTo>
                    <a:pt x="0" y="26"/>
                  </a:lnTo>
                  <a:lnTo>
                    <a:pt x="2" y="28"/>
                  </a:lnTo>
                  <a:lnTo>
                    <a:pt x="6" y="30"/>
                  </a:lnTo>
                  <a:lnTo>
                    <a:pt x="6" y="32"/>
                  </a:lnTo>
                  <a:lnTo>
                    <a:pt x="8" y="32"/>
                  </a:lnTo>
                  <a:lnTo>
                    <a:pt x="8" y="34"/>
                  </a:lnTo>
                  <a:lnTo>
                    <a:pt x="10" y="36"/>
                  </a:lnTo>
                  <a:lnTo>
                    <a:pt x="10" y="40"/>
                  </a:lnTo>
                  <a:lnTo>
                    <a:pt x="10" y="42"/>
                  </a:lnTo>
                  <a:lnTo>
                    <a:pt x="12" y="48"/>
                  </a:lnTo>
                  <a:lnTo>
                    <a:pt x="14" y="50"/>
                  </a:lnTo>
                  <a:lnTo>
                    <a:pt x="14" y="52"/>
                  </a:lnTo>
                  <a:lnTo>
                    <a:pt x="16" y="52"/>
                  </a:lnTo>
                  <a:lnTo>
                    <a:pt x="18" y="54"/>
                  </a:lnTo>
                  <a:lnTo>
                    <a:pt x="20" y="58"/>
                  </a:lnTo>
                  <a:lnTo>
                    <a:pt x="24" y="62"/>
                  </a:lnTo>
                  <a:lnTo>
                    <a:pt x="56" y="64"/>
                  </a:lnTo>
                  <a:lnTo>
                    <a:pt x="56" y="58"/>
                  </a:lnTo>
                  <a:lnTo>
                    <a:pt x="58" y="46"/>
                  </a:lnTo>
                  <a:lnTo>
                    <a:pt x="58" y="38"/>
                  </a:lnTo>
                  <a:lnTo>
                    <a:pt x="58" y="32"/>
                  </a:lnTo>
                  <a:lnTo>
                    <a:pt x="60" y="26"/>
                  </a:lnTo>
                  <a:lnTo>
                    <a:pt x="60" y="22"/>
                  </a:lnTo>
                  <a:lnTo>
                    <a:pt x="60" y="20"/>
                  </a:lnTo>
                  <a:lnTo>
                    <a:pt x="60" y="20"/>
                  </a:lnTo>
                  <a:lnTo>
                    <a:pt x="62" y="18"/>
                  </a:lnTo>
                  <a:lnTo>
                    <a:pt x="64" y="14"/>
                  </a:lnTo>
                  <a:lnTo>
                    <a:pt x="64" y="14"/>
                  </a:lnTo>
                  <a:lnTo>
                    <a:pt x="64" y="12"/>
                  </a:lnTo>
                  <a:lnTo>
                    <a:pt x="66" y="10"/>
                  </a:lnTo>
                  <a:lnTo>
                    <a:pt x="66" y="10"/>
                  </a:lnTo>
                  <a:lnTo>
                    <a:pt x="66" y="10"/>
                  </a:lnTo>
                  <a:lnTo>
                    <a:pt x="64" y="8"/>
                  </a:lnTo>
                  <a:lnTo>
                    <a:pt x="64" y="8"/>
                  </a:lnTo>
                  <a:lnTo>
                    <a:pt x="64" y="6"/>
                  </a:lnTo>
                  <a:lnTo>
                    <a:pt x="62" y="6"/>
                  </a:lnTo>
                  <a:lnTo>
                    <a:pt x="62" y="4"/>
                  </a:lnTo>
                  <a:lnTo>
                    <a:pt x="6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09" name="Freeform 487"/>
            <p:cNvSpPr>
              <a:spLocks/>
            </p:cNvSpPr>
            <p:nvPr/>
          </p:nvSpPr>
          <p:spPr bwMode="auto">
            <a:xfrm>
              <a:off x="2045227" y="4247834"/>
              <a:ext cx="51962" cy="34641"/>
            </a:xfrm>
            <a:custGeom>
              <a:avLst/>
              <a:gdLst>
                <a:gd name="T0" fmla="*/ 28 w 30"/>
                <a:gd name="T1" fmla="*/ 20 h 20"/>
                <a:gd name="T2" fmla="*/ 28 w 30"/>
                <a:gd name="T3" fmla="*/ 20 h 20"/>
                <a:gd name="T4" fmla="*/ 28 w 30"/>
                <a:gd name="T5" fmla="*/ 18 h 20"/>
                <a:gd name="T6" fmla="*/ 30 w 30"/>
                <a:gd name="T7" fmla="*/ 16 h 20"/>
                <a:gd name="T8" fmla="*/ 30 w 30"/>
                <a:gd name="T9" fmla="*/ 12 h 20"/>
                <a:gd name="T10" fmla="*/ 30 w 30"/>
                <a:gd name="T11" fmla="*/ 10 h 20"/>
                <a:gd name="T12" fmla="*/ 28 w 30"/>
                <a:gd name="T13" fmla="*/ 6 h 20"/>
                <a:gd name="T14" fmla="*/ 28 w 30"/>
                <a:gd name="T15" fmla="*/ 6 h 20"/>
                <a:gd name="T16" fmla="*/ 28 w 30"/>
                <a:gd name="T17" fmla="*/ 4 h 20"/>
                <a:gd name="T18" fmla="*/ 28 w 30"/>
                <a:gd name="T19" fmla="*/ 4 h 20"/>
                <a:gd name="T20" fmla="*/ 28 w 30"/>
                <a:gd name="T21" fmla="*/ 2 h 20"/>
                <a:gd name="T22" fmla="*/ 26 w 30"/>
                <a:gd name="T23" fmla="*/ 2 h 20"/>
                <a:gd name="T24" fmla="*/ 26 w 30"/>
                <a:gd name="T25" fmla="*/ 2 h 20"/>
                <a:gd name="T26" fmla="*/ 26 w 30"/>
                <a:gd name="T27" fmla="*/ 2 h 20"/>
                <a:gd name="T28" fmla="*/ 24 w 30"/>
                <a:gd name="T29" fmla="*/ 0 h 20"/>
                <a:gd name="T30" fmla="*/ 22 w 30"/>
                <a:gd name="T31" fmla="*/ 0 h 20"/>
                <a:gd name="T32" fmla="*/ 20 w 30"/>
                <a:gd name="T33" fmla="*/ 0 h 20"/>
                <a:gd name="T34" fmla="*/ 18 w 30"/>
                <a:gd name="T35" fmla="*/ 0 h 20"/>
                <a:gd name="T36" fmla="*/ 14 w 30"/>
                <a:gd name="T37" fmla="*/ 0 h 20"/>
                <a:gd name="T38" fmla="*/ 12 w 30"/>
                <a:gd name="T39" fmla="*/ 0 h 20"/>
                <a:gd name="T40" fmla="*/ 10 w 30"/>
                <a:gd name="T41" fmla="*/ 2 h 20"/>
                <a:gd name="T42" fmla="*/ 10 w 30"/>
                <a:gd name="T43" fmla="*/ 2 h 20"/>
                <a:gd name="T44" fmla="*/ 8 w 30"/>
                <a:gd name="T45" fmla="*/ 2 h 20"/>
                <a:gd name="T46" fmla="*/ 4 w 30"/>
                <a:gd name="T47" fmla="*/ 4 h 20"/>
                <a:gd name="T48" fmla="*/ 0 w 30"/>
                <a:gd name="T49" fmla="*/ 6 h 20"/>
                <a:gd name="T50" fmla="*/ 28 w 30"/>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8" y="20"/>
                  </a:moveTo>
                  <a:lnTo>
                    <a:pt x="28" y="20"/>
                  </a:lnTo>
                  <a:lnTo>
                    <a:pt x="28" y="18"/>
                  </a:lnTo>
                  <a:lnTo>
                    <a:pt x="30" y="16"/>
                  </a:lnTo>
                  <a:lnTo>
                    <a:pt x="30" y="12"/>
                  </a:lnTo>
                  <a:lnTo>
                    <a:pt x="30" y="10"/>
                  </a:lnTo>
                  <a:lnTo>
                    <a:pt x="28" y="6"/>
                  </a:lnTo>
                  <a:lnTo>
                    <a:pt x="28" y="6"/>
                  </a:lnTo>
                  <a:lnTo>
                    <a:pt x="28" y="4"/>
                  </a:lnTo>
                  <a:lnTo>
                    <a:pt x="28" y="4"/>
                  </a:lnTo>
                  <a:lnTo>
                    <a:pt x="28" y="2"/>
                  </a:lnTo>
                  <a:lnTo>
                    <a:pt x="26" y="2"/>
                  </a:lnTo>
                  <a:lnTo>
                    <a:pt x="26" y="2"/>
                  </a:lnTo>
                  <a:lnTo>
                    <a:pt x="26" y="2"/>
                  </a:lnTo>
                  <a:lnTo>
                    <a:pt x="24" y="0"/>
                  </a:lnTo>
                  <a:lnTo>
                    <a:pt x="22" y="0"/>
                  </a:lnTo>
                  <a:lnTo>
                    <a:pt x="20" y="0"/>
                  </a:lnTo>
                  <a:lnTo>
                    <a:pt x="18" y="0"/>
                  </a:lnTo>
                  <a:lnTo>
                    <a:pt x="14" y="0"/>
                  </a:lnTo>
                  <a:lnTo>
                    <a:pt x="12" y="0"/>
                  </a:lnTo>
                  <a:lnTo>
                    <a:pt x="10" y="2"/>
                  </a:lnTo>
                  <a:lnTo>
                    <a:pt x="10" y="2"/>
                  </a:lnTo>
                  <a:lnTo>
                    <a:pt x="8" y="2"/>
                  </a:lnTo>
                  <a:lnTo>
                    <a:pt x="4" y="4"/>
                  </a:lnTo>
                  <a:lnTo>
                    <a:pt x="0" y="6"/>
                  </a:lnTo>
                  <a:lnTo>
                    <a:pt x="28"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10" name="Freeform 488"/>
            <p:cNvSpPr>
              <a:spLocks/>
            </p:cNvSpPr>
            <p:nvPr/>
          </p:nvSpPr>
          <p:spPr bwMode="auto">
            <a:xfrm>
              <a:off x="2045227" y="4247834"/>
              <a:ext cx="51962" cy="34641"/>
            </a:xfrm>
            <a:custGeom>
              <a:avLst/>
              <a:gdLst>
                <a:gd name="T0" fmla="*/ 28 w 30"/>
                <a:gd name="T1" fmla="*/ 20 h 20"/>
                <a:gd name="T2" fmla="*/ 28 w 30"/>
                <a:gd name="T3" fmla="*/ 20 h 20"/>
                <a:gd name="T4" fmla="*/ 28 w 30"/>
                <a:gd name="T5" fmla="*/ 18 h 20"/>
                <a:gd name="T6" fmla="*/ 30 w 30"/>
                <a:gd name="T7" fmla="*/ 16 h 20"/>
                <a:gd name="T8" fmla="*/ 30 w 30"/>
                <a:gd name="T9" fmla="*/ 12 h 20"/>
                <a:gd name="T10" fmla="*/ 30 w 30"/>
                <a:gd name="T11" fmla="*/ 10 h 20"/>
                <a:gd name="T12" fmla="*/ 28 w 30"/>
                <a:gd name="T13" fmla="*/ 6 h 20"/>
                <a:gd name="T14" fmla="*/ 28 w 30"/>
                <a:gd name="T15" fmla="*/ 6 h 20"/>
                <a:gd name="T16" fmla="*/ 28 w 30"/>
                <a:gd name="T17" fmla="*/ 4 h 20"/>
                <a:gd name="T18" fmla="*/ 28 w 30"/>
                <a:gd name="T19" fmla="*/ 4 h 20"/>
                <a:gd name="T20" fmla="*/ 28 w 30"/>
                <a:gd name="T21" fmla="*/ 2 h 20"/>
                <a:gd name="T22" fmla="*/ 26 w 30"/>
                <a:gd name="T23" fmla="*/ 2 h 20"/>
                <a:gd name="T24" fmla="*/ 26 w 30"/>
                <a:gd name="T25" fmla="*/ 2 h 20"/>
                <a:gd name="T26" fmla="*/ 26 w 30"/>
                <a:gd name="T27" fmla="*/ 2 h 20"/>
                <a:gd name="T28" fmla="*/ 24 w 30"/>
                <a:gd name="T29" fmla="*/ 0 h 20"/>
                <a:gd name="T30" fmla="*/ 22 w 30"/>
                <a:gd name="T31" fmla="*/ 0 h 20"/>
                <a:gd name="T32" fmla="*/ 20 w 30"/>
                <a:gd name="T33" fmla="*/ 0 h 20"/>
                <a:gd name="T34" fmla="*/ 18 w 30"/>
                <a:gd name="T35" fmla="*/ 0 h 20"/>
                <a:gd name="T36" fmla="*/ 14 w 30"/>
                <a:gd name="T37" fmla="*/ 0 h 20"/>
                <a:gd name="T38" fmla="*/ 12 w 30"/>
                <a:gd name="T39" fmla="*/ 0 h 20"/>
                <a:gd name="T40" fmla="*/ 10 w 30"/>
                <a:gd name="T41" fmla="*/ 2 h 20"/>
                <a:gd name="T42" fmla="*/ 10 w 30"/>
                <a:gd name="T43" fmla="*/ 2 h 20"/>
                <a:gd name="T44" fmla="*/ 8 w 30"/>
                <a:gd name="T45" fmla="*/ 2 h 20"/>
                <a:gd name="T46" fmla="*/ 4 w 30"/>
                <a:gd name="T47" fmla="*/ 4 h 20"/>
                <a:gd name="T48" fmla="*/ 0 w 30"/>
                <a:gd name="T49" fmla="*/ 6 h 20"/>
                <a:gd name="T50" fmla="*/ 28 w 30"/>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8" y="20"/>
                  </a:moveTo>
                  <a:lnTo>
                    <a:pt x="28" y="20"/>
                  </a:lnTo>
                  <a:lnTo>
                    <a:pt x="28" y="18"/>
                  </a:lnTo>
                  <a:lnTo>
                    <a:pt x="30" y="16"/>
                  </a:lnTo>
                  <a:lnTo>
                    <a:pt x="30" y="12"/>
                  </a:lnTo>
                  <a:lnTo>
                    <a:pt x="30" y="10"/>
                  </a:lnTo>
                  <a:lnTo>
                    <a:pt x="28" y="6"/>
                  </a:lnTo>
                  <a:lnTo>
                    <a:pt x="28" y="6"/>
                  </a:lnTo>
                  <a:lnTo>
                    <a:pt x="28" y="4"/>
                  </a:lnTo>
                  <a:lnTo>
                    <a:pt x="28" y="4"/>
                  </a:lnTo>
                  <a:lnTo>
                    <a:pt x="28" y="2"/>
                  </a:lnTo>
                  <a:lnTo>
                    <a:pt x="26" y="2"/>
                  </a:lnTo>
                  <a:lnTo>
                    <a:pt x="26" y="2"/>
                  </a:lnTo>
                  <a:lnTo>
                    <a:pt x="26" y="2"/>
                  </a:lnTo>
                  <a:lnTo>
                    <a:pt x="24" y="0"/>
                  </a:lnTo>
                  <a:lnTo>
                    <a:pt x="22" y="0"/>
                  </a:lnTo>
                  <a:lnTo>
                    <a:pt x="20" y="0"/>
                  </a:lnTo>
                  <a:lnTo>
                    <a:pt x="18" y="0"/>
                  </a:lnTo>
                  <a:lnTo>
                    <a:pt x="14" y="0"/>
                  </a:lnTo>
                  <a:lnTo>
                    <a:pt x="12" y="0"/>
                  </a:lnTo>
                  <a:lnTo>
                    <a:pt x="10" y="2"/>
                  </a:lnTo>
                  <a:lnTo>
                    <a:pt x="10" y="2"/>
                  </a:lnTo>
                  <a:lnTo>
                    <a:pt x="8" y="2"/>
                  </a:lnTo>
                  <a:lnTo>
                    <a:pt x="4" y="4"/>
                  </a:lnTo>
                  <a:lnTo>
                    <a:pt x="0" y="6"/>
                  </a:lnTo>
                  <a:lnTo>
                    <a:pt x="28"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11" name="Freeform 489"/>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12" name="Freeform 490"/>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13" name="Freeform 491"/>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14" name="Freeform 492"/>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15" name="Freeform 493"/>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16" name="Freeform 498"/>
            <p:cNvSpPr>
              <a:spLocks/>
            </p:cNvSpPr>
            <p:nvPr/>
          </p:nvSpPr>
          <p:spPr bwMode="auto">
            <a:xfrm>
              <a:off x="2547529" y="5300935"/>
              <a:ext cx="426090" cy="966498"/>
            </a:xfrm>
            <a:custGeom>
              <a:avLst/>
              <a:gdLst>
                <a:gd name="T0" fmla="*/ 56 w 246"/>
                <a:gd name="T1" fmla="*/ 0 h 558"/>
                <a:gd name="T2" fmla="*/ 78 w 246"/>
                <a:gd name="T3" fmla="*/ 16 h 558"/>
                <a:gd name="T4" fmla="*/ 104 w 246"/>
                <a:gd name="T5" fmla="*/ 4 h 558"/>
                <a:gd name="T6" fmla="*/ 128 w 246"/>
                <a:gd name="T7" fmla="*/ 24 h 558"/>
                <a:gd name="T8" fmla="*/ 148 w 246"/>
                <a:gd name="T9" fmla="*/ 38 h 558"/>
                <a:gd name="T10" fmla="*/ 162 w 246"/>
                <a:gd name="T11" fmla="*/ 50 h 558"/>
                <a:gd name="T12" fmla="*/ 182 w 246"/>
                <a:gd name="T13" fmla="*/ 60 h 558"/>
                <a:gd name="T14" fmla="*/ 172 w 246"/>
                <a:gd name="T15" fmla="*/ 90 h 558"/>
                <a:gd name="T16" fmla="*/ 190 w 246"/>
                <a:gd name="T17" fmla="*/ 100 h 558"/>
                <a:gd name="T18" fmla="*/ 218 w 246"/>
                <a:gd name="T19" fmla="*/ 92 h 558"/>
                <a:gd name="T20" fmla="*/ 232 w 246"/>
                <a:gd name="T21" fmla="*/ 74 h 558"/>
                <a:gd name="T22" fmla="*/ 238 w 246"/>
                <a:gd name="T23" fmla="*/ 84 h 558"/>
                <a:gd name="T24" fmla="*/ 246 w 246"/>
                <a:gd name="T25" fmla="*/ 92 h 558"/>
                <a:gd name="T26" fmla="*/ 234 w 246"/>
                <a:gd name="T27" fmla="*/ 98 h 558"/>
                <a:gd name="T28" fmla="*/ 220 w 246"/>
                <a:gd name="T29" fmla="*/ 110 h 558"/>
                <a:gd name="T30" fmla="*/ 194 w 246"/>
                <a:gd name="T31" fmla="*/ 144 h 558"/>
                <a:gd name="T32" fmla="*/ 180 w 246"/>
                <a:gd name="T33" fmla="*/ 192 h 558"/>
                <a:gd name="T34" fmla="*/ 186 w 246"/>
                <a:gd name="T35" fmla="*/ 222 h 558"/>
                <a:gd name="T36" fmla="*/ 192 w 246"/>
                <a:gd name="T37" fmla="*/ 228 h 558"/>
                <a:gd name="T38" fmla="*/ 208 w 246"/>
                <a:gd name="T39" fmla="*/ 234 h 558"/>
                <a:gd name="T40" fmla="*/ 210 w 246"/>
                <a:gd name="T41" fmla="*/ 254 h 558"/>
                <a:gd name="T42" fmla="*/ 214 w 246"/>
                <a:gd name="T43" fmla="*/ 270 h 558"/>
                <a:gd name="T44" fmla="*/ 194 w 246"/>
                <a:gd name="T45" fmla="*/ 280 h 558"/>
                <a:gd name="T46" fmla="*/ 188 w 246"/>
                <a:gd name="T47" fmla="*/ 292 h 558"/>
                <a:gd name="T48" fmla="*/ 146 w 246"/>
                <a:gd name="T49" fmla="*/ 298 h 558"/>
                <a:gd name="T50" fmla="*/ 142 w 246"/>
                <a:gd name="T51" fmla="*/ 318 h 558"/>
                <a:gd name="T52" fmla="*/ 140 w 246"/>
                <a:gd name="T53" fmla="*/ 342 h 558"/>
                <a:gd name="T54" fmla="*/ 114 w 246"/>
                <a:gd name="T55" fmla="*/ 334 h 558"/>
                <a:gd name="T56" fmla="*/ 102 w 246"/>
                <a:gd name="T57" fmla="*/ 336 h 558"/>
                <a:gd name="T58" fmla="*/ 112 w 246"/>
                <a:gd name="T59" fmla="*/ 354 h 558"/>
                <a:gd name="T60" fmla="*/ 120 w 246"/>
                <a:gd name="T61" fmla="*/ 378 h 558"/>
                <a:gd name="T62" fmla="*/ 106 w 246"/>
                <a:gd name="T63" fmla="*/ 408 h 558"/>
                <a:gd name="T64" fmla="*/ 94 w 246"/>
                <a:gd name="T65" fmla="*/ 420 h 558"/>
                <a:gd name="T66" fmla="*/ 82 w 246"/>
                <a:gd name="T67" fmla="*/ 426 h 558"/>
                <a:gd name="T68" fmla="*/ 82 w 246"/>
                <a:gd name="T69" fmla="*/ 448 h 558"/>
                <a:gd name="T70" fmla="*/ 102 w 246"/>
                <a:gd name="T71" fmla="*/ 460 h 558"/>
                <a:gd name="T72" fmla="*/ 96 w 246"/>
                <a:gd name="T73" fmla="*/ 480 h 558"/>
                <a:gd name="T74" fmla="*/ 90 w 246"/>
                <a:gd name="T75" fmla="*/ 504 h 558"/>
                <a:gd name="T76" fmla="*/ 80 w 246"/>
                <a:gd name="T77" fmla="*/ 516 h 558"/>
                <a:gd name="T78" fmla="*/ 72 w 246"/>
                <a:gd name="T79" fmla="*/ 532 h 558"/>
                <a:gd name="T80" fmla="*/ 34 w 246"/>
                <a:gd name="T81" fmla="*/ 558 h 558"/>
                <a:gd name="T82" fmla="*/ 24 w 246"/>
                <a:gd name="T83" fmla="*/ 540 h 558"/>
                <a:gd name="T84" fmla="*/ 12 w 246"/>
                <a:gd name="T85" fmla="*/ 528 h 558"/>
                <a:gd name="T86" fmla="*/ 6 w 246"/>
                <a:gd name="T87" fmla="*/ 492 h 558"/>
                <a:gd name="T88" fmla="*/ 16 w 246"/>
                <a:gd name="T89" fmla="*/ 480 h 558"/>
                <a:gd name="T90" fmla="*/ 20 w 246"/>
                <a:gd name="T91" fmla="*/ 418 h 558"/>
                <a:gd name="T92" fmla="*/ 12 w 246"/>
                <a:gd name="T93" fmla="*/ 372 h 558"/>
                <a:gd name="T94" fmla="*/ 2 w 246"/>
                <a:gd name="T95" fmla="*/ 326 h 558"/>
                <a:gd name="T96" fmla="*/ 14 w 246"/>
                <a:gd name="T97" fmla="*/ 302 h 558"/>
                <a:gd name="T98" fmla="*/ 2 w 246"/>
                <a:gd name="T99" fmla="*/ 278 h 558"/>
                <a:gd name="T100" fmla="*/ 12 w 246"/>
                <a:gd name="T101" fmla="*/ 254 h 558"/>
                <a:gd name="T102" fmla="*/ 12 w 246"/>
                <a:gd name="T103" fmla="*/ 238 h 558"/>
                <a:gd name="T104" fmla="*/ 12 w 246"/>
                <a:gd name="T105" fmla="*/ 214 h 558"/>
                <a:gd name="T106" fmla="*/ 20 w 246"/>
                <a:gd name="T107" fmla="*/ 208 h 558"/>
                <a:gd name="T108" fmla="*/ 12 w 246"/>
                <a:gd name="T109" fmla="*/ 192 h 558"/>
                <a:gd name="T110" fmla="*/ 12 w 246"/>
                <a:gd name="T111" fmla="*/ 166 h 558"/>
                <a:gd name="T112" fmla="*/ 14 w 246"/>
                <a:gd name="T113" fmla="*/ 138 h 558"/>
                <a:gd name="T114" fmla="*/ 18 w 246"/>
                <a:gd name="T115" fmla="*/ 112 h 558"/>
                <a:gd name="T116" fmla="*/ 30 w 246"/>
                <a:gd name="T117" fmla="*/ 92 h 558"/>
                <a:gd name="T118" fmla="*/ 26 w 246"/>
                <a:gd name="T119" fmla="*/ 74 h 558"/>
                <a:gd name="T120" fmla="*/ 34 w 246"/>
                <a:gd name="T121" fmla="*/ 60 h 558"/>
                <a:gd name="T122" fmla="*/ 36 w 246"/>
                <a:gd name="T123" fmla="*/ 40 h 558"/>
                <a:gd name="T124" fmla="*/ 46 w 246"/>
                <a:gd name="T125" fmla="*/ 2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558">
                  <a:moveTo>
                    <a:pt x="46" y="20"/>
                  </a:moveTo>
                  <a:lnTo>
                    <a:pt x="46" y="20"/>
                  </a:lnTo>
                  <a:lnTo>
                    <a:pt x="46" y="16"/>
                  </a:lnTo>
                  <a:lnTo>
                    <a:pt x="46" y="14"/>
                  </a:lnTo>
                  <a:lnTo>
                    <a:pt x="48" y="10"/>
                  </a:lnTo>
                  <a:lnTo>
                    <a:pt x="50" y="6"/>
                  </a:lnTo>
                  <a:lnTo>
                    <a:pt x="50" y="6"/>
                  </a:lnTo>
                  <a:lnTo>
                    <a:pt x="50" y="4"/>
                  </a:lnTo>
                  <a:lnTo>
                    <a:pt x="52" y="2"/>
                  </a:lnTo>
                  <a:lnTo>
                    <a:pt x="52" y="2"/>
                  </a:lnTo>
                  <a:lnTo>
                    <a:pt x="54" y="0"/>
                  </a:lnTo>
                  <a:lnTo>
                    <a:pt x="54" y="0"/>
                  </a:lnTo>
                  <a:lnTo>
                    <a:pt x="56" y="0"/>
                  </a:lnTo>
                  <a:lnTo>
                    <a:pt x="56" y="0"/>
                  </a:lnTo>
                  <a:lnTo>
                    <a:pt x="56" y="0"/>
                  </a:lnTo>
                  <a:lnTo>
                    <a:pt x="58" y="2"/>
                  </a:lnTo>
                  <a:lnTo>
                    <a:pt x="60" y="2"/>
                  </a:lnTo>
                  <a:lnTo>
                    <a:pt x="62" y="4"/>
                  </a:lnTo>
                  <a:lnTo>
                    <a:pt x="64" y="8"/>
                  </a:lnTo>
                  <a:lnTo>
                    <a:pt x="66" y="10"/>
                  </a:lnTo>
                  <a:lnTo>
                    <a:pt x="68" y="12"/>
                  </a:lnTo>
                  <a:lnTo>
                    <a:pt x="68" y="12"/>
                  </a:lnTo>
                  <a:lnTo>
                    <a:pt x="72" y="14"/>
                  </a:lnTo>
                  <a:lnTo>
                    <a:pt x="74" y="14"/>
                  </a:lnTo>
                  <a:lnTo>
                    <a:pt x="76" y="16"/>
                  </a:lnTo>
                  <a:lnTo>
                    <a:pt x="78" y="16"/>
                  </a:lnTo>
                  <a:lnTo>
                    <a:pt x="82" y="18"/>
                  </a:lnTo>
                  <a:lnTo>
                    <a:pt x="84" y="18"/>
                  </a:lnTo>
                  <a:lnTo>
                    <a:pt x="84" y="18"/>
                  </a:lnTo>
                  <a:lnTo>
                    <a:pt x="86" y="18"/>
                  </a:lnTo>
                  <a:lnTo>
                    <a:pt x="86" y="18"/>
                  </a:lnTo>
                  <a:lnTo>
                    <a:pt x="88" y="18"/>
                  </a:lnTo>
                  <a:lnTo>
                    <a:pt x="90" y="16"/>
                  </a:lnTo>
                  <a:lnTo>
                    <a:pt x="90" y="16"/>
                  </a:lnTo>
                  <a:lnTo>
                    <a:pt x="94" y="12"/>
                  </a:lnTo>
                  <a:lnTo>
                    <a:pt x="96" y="10"/>
                  </a:lnTo>
                  <a:lnTo>
                    <a:pt x="100" y="8"/>
                  </a:lnTo>
                  <a:lnTo>
                    <a:pt x="102" y="6"/>
                  </a:lnTo>
                  <a:lnTo>
                    <a:pt x="104" y="4"/>
                  </a:lnTo>
                  <a:lnTo>
                    <a:pt x="106" y="8"/>
                  </a:lnTo>
                  <a:lnTo>
                    <a:pt x="110" y="12"/>
                  </a:lnTo>
                  <a:lnTo>
                    <a:pt x="110" y="12"/>
                  </a:lnTo>
                  <a:lnTo>
                    <a:pt x="112" y="14"/>
                  </a:lnTo>
                  <a:lnTo>
                    <a:pt x="114" y="14"/>
                  </a:lnTo>
                  <a:lnTo>
                    <a:pt x="114" y="16"/>
                  </a:lnTo>
                  <a:lnTo>
                    <a:pt x="118" y="18"/>
                  </a:lnTo>
                  <a:lnTo>
                    <a:pt x="122" y="18"/>
                  </a:lnTo>
                  <a:lnTo>
                    <a:pt x="124" y="20"/>
                  </a:lnTo>
                  <a:lnTo>
                    <a:pt x="126" y="20"/>
                  </a:lnTo>
                  <a:lnTo>
                    <a:pt x="126" y="20"/>
                  </a:lnTo>
                  <a:lnTo>
                    <a:pt x="126" y="22"/>
                  </a:lnTo>
                  <a:lnTo>
                    <a:pt x="128" y="24"/>
                  </a:lnTo>
                  <a:lnTo>
                    <a:pt x="128" y="26"/>
                  </a:lnTo>
                  <a:lnTo>
                    <a:pt x="130" y="26"/>
                  </a:lnTo>
                  <a:lnTo>
                    <a:pt x="130" y="26"/>
                  </a:lnTo>
                  <a:lnTo>
                    <a:pt x="130" y="28"/>
                  </a:lnTo>
                  <a:lnTo>
                    <a:pt x="132" y="28"/>
                  </a:lnTo>
                  <a:lnTo>
                    <a:pt x="134" y="28"/>
                  </a:lnTo>
                  <a:lnTo>
                    <a:pt x="136" y="30"/>
                  </a:lnTo>
                  <a:lnTo>
                    <a:pt x="138" y="30"/>
                  </a:lnTo>
                  <a:lnTo>
                    <a:pt x="140" y="30"/>
                  </a:lnTo>
                  <a:lnTo>
                    <a:pt x="142" y="32"/>
                  </a:lnTo>
                  <a:lnTo>
                    <a:pt x="144" y="34"/>
                  </a:lnTo>
                  <a:lnTo>
                    <a:pt x="146" y="36"/>
                  </a:lnTo>
                  <a:lnTo>
                    <a:pt x="148" y="38"/>
                  </a:lnTo>
                  <a:lnTo>
                    <a:pt x="148" y="40"/>
                  </a:lnTo>
                  <a:lnTo>
                    <a:pt x="148" y="40"/>
                  </a:lnTo>
                  <a:lnTo>
                    <a:pt x="150" y="44"/>
                  </a:lnTo>
                  <a:lnTo>
                    <a:pt x="150" y="44"/>
                  </a:lnTo>
                  <a:lnTo>
                    <a:pt x="150" y="46"/>
                  </a:lnTo>
                  <a:lnTo>
                    <a:pt x="150" y="46"/>
                  </a:lnTo>
                  <a:lnTo>
                    <a:pt x="152" y="48"/>
                  </a:lnTo>
                  <a:lnTo>
                    <a:pt x="152" y="48"/>
                  </a:lnTo>
                  <a:lnTo>
                    <a:pt x="154" y="48"/>
                  </a:lnTo>
                  <a:lnTo>
                    <a:pt x="154" y="48"/>
                  </a:lnTo>
                  <a:lnTo>
                    <a:pt x="156" y="50"/>
                  </a:lnTo>
                  <a:lnTo>
                    <a:pt x="158" y="50"/>
                  </a:lnTo>
                  <a:lnTo>
                    <a:pt x="162" y="50"/>
                  </a:lnTo>
                  <a:lnTo>
                    <a:pt x="164" y="50"/>
                  </a:lnTo>
                  <a:lnTo>
                    <a:pt x="168" y="50"/>
                  </a:lnTo>
                  <a:lnTo>
                    <a:pt x="170" y="50"/>
                  </a:lnTo>
                  <a:lnTo>
                    <a:pt x="172" y="50"/>
                  </a:lnTo>
                  <a:lnTo>
                    <a:pt x="172" y="50"/>
                  </a:lnTo>
                  <a:lnTo>
                    <a:pt x="174" y="50"/>
                  </a:lnTo>
                  <a:lnTo>
                    <a:pt x="174" y="52"/>
                  </a:lnTo>
                  <a:lnTo>
                    <a:pt x="176" y="54"/>
                  </a:lnTo>
                  <a:lnTo>
                    <a:pt x="178" y="56"/>
                  </a:lnTo>
                  <a:lnTo>
                    <a:pt x="180" y="56"/>
                  </a:lnTo>
                  <a:lnTo>
                    <a:pt x="180" y="58"/>
                  </a:lnTo>
                  <a:lnTo>
                    <a:pt x="182" y="58"/>
                  </a:lnTo>
                  <a:lnTo>
                    <a:pt x="182" y="60"/>
                  </a:lnTo>
                  <a:lnTo>
                    <a:pt x="182" y="60"/>
                  </a:lnTo>
                  <a:lnTo>
                    <a:pt x="182" y="62"/>
                  </a:lnTo>
                  <a:lnTo>
                    <a:pt x="182" y="64"/>
                  </a:lnTo>
                  <a:lnTo>
                    <a:pt x="180" y="66"/>
                  </a:lnTo>
                  <a:lnTo>
                    <a:pt x="180" y="68"/>
                  </a:lnTo>
                  <a:lnTo>
                    <a:pt x="178" y="74"/>
                  </a:lnTo>
                  <a:lnTo>
                    <a:pt x="176" y="78"/>
                  </a:lnTo>
                  <a:lnTo>
                    <a:pt x="176" y="80"/>
                  </a:lnTo>
                  <a:lnTo>
                    <a:pt x="174" y="80"/>
                  </a:lnTo>
                  <a:lnTo>
                    <a:pt x="174" y="82"/>
                  </a:lnTo>
                  <a:lnTo>
                    <a:pt x="172" y="86"/>
                  </a:lnTo>
                  <a:lnTo>
                    <a:pt x="172" y="88"/>
                  </a:lnTo>
                  <a:lnTo>
                    <a:pt x="172" y="90"/>
                  </a:lnTo>
                  <a:lnTo>
                    <a:pt x="172" y="92"/>
                  </a:lnTo>
                  <a:lnTo>
                    <a:pt x="172" y="92"/>
                  </a:lnTo>
                  <a:lnTo>
                    <a:pt x="172" y="92"/>
                  </a:lnTo>
                  <a:lnTo>
                    <a:pt x="172" y="94"/>
                  </a:lnTo>
                  <a:lnTo>
                    <a:pt x="172" y="94"/>
                  </a:lnTo>
                  <a:lnTo>
                    <a:pt x="174" y="94"/>
                  </a:lnTo>
                  <a:lnTo>
                    <a:pt x="174" y="96"/>
                  </a:lnTo>
                  <a:lnTo>
                    <a:pt x="176" y="96"/>
                  </a:lnTo>
                  <a:lnTo>
                    <a:pt x="178" y="98"/>
                  </a:lnTo>
                  <a:lnTo>
                    <a:pt x="180" y="98"/>
                  </a:lnTo>
                  <a:lnTo>
                    <a:pt x="184" y="98"/>
                  </a:lnTo>
                  <a:lnTo>
                    <a:pt x="188" y="100"/>
                  </a:lnTo>
                  <a:lnTo>
                    <a:pt x="190" y="100"/>
                  </a:lnTo>
                  <a:lnTo>
                    <a:pt x="194" y="100"/>
                  </a:lnTo>
                  <a:lnTo>
                    <a:pt x="198" y="100"/>
                  </a:lnTo>
                  <a:lnTo>
                    <a:pt x="202" y="100"/>
                  </a:lnTo>
                  <a:lnTo>
                    <a:pt x="204" y="98"/>
                  </a:lnTo>
                  <a:lnTo>
                    <a:pt x="208" y="98"/>
                  </a:lnTo>
                  <a:lnTo>
                    <a:pt x="210" y="98"/>
                  </a:lnTo>
                  <a:lnTo>
                    <a:pt x="214" y="96"/>
                  </a:lnTo>
                  <a:lnTo>
                    <a:pt x="216" y="96"/>
                  </a:lnTo>
                  <a:lnTo>
                    <a:pt x="216" y="94"/>
                  </a:lnTo>
                  <a:lnTo>
                    <a:pt x="218" y="94"/>
                  </a:lnTo>
                  <a:lnTo>
                    <a:pt x="218" y="94"/>
                  </a:lnTo>
                  <a:lnTo>
                    <a:pt x="218" y="92"/>
                  </a:lnTo>
                  <a:lnTo>
                    <a:pt x="218" y="92"/>
                  </a:lnTo>
                  <a:lnTo>
                    <a:pt x="218" y="90"/>
                  </a:lnTo>
                  <a:lnTo>
                    <a:pt x="218" y="88"/>
                  </a:lnTo>
                  <a:lnTo>
                    <a:pt x="218" y="88"/>
                  </a:lnTo>
                  <a:lnTo>
                    <a:pt x="218" y="86"/>
                  </a:lnTo>
                  <a:lnTo>
                    <a:pt x="220" y="86"/>
                  </a:lnTo>
                  <a:lnTo>
                    <a:pt x="220" y="84"/>
                  </a:lnTo>
                  <a:lnTo>
                    <a:pt x="224" y="84"/>
                  </a:lnTo>
                  <a:lnTo>
                    <a:pt x="226" y="82"/>
                  </a:lnTo>
                  <a:lnTo>
                    <a:pt x="226" y="82"/>
                  </a:lnTo>
                  <a:lnTo>
                    <a:pt x="228" y="80"/>
                  </a:lnTo>
                  <a:lnTo>
                    <a:pt x="228" y="80"/>
                  </a:lnTo>
                  <a:lnTo>
                    <a:pt x="230" y="78"/>
                  </a:lnTo>
                  <a:lnTo>
                    <a:pt x="232" y="74"/>
                  </a:lnTo>
                  <a:lnTo>
                    <a:pt x="234" y="68"/>
                  </a:lnTo>
                  <a:lnTo>
                    <a:pt x="234" y="70"/>
                  </a:lnTo>
                  <a:lnTo>
                    <a:pt x="234" y="72"/>
                  </a:lnTo>
                  <a:lnTo>
                    <a:pt x="234" y="76"/>
                  </a:lnTo>
                  <a:lnTo>
                    <a:pt x="234" y="78"/>
                  </a:lnTo>
                  <a:lnTo>
                    <a:pt x="236" y="80"/>
                  </a:lnTo>
                  <a:lnTo>
                    <a:pt x="236" y="82"/>
                  </a:lnTo>
                  <a:lnTo>
                    <a:pt x="236" y="82"/>
                  </a:lnTo>
                  <a:lnTo>
                    <a:pt x="236" y="84"/>
                  </a:lnTo>
                  <a:lnTo>
                    <a:pt x="236" y="84"/>
                  </a:lnTo>
                  <a:lnTo>
                    <a:pt x="236" y="84"/>
                  </a:lnTo>
                  <a:lnTo>
                    <a:pt x="238" y="84"/>
                  </a:lnTo>
                  <a:lnTo>
                    <a:pt x="238" y="84"/>
                  </a:lnTo>
                  <a:lnTo>
                    <a:pt x="240" y="84"/>
                  </a:lnTo>
                  <a:lnTo>
                    <a:pt x="240" y="84"/>
                  </a:lnTo>
                  <a:lnTo>
                    <a:pt x="242" y="84"/>
                  </a:lnTo>
                  <a:lnTo>
                    <a:pt x="242" y="84"/>
                  </a:lnTo>
                  <a:lnTo>
                    <a:pt x="244" y="84"/>
                  </a:lnTo>
                  <a:lnTo>
                    <a:pt x="244" y="84"/>
                  </a:lnTo>
                  <a:lnTo>
                    <a:pt x="244" y="84"/>
                  </a:lnTo>
                  <a:lnTo>
                    <a:pt x="244" y="84"/>
                  </a:lnTo>
                  <a:lnTo>
                    <a:pt x="244" y="84"/>
                  </a:lnTo>
                  <a:lnTo>
                    <a:pt x="246" y="86"/>
                  </a:lnTo>
                  <a:lnTo>
                    <a:pt x="246" y="88"/>
                  </a:lnTo>
                  <a:lnTo>
                    <a:pt x="246" y="90"/>
                  </a:lnTo>
                  <a:lnTo>
                    <a:pt x="246" y="92"/>
                  </a:lnTo>
                  <a:lnTo>
                    <a:pt x="246" y="94"/>
                  </a:lnTo>
                  <a:lnTo>
                    <a:pt x="246" y="94"/>
                  </a:lnTo>
                  <a:lnTo>
                    <a:pt x="246" y="96"/>
                  </a:lnTo>
                  <a:lnTo>
                    <a:pt x="244" y="96"/>
                  </a:lnTo>
                  <a:lnTo>
                    <a:pt x="244" y="96"/>
                  </a:lnTo>
                  <a:lnTo>
                    <a:pt x="244" y="96"/>
                  </a:lnTo>
                  <a:lnTo>
                    <a:pt x="242" y="96"/>
                  </a:lnTo>
                  <a:lnTo>
                    <a:pt x="242" y="96"/>
                  </a:lnTo>
                  <a:lnTo>
                    <a:pt x="240" y="96"/>
                  </a:lnTo>
                  <a:lnTo>
                    <a:pt x="236" y="96"/>
                  </a:lnTo>
                  <a:lnTo>
                    <a:pt x="236" y="96"/>
                  </a:lnTo>
                  <a:lnTo>
                    <a:pt x="234" y="96"/>
                  </a:lnTo>
                  <a:lnTo>
                    <a:pt x="234" y="98"/>
                  </a:lnTo>
                  <a:lnTo>
                    <a:pt x="232" y="98"/>
                  </a:lnTo>
                  <a:lnTo>
                    <a:pt x="232" y="100"/>
                  </a:lnTo>
                  <a:lnTo>
                    <a:pt x="232" y="100"/>
                  </a:lnTo>
                  <a:lnTo>
                    <a:pt x="230" y="102"/>
                  </a:lnTo>
                  <a:lnTo>
                    <a:pt x="228" y="106"/>
                  </a:lnTo>
                  <a:lnTo>
                    <a:pt x="228" y="106"/>
                  </a:lnTo>
                  <a:lnTo>
                    <a:pt x="226" y="108"/>
                  </a:lnTo>
                  <a:lnTo>
                    <a:pt x="226" y="108"/>
                  </a:lnTo>
                  <a:lnTo>
                    <a:pt x="224" y="108"/>
                  </a:lnTo>
                  <a:lnTo>
                    <a:pt x="222" y="108"/>
                  </a:lnTo>
                  <a:lnTo>
                    <a:pt x="222" y="110"/>
                  </a:lnTo>
                  <a:lnTo>
                    <a:pt x="220" y="110"/>
                  </a:lnTo>
                  <a:lnTo>
                    <a:pt x="220" y="110"/>
                  </a:lnTo>
                  <a:lnTo>
                    <a:pt x="218" y="112"/>
                  </a:lnTo>
                  <a:lnTo>
                    <a:pt x="218" y="112"/>
                  </a:lnTo>
                  <a:lnTo>
                    <a:pt x="216" y="116"/>
                  </a:lnTo>
                  <a:lnTo>
                    <a:pt x="214" y="118"/>
                  </a:lnTo>
                  <a:lnTo>
                    <a:pt x="212" y="122"/>
                  </a:lnTo>
                  <a:lnTo>
                    <a:pt x="210" y="124"/>
                  </a:lnTo>
                  <a:lnTo>
                    <a:pt x="208" y="126"/>
                  </a:lnTo>
                  <a:lnTo>
                    <a:pt x="206" y="128"/>
                  </a:lnTo>
                  <a:lnTo>
                    <a:pt x="204" y="130"/>
                  </a:lnTo>
                  <a:lnTo>
                    <a:pt x="202" y="132"/>
                  </a:lnTo>
                  <a:lnTo>
                    <a:pt x="200" y="136"/>
                  </a:lnTo>
                  <a:lnTo>
                    <a:pt x="198" y="140"/>
                  </a:lnTo>
                  <a:lnTo>
                    <a:pt x="194" y="144"/>
                  </a:lnTo>
                  <a:lnTo>
                    <a:pt x="190" y="152"/>
                  </a:lnTo>
                  <a:lnTo>
                    <a:pt x="186" y="158"/>
                  </a:lnTo>
                  <a:lnTo>
                    <a:pt x="184" y="162"/>
                  </a:lnTo>
                  <a:lnTo>
                    <a:pt x="182" y="164"/>
                  </a:lnTo>
                  <a:lnTo>
                    <a:pt x="182" y="166"/>
                  </a:lnTo>
                  <a:lnTo>
                    <a:pt x="182" y="166"/>
                  </a:lnTo>
                  <a:lnTo>
                    <a:pt x="180" y="168"/>
                  </a:lnTo>
                  <a:lnTo>
                    <a:pt x="180" y="172"/>
                  </a:lnTo>
                  <a:lnTo>
                    <a:pt x="180" y="178"/>
                  </a:lnTo>
                  <a:lnTo>
                    <a:pt x="180" y="180"/>
                  </a:lnTo>
                  <a:lnTo>
                    <a:pt x="180" y="184"/>
                  </a:lnTo>
                  <a:lnTo>
                    <a:pt x="180" y="186"/>
                  </a:lnTo>
                  <a:lnTo>
                    <a:pt x="180" y="192"/>
                  </a:lnTo>
                  <a:lnTo>
                    <a:pt x="180" y="198"/>
                  </a:lnTo>
                  <a:lnTo>
                    <a:pt x="182" y="204"/>
                  </a:lnTo>
                  <a:lnTo>
                    <a:pt x="182" y="206"/>
                  </a:lnTo>
                  <a:lnTo>
                    <a:pt x="182" y="208"/>
                  </a:lnTo>
                  <a:lnTo>
                    <a:pt x="182" y="210"/>
                  </a:lnTo>
                  <a:lnTo>
                    <a:pt x="182" y="214"/>
                  </a:lnTo>
                  <a:lnTo>
                    <a:pt x="182" y="216"/>
                  </a:lnTo>
                  <a:lnTo>
                    <a:pt x="184" y="218"/>
                  </a:lnTo>
                  <a:lnTo>
                    <a:pt x="184" y="220"/>
                  </a:lnTo>
                  <a:lnTo>
                    <a:pt x="184" y="220"/>
                  </a:lnTo>
                  <a:lnTo>
                    <a:pt x="184" y="220"/>
                  </a:lnTo>
                  <a:lnTo>
                    <a:pt x="186" y="222"/>
                  </a:lnTo>
                  <a:lnTo>
                    <a:pt x="186" y="222"/>
                  </a:lnTo>
                  <a:lnTo>
                    <a:pt x="188" y="222"/>
                  </a:lnTo>
                  <a:lnTo>
                    <a:pt x="188" y="220"/>
                  </a:lnTo>
                  <a:lnTo>
                    <a:pt x="190" y="220"/>
                  </a:lnTo>
                  <a:lnTo>
                    <a:pt x="190" y="220"/>
                  </a:lnTo>
                  <a:lnTo>
                    <a:pt x="192" y="220"/>
                  </a:lnTo>
                  <a:lnTo>
                    <a:pt x="192" y="220"/>
                  </a:lnTo>
                  <a:lnTo>
                    <a:pt x="190" y="222"/>
                  </a:lnTo>
                  <a:lnTo>
                    <a:pt x="190" y="224"/>
                  </a:lnTo>
                  <a:lnTo>
                    <a:pt x="190" y="224"/>
                  </a:lnTo>
                  <a:lnTo>
                    <a:pt x="190" y="226"/>
                  </a:lnTo>
                  <a:lnTo>
                    <a:pt x="190" y="226"/>
                  </a:lnTo>
                  <a:lnTo>
                    <a:pt x="192" y="226"/>
                  </a:lnTo>
                  <a:lnTo>
                    <a:pt x="192" y="228"/>
                  </a:lnTo>
                  <a:lnTo>
                    <a:pt x="192" y="228"/>
                  </a:lnTo>
                  <a:lnTo>
                    <a:pt x="194" y="228"/>
                  </a:lnTo>
                  <a:lnTo>
                    <a:pt x="196" y="228"/>
                  </a:lnTo>
                  <a:lnTo>
                    <a:pt x="198" y="230"/>
                  </a:lnTo>
                  <a:lnTo>
                    <a:pt x="200" y="230"/>
                  </a:lnTo>
                  <a:lnTo>
                    <a:pt x="200" y="230"/>
                  </a:lnTo>
                  <a:lnTo>
                    <a:pt x="202" y="230"/>
                  </a:lnTo>
                  <a:lnTo>
                    <a:pt x="204" y="230"/>
                  </a:lnTo>
                  <a:lnTo>
                    <a:pt x="204" y="230"/>
                  </a:lnTo>
                  <a:lnTo>
                    <a:pt x="206" y="230"/>
                  </a:lnTo>
                  <a:lnTo>
                    <a:pt x="206" y="232"/>
                  </a:lnTo>
                  <a:lnTo>
                    <a:pt x="206" y="232"/>
                  </a:lnTo>
                  <a:lnTo>
                    <a:pt x="208" y="234"/>
                  </a:lnTo>
                  <a:lnTo>
                    <a:pt x="208" y="234"/>
                  </a:lnTo>
                  <a:lnTo>
                    <a:pt x="208" y="236"/>
                  </a:lnTo>
                  <a:lnTo>
                    <a:pt x="208" y="238"/>
                  </a:lnTo>
                  <a:lnTo>
                    <a:pt x="206" y="242"/>
                  </a:lnTo>
                  <a:lnTo>
                    <a:pt x="206" y="244"/>
                  </a:lnTo>
                  <a:lnTo>
                    <a:pt x="206" y="248"/>
                  </a:lnTo>
                  <a:lnTo>
                    <a:pt x="206" y="248"/>
                  </a:lnTo>
                  <a:lnTo>
                    <a:pt x="206" y="250"/>
                  </a:lnTo>
                  <a:lnTo>
                    <a:pt x="206" y="250"/>
                  </a:lnTo>
                  <a:lnTo>
                    <a:pt x="206" y="252"/>
                  </a:lnTo>
                  <a:lnTo>
                    <a:pt x="208" y="252"/>
                  </a:lnTo>
                  <a:lnTo>
                    <a:pt x="208" y="252"/>
                  </a:lnTo>
                  <a:lnTo>
                    <a:pt x="210" y="254"/>
                  </a:lnTo>
                  <a:lnTo>
                    <a:pt x="212" y="254"/>
                  </a:lnTo>
                  <a:lnTo>
                    <a:pt x="212" y="254"/>
                  </a:lnTo>
                  <a:lnTo>
                    <a:pt x="214" y="254"/>
                  </a:lnTo>
                  <a:lnTo>
                    <a:pt x="214" y="254"/>
                  </a:lnTo>
                  <a:lnTo>
                    <a:pt x="214" y="256"/>
                  </a:lnTo>
                  <a:lnTo>
                    <a:pt x="214" y="256"/>
                  </a:lnTo>
                  <a:lnTo>
                    <a:pt x="216" y="256"/>
                  </a:lnTo>
                  <a:lnTo>
                    <a:pt x="216" y="258"/>
                  </a:lnTo>
                  <a:lnTo>
                    <a:pt x="216" y="260"/>
                  </a:lnTo>
                  <a:lnTo>
                    <a:pt x="216" y="262"/>
                  </a:lnTo>
                  <a:lnTo>
                    <a:pt x="216" y="264"/>
                  </a:lnTo>
                  <a:lnTo>
                    <a:pt x="216" y="268"/>
                  </a:lnTo>
                  <a:lnTo>
                    <a:pt x="214" y="270"/>
                  </a:lnTo>
                  <a:lnTo>
                    <a:pt x="214" y="272"/>
                  </a:lnTo>
                  <a:lnTo>
                    <a:pt x="212" y="274"/>
                  </a:lnTo>
                  <a:lnTo>
                    <a:pt x="212" y="276"/>
                  </a:lnTo>
                  <a:lnTo>
                    <a:pt x="212" y="276"/>
                  </a:lnTo>
                  <a:lnTo>
                    <a:pt x="210" y="278"/>
                  </a:lnTo>
                  <a:lnTo>
                    <a:pt x="208" y="278"/>
                  </a:lnTo>
                  <a:lnTo>
                    <a:pt x="206" y="280"/>
                  </a:lnTo>
                  <a:lnTo>
                    <a:pt x="204" y="280"/>
                  </a:lnTo>
                  <a:lnTo>
                    <a:pt x="202" y="280"/>
                  </a:lnTo>
                  <a:lnTo>
                    <a:pt x="202" y="280"/>
                  </a:lnTo>
                  <a:lnTo>
                    <a:pt x="198" y="280"/>
                  </a:lnTo>
                  <a:lnTo>
                    <a:pt x="196" y="280"/>
                  </a:lnTo>
                  <a:lnTo>
                    <a:pt x="194" y="280"/>
                  </a:lnTo>
                  <a:lnTo>
                    <a:pt x="192" y="282"/>
                  </a:lnTo>
                  <a:lnTo>
                    <a:pt x="192" y="282"/>
                  </a:lnTo>
                  <a:lnTo>
                    <a:pt x="192" y="282"/>
                  </a:lnTo>
                  <a:lnTo>
                    <a:pt x="192" y="282"/>
                  </a:lnTo>
                  <a:lnTo>
                    <a:pt x="192" y="282"/>
                  </a:lnTo>
                  <a:lnTo>
                    <a:pt x="190" y="284"/>
                  </a:lnTo>
                  <a:lnTo>
                    <a:pt x="190" y="284"/>
                  </a:lnTo>
                  <a:lnTo>
                    <a:pt x="190" y="286"/>
                  </a:lnTo>
                  <a:lnTo>
                    <a:pt x="190" y="288"/>
                  </a:lnTo>
                  <a:lnTo>
                    <a:pt x="190" y="290"/>
                  </a:lnTo>
                  <a:lnTo>
                    <a:pt x="188" y="290"/>
                  </a:lnTo>
                  <a:lnTo>
                    <a:pt x="188" y="292"/>
                  </a:lnTo>
                  <a:lnTo>
                    <a:pt x="188" y="292"/>
                  </a:lnTo>
                  <a:lnTo>
                    <a:pt x="188" y="292"/>
                  </a:lnTo>
                  <a:lnTo>
                    <a:pt x="186" y="292"/>
                  </a:lnTo>
                  <a:lnTo>
                    <a:pt x="186" y="292"/>
                  </a:lnTo>
                  <a:lnTo>
                    <a:pt x="184" y="292"/>
                  </a:lnTo>
                  <a:lnTo>
                    <a:pt x="182" y="292"/>
                  </a:lnTo>
                  <a:lnTo>
                    <a:pt x="180" y="292"/>
                  </a:lnTo>
                  <a:lnTo>
                    <a:pt x="166" y="296"/>
                  </a:lnTo>
                  <a:lnTo>
                    <a:pt x="158" y="296"/>
                  </a:lnTo>
                  <a:lnTo>
                    <a:pt x="152" y="298"/>
                  </a:lnTo>
                  <a:lnTo>
                    <a:pt x="150" y="298"/>
                  </a:lnTo>
                  <a:lnTo>
                    <a:pt x="148" y="298"/>
                  </a:lnTo>
                  <a:lnTo>
                    <a:pt x="146" y="298"/>
                  </a:lnTo>
                  <a:lnTo>
                    <a:pt x="146" y="298"/>
                  </a:lnTo>
                  <a:lnTo>
                    <a:pt x="144" y="300"/>
                  </a:lnTo>
                  <a:lnTo>
                    <a:pt x="142" y="300"/>
                  </a:lnTo>
                  <a:lnTo>
                    <a:pt x="142" y="302"/>
                  </a:lnTo>
                  <a:lnTo>
                    <a:pt x="140" y="302"/>
                  </a:lnTo>
                  <a:lnTo>
                    <a:pt x="140" y="304"/>
                  </a:lnTo>
                  <a:lnTo>
                    <a:pt x="140" y="304"/>
                  </a:lnTo>
                  <a:lnTo>
                    <a:pt x="140" y="304"/>
                  </a:lnTo>
                  <a:lnTo>
                    <a:pt x="140" y="306"/>
                  </a:lnTo>
                  <a:lnTo>
                    <a:pt x="140" y="308"/>
                  </a:lnTo>
                  <a:lnTo>
                    <a:pt x="140" y="310"/>
                  </a:lnTo>
                  <a:lnTo>
                    <a:pt x="140" y="312"/>
                  </a:lnTo>
                  <a:lnTo>
                    <a:pt x="142" y="316"/>
                  </a:lnTo>
                  <a:lnTo>
                    <a:pt x="142" y="318"/>
                  </a:lnTo>
                  <a:lnTo>
                    <a:pt x="142" y="320"/>
                  </a:lnTo>
                  <a:lnTo>
                    <a:pt x="144" y="324"/>
                  </a:lnTo>
                  <a:lnTo>
                    <a:pt x="144" y="326"/>
                  </a:lnTo>
                  <a:lnTo>
                    <a:pt x="144" y="330"/>
                  </a:lnTo>
                  <a:lnTo>
                    <a:pt x="144" y="332"/>
                  </a:lnTo>
                  <a:lnTo>
                    <a:pt x="144" y="334"/>
                  </a:lnTo>
                  <a:lnTo>
                    <a:pt x="144" y="336"/>
                  </a:lnTo>
                  <a:lnTo>
                    <a:pt x="144" y="338"/>
                  </a:lnTo>
                  <a:lnTo>
                    <a:pt x="144" y="338"/>
                  </a:lnTo>
                  <a:lnTo>
                    <a:pt x="144" y="338"/>
                  </a:lnTo>
                  <a:lnTo>
                    <a:pt x="142" y="340"/>
                  </a:lnTo>
                  <a:lnTo>
                    <a:pt x="142" y="340"/>
                  </a:lnTo>
                  <a:lnTo>
                    <a:pt x="140" y="342"/>
                  </a:lnTo>
                  <a:lnTo>
                    <a:pt x="138" y="342"/>
                  </a:lnTo>
                  <a:lnTo>
                    <a:pt x="136" y="342"/>
                  </a:lnTo>
                  <a:lnTo>
                    <a:pt x="134" y="344"/>
                  </a:lnTo>
                  <a:lnTo>
                    <a:pt x="132" y="344"/>
                  </a:lnTo>
                  <a:lnTo>
                    <a:pt x="130" y="344"/>
                  </a:lnTo>
                  <a:lnTo>
                    <a:pt x="128" y="344"/>
                  </a:lnTo>
                  <a:lnTo>
                    <a:pt x="128" y="344"/>
                  </a:lnTo>
                  <a:lnTo>
                    <a:pt x="126" y="344"/>
                  </a:lnTo>
                  <a:lnTo>
                    <a:pt x="124" y="342"/>
                  </a:lnTo>
                  <a:lnTo>
                    <a:pt x="122" y="342"/>
                  </a:lnTo>
                  <a:lnTo>
                    <a:pt x="120" y="340"/>
                  </a:lnTo>
                  <a:lnTo>
                    <a:pt x="116" y="338"/>
                  </a:lnTo>
                  <a:lnTo>
                    <a:pt x="114" y="334"/>
                  </a:lnTo>
                  <a:lnTo>
                    <a:pt x="112" y="334"/>
                  </a:lnTo>
                  <a:lnTo>
                    <a:pt x="110" y="332"/>
                  </a:lnTo>
                  <a:lnTo>
                    <a:pt x="110" y="332"/>
                  </a:lnTo>
                  <a:lnTo>
                    <a:pt x="108" y="332"/>
                  </a:lnTo>
                  <a:lnTo>
                    <a:pt x="106" y="332"/>
                  </a:lnTo>
                  <a:lnTo>
                    <a:pt x="106" y="332"/>
                  </a:lnTo>
                  <a:lnTo>
                    <a:pt x="106" y="332"/>
                  </a:lnTo>
                  <a:lnTo>
                    <a:pt x="106" y="332"/>
                  </a:lnTo>
                  <a:lnTo>
                    <a:pt x="104" y="332"/>
                  </a:lnTo>
                  <a:lnTo>
                    <a:pt x="104" y="334"/>
                  </a:lnTo>
                  <a:lnTo>
                    <a:pt x="104" y="334"/>
                  </a:lnTo>
                  <a:lnTo>
                    <a:pt x="104" y="336"/>
                  </a:lnTo>
                  <a:lnTo>
                    <a:pt x="102" y="336"/>
                  </a:lnTo>
                  <a:lnTo>
                    <a:pt x="102" y="340"/>
                  </a:lnTo>
                  <a:lnTo>
                    <a:pt x="102" y="342"/>
                  </a:lnTo>
                  <a:lnTo>
                    <a:pt x="102" y="344"/>
                  </a:lnTo>
                  <a:lnTo>
                    <a:pt x="102" y="346"/>
                  </a:lnTo>
                  <a:lnTo>
                    <a:pt x="102" y="348"/>
                  </a:lnTo>
                  <a:lnTo>
                    <a:pt x="102" y="348"/>
                  </a:lnTo>
                  <a:lnTo>
                    <a:pt x="102" y="348"/>
                  </a:lnTo>
                  <a:lnTo>
                    <a:pt x="104" y="350"/>
                  </a:lnTo>
                  <a:lnTo>
                    <a:pt x="104" y="350"/>
                  </a:lnTo>
                  <a:lnTo>
                    <a:pt x="106" y="352"/>
                  </a:lnTo>
                  <a:lnTo>
                    <a:pt x="108" y="352"/>
                  </a:lnTo>
                  <a:lnTo>
                    <a:pt x="112" y="354"/>
                  </a:lnTo>
                  <a:lnTo>
                    <a:pt x="112" y="354"/>
                  </a:lnTo>
                  <a:lnTo>
                    <a:pt x="114" y="356"/>
                  </a:lnTo>
                  <a:lnTo>
                    <a:pt x="114" y="356"/>
                  </a:lnTo>
                  <a:lnTo>
                    <a:pt x="114" y="356"/>
                  </a:lnTo>
                  <a:lnTo>
                    <a:pt x="114" y="358"/>
                  </a:lnTo>
                  <a:lnTo>
                    <a:pt x="116" y="360"/>
                  </a:lnTo>
                  <a:lnTo>
                    <a:pt x="118" y="366"/>
                  </a:lnTo>
                  <a:lnTo>
                    <a:pt x="118" y="368"/>
                  </a:lnTo>
                  <a:lnTo>
                    <a:pt x="120" y="372"/>
                  </a:lnTo>
                  <a:lnTo>
                    <a:pt x="120" y="372"/>
                  </a:lnTo>
                  <a:lnTo>
                    <a:pt x="120" y="374"/>
                  </a:lnTo>
                  <a:lnTo>
                    <a:pt x="120" y="376"/>
                  </a:lnTo>
                  <a:lnTo>
                    <a:pt x="120" y="378"/>
                  </a:lnTo>
                  <a:lnTo>
                    <a:pt x="120" y="378"/>
                  </a:lnTo>
                  <a:lnTo>
                    <a:pt x="120" y="380"/>
                  </a:lnTo>
                  <a:lnTo>
                    <a:pt x="118" y="380"/>
                  </a:lnTo>
                  <a:lnTo>
                    <a:pt x="118" y="382"/>
                  </a:lnTo>
                  <a:lnTo>
                    <a:pt x="116" y="384"/>
                  </a:lnTo>
                  <a:lnTo>
                    <a:pt x="114" y="384"/>
                  </a:lnTo>
                  <a:lnTo>
                    <a:pt x="112" y="388"/>
                  </a:lnTo>
                  <a:lnTo>
                    <a:pt x="110" y="390"/>
                  </a:lnTo>
                  <a:lnTo>
                    <a:pt x="108" y="392"/>
                  </a:lnTo>
                  <a:lnTo>
                    <a:pt x="108" y="394"/>
                  </a:lnTo>
                  <a:lnTo>
                    <a:pt x="108" y="396"/>
                  </a:lnTo>
                  <a:lnTo>
                    <a:pt x="106" y="402"/>
                  </a:lnTo>
                  <a:lnTo>
                    <a:pt x="106" y="404"/>
                  </a:lnTo>
                  <a:lnTo>
                    <a:pt x="106" y="408"/>
                  </a:lnTo>
                  <a:lnTo>
                    <a:pt x="104" y="410"/>
                  </a:lnTo>
                  <a:lnTo>
                    <a:pt x="104" y="410"/>
                  </a:lnTo>
                  <a:lnTo>
                    <a:pt x="104" y="412"/>
                  </a:lnTo>
                  <a:lnTo>
                    <a:pt x="102" y="412"/>
                  </a:lnTo>
                  <a:lnTo>
                    <a:pt x="102" y="412"/>
                  </a:lnTo>
                  <a:lnTo>
                    <a:pt x="98" y="414"/>
                  </a:lnTo>
                  <a:lnTo>
                    <a:pt x="96" y="414"/>
                  </a:lnTo>
                  <a:lnTo>
                    <a:pt x="96" y="414"/>
                  </a:lnTo>
                  <a:lnTo>
                    <a:pt x="94" y="414"/>
                  </a:lnTo>
                  <a:lnTo>
                    <a:pt x="94" y="416"/>
                  </a:lnTo>
                  <a:lnTo>
                    <a:pt x="94" y="416"/>
                  </a:lnTo>
                  <a:lnTo>
                    <a:pt x="94" y="418"/>
                  </a:lnTo>
                  <a:lnTo>
                    <a:pt x="94" y="420"/>
                  </a:lnTo>
                  <a:lnTo>
                    <a:pt x="92" y="422"/>
                  </a:lnTo>
                  <a:lnTo>
                    <a:pt x="92" y="422"/>
                  </a:lnTo>
                  <a:lnTo>
                    <a:pt x="92" y="422"/>
                  </a:lnTo>
                  <a:lnTo>
                    <a:pt x="92" y="424"/>
                  </a:lnTo>
                  <a:lnTo>
                    <a:pt x="90" y="424"/>
                  </a:lnTo>
                  <a:lnTo>
                    <a:pt x="90" y="424"/>
                  </a:lnTo>
                  <a:lnTo>
                    <a:pt x="88" y="424"/>
                  </a:lnTo>
                  <a:lnTo>
                    <a:pt x="86" y="424"/>
                  </a:lnTo>
                  <a:lnTo>
                    <a:pt x="84" y="424"/>
                  </a:lnTo>
                  <a:lnTo>
                    <a:pt x="84" y="426"/>
                  </a:lnTo>
                  <a:lnTo>
                    <a:pt x="84" y="426"/>
                  </a:lnTo>
                  <a:lnTo>
                    <a:pt x="84" y="426"/>
                  </a:lnTo>
                  <a:lnTo>
                    <a:pt x="82" y="426"/>
                  </a:lnTo>
                  <a:lnTo>
                    <a:pt x="82" y="428"/>
                  </a:lnTo>
                  <a:lnTo>
                    <a:pt x="80" y="430"/>
                  </a:lnTo>
                  <a:lnTo>
                    <a:pt x="80" y="432"/>
                  </a:lnTo>
                  <a:lnTo>
                    <a:pt x="80" y="436"/>
                  </a:lnTo>
                  <a:lnTo>
                    <a:pt x="78" y="438"/>
                  </a:lnTo>
                  <a:lnTo>
                    <a:pt x="78" y="442"/>
                  </a:lnTo>
                  <a:lnTo>
                    <a:pt x="78" y="442"/>
                  </a:lnTo>
                  <a:lnTo>
                    <a:pt x="80" y="444"/>
                  </a:lnTo>
                  <a:lnTo>
                    <a:pt x="80" y="444"/>
                  </a:lnTo>
                  <a:lnTo>
                    <a:pt x="80" y="446"/>
                  </a:lnTo>
                  <a:lnTo>
                    <a:pt x="80" y="446"/>
                  </a:lnTo>
                  <a:lnTo>
                    <a:pt x="82" y="448"/>
                  </a:lnTo>
                  <a:lnTo>
                    <a:pt x="82" y="448"/>
                  </a:lnTo>
                  <a:lnTo>
                    <a:pt x="84" y="448"/>
                  </a:lnTo>
                  <a:lnTo>
                    <a:pt x="86" y="450"/>
                  </a:lnTo>
                  <a:lnTo>
                    <a:pt x="88" y="450"/>
                  </a:lnTo>
                  <a:lnTo>
                    <a:pt x="90" y="452"/>
                  </a:lnTo>
                  <a:lnTo>
                    <a:pt x="94" y="452"/>
                  </a:lnTo>
                  <a:lnTo>
                    <a:pt x="98" y="452"/>
                  </a:lnTo>
                  <a:lnTo>
                    <a:pt x="98" y="454"/>
                  </a:lnTo>
                  <a:lnTo>
                    <a:pt x="100" y="454"/>
                  </a:lnTo>
                  <a:lnTo>
                    <a:pt x="102" y="454"/>
                  </a:lnTo>
                  <a:lnTo>
                    <a:pt x="102" y="456"/>
                  </a:lnTo>
                  <a:lnTo>
                    <a:pt x="102" y="456"/>
                  </a:lnTo>
                  <a:lnTo>
                    <a:pt x="102" y="458"/>
                  </a:lnTo>
                  <a:lnTo>
                    <a:pt x="102" y="460"/>
                  </a:lnTo>
                  <a:lnTo>
                    <a:pt x="104" y="460"/>
                  </a:lnTo>
                  <a:lnTo>
                    <a:pt x="104" y="464"/>
                  </a:lnTo>
                  <a:lnTo>
                    <a:pt x="104" y="466"/>
                  </a:lnTo>
                  <a:lnTo>
                    <a:pt x="104" y="468"/>
                  </a:lnTo>
                  <a:lnTo>
                    <a:pt x="104" y="470"/>
                  </a:lnTo>
                  <a:lnTo>
                    <a:pt x="104" y="472"/>
                  </a:lnTo>
                  <a:lnTo>
                    <a:pt x="102" y="474"/>
                  </a:lnTo>
                  <a:lnTo>
                    <a:pt x="102" y="474"/>
                  </a:lnTo>
                  <a:lnTo>
                    <a:pt x="102" y="474"/>
                  </a:lnTo>
                  <a:lnTo>
                    <a:pt x="100" y="476"/>
                  </a:lnTo>
                  <a:lnTo>
                    <a:pt x="98" y="478"/>
                  </a:lnTo>
                  <a:lnTo>
                    <a:pt x="96" y="478"/>
                  </a:lnTo>
                  <a:lnTo>
                    <a:pt x="96" y="480"/>
                  </a:lnTo>
                  <a:lnTo>
                    <a:pt x="94" y="480"/>
                  </a:lnTo>
                  <a:lnTo>
                    <a:pt x="92" y="482"/>
                  </a:lnTo>
                  <a:lnTo>
                    <a:pt x="92" y="484"/>
                  </a:lnTo>
                  <a:lnTo>
                    <a:pt x="90" y="488"/>
                  </a:lnTo>
                  <a:lnTo>
                    <a:pt x="90" y="488"/>
                  </a:lnTo>
                  <a:lnTo>
                    <a:pt x="88" y="490"/>
                  </a:lnTo>
                  <a:lnTo>
                    <a:pt x="88" y="490"/>
                  </a:lnTo>
                  <a:lnTo>
                    <a:pt x="88" y="492"/>
                  </a:lnTo>
                  <a:lnTo>
                    <a:pt x="88" y="494"/>
                  </a:lnTo>
                  <a:lnTo>
                    <a:pt x="88" y="494"/>
                  </a:lnTo>
                  <a:lnTo>
                    <a:pt x="90" y="498"/>
                  </a:lnTo>
                  <a:lnTo>
                    <a:pt x="90" y="502"/>
                  </a:lnTo>
                  <a:lnTo>
                    <a:pt x="90" y="504"/>
                  </a:lnTo>
                  <a:lnTo>
                    <a:pt x="90" y="506"/>
                  </a:lnTo>
                  <a:lnTo>
                    <a:pt x="90" y="508"/>
                  </a:lnTo>
                  <a:lnTo>
                    <a:pt x="90" y="510"/>
                  </a:lnTo>
                  <a:lnTo>
                    <a:pt x="90" y="510"/>
                  </a:lnTo>
                  <a:lnTo>
                    <a:pt x="90" y="512"/>
                  </a:lnTo>
                  <a:lnTo>
                    <a:pt x="90" y="514"/>
                  </a:lnTo>
                  <a:lnTo>
                    <a:pt x="88" y="514"/>
                  </a:lnTo>
                  <a:lnTo>
                    <a:pt x="88" y="514"/>
                  </a:lnTo>
                  <a:lnTo>
                    <a:pt x="88" y="514"/>
                  </a:lnTo>
                  <a:lnTo>
                    <a:pt x="86" y="514"/>
                  </a:lnTo>
                  <a:lnTo>
                    <a:pt x="84" y="514"/>
                  </a:lnTo>
                  <a:lnTo>
                    <a:pt x="82" y="516"/>
                  </a:lnTo>
                  <a:lnTo>
                    <a:pt x="80" y="516"/>
                  </a:lnTo>
                  <a:lnTo>
                    <a:pt x="78" y="516"/>
                  </a:lnTo>
                  <a:lnTo>
                    <a:pt x="76" y="516"/>
                  </a:lnTo>
                  <a:lnTo>
                    <a:pt x="74" y="518"/>
                  </a:lnTo>
                  <a:lnTo>
                    <a:pt x="74" y="518"/>
                  </a:lnTo>
                  <a:lnTo>
                    <a:pt x="72" y="520"/>
                  </a:lnTo>
                  <a:lnTo>
                    <a:pt x="72" y="520"/>
                  </a:lnTo>
                  <a:lnTo>
                    <a:pt x="72" y="522"/>
                  </a:lnTo>
                  <a:lnTo>
                    <a:pt x="70" y="522"/>
                  </a:lnTo>
                  <a:lnTo>
                    <a:pt x="70" y="522"/>
                  </a:lnTo>
                  <a:lnTo>
                    <a:pt x="70" y="524"/>
                  </a:lnTo>
                  <a:lnTo>
                    <a:pt x="70" y="526"/>
                  </a:lnTo>
                  <a:lnTo>
                    <a:pt x="70" y="528"/>
                  </a:lnTo>
                  <a:lnTo>
                    <a:pt x="72" y="532"/>
                  </a:lnTo>
                  <a:lnTo>
                    <a:pt x="72" y="534"/>
                  </a:lnTo>
                  <a:lnTo>
                    <a:pt x="72" y="534"/>
                  </a:lnTo>
                  <a:lnTo>
                    <a:pt x="72" y="540"/>
                  </a:lnTo>
                  <a:lnTo>
                    <a:pt x="72" y="546"/>
                  </a:lnTo>
                  <a:lnTo>
                    <a:pt x="70" y="554"/>
                  </a:lnTo>
                  <a:lnTo>
                    <a:pt x="64" y="554"/>
                  </a:lnTo>
                  <a:lnTo>
                    <a:pt x="58" y="556"/>
                  </a:lnTo>
                  <a:lnTo>
                    <a:pt x="52" y="558"/>
                  </a:lnTo>
                  <a:lnTo>
                    <a:pt x="48" y="558"/>
                  </a:lnTo>
                  <a:lnTo>
                    <a:pt x="44" y="558"/>
                  </a:lnTo>
                  <a:lnTo>
                    <a:pt x="40" y="558"/>
                  </a:lnTo>
                  <a:lnTo>
                    <a:pt x="36" y="558"/>
                  </a:lnTo>
                  <a:lnTo>
                    <a:pt x="34" y="558"/>
                  </a:lnTo>
                  <a:lnTo>
                    <a:pt x="30" y="558"/>
                  </a:lnTo>
                  <a:lnTo>
                    <a:pt x="30" y="556"/>
                  </a:lnTo>
                  <a:lnTo>
                    <a:pt x="28" y="556"/>
                  </a:lnTo>
                  <a:lnTo>
                    <a:pt x="28" y="556"/>
                  </a:lnTo>
                  <a:lnTo>
                    <a:pt x="26" y="556"/>
                  </a:lnTo>
                  <a:lnTo>
                    <a:pt x="26" y="554"/>
                  </a:lnTo>
                  <a:lnTo>
                    <a:pt x="26" y="554"/>
                  </a:lnTo>
                  <a:lnTo>
                    <a:pt x="24" y="552"/>
                  </a:lnTo>
                  <a:lnTo>
                    <a:pt x="24" y="552"/>
                  </a:lnTo>
                  <a:lnTo>
                    <a:pt x="24" y="548"/>
                  </a:lnTo>
                  <a:lnTo>
                    <a:pt x="24" y="546"/>
                  </a:lnTo>
                  <a:lnTo>
                    <a:pt x="24" y="542"/>
                  </a:lnTo>
                  <a:lnTo>
                    <a:pt x="24" y="540"/>
                  </a:lnTo>
                  <a:lnTo>
                    <a:pt x="24" y="538"/>
                  </a:lnTo>
                  <a:lnTo>
                    <a:pt x="24" y="536"/>
                  </a:lnTo>
                  <a:lnTo>
                    <a:pt x="24" y="536"/>
                  </a:lnTo>
                  <a:lnTo>
                    <a:pt x="24" y="534"/>
                  </a:lnTo>
                  <a:lnTo>
                    <a:pt x="22" y="534"/>
                  </a:lnTo>
                  <a:lnTo>
                    <a:pt x="22" y="534"/>
                  </a:lnTo>
                  <a:lnTo>
                    <a:pt x="20" y="532"/>
                  </a:lnTo>
                  <a:lnTo>
                    <a:pt x="18" y="532"/>
                  </a:lnTo>
                  <a:lnTo>
                    <a:pt x="16" y="532"/>
                  </a:lnTo>
                  <a:lnTo>
                    <a:pt x="16" y="530"/>
                  </a:lnTo>
                  <a:lnTo>
                    <a:pt x="14" y="530"/>
                  </a:lnTo>
                  <a:lnTo>
                    <a:pt x="12" y="528"/>
                  </a:lnTo>
                  <a:lnTo>
                    <a:pt x="12" y="528"/>
                  </a:lnTo>
                  <a:lnTo>
                    <a:pt x="10" y="528"/>
                  </a:lnTo>
                  <a:lnTo>
                    <a:pt x="10" y="526"/>
                  </a:lnTo>
                  <a:lnTo>
                    <a:pt x="8" y="524"/>
                  </a:lnTo>
                  <a:lnTo>
                    <a:pt x="8" y="520"/>
                  </a:lnTo>
                  <a:lnTo>
                    <a:pt x="6" y="518"/>
                  </a:lnTo>
                  <a:lnTo>
                    <a:pt x="6" y="514"/>
                  </a:lnTo>
                  <a:lnTo>
                    <a:pt x="6" y="512"/>
                  </a:lnTo>
                  <a:lnTo>
                    <a:pt x="6" y="508"/>
                  </a:lnTo>
                  <a:lnTo>
                    <a:pt x="4" y="506"/>
                  </a:lnTo>
                  <a:lnTo>
                    <a:pt x="4" y="502"/>
                  </a:lnTo>
                  <a:lnTo>
                    <a:pt x="4" y="498"/>
                  </a:lnTo>
                  <a:lnTo>
                    <a:pt x="4" y="496"/>
                  </a:lnTo>
                  <a:lnTo>
                    <a:pt x="6" y="492"/>
                  </a:lnTo>
                  <a:lnTo>
                    <a:pt x="6" y="490"/>
                  </a:lnTo>
                  <a:lnTo>
                    <a:pt x="6" y="488"/>
                  </a:lnTo>
                  <a:lnTo>
                    <a:pt x="8" y="484"/>
                  </a:lnTo>
                  <a:lnTo>
                    <a:pt x="8" y="482"/>
                  </a:lnTo>
                  <a:lnTo>
                    <a:pt x="8" y="482"/>
                  </a:lnTo>
                  <a:lnTo>
                    <a:pt x="8" y="482"/>
                  </a:lnTo>
                  <a:lnTo>
                    <a:pt x="10" y="482"/>
                  </a:lnTo>
                  <a:lnTo>
                    <a:pt x="12" y="482"/>
                  </a:lnTo>
                  <a:lnTo>
                    <a:pt x="12" y="482"/>
                  </a:lnTo>
                  <a:lnTo>
                    <a:pt x="14" y="482"/>
                  </a:lnTo>
                  <a:lnTo>
                    <a:pt x="16" y="480"/>
                  </a:lnTo>
                  <a:lnTo>
                    <a:pt x="16" y="480"/>
                  </a:lnTo>
                  <a:lnTo>
                    <a:pt x="16" y="480"/>
                  </a:lnTo>
                  <a:lnTo>
                    <a:pt x="18" y="480"/>
                  </a:lnTo>
                  <a:lnTo>
                    <a:pt x="18" y="478"/>
                  </a:lnTo>
                  <a:lnTo>
                    <a:pt x="18" y="476"/>
                  </a:lnTo>
                  <a:lnTo>
                    <a:pt x="18" y="474"/>
                  </a:lnTo>
                  <a:lnTo>
                    <a:pt x="18" y="470"/>
                  </a:lnTo>
                  <a:lnTo>
                    <a:pt x="18" y="468"/>
                  </a:lnTo>
                  <a:lnTo>
                    <a:pt x="20" y="462"/>
                  </a:lnTo>
                  <a:lnTo>
                    <a:pt x="20" y="454"/>
                  </a:lnTo>
                  <a:lnTo>
                    <a:pt x="20" y="446"/>
                  </a:lnTo>
                  <a:lnTo>
                    <a:pt x="20" y="438"/>
                  </a:lnTo>
                  <a:lnTo>
                    <a:pt x="20" y="430"/>
                  </a:lnTo>
                  <a:lnTo>
                    <a:pt x="20" y="422"/>
                  </a:lnTo>
                  <a:lnTo>
                    <a:pt x="20" y="418"/>
                  </a:lnTo>
                  <a:lnTo>
                    <a:pt x="20" y="414"/>
                  </a:lnTo>
                  <a:lnTo>
                    <a:pt x="20" y="410"/>
                  </a:lnTo>
                  <a:lnTo>
                    <a:pt x="20" y="408"/>
                  </a:lnTo>
                  <a:lnTo>
                    <a:pt x="20" y="406"/>
                  </a:lnTo>
                  <a:lnTo>
                    <a:pt x="18" y="404"/>
                  </a:lnTo>
                  <a:lnTo>
                    <a:pt x="16" y="398"/>
                  </a:lnTo>
                  <a:lnTo>
                    <a:pt x="14" y="394"/>
                  </a:lnTo>
                  <a:lnTo>
                    <a:pt x="14" y="392"/>
                  </a:lnTo>
                  <a:lnTo>
                    <a:pt x="14" y="390"/>
                  </a:lnTo>
                  <a:lnTo>
                    <a:pt x="12" y="388"/>
                  </a:lnTo>
                  <a:lnTo>
                    <a:pt x="12" y="384"/>
                  </a:lnTo>
                  <a:lnTo>
                    <a:pt x="12" y="378"/>
                  </a:lnTo>
                  <a:lnTo>
                    <a:pt x="12" y="372"/>
                  </a:lnTo>
                  <a:lnTo>
                    <a:pt x="12" y="368"/>
                  </a:lnTo>
                  <a:lnTo>
                    <a:pt x="12" y="366"/>
                  </a:lnTo>
                  <a:lnTo>
                    <a:pt x="12" y="360"/>
                  </a:lnTo>
                  <a:lnTo>
                    <a:pt x="12" y="352"/>
                  </a:lnTo>
                  <a:lnTo>
                    <a:pt x="10" y="346"/>
                  </a:lnTo>
                  <a:lnTo>
                    <a:pt x="10" y="342"/>
                  </a:lnTo>
                  <a:lnTo>
                    <a:pt x="8" y="340"/>
                  </a:lnTo>
                  <a:lnTo>
                    <a:pt x="8" y="338"/>
                  </a:lnTo>
                  <a:lnTo>
                    <a:pt x="8" y="336"/>
                  </a:lnTo>
                  <a:lnTo>
                    <a:pt x="6" y="332"/>
                  </a:lnTo>
                  <a:lnTo>
                    <a:pt x="4" y="328"/>
                  </a:lnTo>
                  <a:lnTo>
                    <a:pt x="2" y="328"/>
                  </a:lnTo>
                  <a:lnTo>
                    <a:pt x="2" y="326"/>
                  </a:lnTo>
                  <a:lnTo>
                    <a:pt x="2" y="324"/>
                  </a:lnTo>
                  <a:lnTo>
                    <a:pt x="2" y="322"/>
                  </a:lnTo>
                  <a:lnTo>
                    <a:pt x="2" y="320"/>
                  </a:lnTo>
                  <a:lnTo>
                    <a:pt x="4" y="316"/>
                  </a:lnTo>
                  <a:lnTo>
                    <a:pt x="4" y="314"/>
                  </a:lnTo>
                  <a:lnTo>
                    <a:pt x="4" y="314"/>
                  </a:lnTo>
                  <a:lnTo>
                    <a:pt x="4" y="312"/>
                  </a:lnTo>
                  <a:lnTo>
                    <a:pt x="4" y="312"/>
                  </a:lnTo>
                  <a:lnTo>
                    <a:pt x="6" y="310"/>
                  </a:lnTo>
                  <a:lnTo>
                    <a:pt x="10" y="306"/>
                  </a:lnTo>
                  <a:lnTo>
                    <a:pt x="12" y="306"/>
                  </a:lnTo>
                  <a:lnTo>
                    <a:pt x="12" y="304"/>
                  </a:lnTo>
                  <a:lnTo>
                    <a:pt x="14" y="302"/>
                  </a:lnTo>
                  <a:lnTo>
                    <a:pt x="14" y="302"/>
                  </a:lnTo>
                  <a:lnTo>
                    <a:pt x="14" y="300"/>
                  </a:lnTo>
                  <a:lnTo>
                    <a:pt x="14" y="300"/>
                  </a:lnTo>
                  <a:lnTo>
                    <a:pt x="14" y="298"/>
                  </a:lnTo>
                  <a:lnTo>
                    <a:pt x="14" y="296"/>
                  </a:lnTo>
                  <a:lnTo>
                    <a:pt x="14" y="294"/>
                  </a:lnTo>
                  <a:lnTo>
                    <a:pt x="12" y="294"/>
                  </a:lnTo>
                  <a:lnTo>
                    <a:pt x="12" y="290"/>
                  </a:lnTo>
                  <a:lnTo>
                    <a:pt x="10" y="288"/>
                  </a:lnTo>
                  <a:lnTo>
                    <a:pt x="8" y="284"/>
                  </a:lnTo>
                  <a:lnTo>
                    <a:pt x="6" y="282"/>
                  </a:lnTo>
                  <a:lnTo>
                    <a:pt x="4" y="280"/>
                  </a:lnTo>
                  <a:lnTo>
                    <a:pt x="2" y="278"/>
                  </a:lnTo>
                  <a:lnTo>
                    <a:pt x="2" y="276"/>
                  </a:lnTo>
                  <a:lnTo>
                    <a:pt x="2" y="274"/>
                  </a:lnTo>
                  <a:lnTo>
                    <a:pt x="0" y="272"/>
                  </a:lnTo>
                  <a:lnTo>
                    <a:pt x="0" y="270"/>
                  </a:lnTo>
                  <a:lnTo>
                    <a:pt x="0" y="270"/>
                  </a:lnTo>
                  <a:lnTo>
                    <a:pt x="2" y="268"/>
                  </a:lnTo>
                  <a:lnTo>
                    <a:pt x="2" y="268"/>
                  </a:lnTo>
                  <a:lnTo>
                    <a:pt x="2" y="266"/>
                  </a:lnTo>
                  <a:lnTo>
                    <a:pt x="4" y="264"/>
                  </a:lnTo>
                  <a:lnTo>
                    <a:pt x="6" y="262"/>
                  </a:lnTo>
                  <a:lnTo>
                    <a:pt x="8" y="258"/>
                  </a:lnTo>
                  <a:lnTo>
                    <a:pt x="10" y="256"/>
                  </a:lnTo>
                  <a:lnTo>
                    <a:pt x="12" y="254"/>
                  </a:lnTo>
                  <a:lnTo>
                    <a:pt x="14" y="252"/>
                  </a:lnTo>
                  <a:lnTo>
                    <a:pt x="16" y="250"/>
                  </a:lnTo>
                  <a:lnTo>
                    <a:pt x="16" y="248"/>
                  </a:lnTo>
                  <a:lnTo>
                    <a:pt x="16" y="246"/>
                  </a:lnTo>
                  <a:lnTo>
                    <a:pt x="18" y="244"/>
                  </a:lnTo>
                  <a:lnTo>
                    <a:pt x="18" y="244"/>
                  </a:lnTo>
                  <a:lnTo>
                    <a:pt x="18" y="244"/>
                  </a:lnTo>
                  <a:lnTo>
                    <a:pt x="18" y="244"/>
                  </a:lnTo>
                  <a:lnTo>
                    <a:pt x="18" y="242"/>
                  </a:lnTo>
                  <a:lnTo>
                    <a:pt x="16" y="242"/>
                  </a:lnTo>
                  <a:lnTo>
                    <a:pt x="16" y="240"/>
                  </a:lnTo>
                  <a:lnTo>
                    <a:pt x="14" y="240"/>
                  </a:lnTo>
                  <a:lnTo>
                    <a:pt x="12" y="238"/>
                  </a:lnTo>
                  <a:lnTo>
                    <a:pt x="12" y="238"/>
                  </a:lnTo>
                  <a:lnTo>
                    <a:pt x="12" y="236"/>
                  </a:lnTo>
                  <a:lnTo>
                    <a:pt x="10" y="234"/>
                  </a:lnTo>
                  <a:lnTo>
                    <a:pt x="10" y="232"/>
                  </a:lnTo>
                  <a:lnTo>
                    <a:pt x="10" y="228"/>
                  </a:lnTo>
                  <a:lnTo>
                    <a:pt x="10" y="224"/>
                  </a:lnTo>
                  <a:lnTo>
                    <a:pt x="10" y="222"/>
                  </a:lnTo>
                  <a:lnTo>
                    <a:pt x="10" y="218"/>
                  </a:lnTo>
                  <a:lnTo>
                    <a:pt x="10" y="218"/>
                  </a:lnTo>
                  <a:lnTo>
                    <a:pt x="10" y="216"/>
                  </a:lnTo>
                  <a:lnTo>
                    <a:pt x="10" y="216"/>
                  </a:lnTo>
                  <a:lnTo>
                    <a:pt x="12" y="214"/>
                  </a:lnTo>
                  <a:lnTo>
                    <a:pt x="12" y="214"/>
                  </a:lnTo>
                  <a:lnTo>
                    <a:pt x="12" y="214"/>
                  </a:lnTo>
                  <a:lnTo>
                    <a:pt x="14" y="214"/>
                  </a:lnTo>
                  <a:lnTo>
                    <a:pt x="14" y="214"/>
                  </a:lnTo>
                  <a:lnTo>
                    <a:pt x="16" y="214"/>
                  </a:lnTo>
                  <a:lnTo>
                    <a:pt x="16" y="214"/>
                  </a:lnTo>
                  <a:lnTo>
                    <a:pt x="18" y="214"/>
                  </a:lnTo>
                  <a:lnTo>
                    <a:pt x="18" y="212"/>
                  </a:lnTo>
                  <a:lnTo>
                    <a:pt x="20" y="212"/>
                  </a:lnTo>
                  <a:lnTo>
                    <a:pt x="20" y="212"/>
                  </a:lnTo>
                  <a:lnTo>
                    <a:pt x="20" y="212"/>
                  </a:lnTo>
                  <a:lnTo>
                    <a:pt x="20" y="210"/>
                  </a:lnTo>
                  <a:lnTo>
                    <a:pt x="20" y="210"/>
                  </a:lnTo>
                  <a:lnTo>
                    <a:pt x="20" y="208"/>
                  </a:lnTo>
                  <a:lnTo>
                    <a:pt x="22" y="206"/>
                  </a:lnTo>
                  <a:lnTo>
                    <a:pt x="20" y="204"/>
                  </a:lnTo>
                  <a:lnTo>
                    <a:pt x="20" y="200"/>
                  </a:lnTo>
                  <a:lnTo>
                    <a:pt x="20" y="198"/>
                  </a:lnTo>
                  <a:lnTo>
                    <a:pt x="20" y="196"/>
                  </a:lnTo>
                  <a:lnTo>
                    <a:pt x="18" y="196"/>
                  </a:lnTo>
                  <a:lnTo>
                    <a:pt x="18" y="194"/>
                  </a:lnTo>
                  <a:lnTo>
                    <a:pt x="18" y="194"/>
                  </a:lnTo>
                  <a:lnTo>
                    <a:pt x="16" y="194"/>
                  </a:lnTo>
                  <a:lnTo>
                    <a:pt x="14" y="194"/>
                  </a:lnTo>
                  <a:lnTo>
                    <a:pt x="12" y="194"/>
                  </a:lnTo>
                  <a:lnTo>
                    <a:pt x="12" y="192"/>
                  </a:lnTo>
                  <a:lnTo>
                    <a:pt x="12" y="192"/>
                  </a:lnTo>
                  <a:lnTo>
                    <a:pt x="10" y="192"/>
                  </a:lnTo>
                  <a:lnTo>
                    <a:pt x="10" y="190"/>
                  </a:lnTo>
                  <a:lnTo>
                    <a:pt x="10" y="188"/>
                  </a:lnTo>
                  <a:lnTo>
                    <a:pt x="10" y="188"/>
                  </a:lnTo>
                  <a:lnTo>
                    <a:pt x="8" y="184"/>
                  </a:lnTo>
                  <a:lnTo>
                    <a:pt x="8" y="180"/>
                  </a:lnTo>
                  <a:lnTo>
                    <a:pt x="8" y="176"/>
                  </a:lnTo>
                  <a:lnTo>
                    <a:pt x="8" y="174"/>
                  </a:lnTo>
                  <a:lnTo>
                    <a:pt x="10" y="170"/>
                  </a:lnTo>
                  <a:lnTo>
                    <a:pt x="10" y="168"/>
                  </a:lnTo>
                  <a:lnTo>
                    <a:pt x="10" y="168"/>
                  </a:lnTo>
                  <a:lnTo>
                    <a:pt x="10" y="166"/>
                  </a:lnTo>
                  <a:lnTo>
                    <a:pt x="12" y="166"/>
                  </a:lnTo>
                  <a:lnTo>
                    <a:pt x="14" y="164"/>
                  </a:lnTo>
                  <a:lnTo>
                    <a:pt x="16" y="164"/>
                  </a:lnTo>
                  <a:lnTo>
                    <a:pt x="16" y="162"/>
                  </a:lnTo>
                  <a:lnTo>
                    <a:pt x="16" y="162"/>
                  </a:lnTo>
                  <a:lnTo>
                    <a:pt x="18" y="160"/>
                  </a:lnTo>
                  <a:lnTo>
                    <a:pt x="18" y="160"/>
                  </a:lnTo>
                  <a:lnTo>
                    <a:pt x="18" y="158"/>
                  </a:lnTo>
                  <a:lnTo>
                    <a:pt x="16" y="156"/>
                  </a:lnTo>
                  <a:lnTo>
                    <a:pt x="16" y="152"/>
                  </a:lnTo>
                  <a:lnTo>
                    <a:pt x="16" y="150"/>
                  </a:lnTo>
                  <a:lnTo>
                    <a:pt x="16" y="148"/>
                  </a:lnTo>
                  <a:lnTo>
                    <a:pt x="14" y="144"/>
                  </a:lnTo>
                  <a:lnTo>
                    <a:pt x="14" y="138"/>
                  </a:lnTo>
                  <a:lnTo>
                    <a:pt x="12" y="134"/>
                  </a:lnTo>
                  <a:lnTo>
                    <a:pt x="12" y="130"/>
                  </a:lnTo>
                  <a:lnTo>
                    <a:pt x="12" y="128"/>
                  </a:lnTo>
                  <a:lnTo>
                    <a:pt x="12" y="126"/>
                  </a:lnTo>
                  <a:lnTo>
                    <a:pt x="12" y="124"/>
                  </a:lnTo>
                  <a:lnTo>
                    <a:pt x="12" y="124"/>
                  </a:lnTo>
                  <a:lnTo>
                    <a:pt x="14" y="122"/>
                  </a:lnTo>
                  <a:lnTo>
                    <a:pt x="14" y="120"/>
                  </a:lnTo>
                  <a:lnTo>
                    <a:pt x="16" y="118"/>
                  </a:lnTo>
                  <a:lnTo>
                    <a:pt x="18" y="116"/>
                  </a:lnTo>
                  <a:lnTo>
                    <a:pt x="18" y="116"/>
                  </a:lnTo>
                  <a:lnTo>
                    <a:pt x="18" y="114"/>
                  </a:lnTo>
                  <a:lnTo>
                    <a:pt x="18" y="112"/>
                  </a:lnTo>
                  <a:lnTo>
                    <a:pt x="18" y="108"/>
                  </a:lnTo>
                  <a:lnTo>
                    <a:pt x="18" y="106"/>
                  </a:lnTo>
                  <a:lnTo>
                    <a:pt x="18" y="104"/>
                  </a:lnTo>
                  <a:lnTo>
                    <a:pt x="18" y="102"/>
                  </a:lnTo>
                  <a:lnTo>
                    <a:pt x="20" y="102"/>
                  </a:lnTo>
                  <a:lnTo>
                    <a:pt x="20" y="100"/>
                  </a:lnTo>
                  <a:lnTo>
                    <a:pt x="22" y="100"/>
                  </a:lnTo>
                  <a:lnTo>
                    <a:pt x="24" y="98"/>
                  </a:lnTo>
                  <a:lnTo>
                    <a:pt x="26" y="96"/>
                  </a:lnTo>
                  <a:lnTo>
                    <a:pt x="28" y="96"/>
                  </a:lnTo>
                  <a:lnTo>
                    <a:pt x="28" y="94"/>
                  </a:lnTo>
                  <a:lnTo>
                    <a:pt x="30" y="94"/>
                  </a:lnTo>
                  <a:lnTo>
                    <a:pt x="30" y="92"/>
                  </a:lnTo>
                  <a:lnTo>
                    <a:pt x="30" y="90"/>
                  </a:lnTo>
                  <a:lnTo>
                    <a:pt x="32" y="88"/>
                  </a:lnTo>
                  <a:lnTo>
                    <a:pt x="32" y="86"/>
                  </a:lnTo>
                  <a:lnTo>
                    <a:pt x="34" y="84"/>
                  </a:lnTo>
                  <a:lnTo>
                    <a:pt x="34" y="82"/>
                  </a:lnTo>
                  <a:lnTo>
                    <a:pt x="34" y="82"/>
                  </a:lnTo>
                  <a:lnTo>
                    <a:pt x="34" y="80"/>
                  </a:lnTo>
                  <a:lnTo>
                    <a:pt x="34" y="80"/>
                  </a:lnTo>
                  <a:lnTo>
                    <a:pt x="32" y="78"/>
                  </a:lnTo>
                  <a:lnTo>
                    <a:pt x="30" y="78"/>
                  </a:lnTo>
                  <a:lnTo>
                    <a:pt x="30" y="76"/>
                  </a:lnTo>
                  <a:lnTo>
                    <a:pt x="28" y="74"/>
                  </a:lnTo>
                  <a:lnTo>
                    <a:pt x="26" y="74"/>
                  </a:lnTo>
                  <a:lnTo>
                    <a:pt x="26" y="72"/>
                  </a:lnTo>
                  <a:lnTo>
                    <a:pt x="26" y="72"/>
                  </a:lnTo>
                  <a:lnTo>
                    <a:pt x="26" y="70"/>
                  </a:lnTo>
                  <a:lnTo>
                    <a:pt x="26" y="70"/>
                  </a:lnTo>
                  <a:lnTo>
                    <a:pt x="26" y="70"/>
                  </a:lnTo>
                  <a:lnTo>
                    <a:pt x="28" y="68"/>
                  </a:lnTo>
                  <a:lnTo>
                    <a:pt x="28" y="66"/>
                  </a:lnTo>
                  <a:lnTo>
                    <a:pt x="30" y="66"/>
                  </a:lnTo>
                  <a:lnTo>
                    <a:pt x="32" y="62"/>
                  </a:lnTo>
                  <a:lnTo>
                    <a:pt x="34" y="62"/>
                  </a:lnTo>
                  <a:lnTo>
                    <a:pt x="34" y="60"/>
                  </a:lnTo>
                  <a:lnTo>
                    <a:pt x="34" y="60"/>
                  </a:lnTo>
                  <a:lnTo>
                    <a:pt x="34" y="60"/>
                  </a:lnTo>
                  <a:lnTo>
                    <a:pt x="34" y="58"/>
                  </a:lnTo>
                  <a:lnTo>
                    <a:pt x="34" y="56"/>
                  </a:lnTo>
                  <a:lnTo>
                    <a:pt x="34" y="54"/>
                  </a:lnTo>
                  <a:lnTo>
                    <a:pt x="34" y="50"/>
                  </a:lnTo>
                  <a:lnTo>
                    <a:pt x="34" y="48"/>
                  </a:lnTo>
                  <a:lnTo>
                    <a:pt x="34" y="46"/>
                  </a:lnTo>
                  <a:lnTo>
                    <a:pt x="34" y="44"/>
                  </a:lnTo>
                  <a:lnTo>
                    <a:pt x="34" y="42"/>
                  </a:lnTo>
                  <a:lnTo>
                    <a:pt x="34" y="42"/>
                  </a:lnTo>
                  <a:lnTo>
                    <a:pt x="34" y="42"/>
                  </a:lnTo>
                  <a:lnTo>
                    <a:pt x="34" y="40"/>
                  </a:lnTo>
                  <a:lnTo>
                    <a:pt x="36" y="40"/>
                  </a:lnTo>
                  <a:lnTo>
                    <a:pt x="36" y="40"/>
                  </a:lnTo>
                  <a:lnTo>
                    <a:pt x="38" y="40"/>
                  </a:lnTo>
                  <a:lnTo>
                    <a:pt x="40" y="40"/>
                  </a:lnTo>
                  <a:lnTo>
                    <a:pt x="40" y="40"/>
                  </a:lnTo>
                  <a:lnTo>
                    <a:pt x="42" y="40"/>
                  </a:lnTo>
                  <a:lnTo>
                    <a:pt x="44" y="38"/>
                  </a:lnTo>
                  <a:lnTo>
                    <a:pt x="44" y="38"/>
                  </a:lnTo>
                  <a:lnTo>
                    <a:pt x="44" y="38"/>
                  </a:lnTo>
                  <a:lnTo>
                    <a:pt x="44" y="38"/>
                  </a:lnTo>
                  <a:lnTo>
                    <a:pt x="44" y="36"/>
                  </a:lnTo>
                  <a:lnTo>
                    <a:pt x="46" y="34"/>
                  </a:lnTo>
                  <a:lnTo>
                    <a:pt x="46" y="34"/>
                  </a:lnTo>
                  <a:lnTo>
                    <a:pt x="46" y="30"/>
                  </a:lnTo>
                  <a:lnTo>
                    <a:pt x="46" y="28"/>
                  </a:lnTo>
                  <a:lnTo>
                    <a:pt x="46" y="24"/>
                  </a:lnTo>
                  <a:lnTo>
                    <a:pt x="46" y="22"/>
                  </a:lnTo>
                  <a:lnTo>
                    <a:pt x="46"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grpSp>
          <p:nvGrpSpPr>
            <p:cNvPr id="917" name="Gruppieren 1"/>
            <p:cNvGrpSpPr/>
            <p:nvPr/>
          </p:nvGrpSpPr>
          <p:grpSpPr>
            <a:xfrm>
              <a:off x="2492103" y="5172762"/>
              <a:ext cx="284060" cy="1208988"/>
              <a:chOff x="2681578" y="5273842"/>
              <a:chExt cx="260350" cy="1108075"/>
            </a:xfrm>
            <a:solidFill>
              <a:srgbClr val="778888">
                <a:lumMod val="20000"/>
                <a:lumOff val="80000"/>
              </a:srgbClr>
            </a:solidFill>
          </p:grpSpPr>
          <p:sp>
            <p:nvSpPr>
              <p:cNvPr id="918" name="Freeform 494"/>
              <p:cNvSpPr>
                <a:spLocks/>
              </p:cNvSpPr>
              <p:nvPr/>
            </p:nvSpPr>
            <p:spPr bwMode="auto">
              <a:xfrm>
                <a:off x="2681578" y="5273842"/>
                <a:ext cx="168275" cy="1076325"/>
              </a:xfrm>
              <a:custGeom>
                <a:avLst/>
                <a:gdLst>
                  <a:gd name="T0" fmla="*/ 62 w 106"/>
                  <a:gd name="T1" fmla="*/ 630 h 678"/>
                  <a:gd name="T2" fmla="*/ 56 w 106"/>
                  <a:gd name="T3" fmla="*/ 616 h 678"/>
                  <a:gd name="T4" fmla="*/ 46 w 106"/>
                  <a:gd name="T5" fmla="*/ 604 h 678"/>
                  <a:gd name="T6" fmla="*/ 36 w 106"/>
                  <a:gd name="T7" fmla="*/ 582 h 678"/>
                  <a:gd name="T8" fmla="*/ 40 w 106"/>
                  <a:gd name="T9" fmla="*/ 556 h 678"/>
                  <a:gd name="T10" fmla="*/ 50 w 106"/>
                  <a:gd name="T11" fmla="*/ 548 h 678"/>
                  <a:gd name="T12" fmla="*/ 52 w 106"/>
                  <a:gd name="T13" fmla="*/ 484 h 678"/>
                  <a:gd name="T14" fmla="*/ 44 w 106"/>
                  <a:gd name="T15" fmla="*/ 444 h 678"/>
                  <a:gd name="T16" fmla="*/ 34 w 106"/>
                  <a:gd name="T17" fmla="*/ 402 h 678"/>
                  <a:gd name="T18" fmla="*/ 38 w 106"/>
                  <a:gd name="T19" fmla="*/ 384 h 678"/>
                  <a:gd name="T20" fmla="*/ 44 w 106"/>
                  <a:gd name="T21" fmla="*/ 366 h 678"/>
                  <a:gd name="T22" fmla="*/ 32 w 106"/>
                  <a:gd name="T23" fmla="*/ 342 h 678"/>
                  <a:gd name="T24" fmla="*/ 48 w 106"/>
                  <a:gd name="T25" fmla="*/ 322 h 678"/>
                  <a:gd name="T26" fmla="*/ 44 w 106"/>
                  <a:gd name="T27" fmla="*/ 310 h 678"/>
                  <a:gd name="T28" fmla="*/ 42 w 106"/>
                  <a:gd name="T29" fmla="*/ 288 h 678"/>
                  <a:gd name="T30" fmla="*/ 52 w 106"/>
                  <a:gd name="T31" fmla="*/ 286 h 678"/>
                  <a:gd name="T32" fmla="*/ 50 w 106"/>
                  <a:gd name="T33" fmla="*/ 268 h 678"/>
                  <a:gd name="T34" fmla="*/ 40 w 106"/>
                  <a:gd name="T35" fmla="*/ 254 h 678"/>
                  <a:gd name="T36" fmla="*/ 48 w 106"/>
                  <a:gd name="T37" fmla="*/ 236 h 678"/>
                  <a:gd name="T38" fmla="*/ 44 w 106"/>
                  <a:gd name="T39" fmla="*/ 204 h 678"/>
                  <a:gd name="T40" fmla="*/ 50 w 106"/>
                  <a:gd name="T41" fmla="*/ 186 h 678"/>
                  <a:gd name="T42" fmla="*/ 60 w 106"/>
                  <a:gd name="T43" fmla="*/ 168 h 678"/>
                  <a:gd name="T44" fmla="*/ 64 w 106"/>
                  <a:gd name="T45" fmla="*/ 152 h 678"/>
                  <a:gd name="T46" fmla="*/ 60 w 106"/>
                  <a:gd name="T47" fmla="*/ 140 h 678"/>
                  <a:gd name="T48" fmla="*/ 66 w 106"/>
                  <a:gd name="T49" fmla="*/ 122 h 678"/>
                  <a:gd name="T50" fmla="*/ 72 w 106"/>
                  <a:gd name="T51" fmla="*/ 114 h 678"/>
                  <a:gd name="T52" fmla="*/ 78 w 106"/>
                  <a:gd name="T53" fmla="*/ 98 h 678"/>
                  <a:gd name="T54" fmla="*/ 58 w 106"/>
                  <a:gd name="T55" fmla="*/ 74 h 678"/>
                  <a:gd name="T56" fmla="*/ 56 w 106"/>
                  <a:gd name="T57" fmla="*/ 42 h 678"/>
                  <a:gd name="T58" fmla="*/ 44 w 106"/>
                  <a:gd name="T59" fmla="*/ 26 h 678"/>
                  <a:gd name="T60" fmla="*/ 40 w 106"/>
                  <a:gd name="T61" fmla="*/ 10 h 678"/>
                  <a:gd name="T62" fmla="*/ 24 w 106"/>
                  <a:gd name="T63" fmla="*/ 26 h 678"/>
                  <a:gd name="T64" fmla="*/ 32 w 106"/>
                  <a:gd name="T65" fmla="*/ 52 h 678"/>
                  <a:gd name="T66" fmla="*/ 30 w 106"/>
                  <a:gd name="T67" fmla="*/ 98 h 678"/>
                  <a:gd name="T68" fmla="*/ 24 w 106"/>
                  <a:gd name="T69" fmla="*/ 112 h 678"/>
                  <a:gd name="T70" fmla="*/ 32 w 106"/>
                  <a:gd name="T71" fmla="*/ 122 h 678"/>
                  <a:gd name="T72" fmla="*/ 28 w 106"/>
                  <a:gd name="T73" fmla="*/ 148 h 678"/>
                  <a:gd name="T74" fmla="*/ 22 w 106"/>
                  <a:gd name="T75" fmla="*/ 152 h 678"/>
                  <a:gd name="T76" fmla="*/ 26 w 106"/>
                  <a:gd name="T77" fmla="*/ 184 h 678"/>
                  <a:gd name="T78" fmla="*/ 16 w 106"/>
                  <a:gd name="T79" fmla="*/ 186 h 678"/>
                  <a:gd name="T80" fmla="*/ 18 w 106"/>
                  <a:gd name="T81" fmla="*/ 194 h 678"/>
                  <a:gd name="T82" fmla="*/ 14 w 106"/>
                  <a:gd name="T83" fmla="*/ 216 h 678"/>
                  <a:gd name="T84" fmla="*/ 10 w 106"/>
                  <a:gd name="T85" fmla="*/ 264 h 678"/>
                  <a:gd name="T86" fmla="*/ 18 w 106"/>
                  <a:gd name="T87" fmla="*/ 274 h 678"/>
                  <a:gd name="T88" fmla="*/ 12 w 106"/>
                  <a:gd name="T89" fmla="*/ 326 h 678"/>
                  <a:gd name="T90" fmla="*/ 0 w 106"/>
                  <a:gd name="T91" fmla="*/ 350 h 678"/>
                  <a:gd name="T92" fmla="*/ 10 w 106"/>
                  <a:gd name="T93" fmla="*/ 418 h 678"/>
                  <a:gd name="T94" fmla="*/ 6 w 106"/>
                  <a:gd name="T95" fmla="*/ 450 h 678"/>
                  <a:gd name="T96" fmla="*/ 14 w 106"/>
                  <a:gd name="T97" fmla="*/ 452 h 678"/>
                  <a:gd name="T98" fmla="*/ 22 w 106"/>
                  <a:gd name="T99" fmla="*/ 464 h 678"/>
                  <a:gd name="T100" fmla="*/ 18 w 106"/>
                  <a:gd name="T101" fmla="*/ 508 h 678"/>
                  <a:gd name="T102" fmla="*/ 14 w 106"/>
                  <a:gd name="T103" fmla="*/ 538 h 678"/>
                  <a:gd name="T104" fmla="*/ 24 w 106"/>
                  <a:gd name="T105" fmla="*/ 544 h 678"/>
                  <a:gd name="T106" fmla="*/ 14 w 106"/>
                  <a:gd name="T107" fmla="*/ 566 h 678"/>
                  <a:gd name="T108" fmla="*/ 22 w 106"/>
                  <a:gd name="T109" fmla="*/ 598 h 678"/>
                  <a:gd name="T110" fmla="*/ 38 w 106"/>
                  <a:gd name="T111" fmla="*/ 612 h 678"/>
                  <a:gd name="T112" fmla="*/ 44 w 106"/>
                  <a:gd name="T113" fmla="*/ 632 h 678"/>
                  <a:gd name="T114" fmla="*/ 60 w 106"/>
                  <a:gd name="T115" fmla="*/ 646 h 678"/>
                  <a:gd name="T116" fmla="*/ 82 w 106"/>
                  <a:gd name="T117" fmla="*/ 666 h 678"/>
                  <a:gd name="T118" fmla="*/ 90 w 106"/>
                  <a:gd name="T119" fmla="*/ 678 h 678"/>
                  <a:gd name="T120" fmla="*/ 94 w 106"/>
                  <a:gd name="T121" fmla="*/ 660 h 678"/>
                  <a:gd name="T122" fmla="*/ 106 w 106"/>
                  <a:gd name="T123" fmla="*/ 65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678">
                    <a:moveTo>
                      <a:pt x="102" y="626"/>
                    </a:moveTo>
                    <a:lnTo>
                      <a:pt x="102" y="626"/>
                    </a:lnTo>
                    <a:lnTo>
                      <a:pt x="96" y="628"/>
                    </a:lnTo>
                    <a:lnTo>
                      <a:pt x="90" y="630"/>
                    </a:lnTo>
                    <a:lnTo>
                      <a:pt x="84" y="630"/>
                    </a:lnTo>
                    <a:lnTo>
                      <a:pt x="80" y="630"/>
                    </a:lnTo>
                    <a:lnTo>
                      <a:pt x="76" y="632"/>
                    </a:lnTo>
                    <a:lnTo>
                      <a:pt x="72" y="632"/>
                    </a:lnTo>
                    <a:lnTo>
                      <a:pt x="68" y="632"/>
                    </a:lnTo>
                    <a:lnTo>
                      <a:pt x="66" y="632"/>
                    </a:lnTo>
                    <a:lnTo>
                      <a:pt x="62" y="630"/>
                    </a:lnTo>
                    <a:lnTo>
                      <a:pt x="60" y="630"/>
                    </a:lnTo>
                    <a:lnTo>
                      <a:pt x="60" y="630"/>
                    </a:lnTo>
                    <a:lnTo>
                      <a:pt x="58" y="630"/>
                    </a:lnTo>
                    <a:lnTo>
                      <a:pt x="58" y="628"/>
                    </a:lnTo>
                    <a:lnTo>
                      <a:pt x="58" y="628"/>
                    </a:lnTo>
                    <a:lnTo>
                      <a:pt x="56" y="626"/>
                    </a:lnTo>
                    <a:lnTo>
                      <a:pt x="56" y="626"/>
                    </a:lnTo>
                    <a:lnTo>
                      <a:pt x="56" y="624"/>
                    </a:lnTo>
                    <a:lnTo>
                      <a:pt x="56" y="622"/>
                    </a:lnTo>
                    <a:lnTo>
                      <a:pt x="56" y="618"/>
                    </a:lnTo>
                    <a:lnTo>
                      <a:pt x="56" y="616"/>
                    </a:lnTo>
                    <a:lnTo>
                      <a:pt x="56" y="612"/>
                    </a:lnTo>
                    <a:lnTo>
                      <a:pt x="56" y="612"/>
                    </a:lnTo>
                    <a:lnTo>
                      <a:pt x="56" y="610"/>
                    </a:lnTo>
                    <a:lnTo>
                      <a:pt x="56" y="608"/>
                    </a:lnTo>
                    <a:lnTo>
                      <a:pt x="54" y="608"/>
                    </a:lnTo>
                    <a:lnTo>
                      <a:pt x="54" y="608"/>
                    </a:lnTo>
                    <a:lnTo>
                      <a:pt x="54" y="606"/>
                    </a:lnTo>
                    <a:lnTo>
                      <a:pt x="52" y="606"/>
                    </a:lnTo>
                    <a:lnTo>
                      <a:pt x="50" y="606"/>
                    </a:lnTo>
                    <a:lnTo>
                      <a:pt x="48" y="604"/>
                    </a:lnTo>
                    <a:lnTo>
                      <a:pt x="46" y="604"/>
                    </a:lnTo>
                    <a:lnTo>
                      <a:pt x="44" y="602"/>
                    </a:lnTo>
                    <a:lnTo>
                      <a:pt x="44" y="602"/>
                    </a:lnTo>
                    <a:lnTo>
                      <a:pt x="42" y="602"/>
                    </a:lnTo>
                    <a:lnTo>
                      <a:pt x="42" y="600"/>
                    </a:lnTo>
                    <a:lnTo>
                      <a:pt x="42" y="600"/>
                    </a:lnTo>
                    <a:lnTo>
                      <a:pt x="40" y="596"/>
                    </a:lnTo>
                    <a:lnTo>
                      <a:pt x="38" y="594"/>
                    </a:lnTo>
                    <a:lnTo>
                      <a:pt x="38" y="592"/>
                    </a:lnTo>
                    <a:lnTo>
                      <a:pt x="38" y="588"/>
                    </a:lnTo>
                    <a:lnTo>
                      <a:pt x="36" y="586"/>
                    </a:lnTo>
                    <a:lnTo>
                      <a:pt x="36" y="582"/>
                    </a:lnTo>
                    <a:lnTo>
                      <a:pt x="36" y="578"/>
                    </a:lnTo>
                    <a:lnTo>
                      <a:pt x="36" y="576"/>
                    </a:lnTo>
                    <a:lnTo>
                      <a:pt x="36" y="572"/>
                    </a:lnTo>
                    <a:lnTo>
                      <a:pt x="36" y="568"/>
                    </a:lnTo>
                    <a:lnTo>
                      <a:pt x="36" y="566"/>
                    </a:lnTo>
                    <a:lnTo>
                      <a:pt x="36" y="564"/>
                    </a:lnTo>
                    <a:lnTo>
                      <a:pt x="38" y="560"/>
                    </a:lnTo>
                    <a:lnTo>
                      <a:pt x="38" y="558"/>
                    </a:lnTo>
                    <a:lnTo>
                      <a:pt x="40" y="556"/>
                    </a:lnTo>
                    <a:lnTo>
                      <a:pt x="40" y="556"/>
                    </a:lnTo>
                    <a:lnTo>
                      <a:pt x="40" y="556"/>
                    </a:lnTo>
                    <a:lnTo>
                      <a:pt x="42" y="556"/>
                    </a:lnTo>
                    <a:lnTo>
                      <a:pt x="42" y="556"/>
                    </a:lnTo>
                    <a:lnTo>
                      <a:pt x="44" y="556"/>
                    </a:lnTo>
                    <a:lnTo>
                      <a:pt x="46" y="554"/>
                    </a:lnTo>
                    <a:lnTo>
                      <a:pt x="48" y="554"/>
                    </a:lnTo>
                    <a:lnTo>
                      <a:pt x="48" y="554"/>
                    </a:lnTo>
                    <a:lnTo>
                      <a:pt x="48" y="554"/>
                    </a:lnTo>
                    <a:lnTo>
                      <a:pt x="48" y="552"/>
                    </a:lnTo>
                    <a:lnTo>
                      <a:pt x="48" y="552"/>
                    </a:lnTo>
                    <a:lnTo>
                      <a:pt x="50" y="550"/>
                    </a:lnTo>
                    <a:lnTo>
                      <a:pt x="50" y="548"/>
                    </a:lnTo>
                    <a:lnTo>
                      <a:pt x="50" y="544"/>
                    </a:lnTo>
                    <a:lnTo>
                      <a:pt x="50" y="542"/>
                    </a:lnTo>
                    <a:lnTo>
                      <a:pt x="50" y="534"/>
                    </a:lnTo>
                    <a:lnTo>
                      <a:pt x="52" y="528"/>
                    </a:lnTo>
                    <a:lnTo>
                      <a:pt x="52" y="520"/>
                    </a:lnTo>
                    <a:lnTo>
                      <a:pt x="52" y="512"/>
                    </a:lnTo>
                    <a:lnTo>
                      <a:pt x="52" y="502"/>
                    </a:lnTo>
                    <a:lnTo>
                      <a:pt x="52" y="494"/>
                    </a:lnTo>
                    <a:lnTo>
                      <a:pt x="52" y="490"/>
                    </a:lnTo>
                    <a:lnTo>
                      <a:pt x="52" y="488"/>
                    </a:lnTo>
                    <a:lnTo>
                      <a:pt x="52" y="484"/>
                    </a:lnTo>
                    <a:lnTo>
                      <a:pt x="50" y="480"/>
                    </a:lnTo>
                    <a:lnTo>
                      <a:pt x="50" y="480"/>
                    </a:lnTo>
                    <a:lnTo>
                      <a:pt x="50" y="476"/>
                    </a:lnTo>
                    <a:lnTo>
                      <a:pt x="48" y="472"/>
                    </a:lnTo>
                    <a:lnTo>
                      <a:pt x="46" y="468"/>
                    </a:lnTo>
                    <a:lnTo>
                      <a:pt x="44" y="466"/>
                    </a:lnTo>
                    <a:lnTo>
                      <a:pt x="44" y="464"/>
                    </a:lnTo>
                    <a:lnTo>
                      <a:pt x="44" y="462"/>
                    </a:lnTo>
                    <a:lnTo>
                      <a:pt x="44" y="458"/>
                    </a:lnTo>
                    <a:lnTo>
                      <a:pt x="44" y="452"/>
                    </a:lnTo>
                    <a:lnTo>
                      <a:pt x="44" y="444"/>
                    </a:lnTo>
                    <a:lnTo>
                      <a:pt x="44" y="442"/>
                    </a:lnTo>
                    <a:lnTo>
                      <a:pt x="44" y="440"/>
                    </a:lnTo>
                    <a:lnTo>
                      <a:pt x="44" y="434"/>
                    </a:lnTo>
                    <a:lnTo>
                      <a:pt x="42" y="426"/>
                    </a:lnTo>
                    <a:lnTo>
                      <a:pt x="42" y="418"/>
                    </a:lnTo>
                    <a:lnTo>
                      <a:pt x="40" y="416"/>
                    </a:lnTo>
                    <a:lnTo>
                      <a:pt x="40" y="412"/>
                    </a:lnTo>
                    <a:lnTo>
                      <a:pt x="40" y="412"/>
                    </a:lnTo>
                    <a:lnTo>
                      <a:pt x="38" y="410"/>
                    </a:lnTo>
                    <a:lnTo>
                      <a:pt x="36" y="406"/>
                    </a:lnTo>
                    <a:lnTo>
                      <a:pt x="34" y="402"/>
                    </a:lnTo>
                    <a:lnTo>
                      <a:pt x="34" y="400"/>
                    </a:lnTo>
                    <a:lnTo>
                      <a:pt x="34" y="400"/>
                    </a:lnTo>
                    <a:lnTo>
                      <a:pt x="34" y="398"/>
                    </a:lnTo>
                    <a:lnTo>
                      <a:pt x="34" y="396"/>
                    </a:lnTo>
                    <a:lnTo>
                      <a:pt x="34" y="394"/>
                    </a:lnTo>
                    <a:lnTo>
                      <a:pt x="34" y="390"/>
                    </a:lnTo>
                    <a:lnTo>
                      <a:pt x="34" y="388"/>
                    </a:lnTo>
                    <a:lnTo>
                      <a:pt x="36" y="388"/>
                    </a:lnTo>
                    <a:lnTo>
                      <a:pt x="36" y="386"/>
                    </a:lnTo>
                    <a:lnTo>
                      <a:pt x="36" y="386"/>
                    </a:lnTo>
                    <a:lnTo>
                      <a:pt x="38" y="384"/>
                    </a:lnTo>
                    <a:lnTo>
                      <a:pt x="40" y="380"/>
                    </a:lnTo>
                    <a:lnTo>
                      <a:pt x="42" y="378"/>
                    </a:lnTo>
                    <a:lnTo>
                      <a:pt x="44" y="376"/>
                    </a:lnTo>
                    <a:lnTo>
                      <a:pt x="44" y="376"/>
                    </a:lnTo>
                    <a:lnTo>
                      <a:pt x="46" y="376"/>
                    </a:lnTo>
                    <a:lnTo>
                      <a:pt x="46" y="374"/>
                    </a:lnTo>
                    <a:lnTo>
                      <a:pt x="46" y="374"/>
                    </a:lnTo>
                    <a:lnTo>
                      <a:pt x="46" y="372"/>
                    </a:lnTo>
                    <a:lnTo>
                      <a:pt x="46" y="370"/>
                    </a:lnTo>
                    <a:lnTo>
                      <a:pt x="44" y="368"/>
                    </a:lnTo>
                    <a:lnTo>
                      <a:pt x="44" y="366"/>
                    </a:lnTo>
                    <a:lnTo>
                      <a:pt x="42" y="364"/>
                    </a:lnTo>
                    <a:lnTo>
                      <a:pt x="42" y="362"/>
                    </a:lnTo>
                    <a:lnTo>
                      <a:pt x="38" y="358"/>
                    </a:lnTo>
                    <a:lnTo>
                      <a:pt x="36" y="354"/>
                    </a:lnTo>
                    <a:lnTo>
                      <a:pt x="36" y="352"/>
                    </a:lnTo>
                    <a:lnTo>
                      <a:pt x="34" y="350"/>
                    </a:lnTo>
                    <a:lnTo>
                      <a:pt x="34" y="348"/>
                    </a:lnTo>
                    <a:lnTo>
                      <a:pt x="32" y="348"/>
                    </a:lnTo>
                    <a:lnTo>
                      <a:pt x="32" y="346"/>
                    </a:lnTo>
                    <a:lnTo>
                      <a:pt x="32" y="344"/>
                    </a:lnTo>
                    <a:lnTo>
                      <a:pt x="32" y="342"/>
                    </a:lnTo>
                    <a:lnTo>
                      <a:pt x="32" y="342"/>
                    </a:lnTo>
                    <a:lnTo>
                      <a:pt x="32" y="340"/>
                    </a:lnTo>
                    <a:lnTo>
                      <a:pt x="34" y="340"/>
                    </a:lnTo>
                    <a:lnTo>
                      <a:pt x="34" y="338"/>
                    </a:lnTo>
                    <a:lnTo>
                      <a:pt x="36" y="336"/>
                    </a:lnTo>
                    <a:lnTo>
                      <a:pt x="40" y="332"/>
                    </a:lnTo>
                    <a:lnTo>
                      <a:pt x="42" y="330"/>
                    </a:lnTo>
                    <a:lnTo>
                      <a:pt x="42" y="328"/>
                    </a:lnTo>
                    <a:lnTo>
                      <a:pt x="44" y="326"/>
                    </a:lnTo>
                    <a:lnTo>
                      <a:pt x="46" y="322"/>
                    </a:lnTo>
                    <a:lnTo>
                      <a:pt x="48" y="322"/>
                    </a:lnTo>
                    <a:lnTo>
                      <a:pt x="48" y="320"/>
                    </a:lnTo>
                    <a:lnTo>
                      <a:pt x="48" y="318"/>
                    </a:lnTo>
                    <a:lnTo>
                      <a:pt x="48" y="318"/>
                    </a:lnTo>
                    <a:lnTo>
                      <a:pt x="48" y="318"/>
                    </a:lnTo>
                    <a:lnTo>
                      <a:pt x="48" y="316"/>
                    </a:lnTo>
                    <a:lnTo>
                      <a:pt x="48" y="316"/>
                    </a:lnTo>
                    <a:lnTo>
                      <a:pt x="48" y="316"/>
                    </a:lnTo>
                    <a:lnTo>
                      <a:pt x="48" y="314"/>
                    </a:lnTo>
                    <a:lnTo>
                      <a:pt x="46" y="314"/>
                    </a:lnTo>
                    <a:lnTo>
                      <a:pt x="44" y="312"/>
                    </a:lnTo>
                    <a:lnTo>
                      <a:pt x="44" y="310"/>
                    </a:lnTo>
                    <a:lnTo>
                      <a:pt x="42" y="310"/>
                    </a:lnTo>
                    <a:lnTo>
                      <a:pt x="42" y="308"/>
                    </a:lnTo>
                    <a:lnTo>
                      <a:pt x="42" y="304"/>
                    </a:lnTo>
                    <a:lnTo>
                      <a:pt x="40" y="302"/>
                    </a:lnTo>
                    <a:lnTo>
                      <a:pt x="40" y="298"/>
                    </a:lnTo>
                    <a:lnTo>
                      <a:pt x="40" y="296"/>
                    </a:lnTo>
                    <a:lnTo>
                      <a:pt x="42" y="292"/>
                    </a:lnTo>
                    <a:lnTo>
                      <a:pt x="42" y="290"/>
                    </a:lnTo>
                    <a:lnTo>
                      <a:pt x="42" y="290"/>
                    </a:lnTo>
                    <a:lnTo>
                      <a:pt x="42" y="288"/>
                    </a:lnTo>
                    <a:lnTo>
                      <a:pt x="42" y="288"/>
                    </a:lnTo>
                    <a:lnTo>
                      <a:pt x="42" y="288"/>
                    </a:lnTo>
                    <a:lnTo>
                      <a:pt x="44" y="288"/>
                    </a:lnTo>
                    <a:lnTo>
                      <a:pt x="44" y="288"/>
                    </a:lnTo>
                    <a:lnTo>
                      <a:pt x="46" y="286"/>
                    </a:lnTo>
                    <a:lnTo>
                      <a:pt x="46" y="286"/>
                    </a:lnTo>
                    <a:lnTo>
                      <a:pt x="48" y="286"/>
                    </a:lnTo>
                    <a:lnTo>
                      <a:pt x="50" y="286"/>
                    </a:lnTo>
                    <a:lnTo>
                      <a:pt x="50" y="286"/>
                    </a:lnTo>
                    <a:lnTo>
                      <a:pt x="50" y="286"/>
                    </a:lnTo>
                    <a:lnTo>
                      <a:pt x="50" y="286"/>
                    </a:lnTo>
                    <a:lnTo>
                      <a:pt x="52" y="286"/>
                    </a:lnTo>
                    <a:lnTo>
                      <a:pt x="52" y="284"/>
                    </a:lnTo>
                    <a:lnTo>
                      <a:pt x="52" y="284"/>
                    </a:lnTo>
                    <a:lnTo>
                      <a:pt x="52" y="282"/>
                    </a:lnTo>
                    <a:lnTo>
                      <a:pt x="52" y="280"/>
                    </a:lnTo>
                    <a:lnTo>
                      <a:pt x="52" y="278"/>
                    </a:lnTo>
                    <a:lnTo>
                      <a:pt x="52" y="274"/>
                    </a:lnTo>
                    <a:lnTo>
                      <a:pt x="52" y="272"/>
                    </a:lnTo>
                    <a:lnTo>
                      <a:pt x="50" y="270"/>
                    </a:lnTo>
                    <a:lnTo>
                      <a:pt x="50" y="270"/>
                    </a:lnTo>
                    <a:lnTo>
                      <a:pt x="50" y="268"/>
                    </a:lnTo>
                    <a:lnTo>
                      <a:pt x="50" y="268"/>
                    </a:lnTo>
                    <a:lnTo>
                      <a:pt x="48" y="268"/>
                    </a:lnTo>
                    <a:lnTo>
                      <a:pt x="46" y="268"/>
                    </a:lnTo>
                    <a:lnTo>
                      <a:pt x="44" y="266"/>
                    </a:lnTo>
                    <a:lnTo>
                      <a:pt x="44" y="266"/>
                    </a:lnTo>
                    <a:lnTo>
                      <a:pt x="42" y="266"/>
                    </a:lnTo>
                    <a:lnTo>
                      <a:pt x="42" y="264"/>
                    </a:lnTo>
                    <a:lnTo>
                      <a:pt x="42" y="264"/>
                    </a:lnTo>
                    <a:lnTo>
                      <a:pt x="42" y="262"/>
                    </a:lnTo>
                    <a:lnTo>
                      <a:pt x="40" y="260"/>
                    </a:lnTo>
                    <a:lnTo>
                      <a:pt x="40" y="258"/>
                    </a:lnTo>
                    <a:lnTo>
                      <a:pt x="40" y="254"/>
                    </a:lnTo>
                    <a:lnTo>
                      <a:pt x="40" y="250"/>
                    </a:lnTo>
                    <a:lnTo>
                      <a:pt x="40" y="246"/>
                    </a:lnTo>
                    <a:lnTo>
                      <a:pt x="40" y="244"/>
                    </a:lnTo>
                    <a:lnTo>
                      <a:pt x="42" y="242"/>
                    </a:lnTo>
                    <a:lnTo>
                      <a:pt x="42" y="242"/>
                    </a:lnTo>
                    <a:lnTo>
                      <a:pt x="42" y="240"/>
                    </a:lnTo>
                    <a:lnTo>
                      <a:pt x="42" y="240"/>
                    </a:lnTo>
                    <a:lnTo>
                      <a:pt x="44" y="238"/>
                    </a:lnTo>
                    <a:lnTo>
                      <a:pt x="48" y="238"/>
                    </a:lnTo>
                    <a:lnTo>
                      <a:pt x="48" y="236"/>
                    </a:lnTo>
                    <a:lnTo>
                      <a:pt x="48" y="236"/>
                    </a:lnTo>
                    <a:lnTo>
                      <a:pt x="48" y="234"/>
                    </a:lnTo>
                    <a:lnTo>
                      <a:pt x="48" y="234"/>
                    </a:lnTo>
                    <a:lnTo>
                      <a:pt x="48" y="232"/>
                    </a:lnTo>
                    <a:lnTo>
                      <a:pt x="48" y="230"/>
                    </a:lnTo>
                    <a:lnTo>
                      <a:pt x="48" y="226"/>
                    </a:lnTo>
                    <a:lnTo>
                      <a:pt x="48" y="224"/>
                    </a:lnTo>
                    <a:lnTo>
                      <a:pt x="46" y="222"/>
                    </a:lnTo>
                    <a:lnTo>
                      <a:pt x="46" y="218"/>
                    </a:lnTo>
                    <a:lnTo>
                      <a:pt x="44" y="212"/>
                    </a:lnTo>
                    <a:lnTo>
                      <a:pt x="44" y="208"/>
                    </a:lnTo>
                    <a:lnTo>
                      <a:pt x="44" y="204"/>
                    </a:lnTo>
                    <a:lnTo>
                      <a:pt x="44" y="202"/>
                    </a:lnTo>
                    <a:lnTo>
                      <a:pt x="44" y="200"/>
                    </a:lnTo>
                    <a:lnTo>
                      <a:pt x="44" y="198"/>
                    </a:lnTo>
                    <a:lnTo>
                      <a:pt x="44" y="198"/>
                    </a:lnTo>
                    <a:lnTo>
                      <a:pt x="44" y="196"/>
                    </a:lnTo>
                    <a:lnTo>
                      <a:pt x="46" y="194"/>
                    </a:lnTo>
                    <a:lnTo>
                      <a:pt x="48" y="192"/>
                    </a:lnTo>
                    <a:lnTo>
                      <a:pt x="48" y="190"/>
                    </a:lnTo>
                    <a:lnTo>
                      <a:pt x="48" y="190"/>
                    </a:lnTo>
                    <a:lnTo>
                      <a:pt x="50" y="188"/>
                    </a:lnTo>
                    <a:lnTo>
                      <a:pt x="50" y="186"/>
                    </a:lnTo>
                    <a:lnTo>
                      <a:pt x="50" y="182"/>
                    </a:lnTo>
                    <a:lnTo>
                      <a:pt x="50" y="180"/>
                    </a:lnTo>
                    <a:lnTo>
                      <a:pt x="50" y="178"/>
                    </a:lnTo>
                    <a:lnTo>
                      <a:pt x="50" y="176"/>
                    </a:lnTo>
                    <a:lnTo>
                      <a:pt x="50" y="176"/>
                    </a:lnTo>
                    <a:lnTo>
                      <a:pt x="52" y="174"/>
                    </a:lnTo>
                    <a:lnTo>
                      <a:pt x="52" y="174"/>
                    </a:lnTo>
                    <a:lnTo>
                      <a:pt x="56" y="172"/>
                    </a:lnTo>
                    <a:lnTo>
                      <a:pt x="58" y="170"/>
                    </a:lnTo>
                    <a:lnTo>
                      <a:pt x="58" y="170"/>
                    </a:lnTo>
                    <a:lnTo>
                      <a:pt x="60" y="168"/>
                    </a:lnTo>
                    <a:lnTo>
                      <a:pt x="60" y="168"/>
                    </a:lnTo>
                    <a:lnTo>
                      <a:pt x="62" y="166"/>
                    </a:lnTo>
                    <a:lnTo>
                      <a:pt x="62" y="164"/>
                    </a:lnTo>
                    <a:lnTo>
                      <a:pt x="64" y="162"/>
                    </a:lnTo>
                    <a:lnTo>
                      <a:pt x="64" y="160"/>
                    </a:lnTo>
                    <a:lnTo>
                      <a:pt x="64" y="158"/>
                    </a:lnTo>
                    <a:lnTo>
                      <a:pt x="64" y="156"/>
                    </a:lnTo>
                    <a:lnTo>
                      <a:pt x="64" y="156"/>
                    </a:lnTo>
                    <a:lnTo>
                      <a:pt x="64" y="154"/>
                    </a:lnTo>
                    <a:lnTo>
                      <a:pt x="64" y="154"/>
                    </a:lnTo>
                    <a:lnTo>
                      <a:pt x="64" y="152"/>
                    </a:lnTo>
                    <a:lnTo>
                      <a:pt x="62" y="152"/>
                    </a:lnTo>
                    <a:lnTo>
                      <a:pt x="60" y="150"/>
                    </a:lnTo>
                    <a:lnTo>
                      <a:pt x="60" y="148"/>
                    </a:lnTo>
                    <a:lnTo>
                      <a:pt x="58" y="148"/>
                    </a:lnTo>
                    <a:lnTo>
                      <a:pt x="58" y="146"/>
                    </a:lnTo>
                    <a:lnTo>
                      <a:pt x="58" y="146"/>
                    </a:lnTo>
                    <a:lnTo>
                      <a:pt x="58" y="144"/>
                    </a:lnTo>
                    <a:lnTo>
                      <a:pt x="58" y="144"/>
                    </a:lnTo>
                    <a:lnTo>
                      <a:pt x="58" y="144"/>
                    </a:lnTo>
                    <a:lnTo>
                      <a:pt x="58" y="142"/>
                    </a:lnTo>
                    <a:lnTo>
                      <a:pt x="60" y="140"/>
                    </a:lnTo>
                    <a:lnTo>
                      <a:pt x="60" y="140"/>
                    </a:lnTo>
                    <a:lnTo>
                      <a:pt x="64" y="136"/>
                    </a:lnTo>
                    <a:lnTo>
                      <a:pt x="64" y="136"/>
                    </a:lnTo>
                    <a:lnTo>
                      <a:pt x="66" y="134"/>
                    </a:lnTo>
                    <a:lnTo>
                      <a:pt x="66" y="134"/>
                    </a:lnTo>
                    <a:lnTo>
                      <a:pt x="66" y="132"/>
                    </a:lnTo>
                    <a:lnTo>
                      <a:pt x="66" y="132"/>
                    </a:lnTo>
                    <a:lnTo>
                      <a:pt x="66" y="130"/>
                    </a:lnTo>
                    <a:lnTo>
                      <a:pt x="66" y="126"/>
                    </a:lnTo>
                    <a:lnTo>
                      <a:pt x="66" y="124"/>
                    </a:lnTo>
                    <a:lnTo>
                      <a:pt x="66" y="122"/>
                    </a:lnTo>
                    <a:lnTo>
                      <a:pt x="66" y="120"/>
                    </a:lnTo>
                    <a:lnTo>
                      <a:pt x="66" y="118"/>
                    </a:lnTo>
                    <a:lnTo>
                      <a:pt x="66" y="116"/>
                    </a:lnTo>
                    <a:lnTo>
                      <a:pt x="66" y="116"/>
                    </a:lnTo>
                    <a:lnTo>
                      <a:pt x="66" y="114"/>
                    </a:lnTo>
                    <a:lnTo>
                      <a:pt x="66" y="114"/>
                    </a:lnTo>
                    <a:lnTo>
                      <a:pt x="66" y="114"/>
                    </a:lnTo>
                    <a:lnTo>
                      <a:pt x="68" y="114"/>
                    </a:lnTo>
                    <a:lnTo>
                      <a:pt x="70" y="114"/>
                    </a:lnTo>
                    <a:lnTo>
                      <a:pt x="70" y="114"/>
                    </a:lnTo>
                    <a:lnTo>
                      <a:pt x="72" y="114"/>
                    </a:lnTo>
                    <a:lnTo>
                      <a:pt x="74" y="112"/>
                    </a:lnTo>
                    <a:lnTo>
                      <a:pt x="74" y="112"/>
                    </a:lnTo>
                    <a:lnTo>
                      <a:pt x="76" y="112"/>
                    </a:lnTo>
                    <a:lnTo>
                      <a:pt x="76" y="112"/>
                    </a:lnTo>
                    <a:lnTo>
                      <a:pt x="76" y="112"/>
                    </a:lnTo>
                    <a:lnTo>
                      <a:pt x="76" y="110"/>
                    </a:lnTo>
                    <a:lnTo>
                      <a:pt x="76" y="108"/>
                    </a:lnTo>
                    <a:lnTo>
                      <a:pt x="78" y="108"/>
                    </a:lnTo>
                    <a:lnTo>
                      <a:pt x="78" y="104"/>
                    </a:lnTo>
                    <a:lnTo>
                      <a:pt x="78" y="102"/>
                    </a:lnTo>
                    <a:lnTo>
                      <a:pt x="78" y="98"/>
                    </a:lnTo>
                    <a:lnTo>
                      <a:pt x="78" y="96"/>
                    </a:lnTo>
                    <a:lnTo>
                      <a:pt x="76" y="94"/>
                    </a:lnTo>
                    <a:lnTo>
                      <a:pt x="72" y="90"/>
                    </a:lnTo>
                    <a:lnTo>
                      <a:pt x="70" y="88"/>
                    </a:lnTo>
                    <a:lnTo>
                      <a:pt x="68" y="88"/>
                    </a:lnTo>
                    <a:lnTo>
                      <a:pt x="66" y="86"/>
                    </a:lnTo>
                    <a:lnTo>
                      <a:pt x="66" y="84"/>
                    </a:lnTo>
                    <a:lnTo>
                      <a:pt x="64" y="82"/>
                    </a:lnTo>
                    <a:lnTo>
                      <a:pt x="62" y="80"/>
                    </a:lnTo>
                    <a:lnTo>
                      <a:pt x="60" y="78"/>
                    </a:lnTo>
                    <a:lnTo>
                      <a:pt x="58" y="74"/>
                    </a:lnTo>
                    <a:lnTo>
                      <a:pt x="58" y="72"/>
                    </a:lnTo>
                    <a:lnTo>
                      <a:pt x="56" y="68"/>
                    </a:lnTo>
                    <a:lnTo>
                      <a:pt x="56" y="66"/>
                    </a:lnTo>
                    <a:lnTo>
                      <a:pt x="56" y="66"/>
                    </a:lnTo>
                    <a:lnTo>
                      <a:pt x="54" y="64"/>
                    </a:lnTo>
                    <a:lnTo>
                      <a:pt x="54" y="62"/>
                    </a:lnTo>
                    <a:lnTo>
                      <a:pt x="54" y="60"/>
                    </a:lnTo>
                    <a:lnTo>
                      <a:pt x="56" y="56"/>
                    </a:lnTo>
                    <a:lnTo>
                      <a:pt x="56" y="50"/>
                    </a:lnTo>
                    <a:lnTo>
                      <a:pt x="56" y="46"/>
                    </a:lnTo>
                    <a:lnTo>
                      <a:pt x="56" y="42"/>
                    </a:lnTo>
                    <a:lnTo>
                      <a:pt x="56" y="40"/>
                    </a:lnTo>
                    <a:lnTo>
                      <a:pt x="56" y="38"/>
                    </a:lnTo>
                    <a:lnTo>
                      <a:pt x="56" y="36"/>
                    </a:lnTo>
                    <a:lnTo>
                      <a:pt x="56" y="36"/>
                    </a:lnTo>
                    <a:lnTo>
                      <a:pt x="54" y="34"/>
                    </a:lnTo>
                    <a:lnTo>
                      <a:pt x="54" y="34"/>
                    </a:lnTo>
                    <a:lnTo>
                      <a:pt x="52" y="32"/>
                    </a:lnTo>
                    <a:lnTo>
                      <a:pt x="50" y="30"/>
                    </a:lnTo>
                    <a:lnTo>
                      <a:pt x="48" y="28"/>
                    </a:lnTo>
                    <a:lnTo>
                      <a:pt x="46" y="28"/>
                    </a:lnTo>
                    <a:lnTo>
                      <a:pt x="44" y="26"/>
                    </a:lnTo>
                    <a:lnTo>
                      <a:pt x="42" y="24"/>
                    </a:lnTo>
                    <a:lnTo>
                      <a:pt x="42" y="24"/>
                    </a:lnTo>
                    <a:lnTo>
                      <a:pt x="42" y="22"/>
                    </a:lnTo>
                    <a:lnTo>
                      <a:pt x="42" y="22"/>
                    </a:lnTo>
                    <a:lnTo>
                      <a:pt x="40" y="22"/>
                    </a:lnTo>
                    <a:lnTo>
                      <a:pt x="40" y="20"/>
                    </a:lnTo>
                    <a:lnTo>
                      <a:pt x="40" y="18"/>
                    </a:lnTo>
                    <a:lnTo>
                      <a:pt x="40" y="16"/>
                    </a:lnTo>
                    <a:lnTo>
                      <a:pt x="40" y="12"/>
                    </a:lnTo>
                    <a:lnTo>
                      <a:pt x="40" y="10"/>
                    </a:lnTo>
                    <a:lnTo>
                      <a:pt x="40" y="10"/>
                    </a:lnTo>
                    <a:lnTo>
                      <a:pt x="40" y="8"/>
                    </a:lnTo>
                    <a:lnTo>
                      <a:pt x="40" y="8"/>
                    </a:lnTo>
                    <a:lnTo>
                      <a:pt x="40" y="6"/>
                    </a:lnTo>
                    <a:lnTo>
                      <a:pt x="38" y="6"/>
                    </a:lnTo>
                    <a:lnTo>
                      <a:pt x="36" y="2"/>
                    </a:lnTo>
                    <a:lnTo>
                      <a:pt x="34" y="0"/>
                    </a:lnTo>
                    <a:lnTo>
                      <a:pt x="32" y="0"/>
                    </a:lnTo>
                    <a:lnTo>
                      <a:pt x="22" y="10"/>
                    </a:lnTo>
                    <a:lnTo>
                      <a:pt x="22" y="12"/>
                    </a:lnTo>
                    <a:lnTo>
                      <a:pt x="22" y="18"/>
                    </a:lnTo>
                    <a:lnTo>
                      <a:pt x="24" y="26"/>
                    </a:lnTo>
                    <a:lnTo>
                      <a:pt x="24" y="28"/>
                    </a:lnTo>
                    <a:lnTo>
                      <a:pt x="26" y="32"/>
                    </a:lnTo>
                    <a:lnTo>
                      <a:pt x="26" y="32"/>
                    </a:lnTo>
                    <a:lnTo>
                      <a:pt x="26" y="34"/>
                    </a:lnTo>
                    <a:lnTo>
                      <a:pt x="28" y="36"/>
                    </a:lnTo>
                    <a:lnTo>
                      <a:pt x="28" y="38"/>
                    </a:lnTo>
                    <a:lnTo>
                      <a:pt x="28" y="38"/>
                    </a:lnTo>
                    <a:lnTo>
                      <a:pt x="28" y="38"/>
                    </a:lnTo>
                    <a:lnTo>
                      <a:pt x="30" y="42"/>
                    </a:lnTo>
                    <a:lnTo>
                      <a:pt x="30" y="44"/>
                    </a:lnTo>
                    <a:lnTo>
                      <a:pt x="32" y="52"/>
                    </a:lnTo>
                    <a:lnTo>
                      <a:pt x="32" y="60"/>
                    </a:lnTo>
                    <a:lnTo>
                      <a:pt x="32" y="68"/>
                    </a:lnTo>
                    <a:lnTo>
                      <a:pt x="32" y="72"/>
                    </a:lnTo>
                    <a:lnTo>
                      <a:pt x="32" y="76"/>
                    </a:lnTo>
                    <a:lnTo>
                      <a:pt x="32" y="80"/>
                    </a:lnTo>
                    <a:lnTo>
                      <a:pt x="32" y="84"/>
                    </a:lnTo>
                    <a:lnTo>
                      <a:pt x="32" y="88"/>
                    </a:lnTo>
                    <a:lnTo>
                      <a:pt x="32" y="92"/>
                    </a:lnTo>
                    <a:lnTo>
                      <a:pt x="30" y="94"/>
                    </a:lnTo>
                    <a:lnTo>
                      <a:pt x="30" y="96"/>
                    </a:lnTo>
                    <a:lnTo>
                      <a:pt x="30" y="98"/>
                    </a:lnTo>
                    <a:lnTo>
                      <a:pt x="28" y="98"/>
                    </a:lnTo>
                    <a:lnTo>
                      <a:pt x="26" y="100"/>
                    </a:lnTo>
                    <a:lnTo>
                      <a:pt x="26" y="102"/>
                    </a:lnTo>
                    <a:lnTo>
                      <a:pt x="24" y="104"/>
                    </a:lnTo>
                    <a:lnTo>
                      <a:pt x="24" y="104"/>
                    </a:lnTo>
                    <a:lnTo>
                      <a:pt x="24" y="106"/>
                    </a:lnTo>
                    <a:lnTo>
                      <a:pt x="24" y="108"/>
                    </a:lnTo>
                    <a:lnTo>
                      <a:pt x="24" y="110"/>
                    </a:lnTo>
                    <a:lnTo>
                      <a:pt x="24" y="110"/>
                    </a:lnTo>
                    <a:lnTo>
                      <a:pt x="24" y="112"/>
                    </a:lnTo>
                    <a:lnTo>
                      <a:pt x="24" y="112"/>
                    </a:lnTo>
                    <a:lnTo>
                      <a:pt x="24" y="112"/>
                    </a:lnTo>
                    <a:lnTo>
                      <a:pt x="24" y="112"/>
                    </a:lnTo>
                    <a:lnTo>
                      <a:pt x="26" y="112"/>
                    </a:lnTo>
                    <a:lnTo>
                      <a:pt x="28" y="112"/>
                    </a:lnTo>
                    <a:lnTo>
                      <a:pt x="28" y="112"/>
                    </a:lnTo>
                    <a:lnTo>
                      <a:pt x="28" y="112"/>
                    </a:lnTo>
                    <a:lnTo>
                      <a:pt x="30" y="114"/>
                    </a:lnTo>
                    <a:lnTo>
                      <a:pt x="30" y="114"/>
                    </a:lnTo>
                    <a:lnTo>
                      <a:pt x="32" y="116"/>
                    </a:lnTo>
                    <a:lnTo>
                      <a:pt x="32" y="120"/>
                    </a:lnTo>
                    <a:lnTo>
                      <a:pt x="32" y="122"/>
                    </a:lnTo>
                    <a:lnTo>
                      <a:pt x="34" y="124"/>
                    </a:lnTo>
                    <a:lnTo>
                      <a:pt x="34" y="126"/>
                    </a:lnTo>
                    <a:lnTo>
                      <a:pt x="34" y="130"/>
                    </a:lnTo>
                    <a:lnTo>
                      <a:pt x="34" y="132"/>
                    </a:lnTo>
                    <a:lnTo>
                      <a:pt x="34" y="134"/>
                    </a:lnTo>
                    <a:lnTo>
                      <a:pt x="32" y="138"/>
                    </a:lnTo>
                    <a:lnTo>
                      <a:pt x="32" y="140"/>
                    </a:lnTo>
                    <a:lnTo>
                      <a:pt x="32" y="142"/>
                    </a:lnTo>
                    <a:lnTo>
                      <a:pt x="30" y="144"/>
                    </a:lnTo>
                    <a:lnTo>
                      <a:pt x="30" y="146"/>
                    </a:lnTo>
                    <a:lnTo>
                      <a:pt x="28" y="148"/>
                    </a:lnTo>
                    <a:lnTo>
                      <a:pt x="28" y="148"/>
                    </a:lnTo>
                    <a:lnTo>
                      <a:pt x="28" y="148"/>
                    </a:lnTo>
                    <a:lnTo>
                      <a:pt x="26" y="148"/>
                    </a:lnTo>
                    <a:lnTo>
                      <a:pt x="26" y="146"/>
                    </a:lnTo>
                    <a:lnTo>
                      <a:pt x="26" y="146"/>
                    </a:lnTo>
                    <a:lnTo>
                      <a:pt x="26" y="148"/>
                    </a:lnTo>
                    <a:lnTo>
                      <a:pt x="24" y="148"/>
                    </a:lnTo>
                    <a:lnTo>
                      <a:pt x="24" y="148"/>
                    </a:lnTo>
                    <a:lnTo>
                      <a:pt x="24" y="150"/>
                    </a:lnTo>
                    <a:lnTo>
                      <a:pt x="24" y="150"/>
                    </a:lnTo>
                    <a:lnTo>
                      <a:pt x="22" y="152"/>
                    </a:lnTo>
                    <a:lnTo>
                      <a:pt x="22" y="152"/>
                    </a:lnTo>
                    <a:lnTo>
                      <a:pt x="22" y="156"/>
                    </a:lnTo>
                    <a:lnTo>
                      <a:pt x="22" y="158"/>
                    </a:lnTo>
                    <a:lnTo>
                      <a:pt x="24" y="162"/>
                    </a:lnTo>
                    <a:lnTo>
                      <a:pt x="24" y="168"/>
                    </a:lnTo>
                    <a:lnTo>
                      <a:pt x="26" y="174"/>
                    </a:lnTo>
                    <a:lnTo>
                      <a:pt x="26" y="176"/>
                    </a:lnTo>
                    <a:lnTo>
                      <a:pt x="26" y="180"/>
                    </a:lnTo>
                    <a:lnTo>
                      <a:pt x="26" y="182"/>
                    </a:lnTo>
                    <a:lnTo>
                      <a:pt x="26" y="182"/>
                    </a:lnTo>
                    <a:lnTo>
                      <a:pt x="26" y="184"/>
                    </a:lnTo>
                    <a:lnTo>
                      <a:pt x="26" y="184"/>
                    </a:lnTo>
                    <a:lnTo>
                      <a:pt x="24" y="186"/>
                    </a:lnTo>
                    <a:lnTo>
                      <a:pt x="24" y="186"/>
                    </a:lnTo>
                    <a:lnTo>
                      <a:pt x="24" y="188"/>
                    </a:lnTo>
                    <a:lnTo>
                      <a:pt x="24" y="188"/>
                    </a:lnTo>
                    <a:lnTo>
                      <a:pt x="22" y="188"/>
                    </a:lnTo>
                    <a:lnTo>
                      <a:pt x="22" y="188"/>
                    </a:lnTo>
                    <a:lnTo>
                      <a:pt x="20" y="188"/>
                    </a:lnTo>
                    <a:lnTo>
                      <a:pt x="18" y="188"/>
                    </a:lnTo>
                    <a:lnTo>
                      <a:pt x="16" y="186"/>
                    </a:lnTo>
                    <a:lnTo>
                      <a:pt x="16" y="186"/>
                    </a:lnTo>
                    <a:lnTo>
                      <a:pt x="14" y="186"/>
                    </a:lnTo>
                    <a:lnTo>
                      <a:pt x="14" y="186"/>
                    </a:lnTo>
                    <a:lnTo>
                      <a:pt x="14" y="186"/>
                    </a:lnTo>
                    <a:lnTo>
                      <a:pt x="14" y="188"/>
                    </a:lnTo>
                    <a:lnTo>
                      <a:pt x="14" y="188"/>
                    </a:lnTo>
                    <a:lnTo>
                      <a:pt x="14" y="188"/>
                    </a:lnTo>
                    <a:lnTo>
                      <a:pt x="14" y="188"/>
                    </a:lnTo>
                    <a:lnTo>
                      <a:pt x="14" y="190"/>
                    </a:lnTo>
                    <a:lnTo>
                      <a:pt x="14" y="190"/>
                    </a:lnTo>
                    <a:lnTo>
                      <a:pt x="16" y="192"/>
                    </a:lnTo>
                    <a:lnTo>
                      <a:pt x="18" y="194"/>
                    </a:lnTo>
                    <a:lnTo>
                      <a:pt x="18" y="196"/>
                    </a:lnTo>
                    <a:lnTo>
                      <a:pt x="18" y="196"/>
                    </a:lnTo>
                    <a:lnTo>
                      <a:pt x="18" y="198"/>
                    </a:lnTo>
                    <a:lnTo>
                      <a:pt x="18" y="198"/>
                    </a:lnTo>
                    <a:lnTo>
                      <a:pt x="18" y="200"/>
                    </a:lnTo>
                    <a:lnTo>
                      <a:pt x="18" y="202"/>
                    </a:lnTo>
                    <a:lnTo>
                      <a:pt x="18" y="204"/>
                    </a:lnTo>
                    <a:lnTo>
                      <a:pt x="18" y="206"/>
                    </a:lnTo>
                    <a:lnTo>
                      <a:pt x="16" y="212"/>
                    </a:lnTo>
                    <a:lnTo>
                      <a:pt x="16" y="214"/>
                    </a:lnTo>
                    <a:lnTo>
                      <a:pt x="14" y="216"/>
                    </a:lnTo>
                    <a:lnTo>
                      <a:pt x="14" y="222"/>
                    </a:lnTo>
                    <a:lnTo>
                      <a:pt x="12" y="228"/>
                    </a:lnTo>
                    <a:lnTo>
                      <a:pt x="12" y="234"/>
                    </a:lnTo>
                    <a:lnTo>
                      <a:pt x="10" y="242"/>
                    </a:lnTo>
                    <a:lnTo>
                      <a:pt x="10" y="246"/>
                    </a:lnTo>
                    <a:lnTo>
                      <a:pt x="10" y="250"/>
                    </a:lnTo>
                    <a:lnTo>
                      <a:pt x="8" y="252"/>
                    </a:lnTo>
                    <a:lnTo>
                      <a:pt x="8" y="256"/>
                    </a:lnTo>
                    <a:lnTo>
                      <a:pt x="10" y="258"/>
                    </a:lnTo>
                    <a:lnTo>
                      <a:pt x="10" y="262"/>
                    </a:lnTo>
                    <a:lnTo>
                      <a:pt x="10" y="264"/>
                    </a:lnTo>
                    <a:lnTo>
                      <a:pt x="10" y="266"/>
                    </a:lnTo>
                    <a:lnTo>
                      <a:pt x="12" y="266"/>
                    </a:lnTo>
                    <a:lnTo>
                      <a:pt x="12" y="266"/>
                    </a:lnTo>
                    <a:lnTo>
                      <a:pt x="12" y="268"/>
                    </a:lnTo>
                    <a:lnTo>
                      <a:pt x="14" y="268"/>
                    </a:lnTo>
                    <a:lnTo>
                      <a:pt x="16" y="268"/>
                    </a:lnTo>
                    <a:lnTo>
                      <a:pt x="16" y="268"/>
                    </a:lnTo>
                    <a:lnTo>
                      <a:pt x="16" y="268"/>
                    </a:lnTo>
                    <a:lnTo>
                      <a:pt x="16" y="270"/>
                    </a:lnTo>
                    <a:lnTo>
                      <a:pt x="18" y="272"/>
                    </a:lnTo>
                    <a:lnTo>
                      <a:pt x="18" y="274"/>
                    </a:lnTo>
                    <a:lnTo>
                      <a:pt x="18" y="274"/>
                    </a:lnTo>
                    <a:lnTo>
                      <a:pt x="18" y="278"/>
                    </a:lnTo>
                    <a:lnTo>
                      <a:pt x="20" y="282"/>
                    </a:lnTo>
                    <a:lnTo>
                      <a:pt x="20" y="286"/>
                    </a:lnTo>
                    <a:lnTo>
                      <a:pt x="18" y="290"/>
                    </a:lnTo>
                    <a:lnTo>
                      <a:pt x="18" y="296"/>
                    </a:lnTo>
                    <a:lnTo>
                      <a:pt x="18" y="300"/>
                    </a:lnTo>
                    <a:lnTo>
                      <a:pt x="16" y="304"/>
                    </a:lnTo>
                    <a:lnTo>
                      <a:pt x="16" y="308"/>
                    </a:lnTo>
                    <a:lnTo>
                      <a:pt x="14" y="318"/>
                    </a:lnTo>
                    <a:lnTo>
                      <a:pt x="12" y="326"/>
                    </a:lnTo>
                    <a:lnTo>
                      <a:pt x="10" y="332"/>
                    </a:lnTo>
                    <a:lnTo>
                      <a:pt x="10" y="332"/>
                    </a:lnTo>
                    <a:lnTo>
                      <a:pt x="8" y="334"/>
                    </a:lnTo>
                    <a:lnTo>
                      <a:pt x="8" y="338"/>
                    </a:lnTo>
                    <a:lnTo>
                      <a:pt x="4" y="342"/>
                    </a:lnTo>
                    <a:lnTo>
                      <a:pt x="4" y="344"/>
                    </a:lnTo>
                    <a:lnTo>
                      <a:pt x="2" y="346"/>
                    </a:lnTo>
                    <a:lnTo>
                      <a:pt x="2" y="346"/>
                    </a:lnTo>
                    <a:lnTo>
                      <a:pt x="2" y="348"/>
                    </a:lnTo>
                    <a:lnTo>
                      <a:pt x="2" y="348"/>
                    </a:lnTo>
                    <a:lnTo>
                      <a:pt x="0" y="350"/>
                    </a:lnTo>
                    <a:lnTo>
                      <a:pt x="0" y="352"/>
                    </a:lnTo>
                    <a:lnTo>
                      <a:pt x="0" y="356"/>
                    </a:lnTo>
                    <a:lnTo>
                      <a:pt x="0" y="358"/>
                    </a:lnTo>
                    <a:lnTo>
                      <a:pt x="0" y="362"/>
                    </a:lnTo>
                    <a:lnTo>
                      <a:pt x="0" y="368"/>
                    </a:lnTo>
                    <a:lnTo>
                      <a:pt x="2" y="374"/>
                    </a:lnTo>
                    <a:lnTo>
                      <a:pt x="2" y="380"/>
                    </a:lnTo>
                    <a:lnTo>
                      <a:pt x="6" y="394"/>
                    </a:lnTo>
                    <a:lnTo>
                      <a:pt x="8" y="406"/>
                    </a:lnTo>
                    <a:lnTo>
                      <a:pt x="8" y="412"/>
                    </a:lnTo>
                    <a:lnTo>
                      <a:pt x="10" y="418"/>
                    </a:lnTo>
                    <a:lnTo>
                      <a:pt x="10" y="424"/>
                    </a:lnTo>
                    <a:lnTo>
                      <a:pt x="12" y="430"/>
                    </a:lnTo>
                    <a:lnTo>
                      <a:pt x="12" y="434"/>
                    </a:lnTo>
                    <a:lnTo>
                      <a:pt x="12" y="436"/>
                    </a:lnTo>
                    <a:lnTo>
                      <a:pt x="12" y="438"/>
                    </a:lnTo>
                    <a:lnTo>
                      <a:pt x="10" y="440"/>
                    </a:lnTo>
                    <a:lnTo>
                      <a:pt x="10" y="440"/>
                    </a:lnTo>
                    <a:lnTo>
                      <a:pt x="10" y="442"/>
                    </a:lnTo>
                    <a:lnTo>
                      <a:pt x="8" y="446"/>
                    </a:lnTo>
                    <a:lnTo>
                      <a:pt x="6" y="448"/>
                    </a:lnTo>
                    <a:lnTo>
                      <a:pt x="6" y="450"/>
                    </a:lnTo>
                    <a:lnTo>
                      <a:pt x="6" y="452"/>
                    </a:lnTo>
                    <a:lnTo>
                      <a:pt x="6" y="452"/>
                    </a:lnTo>
                    <a:lnTo>
                      <a:pt x="6" y="454"/>
                    </a:lnTo>
                    <a:lnTo>
                      <a:pt x="6" y="454"/>
                    </a:lnTo>
                    <a:lnTo>
                      <a:pt x="6" y="454"/>
                    </a:lnTo>
                    <a:lnTo>
                      <a:pt x="6" y="454"/>
                    </a:lnTo>
                    <a:lnTo>
                      <a:pt x="8" y="454"/>
                    </a:lnTo>
                    <a:lnTo>
                      <a:pt x="8" y="454"/>
                    </a:lnTo>
                    <a:lnTo>
                      <a:pt x="10" y="454"/>
                    </a:lnTo>
                    <a:lnTo>
                      <a:pt x="10" y="454"/>
                    </a:lnTo>
                    <a:lnTo>
                      <a:pt x="14" y="452"/>
                    </a:lnTo>
                    <a:lnTo>
                      <a:pt x="16" y="452"/>
                    </a:lnTo>
                    <a:lnTo>
                      <a:pt x="16" y="452"/>
                    </a:lnTo>
                    <a:lnTo>
                      <a:pt x="16" y="452"/>
                    </a:lnTo>
                    <a:lnTo>
                      <a:pt x="16" y="452"/>
                    </a:lnTo>
                    <a:lnTo>
                      <a:pt x="18" y="454"/>
                    </a:lnTo>
                    <a:lnTo>
                      <a:pt x="18" y="454"/>
                    </a:lnTo>
                    <a:lnTo>
                      <a:pt x="20" y="456"/>
                    </a:lnTo>
                    <a:lnTo>
                      <a:pt x="20" y="456"/>
                    </a:lnTo>
                    <a:lnTo>
                      <a:pt x="20" y="458"/>
                    </a:lnTo>
                    <a:lnTo>
                      <a:pt x="22" y="460"/>
                    </a:lnTo>
                    <a:lnTo>
                      <a:pt x="22" y="464"/>
                    </a:lnTo>
                    <a:lnTo>
                      <a:pt x="22" y="466"/>
                    </a:lnTo>
                    <a:lnTo>
                      <a:pt x="22" y="470"/>
                    </a:lnTo>
                    <a:lnTo>
                      <a:pt x="22" y="472"/>
                    </a:lnTo>
                    <a:lnTo>
                      <a:pt x="24" y="478"/>
                    </a:lnTo>
                    <a:lnTo>
                      <a:pt x="24" y="486"/>
                    </a:lnTo>
                    <a:lnTo>
                      <a:pt x="22" y="492"/>
                    </a:lnTo>
                    <a:lnTo>
                      <a:pt x="22" y="496"/>
                    </a:lnTo>
                    <a:lnTo>
                      <a:pt x="22" y="502"/>
                    </a:lnTo>
                    <a:lnTo>
                      <a:pt x="20" y="504"/>
                    </a:lnTo>
                    <a:lnTo>
                      <a:pt x="20" y="504"/>
                    </a:lnTo>
                    <a:lnTo>
                      <a:pt x="18" y="508"/>
                    </a:lnTo>
                    <a:lnTo>
                      <a:pt x="16" y="512"/>
                    </a:lnTo>
                    <a:lnTo>
                      <a:pt x="16" y="514"/>
                    </a:lnTo>
                    <a:lnTo>
                      <a:pt x="14" y="516"/>
                    </a:lnTo>
                    <a:lnTo>
                      <a:pt x="14" y="520"/>
                    </a:lnTo>
                    <a:lnTo>
                      <a:pt x="14" y="524"/>
                    </a:lnTo>
                    <a:lnTo>
                      <a:pt x="12" y="528"/>
                    </a:lnTo>
                    <a:lnTo>
                      <a:pt x="12" y="530"/>
                    </a:lnTo>
                    <a:lnTo>
                      <a:pt x="12" y="534"/>
                    </a:lnTo>
                    <a:lnTo>
                      <a:pt x="12" y="534"/>
                    </a:lnTo>
                    <a:lnTo>
                      <a:pt x="12" y="536"/>
                    </a:lnTo>
                    <a:lnTo>
                      <a:pt x="14" y="538"/>
                    </a:lnTo>
                    <a:lnTo>
                      <a:pt x="14" y="538"/>
                    </a:lnTo>
                    <a:lnTo>
                      <a:pt x="14" y="538"/>
                    </a:lnTo>
                    <a:lnTo>
                      <a:pt x="14" y="538"/>
                    </a:lnTo>
                    <a:lnTo>
                      <a:pt x="16" y="540"/>
                    </a:lnTo>
                    <a:lnTo>
                      <a:pt x="18" y="540"/>
                    </a:lnTo>
                    <a:lnTo>
                      <a:pt x="18" y="540"/>
                    </a:lnTo>
                    <a:lnTo>
                      <a:pt x="20" y="540"/>
                    </a:lnTo>
                    <a:lnTo>
                      <a:pt x="22" y="542"/>
                    </a:lnTo>
                    <a:lnTo>
                      <a:pt x="24" y="542"/>
                    </a:lnTo>
                    <a:lnTo>
                      <a:pt x="24" y="542"/>
                    </a:lnTo>
                    <a:lnTo>
                      <a:pt x="24" y="544"/>
                    </a:lnTo>
                    <a:lnTo>
                      <a:pt x="24" y="544"/>
                    </a:lnTo>
                    <a:lnTo>
                      <a:pt x="24" y="546"/>
                    </a:lnTo>
                    <a:lnTo>
                      <a:pt x="24" y="548"/>
                    </a:lnTo>
                    <a:lnTo>
                      <a:pt x="24" y="550"/>
                    </a:lnTo>
                    <a:lnTo>
                      <a:pt x="22" y="550"/>
                    </a:lnTo>
                    <a:lnTo>
                      <a:pt x="22" y="552"/>
                    </a:lnTo>
                    <a:lnTo>
                      <a:pt x="20" y="556"/>
                    </a:lnTo>
                    <a:lnTo>
                      <a:pt x="18" y="560"/>
                    </a:lnTo>
                    <a:lnTo>
                      <a:pt x="16" y="564"/>
                    </a:lnTo>
                    <a:lnTo>
                      <a:pt x="14" y="566"/>
                    </a:lnTo>
                    <a:lnTo>
                      <a:pt x="14" y="566"/>
                    </a:lnTo>
                    <a:lnTo>
                      <a:pt x="14" y="568"/>
                    </a:lnTo>
                    <a:lnTo>
                      <a:pt x="14" y="570"/>
                    </a:lnTo>
                    <a:lnTo>
                      <a:pt x="14" y="572"/>
                    </a:lnTo>
                    <a:lnTo>
                      <a:pt x="14" y="572"/>
                    </a:lnTo>
                    <a:lnTo>
                      <a:pt x="14" y="576"/>
                    </a:lnTo>
                    <a:lnTo>
                      <a:pt x="16" y="580"/>
                    </a:lnTo>
                    <a:lnTo>
                      <a:pt x="16" y="582"/>
                    </a:lnTo>
                    <a:lnTo>
                      <a:pt x="18" y="586"/>
                    </a:lnTo>
                    <a:lnTo>
                      <a:pt x="18" y="590"/>
                    </a:lnTo>
                    <a:lnTo>
                      <a:pt x="22" y="596"/>
                    </a:lnTo>
                    <a:lnTo>
                      <a:pt x="22" y="598"/>
                    </a:lnTo>
                    <a:lnTo>
                      <a:pt x="24" y="602"/>
                    </a:lnTo>
                    <a:lnTo>
                      <a:pt x="26" y="604"/>
                    </a:lnTo>
                    <a:lnTo>
                      <a:pt x="26" y="606"/>
                    </a:lnTo>
                    <a:lnTo>
                      <a:pt x="28" y="608"/>
                    </a:lnTo>
                    <a:lnTo>
                      <a:pt x="28" y="608"/>
                    </a:lnTo>
                    <a:lnTo>
                      <a:pt x="30" y="610"/>
                    </a:lnTo>
                    <a:lnTo>
                      <a:pt x="32" y="610"/>
                    </a:lnTo>
                    <a:lnTo>
                      <a:pt x="34" y="610"/>
                    </a:lnTo>
                    <a:lnTo>
                      <a:pt x="36" y="612"/>
                    </a:lnTo>
                    <a:lnTo>
                      <a:pt x="36" y="612"/>
                    </a:lnTo>
                    <a:lnTo>
                      <a:pt x="38" y="612"/>
                    </a:lnTo>
                    <a:lnTo>
                      <a:pt x="38" y="614"/>
                    </a:lnTo>
                    <a:lnTo>
                      <a:pt x="40" y="614"/>
                    </a:lnTo>
                    <a:lnTo>
                      <a:pt x="40" y="614"/>
                    </a:lnTo>
                    <a:lnTo>
                      <a:pt x="40" y="616"/>
                    </a:lnTo>
                    <a:lnTo>
                      <a:pt x="40" y="618"/>
                    </a:lnTo>
                    <a:lnTo>
                      <a:pt x="40" y="620"/>
                    </a:lnTo>
                    <a:lnTo>
                      <a:pt x="40" y="626"/>
                    </a:lnTo>
                    <a:lnTo>
                      <a:pt x="42" y="626"/>
                    </a:lnTo>
                    <a:lnTo>
                      <a:pt x="42" y="628"/>
                    </a:lnTo>
                    <a:lnTo>
                      <a:pt x="42" y="630"/>
                    </a:lnTo>
                    <a:lnTo>
                      <a:pt x="44" y="632"/>
                    </a:lnTo>
                    <a:lnTo>
                      <a:pt x="46" y="634"/>
                    </a:lnTo>
                    <a:lnTo>
                      <a:pt x="46" y="636"/>
                    </a:lnTo>
                    <a:lnTo>
                      <a:pt x="48" y="636"/>
                    </a:lnTo>
                    <a:lnTo>
                      <a:pt x="48" y="638"/>
                    </a:lnTo>
                    <a:lnTo>
                      <a:pt x="52" y="638"/>
                    </a:lnTo>
                    <a:lnTo>
                      <a:pt x="54" y="640"/>
                    </a:lnTo>
                    <a:lnTo>
                      <a:pt x="56" y="640"/>
                    </a:lnTo>
                    <a:lnTo>
                      <a:pt x="56" y="642"/>
                    </a:lnTo>
                    <a:lnTo>
                      <a:pt x="58" y="642"/>
                    </a:lnTo>
                    <a:lnTo>
                      <a:pt x="58" y="644"/>
                    </a:lnTo>
                    <a:lnTo>
                      <a:pt x="60" y="646"/>
                    </a:lnTo>
                    <a:lnTo>
                      <a:pt x="60" y="648"/>
                    </a:lnTo>
                    <a:lnTo>
                      <a:pt x="60" y="650"/>
                    </a:lnTo>
                    <a:lnTo>
                      <a:pt x="62" y="650"/>
                    </a:lnTo>
                    <a:lnTo>
                      <a:pt x="62" y="652"/>
                    </a:lnTo>
                    <a:lnTo>
                      <a:pt x="64" y="652"/>
                    </a:lnTo>
                    <a:lnTo>
                      <a:pt x="68" y="654"/>
                    </a:lnTo>
                    <a:lnTo>
                      <a:pt x="72" y="656"/>
                    </a:lnTo>
                    <a:lnTo>
                      <a:pt x="74" y="658"/>
                    </a:lnTo>
                    <a:lnTo>
                      <a:pt x="78" y="662"/>
                    </a:lnTo>
                    <a:lnTo>
                      <a:pt x="82" y="664"/>
                    </a:lnTo>
                    <a:lnTo>
                      <a:pt x="82" y="666"/>
                    </a:lnTo>
                    <a:lnTo>
                      <a:pt x="84" y="666"/>
                    </a:lnTo>
                    <a:lnTo>
                      <a:pt x="84" y="668"/>
                    </a:lnTo>
                    <a:lnTo>
                      <a:pt x="84" y="670"/>
                    </a:lnTo>
                    <a:lnTo>
                      <a:pt x="86" y="672"/>
                    </a:lnTo>
                    <a:lnTo>
                      <a:pt x="86" y="674"/>
                    </a:lnTo>
                    <a:lnTo>
                      <a:pt x="88" y="676"/>
                    </a:lnTo>
                    <a:lnTo>
                      <a:pt x="88" y="676"/>
                    </a:lnTo>
                    <a:lnTo>
                      <a:pt x="88" y="678"/>
                    </a:lnTo>
                    <a:lnTo>
                      <a:pt x="88" y="678"/>
                    </a:lnTo>
                    <a:lnTo>
                      <a:pt x="90" y="678"/>
                    </a:lnTo>
                    <a:lnTo>
                      <a:pt x="90" y="678"/>
                    </a:lnTo>
                    <a:lnTo>
                      <a:pt x="90" y="676"/>
                    </a:lnTo>
                    <a:lnTo>
                      <a:pt x="92" y="676"/>
                    </a:lnTo>
                    <a:lnTo>
                      <a:pt x="92" y="676"/>
                    </a:lnTo>
                    <a:lnTo>
                      <a:pt x="92" y="674"/>
                    </a:lnTo>
                    <a:lnTo>
                      <a:pt x="92" y="672"/>
                    </a:lnTo>
                    <a:lnTo>
                      <a:pt x="92" y="670"/>
                    </a:lnTo>
                    <a:lnTo>
                      <a:pt x="92" y="668"/>
                    </a:lnTo>
                    <a:lnTo>
                      <a:pt x="94" y="664"/>
                    </a:lnTo>
                    <a:lnTo>
                      <a:pt x="94" y="662"/>
                    </a:lnTo>
                    <a:lnTo>
                      <a:pt x="94" y="662"/>
                    </a:lnTo>
                    <a:lnTo>
                      <a:pt x="94" y="660"/>
                    </a:lnTo>
                    <a:lnTo>
                      <a:pt x="94" y="660"/>
                    </a:lnTo>
                    <a:lnTo>
                      <a:pt x="96" y="660"/>
                    </a:lnTo>
                    <a:lnTo>
                      <a:pt x="96" y="658"/>
                    </a:lnTo>
                    <a:lnTo>
                      <a:pt x="100" y="656"/>
                    </a:lnTo>
                    <a:lnTo>
                      <a:pt x="102" y="656"/>
                    </a:lnTo>
                    <a:lnTo>
                      <a:pt x="102" y="656"/>
                    </a:lnTo>
                    <a:lnTo>
                      <a:pt x="104" y="654"/>
                    </a:lnTo>
                    <a:lnTo>
                      <a:pt x="104" y="654"/>
                    </a:lnTo>
                    <a:lnTo>
                      <a:pt x="104" y="654"/>
                    </a:lnTo>
                    <a:lnTo>
                      <a:pt x="106" y="652"/>
                    </a:lnTo>
                    <a:lnTo>
                      <a:pt x="106" y="650"/>
                    </a:lnTo>
                    <a:lnTo>
                      <a:pt x="106" y="648"/>
                    </a:lnTo>
                    <a:lnTo>
                      <a:pt x="106" y="646"/>
                    </a:lnTo>
                    <a:lnTo>
                      <a:pt x="106" y="644"/>
                    </a:lnTo>
                    <a:lnTo>
                      <a:pt x="106" y="642"/>
                    </a:lnTo>
                    <a:lnTo>
                      <a:pt x="104" y="638"/>
                    </a:lnTo>
                    <a:lnTo>
                      <a:pt x="104" y="634"/>
                    </a:lnTo>
                    <a:lnTo>
                      <a:pt x="102" y="630"/>
                    </a:lnTo>
                    <a:lnTo>
                      <a:pt x="102" y="62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19" name="Freeform 496"/>
              <p:cNvSpPr>
                <a:spLocks/>
              </p:cNvSpPr>
              <p:nvPr/>
            </p:nvSpPr>
            <p:spPr bwMode="auto">
              <a:xfrm>
                <a:off x="2843503" y="6312067"/>
                <a:ext cx="53975" cy="60325"/>
              </a:xfrm>
              <a:custGeom>
                <a:avLst/>
                <a:gdLst>
                  <a:gd name="T0" fmla="*/ 32 w 34"/>
                  <a:gd name="T1" fmla="*/ 6 h 38"/>
                  <a:gd name="T2" fmla="*/ 32 w 34"/>
                  <a:gd name="T3" fmla="*/ 6 h 38"/>
                  <a:gd name="T4" fmla="*/ 32 w 34"/>
                  <a:gd name="T5" fmla="*/ 8 h 38"/>
                  <a:gd name="T6" fmla="*/ 30 w 34"/>
                  <a:gd name="T7" fmla="*/ 8 h 38"/>
                  <a:gd name="T8" fmla="*/ 30 w 34"/>
                  <a:gd name="T9" fmla="*/ 10 h 38"/>
                  <a:gd name="T10" fmla="*/ 28 w 34"/>
                  <a:gd name="T11" fmla="*/ 10 h 38"/>
                  <a:gd name="T12" fmla="*/ 28 w 34"/>
                  <a:gd name="T13" fmla="*/ 14 h 38"/>
                  <a:gd name="T14" fmla="*/ 26 w 34"/>
                  <a:gd name="T15" fmla="*/ 16 h 38"/>
                  <a:gd name="T16" fmla="*/ 26 w 34"/>
                  <a:gd name="T17" fmla="*/ 18 h 38"/>
                  <a:gd name="T18" fmla="*/ 24 w 34"/>
                  <a:gd name="T19" fmla="*/ 20 h 38"/>
                  <a:gd name="T20" fmla="*/ 24 w 34"/>
                  <a:gd name="T21" fmla="*/ 24 h 38"/>
                  <a:gd name="T22" fmla="*/ 22 w 34"/>
                  <a:gd name="T23" fmla="*/ 28 h 38"/>
                  <a:gd name="T24" fmla="*/ 22 w 34"/>
                  <a:gd name="T25" fmla="*/ 34 h 38"/>
                  <a:gd name="T26" fmla="*/ 22 w 34"/>
                  <a:gd name="T27" fmla="*/ 38 h 38"/>
                  <a:gd name="T28" fmla="*/ 18 w 34"/>
                  <a:gd name="T29" fmla="*/ 36 h 38"/>
                  <a:gd name="T30" fmla="*/ 16 w 34"/>
                  <a:gd name="T31" fmla="*/ 34 h 38"/>
                  <a:gd name="T32" fmla="*/ 12 w 34"/>
                  <a:gd name="T33" fmla="*/ 34 h 38"/>
                  <a:gd name="T34" fmla="*/ 8 w 34"/>
                  <a:gd name="T35" fmla="*/ 32 h 38"/>
                  <a:gd name="T36" fmla="*/ 6 w 34"/>
                  <a:gd name="T37" fmla="*/ 30 h 38"/>
                  <a:gd name="T38" fmla="*/ 4 w 34"/>
                  <a:gd name="T39" fmla="*/ 30 h 38"/>
                  <a:gd name="T40" fmla="*/ 2 w 34"/>
                  <a:gd name="T41" fmla="*/ 28 h 38"/>
                  <a:gd name="T42" fmla="*/ 2 w 34"/>
                  <a:gd name="T43" fmla="*/ 28 h 38"/>
                  <a:gd name="T44" fmla="*/ 0 w 34"/>
                  <a:gd name="T45" fmla="*/ 26 h 38"/>
                  <a:gd name="T46" fmla="*/ 0 w 34"/>
                  <a:gd name="T47" fmla="*/ 24 h 38"/>
                  <a:gd name="T48" fmla="*/ 0 w 34"/>
                  <a:gd name="T49" fmla="*/ 24 h 38"/>
                  <a:gd name="T50" fmla="*/ 0 w 34"/>
                  <a:gd name="T51" fmla="*/ 22 h 38"/>
                  <a:gd name="T52" fmla="*/ 0 w 34"/>
                  <a:gd name="T53" fmla="*/ 22 h 38"/>
                  <a:gd name="T54" fmla="*/ 0 w 34"/>
                  <a:gd name="T55" fmla="*/ 20 h 38"/>
                  <a:gd name="T56" fmla="*/ 0 w 34"/>
                  <a:gd name="T57" fmla="*/ 18 h 38"/>
                  <a:gd name="T58" fmla="*/ 0 w 34"/>
                  <a:gd name="T59" fmla="*/ 16 h 38"/>
                  <a:gd name="T60" fmla="*/ 2 w 34"/>
                  <a:gd name="T61" fmla="*/ 14 h 38"/>
                  <a:gd name="T62" fmla="*/ 2 w 34"/>
                  <a:gd name="T63" fmla="*/ 10 h 38"/>
                  <a:gd name="T64" fmla="*/ 4 w 34"/>
                  <a:gd name="T65" fmla="*/ 8 h 38"/>
                  <a:gd name="T66" fmla="*/ 4 w 34"/>
                  <a:gd name="T67" fmla="*/ 8 h 38"/>
                  <a:gd name="T68" fmla="*/ 6 w 34"/>
                  <a:gd name="T69" fmla="*/ 6 h 38"/>
                  <a:gd name="T70" fmla="*/ 6 w 34"/>
                  <a:gd name="T71" fmla="*/ 6 h 38"/>
                  <a:gd name="T72" fmla="*/ 8 w 34"/>
                  <a:gd name="T73" fmla="*/ 4 h 38"/>
                  <a:gd name="T74" fmla="*/ 10 w 34"/>
                  <a:gd name="T75" fmla="*/ 4 h 38"/>
                  <a:gd name="T76" fmla="*/ 12 w 34"/>
                  <a:gd name="T77" fmla="*/ 2 h 38"/>
                  <a:gd name="T78" fmla="*/ 12 w 34"/>
                  <a:gd name="T79" fmla="*/ 2 h 38"/>
                  <a:gd name="T80" fmla="*/ 14 w 34"/>
                  <a:gd name="T81" fmla="*/ 2 h 38"/>
                  <a:gd name="T82" fmla="*/ 16 w 34"/>
                  <a:gd name="T83" fmla="*/ 0 h 38"/>
                  <a:gd name="T84" fmla="*/ 16 w 34"/>
                  <a:gd name="T85" fmla="*/ 0 h 38"/>
                  <a:gd name="T86" fmla="*/ 18 w 34"/>
                  <a:gd name="T87" fmla="*/ 0 h 38"/>
                  <a:gd name="T88" fmla="*/ 20 w 34"/>
                  <a:gd name="T89" fmla="*/ 2 h 38"/>
                  <a:gd name="T90" fmla="*/ 24 w 34"/>
                  <a:gd name="T91" fmla="*/ 2 h 38"/>
                  <a:gd name="T92" fmla="*/ 26 w 34"/>
                  <a:gd name="T93" fmla="*/ 4 h 38"/>
                  <a:gd name="T94" fmla="*/ 32 w 34"/>
                  <a:gd name="T95" fmla="*/ 6 h 38"/>
                  <a:gd name="T96" fmla="*/ 34 w 34"/>
                  <a:gd name="T97" fmla="*/ 6 h 38"/>
                  <a:gd name="T98" fmla="*/ 34 w 34"/>
                  <a:gd name="T99" fmla="*/ 6 h 38"/>
                  <a:gd name="T100" fmla="*/ 32 w 34"/>
                  <a:gd name="T101"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8">
                    <a:moveTo>
                      <a:pt x="32" y="6"/>
                    </a:moveTo>
                    <a:lnTo>
                      <a:pt x="32" y="6"/>
                    </a:lnTo>
                    <a:lnTo>
                      <a:pt x="32" y="8"/>
                    </a:lnTo>
                    <a:lnTo>
                      <a:pt x="30" y="8"/>
                    </a:lnTo>
                    <a:lnTo>
                      <a:pt x="30" y="10"/>
                    </a:lnTo>
                    <a:lnTo>
                      <a:pt x="28" y="10"/>
                    </a:lnTo>
                    <a:lnTo>
                      <a:pt x="28" y="14"/>
                    </a:lnTo>
                    <a:lnTo>
                      <a:pt x="26" y="16"/>
                    </a:lnTo>
                    <a:lnTo>
                      <a:pt x="26" y="18"/>
                    </a:lnTo>
                    <a:lnTo>
                      <a:pt x="24" y="20"/>
                    </a:lnTo>
                    <a:lnTo>
                      <a:pt x="24" y="24"/>
                    </a:lnTo>
                    <a:lnTo>
                      <a:pt x="22" y="28"/>
                    </a:lnTo>
                    <a:lnTo>
                      <a:pt x="22" y="34"/>
                    </a:lnTo>
                    <a:lnTo>
                      <a:pt x="22" y="38"/>
                    </a:lnTo>
                    <a:lnTo>
                      <a:pt x="18" y="36"/>
                    </a:lnTo>
                    <a:lnTo>
                      <a:pt x="16" y="34"/>
                    </a:lnTo>
                    <a:lnTo>
                      <a:pt x="12" y="34"/>
                    </a:lnTo>
                    <a:lnTo>
                      <a:pt x="8" y="32"/>
                    </a:lnTo>
                    <a:lnTo>
                      <a:pt x="6" y="30"/>
                    </a:lnTo>
                    <a:lnTo>
                      <a:pt x="4" y="30"/>
                    </a:lnTo>
                    <a:lnTo>
                      <a:pt x="2" y="28"/>
                    </a:lnTo>
                    <a:lnTo>
                      <a:pt x="2" y="28"/>
                    </a:lnTo>
                    <a:lnTo>
                      <a:pt x="0" y="26"/>
                    </a:lnTo>
                    <a:lnTo>
                      <a:pt x="0" y="24"/>
                    </a:lnTo>
                    <a:lnTo>
                      <a:pt x="0" y="24"/>
                    </a:lnTo>
                    <a:lnTo>
                      <a:pt x="0" y="22"/>
                    </a:lnTo>
                    <a:lnTo>
                      <a:pt x="0" y="22"/>
                    </a:lnTo>
                    <a:lnTo>
                      <a:pt x="0" y="20"/>
                    </a:lnTo>
                    <a:lnTo>
                      <a:pt x="0" y="18"/>
                    </a:lnTo>
                    <a:lnTo>
                      <a:pt x="0" y="16"/>
                    </a:lnTo>
                    <a:lnTo>
                      <a:pt x="2" y="14"/>
                    </a:lnTo>
                    <a:lnTo>
                      <a:pt x="2" y="10"/>
                    </a:lnTo>
                    <a:lnTo>
                      <a:pt x="4" y="8"/>
                    </a:lnTo>
                    <a:lnTo>
                      <a:pt x="4" y="8"/>
                    </a:lnTo>
                    <a:lnTo>
                      <a:pt x="6" y="6"/>
                    </a:lnTo>
                    <a:lnTo>
                      <a:pt x="6" y="6"/>
                    </a:lnTo>
                    <a:lnTo>
                      <a:pt x="8" y="4"/>
                    </a:lnTo>
                    <a:lnTo>
                      <a:pt x="10" y="4"/>
                    </a:lnTo>
                    <a:lnTo>
                      <a:pt x="12" y="2"/>
                    </a:lnTo>
                    <a:lnTo>
                      <a:pt x="12" y="2"/>
                    </a:lnTo>
                    <a:lnTo>
                      <a:pt x="14" y="2"/>
                    </a:lnTo>
                    <a:lnTo>
                      <a:pt x="16" y="0"/>
                    </a:lnTo>
                    <a:lnTo>
                      <a:pt x="16" y="0"/>
                    </a:lnTo>
                    <a:lnTo>
                      <a:pt x="18" y="0"/>
                    </a:lnTo>
                    <a:lnTo>
                      <a:pt x="20" y="2"/>
                    </a:lnTo>
                    <a:lnTo>
                      <a:pt x="24" y="2"/>
                    </a:lnTo>
                    <a:lnTo>
                      <a:pt x="26" y="4"/>
                    </a:lnTo>
                    <a:lnTo>
                      <a:pt x="32" y="6"/>
                    </a:lnTo>
                    <a:lnTo>
                      <a:pt x="34" y="6"/>
                    </a:lnTo>
                    <a:lnTo>
                      <a:pt x="34" y="6"/>
                    </a:lnTo>
                    <a:lnTo>
                      <a:pt x="32"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20" name="Freeform 500"/>
              <p:cNvSpPr>
                <a:spLocks/>
              </p:cNvSpPr>
              <p:nvPr/>
            </p:nvSpPr>
            <p:spPr bwMode="auto">
              <a:xfrm>
                <a:off x="2875253" y="6321592"/>
                <a:ext cx="66675" cy="60325"/>
              </a:xfrm>
              <a:custGeom>
                <a:avLst/>
                <a:gdLst>
                  <a:gd name="T0" fmla="*/ 0 w 42"/>
                  <a:gd name="T1" fmla="*/ 32 h 38"/>
                  <a:gd name="T2" fmla="*/ 2 w 42"/>
                  <a:gd name="T3" fmla="*/ 22 h 38"/>
                  <a:gd name="T4" fmla="*/ 4 w 42"/>
                  <a:gd name="T5" fmla="*/ 16 h 38"/>
                  <a:gd name="T6" fmla="*/ 6 w 42"/>
                  <a:gd name="T7" fmla="*/ 10 h 38"/>
                  <a:gd name="T8" fmla="*/ 8 w 42"/>
                  <a:gd name="T9" fmla="*/ 6 h 38"/>
                  <a:gd name="T10" fmla="*/ 10 w 42"/>
                  <a:gd name="T11" fmla="*/ 2 h 38"/>
                  <a:gd name="T12" fmla="*/ 12 w 42"/>
                  <a:gd name="T13" fmla="*/ 2 h 38"/>
                  <a:gd name="T14" fmla="*/ 12 w 42"/>
                  <a:gd name="T15" fmla="*/ 0 h 38"/>
                  <a:gd name="T16" fmla="*/ 14 w 42"/>
                  <a:gd name="T17" fmla="*/ 2 h 38"/>
                  <a:gd name="T18" fmla="*/ 18 w 42"/>
                  <a:gd name="T19" fmla="*/ 4 h 38"/>
                  <a:gd name="T20" fmla="*/ 22 w 42"/>
                  <a:gd name="T21" fmla="*/ 10 h 38"/>
                  <a:gd name="T22" fmla="*/ 24 w 42"/>
                  <a:gd name="T23" fmla="*/ 12 h 38"/>
                  <a:gd name="T24" fmla="*/ 26 w 42"/>
                  <a:gd name="T25" fmla="*/ 14 h 38"/>
                  <a:gd name="T26" fmla="*/ 32 w 42"/>
                  <a:gd name="T27" fmla="*/ 16 h 38"/>
                  <a:gd name="T28" fmla="*/ 38 w 42"/>
                  <a:gd name="T29" fmla="*/ 20 h 38"/>
                  <a:gd name="T30" fmla="*/ 42 w 42"/>
                  <a:gd name="T31" fmla="*/ 22 h 38"/>
                  <a:gd name="T32" fmla="*/ 42 w 42"/>
                  <a:gd name="T33" fmla="*/ 24 h 38"/>
                  <a:gd name="T34" fmla="*/ 42 w 42"/>
                  <a:gd name="T35" fmla="*/ 26 h 38"/>
                  <a:gd name="T36" fmla="*/ 42 w 42"/>
                  <a:gd name="T37" fmla="*/ 26 h 38"/>
                  <a:gd name="T38" fmla="*/ 42 w 42"/>
                  <a:gd name="T39" fmla="*/ 28 h 38"/>
                  <a:gd name="T40" fmla="*/ 38 w 42"/>
                  <a:gd name="T41" fmla="*/ 28 h 38"/>
                  <a:gd name="T42" fmla="*/ 36 w 42"/>
                  <a:gd name="T43" fmla="*/ 28 h 38"/>
                  <a:gd name="T44" fmla="*/ 30 w 42"/>
                  <a:gd name="T45" fmla="*/ 26 h 38"/>
                  <a:gd name="T46" fmla="*/ 24 w 42"/>
                  <a:gd name="T47" fmla="*/ 24 h 38"/>
                  <a:gd name="T48" fmla="*/ 22 w 42"/>
                  <a:gd name="T49" fmla="*/ 24 h 38"/>
                  <a:gd name="T50" fmla="*/ 20 w 42"/>
                  <a:gd name="T51" fmla="*/ 26 h 38"/>
                  <a:gd name="T52" fmla="*/ 20 w 42"/>
                  <a:gd name="T53" fmla="*/ 28 h 38"/>
                  <a:gd name="T54" fmla="*/ 20 w 42"/>
                  <a:gd name="T55" fmla="*/ 30 h 38"/>
                  <a:gd name="T56" fmla="*/ 18 w 42"/>
                  <a:gd name="T57" fmla="*/ 34 h 38"/>
                  <a:gd name="T58" fmla="*/ 18 w 42"/>
                  <a:gd name="T59" fmla="*/ 36 h 38"/>
                  <a:gd name="T60" fmla="*/ 16 w 42"/>
                  <a:gd name="T61" fmla="*/ 38 h 38"/>
                  <a:gd name="T62" fmla="*/ 16 w 42"/>
                  <a:gd name="T63" fmla="*/ 38 h 38"/>
                  <a:gd name="T64" fmla="*/ 14 w 42"/>
                  <a:gd name="T65" fmla="*/ 38 h 38"/>
                  <a:gd name="T66" fmla="*/ 10 w 42"/>
                  <a:gd name="T67" fmla="*/ 36 h 38"/>
                  <a:gd name="T68" fmla="*/ 4 w 42"/>
                  <a:gd name="T69" fmla="*/ 34 h 38"/>
                  <a:gd name="T70" fmla="*/ 0 w 42"/>
                  <a:gd name="T71"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38">
                    <a:moveTo>
                      <a:pt x="0" y="32"/>
                    </a:moveTo>
                    <a:lnTo>
                      <a:pt x="0" y="32"/>
                    </a:lnTo>
                    <a:lnTo>
                      <a:pt x="2" y="28"/>
                    </a:lnTo>
                    <a:lnTo>
                      <a:pt x="2" y="22"/>
                    </a:lnTo>
                    <a:lnTo>
                      <a:pt x="4" y="18"/>
                    </a:lnTo>
                    <a:lnTo>
                      <a:pt x="4" y="16"/>
                    </a:lnTo>
                    <a:lnTo>
                      <a:pt x="6" y="12"/>
                    </a:lnTo>
                    <a:lnTo>
                      <a:pt x="6" y="10"/>
                    </a:lnTo>
                    <a:lnTo>
                      <a:pt x="6" y="8"/>
                    </a:lnTo>
                    <a:lnTo>
                      <a:pt x="8" y="6"/>
                    </a:lnTo>
                    <a:lnTo>
                      <a:pt x="8" y="4"/>
                    </a:lnTo>
                    <a:lnTo>
                      <a:pt x="10" y="2"/>
                    </a:lnTo>
                    <a:lnTo>
                      <a:pt x="10" y="2"/>
                    </a:lnTo>
                    <a:lnTo>
                      <a:pt x="12" y="2"/>
                    </a:lnTo>
                    <a:lnTo>
                      <a:pt x="12" y="0"/>
                    </a:lnTo>
                    <a:lnTo>
                      <a:pt x="12" y="0"/>
                    </a:lnTo>
                    <a:lnTo>
                      <a:pt x="14" y="0"/>
                    </a:lnTo>
                    <a:lnTo>
                      <a:pt x="14" y="2"/>
                    </a:lnTo>
                    <a:lnTo>
                      <a:pt x="16" y="2"/>
                    </a:lnTo>
                    <a:lnTo>
                      <a:pt x="18" y="4"/>
                    </a:lnTo>
                    <a:lnTo>
                      <a:pt x="18" y="6"/>
                    </a:lnTo>
                    <a:lnTo>
                      <a:pt x="22" y="10"/>
                    </a:lnTo>
                    <a:lnTo>
                      <a:pt x="22" y="10"/>
                    </a:lnTo>
                    <a:lnTo>
                      <a:pt x="24" y="12"/>
                    </a:lnTo>
                    <a:lnTo>
                      <a:pt x="24" y="12"/>
                    </a:lnTo>
                    <a:lnTo>
                      <a:pt x="26" y="14"/>
                    </a:lnTo>
                    <a:lnTo>
                      <a:pt x="28" y="14"/>
                    </a:lnTo>
                    <a:lnTo>
                      <a:pt x="32" y="16"/>
                    </a:lnTo>
                    <a:lnTo>
                      <a:pt x="36" y="18"/>
                    </a:lnTo>
                    <a:lnTo>
                      <a:pt x="38" y="20"/>
                    </a:lnTo>
                    <a:lnTo>
                      <a:pt x="40" y="22"/>
                    </a:lnTo>
                    <a:lnTo>
                      <a:pt x="42" y="22"/>
                    </a:lnTo>
                    <a:lnTo>
                      <a:pt x="42" y="24"/>
                    </a:lnTo>
                    <a:lnTo>
                      <a:pt x="42" y="24"/>
                    </a:lnTo>
                    <a:lnTo>
                      <a:pt x="42" y="26"/>
                    </a:lnTo>
                    <a:lnTo>
                      <a:pt x="42" y="26"/>
                    </a:lnTo>
                    <a:lnTo>
                      <a:pt x="42" y="26"/>
                    </a:lnTo>
                    <a:lnTo>
                      <a:pt x="42" y="26"/>
                    </a:lnTo>
                    <a:lnTo>
                      <a:pt x="42" y="28"/>
                    </a:lnTo>
                    <a:lnTo>
                      <a:pt x="42" y="28"/>
                    </a:lnTo>
                    <a:lnTo>
                      <a:pt x="40" y="28"/>
                    </a:lnTo>
                    <a:lnTo>
                      <a:pt x="38" y="28"/>
                    </a:lnTo>
                    <a:lnTo>
                      <a:pt x="38" y="28"/>
                    </a:lnTo>
                    <a:lnTo>
                      <a:pt x="36" y="28"/>
                    </a:lnTo>
                    <a:lnTo>
                      <a:pt x="32" y="26"/>
                    </a:lnTo>
                    <a:lnTo>
                      <a:pt x="30" y="26"/>
                    </a:lnTo>
                    <a:lnTo>
                      <a:pt x="26" y="26"/>
                    </a:lnTo>
                    <a:lnTo>
                      <a:pt x="24" y="24"/>
                    </a:lnTo>
                    <a:lnTo>
                      <a:pt x="24" y="24"/>
                    </a:lnTo>
                    <a:lnTo>
                      <a:pt x="22" y="24"/>
                    </a:lnTo>
                    <a:lnTo>
                      <a:pt x="22" y="26"/>
                    </a:lnTo>
                    <a:lnTo>
                      <a:pt x="20" y="26"/>
                    </a:lnTo>
                    <a:lnTo>
                      <a:pt x="20" y="26"/>
                    </a:lnTo>
                    <a:lnTo>
                      <a:pt x="20" y="28"/>
                    </a:lnTo>
                    <a:lnTo>
                      <a:pt x="20" y="28"/>
                    </a:lnTo>
                    <a:lnTo>
                      <a:pt x="20" y="30"/>
                    </a:lnTo>
                    <a:lnTo>
                      <a:pt x="18" y="32"/>
                    </a:lnTo>
                    <a:lnTo>
                      <a:pt x="18" y="34"/>
                    </a:lnTo>
                    <a:lnTo>
                      <a:pt x="18" y="36"/>
                    </a:lnTo>
                    <a:lnTo>
                      <a:pt x="18" y="36"/>
                    </a:lnTo>
                    <a:lnTo>
                      <a:pt x="18" y="36"/>
                    </a:lnTo>
                    <a:lnTo>
                      <a:pt x="16" y="38"/>
                    </a:lnTo>
                    <a:lnTo>
                      <a:pt x="16" y="38"/>
                    </a:lnTo>
                    <a:lnTo>
                      <a:pt x="16" y="38"/>
                    </a:lnTo>
                    <a:lnTo>
                      <a:pt x="14" y="38"/>
                    </a:lnTo>
                    <a:lnTo>
                      <a:pt x="14" y="38"/>
                    </a:lnTo>
                    <a:lnTo>
                      <a:pt x="12" y="38"/>
                    </a:lnTo>
                    <a:lnTo>
                      <a:pt x="10" y="36"/>
                    </a:lnTo>
                    <a:lnTo>
                      <a:pt x="8" y="36"/>
                    </a:lnTo>
                    <a:lnTo>
                      <a:pt x="4" y="34"/>
                    </a:lnTo>
                    <a:lnTo>
                      <a:pt x="2" y="32"/>
                    </a:lnTo>
                    <a:lnTo>
                      <a:pt x="0" y="3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grpSp>
        <p:sp>
          <p:nvSpPr>
            <p:cNvPr id="921" name="Freeform 502"/>
            <p:cNvSpPr>
              <a:spLocks/>
            </p:cNvSpPr>
            <p:nvPr/>
          </p:nvSpPr>
          <p:spPr bwMode="auto">
            <a:xfrm>
              <a:off x="2855838" y="6218935"/>
              <a:ext cx="93532" cy="62355"/>
            </a:xfrm>
            <a:custGeom>
              <a:avLst/>
              <a:gdLst>
                <a:gd name="T0" fmla="*/ 18 w 54"/>
                <a:gd name="T1" fmla="*/ 8 h 36"/>
                <a:gd name="T2" fmla="*/ 12 w 54"/>
                <a:gd name="T3" fmla="*/ 8 h 36"/>
                <a:gd name="T4" fmla="*/ 6 w 54"/>
                <a:gd name="T5" fmla="*/ 8 h 36"/>
                <a:gd name="T6" fmla="*/ 4 w 54"/>
                <a:gd name="T7" fmla="*/ 10 h 36"/>
                <a:gd name="T8" fmla="*/ 2 w 54"/>
                <a:gd name="T9" fmla="*/ 12 h 36"/>
                <a:gd name="T10" fmla="*/ 2 w 54"/>
                <a:gd name="T11" fmla="*/ 12 h 36"/>
                <a:gd name="T12" fmla="*/ 0 w 54"/>
                <a:gd name="T13" fmla="*/ 16 h 36"/>
                <a:gd name="T14" fmla="*/ 0 w 54"/>
                <a:gd name="T15" fmla="*/ 22 h 36"/>
                <a:gd name="T16" fmla="*/ 0 w 54"/>
                <a:gd name="T17" fmla="*/ 28 h 36"/>
                <a:gd name="T18" fmla="*/ 2 w 54"/>
                <a:gd name="T19" fmla="*/ 32 h 36"/>
                <a:gd name="T20" fmla="*/ 2 w 54"/>
                <a:gd name="T21" fmla="*/ 34 h 36"/>
                <a:gd name="T22" fmla="*/ 2 w 54"/>
                <a:gd name="T23" fmla="*/ 36 h 36"/>
                <a:gd name="T24" fmla="*/ 4 w 54"/>
                <a:gd name="T25" fmla="*/ 36 h 36"/>
                <a:gd name="T26" fmla="*/ 6 w 54"/>
                <a:gd name="T27" fmla="*/ 36 h 36"/>
                <a:gd name="T28" fmla="*/ 8 w 54"/>
                <a:gd name="T29" fmla="*/ 32 h 36"/>
                <a:gd name="T30" fmla="*/ 10 w 54"/>
                <a:gd name="T31" fmla="*/ 28 h 36"/>
                <a:gd name="T32" fmla="*/ 12 w 54"/>
                <a:gd name="T33" fmla="*/ 26 h 36"/>
                <a:gd name="T34" fmla="*/ 14 w 54"/>
                <a:gd name="T35" fmla="*/ 24 h 36"/>
                <a:gd name="T36" fmla="*/ 14 w 54"/>
                <a:gd name="T37" fmla="*/ 24 h 36"/>
                <a:gd name="T38" fmla="*/ 16 w 54"/>
                <a:gd name="T39" fmla="*/ 26 h 36"/>
                <a:gd name="T40" fmla="*/ 18 w 54"/>
                <a:gd name="T41" fmla="*/ 28 h 36"/>
                <a:gd name="T42" fmla="*/ 22 w 54"/>
                <a:gd name="T43" fmla="*/ 30 h 36"/>
                <a:gd name="T44" fmla="*/ 24 w 54"/>
                <a:gd name="T45" fmla="*/ 30 h 36"/>
                <a:gd name="T46" fmla="*/ 26 w 54"/>
                <a:gd name="T47" fmla="*/ 30 h 36"/>
                <a:gd name="T48" fmla="*/ 32 w 54"/>
                <a:gd name="T49" fmla="*/ 28 h 36"/>
                <a:gd name="T50" fmla="*/ 42 w 54"/>
                <a:gd name="T51" fmla="*/ 24 h 36"/>
                <a:gd name="T52" fmla="*/ 46 w 54"/>
                <a:gd name="T53" fmla="*/ 22 h 36"/>
                <a:gd name="T54" fmla="*/ 52 w 54"/>
                <a:gd name="T55" fmla="*/ 20 h 36"/>
                <a:gd name="T56" fmla="*/ 54 w 54"/>
                <a:gd name="T57" fmla="*/ 18 h 36"/>
                <a:gd name="T58" fmla="*/ 54 w 54"/>
                <a:gd name="T59" fmla="*/ 18 h 36"/>
                <a:gd name="T60" fmla="*/ 54 w 54"/>
                <a:gd name="T61" fmla="*/ 16 h 36"/>
                <a:gd name="T62" fmla="*/ 54 w 54"/>
                <a:gd name="T63" fmla="*/ 16 h 36"/>
                <a:gd name="T64" fmla="*/ 52 w 54"/>
                <a:gd name="T65" fmla="*/ 14 h 36"/>
                <a:gd name="T66" fmla="*/ 48 w 54"/>
                <a:gd name="T67" fmla="*/ 12 h 36"/>
                <a:gd name="T68" fmla="*/ 40 w 54"/>
                <a:gd name="T69" fmla="*/ 10 h 36"/>
                <a:gd name="T70" fmla="*/ 40 w 54"/>
                <a:gd name="T71" fmla="*/ 8 h 36"/>
                <a:gd name="T72" fmla="*/ 38 w 54"/>
                <a:gd name="T73" fmla="*/ 6 h 36"/>
                <a:gd name="T74" fmla="*/ 34 w 54"/>
                <a:gd name="T75" fmla="*/ 2 h 36"/>
                <a:gd name="T76" fmla="*/ 32 w 54"/>
                <a:gd name="T77" fmla="*/ 0 h 36"/>
                <a:gd name="T78" fmla="*/ 32 w 54"/>
                <a:gd name="T79" fmla="*/ 0 h 36"/>
                <a:gd name="T80" fmla="*/ 30 w 54"/>
                <a:gd name="T81" fmla="*/ 0 h 36"/>
                <a:gd name="T82" fmla="*/ 30 w 54"/>
                <a:gd name="T83" fmla="*/ 0 h 36"/>
                <a:gd name="T84" fmla="*/ 30 w 54"/>
                <a:gd name="T85" fmla="*/ 2 h 36"/>
                <a:gd name="T86" fmla="*/ 30 w 54"/>
                <a:gd name="T87" fmla="*/ 6 h 36"/>
                <a:gd name="T88" fmla="*/ 30 w 54"/>
                <a:gd name="T89" fmla="*/ 8 h 36"/>
                <a:gd name="T90" fmla="*/ 30 w 54"/>
                <a:gd name="T91" fmla="*/ 10 h 36"/>
                <a:gd name="T92" fmla="*/ 28 w 54"/>
                <a:gd name="T93" fmla="*/ 10 h 36"/>
                <a:gd name="T94" fmla="*/ 26 w 54"/>
                <a:gd name="T95" fmla="*/ 10 h 36"/>
                <a:gd name="T96" fmla="*/ 24 w 54"/>
                <a:gd name="T97" fmla="*/ 10 h 36"/>
                <a:gd name="T98" fmla="*/ 18 w 54"/>
                <a:gd name="T9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36">
                  <a:moveTo>
                    <a:pt x="18" y="8"/>
                  </a:moveTo>
                  <a:lnTo>
                    <a:pt x="18" y="8"/>
                  </a:lnTo>
                  <a:lnTo>
                    <a:pt x="14" y="8"/>
                  </a:lnTo>
                  <a:lnTo>
                    <a:pt x="12" y="8"/>
                  </a:lnTo>
                  <a:lnTo>
                    <a:pt x="10" y="8"/>
                  </a:lnTo>
                  <a:lnTo>
                    <a:pt x="6" y="8"/>
                  </a:lnTo>
                  <a:lnTo>
                    <a:pt x="6" y="10"/>
                  </a:lnTo>
                  <a:lnTo>
                    <a:pt x="4" y="10"/>
                  </a:lnTo>
                  <a:lnTo>
                    <a:pt x="2" y="10"/>
                  </a:lnTo>
                  <a:lnTo>
                    <a:pt x="2" y="12"/>
                  </a:lnTo>
                  <a:lnTo>
                    <a:pt x="2" y="12"/>
                  </a:lnTo>
                  <a:lnTo>
                    <a:pt x="2" y="12"/>
                  </a:lnTo>
                  <a:lnTo>
                    <a:pt x="0" y="14"/>
                  </a:lnTo>
                  <a:lnTo>
                    <a:pt x="0" y="16"/>
                  </a:lnTo>
                  <a:lnTo>
                    <a:pt x="0" y="18"/>
                  </a:lnTo>
                  <a:lnTo>
                    <a:pt x="0" y="22"/>
                  </a:lnTo>
                  <a:lnTo>
                    <a:pt x="0" y="24"/>
                  </a:lnTo>
                  <a:lnTo>
                    <a:pt x="0" y="28"/>
                  </a:lnTo>
                  <a:lnTo>
                    <a:pt x="2" y="32"/>
                  </a:lnTo>
                  <a:lnTo>
                    <a:pt x="2" y="32"/>
                  </a:lnTo>
                  <a:lnTo>
                    <a:pt x="2" y="34"/>
                  </a:lnTo>
                  <a:lnTo>
                    <a:pt x="2" y="34"/>
                  </a:lnTo>
                  <a:lnTo>
                    <a:pt x="2" y="36"/>
                  </a:lnTo>
                  <a:lnTo>
                    <a:pt x="2" y="36"/>
                  </a:lnTo>
                  <a:lnTo>
                    <a:pt x="4" y="36"/>
                  </a:lnTo>
                  <a:lnTo>
                    <a:pt x="4" y="36"/>
                  </a:lnTo>
                  <a:lnTo>
                    <a:pt x="4" y="36"/>
                  </a:lnTo>
                  <a:lnTo>
                    <a:pt x="6" y="36"/>
                  </a:lnTo>
                  <a:lnTo>
                    <a:pt x="6" y="34"/>
                  </a:lnTo>
                  <a:lnTo>
                    <a:pt x="8" y="32"/>
                  </a:lnTo>
                  <a:lnTo>
                    <a:pt x="8" y="30"/>
                  </a:lnTo>
                  <a:lnTo>
                    <a:pt x="10" y="28"/>
                  </a:lnTo>
                  <a:lnTo>
                    <a:pt x="12" y="26"/>
                  </a:lnTo>
                  <a:lnTo>
                    <a:pt x="12" y="26"/>
                  </a:lnTo>
                  <a:lnTo>
                    <a:pt x="14" y="26"/>
                  </a:lnTo>
                  <a:lnTo>
                    <a:pt x="14" y="24"/>
                  </a:lnTo>
                  <a:lnTo>
                    <a:pt x="14" y="24"/>
                  </a:lnTo>
                  <a:lnTo>
                    <a:pt x="14" y="24"/>
                  </a:lnTo>
                  <a:lnTo>
                    <a:pt x="16" y="24"/>
                  </a:lnTo>
                  <a:lnTo>
                    <a:pt x="16" y="26"/>
                  </a:lnTo>
                  <a:lnTo>
                    <a:pt x="18" y="26"/>
                  </a:lnTo>
                  <a:lnTo>
                    <a:pt x="18" y="28"/>
                  </a:lnTo>
                  <a:lnTo>
                    <a:pt x="20" y="28"/>
                  </a:lnTo>
                  <a:lnTo>
                    <a:pt x="22" y="30"/>
                  </a:lnTo>
                  <a:lnTo>
                    <a:pt x="22" y="30"/>
                  </a:lnTo>
                  <a:lnTo>
                    <a:pt x="24" y="30"/>
                  </a:lnTo>
                  <a:lnTo>
                    <a:pt x="24" y="30"/>
                  </a:lnTo>
                  <a:lnTo>
                    <a:pt x="26" y="30"/>
                  </a:lnTo>
                  <a:lnTo>
                    <a:pt x="30" y="28"/>
                  </a:lnTo>
                  <a:lnTo>
                    <a:pt x="32" y="28"/>
                  </a:lnTo>
                  <a:lnTo>
                    <a:pt x="38" y="26"/>
                  </a:lnTo>
                  <a:lnTo>
                    <a:pt x="42" y="24"/>
                  </a:lnTo>
                  <a:lnTo>
                    <a:pt x="44" y="22"/>
                  </a:lnTo>
                  <a:lnTo>
                    <a:pt x="46" y="22"/>
                  </a:lnTo>
                  <a:lnTo>
                    <a:pt x="50" y="22"/>
                  </a:lnTo>
                  <a:lnTo>
                    <a:pt x="52" y="20"/>
                  </a:lnTo>
                  <a:lnTo>
                    <a:pt x="52" y="20"/>
                  </a:lnTo>
                  <a:lnTo>
                    <a:pt x="54" y="18"/>
                  </a:lnTo>
                  <a:lnTo>
                    <a:pt x="54" y="18"/>
                  </a:lnTo>
                  <a:lnTo>
                    <a:pt x="54" y="18"/>
                  </a:lnTo>
                  <a:lnTo>
                    <a:pt x="54" y="18"/>
                  </a:lnTo>
                  <a:lnTo>
                    <a:pt x="54" y="16"/>
                  </a:lnTo>
                  <a:lnTo>
                    <a:pt x="54" y="16"/>
                  </a:lnTo>
                  <a:lnTo>
                    <a:pt x="54" y="16"/>
                  </a:lnTo>
                  <a:lnTo>
                    <a:pt x="52" y="14"/>
                  </a:lnTo>
                  <a:lnTo>
                    <a:pt x="52" y="14"/>
                  </a:lnTo>
                  <a:lnTo>
                    <a:pt x="50" y="14"/>
                  </a:lnTo>
                  <a:lnTo>
                    <a:pt x="48" y="12"/>
                  </a:lnTo>
                  <a:lnTo>
                    <a:pt x="44" y="10"/>
                  </a:lnTo>
                  <a:lnTo>
                    <a:pt x="40" y="10"/>
                  </a:lnTo>
                  <a:lnTo>
                    <a:pt x="40" y="8"/>
                  </a:lnTo>
                  <a:lnTo>
                    <a:pt x="40" y="8"/>
                  </a:lnTo>
                  <a:lnTo>
                    <a:pt x="38" y="8"/>
                  </a:lnTo>
                  <a:lnTo>
                    <a:pt x="38" y="6"/>
                  </a:lnTo>
                  <a:lnTo>
                    <a:pt x="36" y="4"/>
                  </a:lnTo>
                  <a:lnTo>
                    <a:pt x="34" y="2"/>
                  </a:lnTo>
                  <a:lnTo>
                    <a:pt x="32" y="0"/>
                  </a:lnTo>
                  <a:lnTo>
                    <a:pt x="32" y="0"/>
                  </a:lnTo>
                  <a:lnTo>
                    <a:pt x="32" y="0"/>
                  </a:lnTo>
                  <a:lnTo>
                    <a:pt x="32" y="0"/>
                  </a:lnTo>
                  <a:lnTo>
                    <a:pt x="30" y="0"/>
                  </a:lnTo>
                  <a:lnTo>
                    <a:pt x="30" y="0"/>
                  </a:lnTo>
                  <a:lnTo>
                    <a:pt x="30" y="0"/>
                  </a:lnTo>
                  <a:lnTo>
                    <a:pt x="30" y="0"/>
                  </a:lnTo>
                  <a:lnTo>
                    <a:pt x="30" y="2"/>
                  </a:lnTo>
                  <a:lnTo>
                    <a:pt x="30" y="2"/>
                  </a:lnTo>
                  <a:lnTo>
                    <a:pt x="30" y="4"/>
                  </a:lnTo>
                  <a:lnTo>
                    <a:pt x="30" y="6"/>
                  </a:lnTo>
                  <a:lnTo>
                    <a:pt x="30" y="8"/>
                  </a:lnTo>
                  <a:lnTo>
                    <a:pt x="30" y="8"/>
                  </a:lnTo>
                  <a:lnTo>
                    <a:pt x="30" y="10"/>
                  </a:lnTo>
                  <a:lnTo>
                    <a:pt x="30" y="10"/>
                  </a:lnTo>
                  <a:lnTo>
                    <a:pt x="28" y="10"/>
                  </a:lnTo>
                  <a:lnTo>
                    <a:pt x="28" y="10"/>
                  </a:lnTo>
                  <a:lnTo>
                    <a:pt x="28" y="10"/>
                  </a:lnTo>
                  <a:lnTo>
                    <a:pt x="26" y="10"/>
                  </a:lnTo>
                  <a:lnTo>
                    <a:pt x="26" y="10"/>
                  </a:lnTo>
                  <a:lnTo>
                    <a:pt x="24" y="10"/>
                  </a:lnTo>
                  <a:lnTo>
                    <a:pt x="20" y="8"/>
                  </a:lnTo>
                  <a:lnTo>
                    <a:pt x="18" y="8"/>
                  </a:lnTo>
                  <a:lnTo>
                    <a:pt x="18"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22" name="Freeform 503"/>
            <p:cNvSpPr>
              <a:spLocks/>
            </p:cNvSpPr>
            <p:nvPr/>
          </p:nvSpPr>
          <p:spPr bwMode="auto">
            <a:xfrm>
              <a:off x="2855838" y="6218935"/>
              <a:ext cx="93532" cy="62355"/>
            </a:xfrm>
            <a:custGeom>
              <a:avLst/>
              <a:gdLst>
                <a:gd name="T0" fmla="*/ 18 w 54"/>
                <a:gd name="T1" fmla="*/ 8 h 36"/>
                <a:gd name="T2" fmla="*/ 12 w 54"/>
                <a:gd name="T3" fmla="*/ 8 h 36"/>
                <a:gd name="T4" fmla="*/ 6 w 54"/>
                <a:gd name="T5" fmla="*/ 8 h 36"/>
                <a:gd name="T6" fmla="*/ 4 w 54"/>
                <a:gd name="T7" fmla="*/ 10 h 36"/>
                <a:gd name="T8" fmla="*/ 2 w 54"/>
                <a:gd name="T9" fmla="*/ 12 h 36"/>
                <a:gd name="T10" fmla="*/ 2 w 54"/>
                <a:gd name="T11" fmla="*/ 12 h 36"/>
                <a:gd name="T12" fmla="*/ 0 w 54"/>
                <a:gd name="T13" fmla="*/ 16 h 36"/>
                <a:gd name="T14" fmla="*/ 0 w 54"/>
                <a:gd name="T15" fmla="*/ 22 h 36"/>
                <a:gd name="T16" fmla="*/ 0 w 54"/>
                <a:gd name="T17" fmla="*/ 28 h 36"/>
                <a:gd name="T18" fmla="*/ 2 w 54"/>
                <a:gd name="T19" fmla="*/ 32 h 36"/>
                <a:gd name="T20" fmla="*/ 2 w 54"/>
                <a:gd name="T21" fmla="*/ 34 h 36"/>
                <a:gd name="T22" fmla="*/ 2 w 54"/>
                <a:gd name="T23" fmla="*/ 36 h 36"/>
                <a:gd name="T24" fmla="*/ 4 w 54"/>
                <a:gd name="T25" fmla="*/ 36 h 36"/>
                <a:gd name="T26" fmla="*/ 6 w 54"/>
                <a:gd name="T27" fmla="*/ 36 h 36"/>
                <a:gd name="T28" fmla="*/ 8 w 54"/>
                <a:gd name="T29" fmla="*/ 32 h 36"/>
                <a:gd name="T30" fmla="*/ 10 w 54"/>
                <a:gd name="T31" fmla="*/ 28 h 36"/>
                <a:gd name="T32" fmla="*/ 12 w 54"/>
                <a:gd name="T33" fmla="*/ 26 h 36"/>
                <a:gd name="T34" fmla="*/ 14 w 54"/>
                <a:gd name="T35" fmla="*/ 24 h 36"/>
                <a:gd name="T36" fmla="*/ 14 w 54"/>
                <a:gd name="T37" fmla="*/ 24 h 36"/>
                <a:gd name="T38" fmla="*/ 16 w 54"/>
                <a:gd name="T39" fmla="*/ 26 h 36"/>
                <a:gd name="T40" fmla="*/ 18 w 54"/>
                <a:gd name="T41" fmla="*/ 28 h 36"/>
                <a:gd name="T42" fmla="*/ 22 w 54"/>
                <a:gd name="T43" fmla="*/ 30 h 36"/>
                <a:gd name="T44" fmla="*/ 24 w 54"/>
                <a:gd name="T45" fmla="*/ 30 h 36"/>
                <a:gd name="T46" fmla="*/ 26 w 54"/>
                <a:gd name="T47" fmla="*/ 30 h 36"/>
                <a:gd name="T48" fmla="*/ 32 w 54"/>
                <a:gd name="T49" fmla="*/ 28 h 36"/>
                <a:gd name="T50" fmla="*/ 42 w 54"/>
                <a:gd name="T51" fmla="*/ 24 h 36"/>
                <a:gd name="T52" fmla="*/ 46 w 54"/>
                <a:gd name="T53" fmla="*/ 22 h 36"/>
                <a:gd name="T54" fmla="*/ 52 w 54"/>
                <a:gd name="T55" fmla="*/ 20 h 36"/>
                <a:gd name="T56" fmla="*/ 54 w 54"/>
                <a:gd name="T57" fmla="*/ 18 h 36"/>
                <a:gd name="T58" fmla="*/ 54 w 54"/>
                <a:gd name="T59" fmla="*/ 18 h 36"/>
                <a:gd name="T60" fmla="*/ 54 w 54"/>
                <a:gd name="T61" fmla="*/ 16 h 36"/>
                <a:gd name="T62" fmla="*/ 54 w 54"/>
                <a:gd name="T63" fmla="*/ 16 h 36"/>
                <a:gd name="T64" fmla="*/ 52 w 54"/>
                <a:gd name="T65" fmla="*/ 14 h 36"/>
                <a:gd name="T66" fmla="*/ 48 w 54"/>
                <a:gd name="T67" fmla="*/ 12 h 36"/>
                <a:gd name="T68" fmla="*/ 40 w 54"/>
                <a:gd name="T69" fmla="*/ 10 h 36"/>
                <a:gd name="T70" fmla="*/ 40 w 54"/>
                <a:gd name="T71" fmla="*/ 8 h 36"/>
                <a:gd name="T72" fmla="*/ 38 w 54"/>
                <a:gd name="T73" fmla="*/ 6 h 36"/>
                <a:gd name="T74" fmla="*/ 34 w 54"/>
                <a:gd name="T75" fmla="*/ 2 h 36"/>
                <a:gd name="T76" fmla="*/ 32 w 54"/>
                <a:gd name="T77" fmla="*/ 0 h 36"/>
                <a:gd name="T78" fmla="*/ 32 w 54"/>
                <a:gd name="T79" fmla="*/ 0 h 36"/>
                <a:gd name="T80" fmla="*/ 30 w 54"/>
                <a:gd name="T81" fmla="*/ 0 h 36"/>
                <a:gd name="T82" fmla="*/ 30 w 54"/>
                <a:gd name="T83" fmla="*/ 0 h 36"/>
                <a:gd name="T84" fmla="*/ 30 w 54"/>
                <a:gd name="T85" fmla="*/ 2 h 36"/>
                <a:gd name="T86" fmla="*/ 30 w 54"/>
                <a:gd name="T87" fmla="*/ 6 h 36"/>
                <a:gd name="T88" fmla="*/ 30 w 54"/>
                <a:gd name="T89" fmla="*/ 8 h 36"/>
                <a:gd name="T90" fmla="*/ 30 w 54"/>
                <a:gd name="T91" fmla="*/ 10 h 36"/>
                <a:gd name="T92" fmla="*/ 28 w 54"/>
                <a:gd name="T93" fmla="*/ 10 h 36"/>
                <a:gd name="T94" fmla="*/ 26 w 54"/>
                <a:gd name="T95" fmla="*/ 10 h 36"/>
                <a:gd name="T96" fmla="*/ 24 w 54"/>
                <a:gd name="T97" fmla="*/ 10 h 36"/>
                <a:gd name="T98" fmla="*/ 18 w 54"/>
                <a:gd name="T9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36">
                  <a:moveTo>
                    <a:pt x="18" y="8"/>
                  </a:moveTo>
                  <a:lnTo>
                    <a:pt x="18" y="8"/>
                  </a:lnTo>
                  <a:lnTo>
                    <a:pt x="14" y="8"/>
                  </a:lnTo>
                  <a:lnTo>
                    <a:pt x="12" y="8"/>
                  </a:lnTo>
                  <a:lnTo>
                    <a:pt x="10" y="8"/>
                  </a:lnTo>
                  <a:lnTo>
                    <a:pt x="6" y="8"/>
                  </a:lnTo>
                  <a:lnTo>
                    <a:pt x="6" y="10"/>
                  </a:lnTo>
                  <a:lnTo>
                    <a:pt x="4" y="10"/>
                  </a:lnTo>
                  <a:lnTo>
                    <a:pt x="2" y="10"/>
                  </a:lnTo>
                  <a:lnTo>
                    <a:pt x="2" y="12"/>
                  </a:lnTo>
                  <a:lnTo>
                    <a:pt x="2" y="12"/>
                  </a:lnTo>
                  <a:lnTo>
                    <a:pt x="2" y="12"/>
                  </a:lnTo>
                  <a:lnTo>
                    <a:pt x="0" y="14"/>
                  </a:lnTo>
                  <a:lnTo>
                    <a:pt x="0" y="16"/>
                  </a:lnTo>
                  <a:lnTo>
                    <a:pt x="0" y="18"/>
                  </a:lnTo>
                  <a:lnTo>
                    <a:pt x="0" y="22"/>
                  </a:lnTo>
                  <a:lnTo>
                    <a:pt x="0" y="24"/>
                  </a:lnTo>
                  <a:lnTo>
                    <a:pt x="0" y="28"/>
                  </a:lnTo>
                  <a:lnTo>
                    <a:pt x="2" y="32"/>
                  </a:lnTo>
                  <a:lnTo>
                    <a:pt x="2" y="32"/>
                  </a:lnTo>
                  <a:lnTo>
                    <a:pt x="2" y="34"/>
                  </a:lnTo>
                  <a:lnTo>
                    <a:pt x="2" y="34"/>
                  </a:lnTo>
                  <a:lnTo>
                    <a:pt x="2" y="36"/>
                  </a:lnTo>
                  <a:lnTo>
                    <a:pt x="2" y="36"/>
                  </a:lnTo>
                  <a:lnTo>
                    <a:pt x="4" y="36"/>
                  </a:lnTo>
                  <a:lnTo>
                    <a:pt x="4" y="36"/>
                  </a:lnTo>
                  <a:lnTo>
                    <a:pt x="4" y="36"/>
                  </a:lnTo>
                  <a:lnTo>
                    <a:pt x="6" y="36"/>
                  </a:lnTo>
                  <a:lnTo>
                    <a:pt x="6" y="34"/>
                  </a:lnTo>
                  <a:lnTo>
                    <a:pt x="8" y="32"/>
                  </a:lnTo>
                  <a:lnTo>
                    <a:pt x="8" y="30"/>
                  </a:lnTo>
                  <a:lnTo>
                    <a:pt x="10" y="28"/>
                  </a:lnTo>
                  <a:lnTo>
                    <a:pt x="12" y="26"/>
                  </a:lnTo>
                  <a:lnTo>
                    <a:pt x="12" y="26"/>
                  </a:lnTo>
                  <a:lnTo>
                    <a:pt x="14" y="26"/>
                  </a:lnTo>
                  <a:lnTo>
                    <a:pt x="14" y="24"/>
                  </a:lnTo>
                  <a:lnTo>
                    <a:pt x="14" y="24"/>
                  </a:lnTo>
                  <a:lnTo>
                    <a:pt x="14" y="24"/>
                  </a:lnTo>
                  <a:lnTo>
                    <a:pt x="16" y="24"/>
                  </a:lnTo>
                  <a:lnTo>
                    <a:pt x="16" y="26"/>
                  </a:lnTo>
                  <a:lnTo>
                    <a:pt x="18" y="26"/>
                  </a:lnTo>
                  <a:lnTo>
                    <a:pt x="18" y="28"/>
                  </a:lnTo>
                  <a:lnTo>
                    <a:pt x="20" y="28"/>
                  </a:lnTo>
                  <a:lnTo>
                    <a:pt x="22" y="30"/>
                  </a:lnTo>
                  <a:lnTo>
                    <a:pt x="22" y="30"/>
                  </a:lnTo>
                  <a:lnTo>
                    <a:pt x="24" y="30"/>
                  </a:lnTo>
                  <a:lnTo>
                    <a:pt x="24" y="30"/>
                  </a:lnTo>
                  <a:lnTo>
                    <a:pt x="26" y="30"/>
                  </a:lnTo>
                  <a:lnTo>
                    <a:pt x="30" y="28"/>
                  </a:lnTo>
                  <a:lnTo>
                    <a:pt x="32" y="28"/>
                  </a:lnTo>
                  <a:lnTo>
                    <a:pt x="38" y="26"/>
                  </a:lnTo>
                  <a:lnTo>
                    <a:pt x="42" y="24"/>
                  </a:lnTo>
                  <a:lnTo>
                    <a:pt x="44" y="22"/>
                  </a:lnTo>
                  <a:lnTo>
                    <a:pt x="46" y="22"/>
                  </a:lnTo>
                  <a:lnTo>
                    <a:pt x="50" y="22"/>
                  </a:lnTo>
                  <a:lnTo>
                    <a:pt x="52" y="20"/>
                  </a:lnTo>
                  <a:lnTo>
                    <a:pt x="52" y="20"/>
                  </a:lnTo>
                  <a:lnTo>
                    <a:pt x="54" y="18"/>
                  </a:lnTo>
                  <a:lnTo>
                    <a:pt x="54" y="18"/>
                  </a:lnTo>
                  <a:lnTo>
                    <a:pt x="54" y="18"/>
                  </a:lnTo>
                  <a:lnTo>
                    <a:pt x="54" y="18"/>
                  </a:lnTo>
                  <a:lnTo>
                    <a:pt x="54" y="16"/>
                  </a:lnTo>
                  <a:lnTo>
                    <a:pt x="54" y="16"/>
                  </a:lnTo>
                  <a:lnTo>
                    <a:pt x="54" y="16"/>
                  </a:lnTo>
                  <a:lnTo>
                    <a:pt x="52" y="14"/>
                  </a:lnTo>
                  <a:lnTo>
                    <a:pt x="52" y="14"/>
                  </a:lnTo>
                  <a:lnTo>
                    <a:pt x="50" y="14"/>
                  </a:lnTo>
                  <a:lnTo>
                    <a:pt x="48" y="12"/>
                  </a:lnTo>
                  <a:lnTo>
                    <a:pt x="44" y="10"/>
                  </a:lnTo>
                  <a:lnTo>
                    <a:pt x="40" y="10"/>
                  </a:lnTo>
                  <a:lnTo>
                    <a:pt x="40" y="8"/>
                  </a:lnTo>
                  <a:lnTo>
                    <a:pt x="40" y="8"/>
                  </a:lnTo>
                  <a:lnTo>
                    <a:pt x="38" y="8"/>
                  </a:lnTo>
                  <a:lnTo>
                    <a:pt x="38" y="6"/>
                  </a:lnTo>
                  <a:lnTo>
                    <a:pt x="36" y="4"/>
                  </a:lnTo>
                  <a:lnTo>
                    <a:pt x="34" y="2"/>
                  </a:lnTo>
                  <a:lnTo>
                    <a:pt x="32" y="0"/>
                  </a:lnTo>
                  <a:lnTo>
                    <a:pt x="32" y="0"/>
                  </a:lnTo>
                  <a:lnTo>
                    <a:pt x="32" y="0"/>
                  </a:lnTo>
                  <a:lnTo>
                    <a:pt x="32" y="0"/>
                  </a:lnTo>
                  <a:lnTo>
                    <a:pt x="30" y="0"/>
                  </a:lnTo>
                  <a:lnTo>
                    <a:pt x="30" y="0"/>
                  </a:lnTo>
                  <a:lnTo>
                    <a:pt x="30" y="0"/>
                  </a:lnTo>
                  <a:lnTo>
                    <a:pt x="30" y="0"/>
                  </a:lnTo>
                  <a:lnTo>
                    <a:pt x="30" y="2"/>
                  </a:lnTo>
                  <a:lnTo>
                    <a:pt x="30" y="2"/>
                  </a:lnTo>
                  <a:lnTo>
                    <a:pt x="30" y="4"/>
                  </a:lnTo>
                  <a:lnTo>
                    <a:pt x="30" y="6"/>
                  </a:lnTo>
                  <a:lnTo>
                    <a:pt x="30" y="8"/>
                  </a:lnTo>
                  <a:lnTo>
                    <a:pt x="30" y="8"/>
                  </a:lnTo>
                  <a:lnTo>
                    <a:pt x="30" y="10"/>
                  </a:lnTo>
                  <a:lnTo>
                    <a:pt x="30" y="10"/>
                  </a:lnTo>
                  <a:lnTo>
                    <a:pt x="28" y="10"/>
                  </a:lnTo>
                  <a:lnTo>
                    <a:pt x="28" y="10"/>
                  </a:lnTo>
                  <a:lnTo>
                    <a:pt x="28" y="10"/>
                  </a:lnTo>
                  <a:lnTo>
                    <a:pt x="26" y="10"/>
                  </a:lnTo>
                  <a:lnTo>
                    <a:pt x="26" y="10"/>
                  </a:lnTo>
                  <a:lnTo>
                    <a:pt x="24" y="10"/>
                  </a:lnTo>
                  <a:lnTo>
                    <a:pt x="20" y="8"/>
                  </a:lnTo>
                  <a:lnTo>
                    <a:pt x="18" y="8"/>
                  </a:lnTo>
                  <a:lnTo>
                    <a:pt x="18"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23" name="Freeform 504"/>
            <p:cNvSpPr>
              <a:spLocks/>
            </p:cNvSpPr>
            <p:nvPr/>
          </p:nvSpPr>
          <p:spPr bwMode="auto">
            <a:xfrm>
              <a:off x="2339680" y="4119660"/>
              <a:ext cx="58891" cy="34641"/>
            </a:xfrm>
            <a:custGeom>
              <a:avLst/>
              <a:gdLst>
                <a:gd name="T0" fmla="*/ 8 w 34"/>
                <a:gd name="T1" fmla="*/ 2 h 20"/>
                <a:gd name="T2" fmla="*/ 8 w 34"/>
                <a:gd name="T3" fmla="*/ 2 h 20"/>
                <a:gd name="T4" fmla="*/ 10 w 34"/>
                <a:gd name="T5" fmla="*/ 0 h 20"/>
                <a:gd name="T6" fmla="*/ 10 w 34"/>
                <a:gd name="T7" fmla="*/ 0 h 20"/>
                <a:gd name="T8" fmla="*/ 12 w 34"/>
                <a:gd name="T9" fmla="*/ 0 h 20"/>
                <a:gd name="T10" fmla="*/ 14 w 34"/>
                <a:gd name="T11" fmla="*/ 0 h 20"/>
                <a:gd name="T12" fmla="*/ 18 w 34"/>
                <a:gd name="T13" fmla="*/ 0 h 20"/>
                <a:gd name="T14" fmla="*/ 20 w 34"/>
                <a:gd name="T15" fmla="*/ 2 h 20"/>
                <a:gd name="T16" fmla="*/ 24 w 34"/>
                <a:gd name="T17" fmla="*/ 2 h 20"/>
                <a:gd name="T18" fmla="*/ 26 w 34"/>
                <a:gd name="T19" fmla="*/ 2 h 20"/>
                <a:gd name="T20" fmla="*/ 28 w 34"/>
                <a:gd name="T21" fmla="*/ 4 h 20"/>
                <a:gd name="T22" fmla="*/ 30 w 34"/>
                <a:gd name="T23" fmla="*/ 4 h 20"/>
                <a:gd name="T24" fmla="*/ 32 w 34"/>
                <a:gd name="T25" fmla="*/ 4 h 20"/>
                <a:gd name="T26" fmla="*/ 32 w 34"/>
                <a:gd name="T27" fmla="*/ 6 h 20"/>
                <a:gd name="T28" fmla="*/ 34 w 34"/>
                <a:gd name="T29" fmla="*/ 6 h 20"/>
                <a:gd name="T30" fmla="*/ 34 w 34"/>
                <a:gd name="T31" fmla="*/ 6 h 20"/>
                <a:gd name="T32" fmla="*/ 34 w 34"/>
                <a:gd name="T33" fmla="*/ 8 h 20"/>
                <a:gd name="T34" fmla="*/ 34 w 34"/>
                <a:gd name="T35" fmla="*/ 8 h 20"/>
                <a:gd name="T36" fmla="*/ 34 w 34"/>
                <a:gd name="T37" fmla="*/ 8 h 20"/>
                <a:gd name="T38" fmla="*/ 34 w 34"/>
                <a:gd name="T39" fmla="*/ 10 h 20"/>
                <a:gd name="T40" fmla="*/ 34 w 34"/>
                <a:gd name="T41" fmla="*/ 12 h 20"/>
                <a:gd name="T42" fmla="*/ 32 w 34"/>
                <a:gd name="T43" fmla="*/ 12 h 20"/>
                <a:gd name="T44" fmla="*/ 32 w 34"/>
                <a:gd name="T45" fmla="*/ 14 h 20"/>
                <a:gd name="T46" fmla="*/ 30 w 34"/>
                <a:gd name="T47" fmla="*/ 16 h 20"/>
                <a:gd name="T48" fmla="*/ 30 w 34"/>
                <a:gd name="T49" fmla="*/ 16 h 20"/>
                <a:gd name="T50" fmla="*/ 30 w 34"/>
                <a:gd name="T51" fmla="*/ 18 h 20"/>
                <a:gd name="T52" fmla="*/ 28 w 34"/>
                <a:gd name="T53" fmla="*/ 18 h 20"/>
                <a:gd name="T54" fmla="*/ 28 w 34"/>
                <a:gd name="T55" fmla="*/ 18 h 20"/>
                <a:gd name="T56" fmla="*/ 26 w 34"/>
                <a:gd name="T57" fmla="*/ 18 h 20"/>
                <a:gd name="T58" fmla="*/ 24 w 34"/>
                <a:gd name="T59" fmla="*/ 18 h 20"/>
                <a:gd name="T60" fmla="*/ 20 w 34"/>
                <a:gd name="T61" fmla="*/ 20 h 20"/>
                <a:gd name="T62" fmla="*/ 18 w 34"/>
                <a:gd name="T63" fmla="*/ 20 h 20"/>
                <a:gd name="T64" fmla="*/ 16 w 34"/>
                <a:gd name="T65" fmla="*/ 18 h 20"/>
                <a:gd name="T66" fmla="*/ 14 w 34"/>
                <a:gd name="T67" fmla="*/ 18 h 20"/>
                <a:gd name="T68" fmla="*/ 12 w 34"/>
                <a:gd name="T69" fmla="*/ 18 h 20"/>
                <a:gd name="T70" fmla="*/ 10 w 34"/>
                <a:gd name="T71" fmla="*/ 18 h 20"/>
                <a:gd name="T72" fmla="*/ 8 w 34"/>
                <a:gd name="T73" fmla="*/ 18 h 20"/>
                <a:gd name="T74" fmla="*/ 8 w 34"/>
                <a:gd name="T75" fmla="*/ 16 h 20"/>
                <a:gd name="T76" fmla="*/ 6 w 34"/>
                <a:gd name="T77" fmla="*/ 16 h 20"/>
                <a:gd name="T78" fmla="*/ 4 w 34"/>
                <a:gd name="T79" fmla="*/ 14 h 20"/>
                <a:gd name="T80" fmla="*/ 2 w 34"/>
                <a:gd name="T81" fmla="*/ 14 h 20"/>
                <a:gd name="T82" fmla="*/ 2 w 34"/>
                <a:gd name="T83" fmla="*/ 12 h 20"/>
                <a:gd name="T84" fmla="*/ 2 w 34"/>
                <a:gd name="T85" fmla="*/ 12 h 20"/>
                <a:gd name="T86" fmla="*/ 0 w 34"/>
                <a:gd name="T87" fmla="*/ 12 h 20"/>
                <a:gd name="T88" fmla="*/ 0 w 34"/>
                <a:gd name="T89" fmla="*/ 10 h 20"/>
                <a:gd name="T90" fmla="*/ 0 w 34"/>
                <a:gd name="T91" fmla="*/ 10 h 20"/>
                <a:gd name="T92" fmla="*/ 0 w 34"/>
                <a:gd name="T93" fmla="*/ 10 h 20"/>
                <a:gd name="T94" fmla="*/ 2 w 34"/>
                <a:gd name="T95" fmla="*/ 8 h 20"/>
                <a:gd name="T96" fmla="*/ 2 w 34"/>
                <a:gd name="T97" fmla="*/ 8 h 20"/>
                <a:gd name="T98" fmla="*/ 4 w 34"/>
                <a:gd name="T99" fmla="*/ 6 h 20"/>
                <a:gd name="T100" fmla="*/ 4 w 34"/>
                <a:gd name="T101" fmla="*/ 4 h 20"/>
                <a:gd name="T102" fmla="*/ 6 w 34"/>
                <a:gd name="T103" fmla="*/ 2 h 20"/>
                <a:gd name="T104" fmla="*/ 8 w 34"/>
                <a:gd name="T105" fmla="*/ 2 h 20"/>
                <a:gd name="T106" fmla="*/ 8 w 34"/>
                <a:gd name="T10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20">
                  <a:moveTo>
                    <a:pt x="8" y="2"/>
                  </a:moveTo>
                  <a:lnTo>
                    <a:pt x="8" y="2"/>
                  </a:lnTo>
                  <a:lnTo>
                    <a:pt x="10" y="0"/>
                  </a:lnTo>
                  <a:lnTo>
                    <a:pt x="10" y="0"/>
                  </a:lnTo>
                  <a:lnTo>
                    <a:pt x="12" y="0"/>
                  </a:lnTo>
                  <a:lnTo>
                    <a:pt x="14" y="0"/>
                  </a:lnTo>
                  <a:lnTo>
                    <a:pt x="18" y="0"/>
                  </a:lnTo>
                  <a:lnTo>
                    <a:pt x="20" y="2"/>
                  </a:lnTo>
                  <a:lnTo>
                    <a:pt x="24" y="2"/>
                  </a:lnTo>
                  <a:lnTo>
                    <a:pt x="26" y="2"/>
                  </a:lnTo>
                  <a:lnTo>
                    <a:pt x="28" y="4"/>
                  </a:lnTo>
                  <a:lnTo>
                    <a:pt x="30" y="4"/>
                  </a:lnTo>
                  <a:lnTo>
                    <a:pt x="32" y="4"/>
                  </a:lnTo>
                  <a:lnTo>
                    <a:pt x="32" y="6"/>
                  </a:lnTo>
                  <a:lnTo>
                    <a:pt x="34" y="6"/>
                  </a:lnTo>
                  <a:lnTo>
                    <a:pt x="34" y="6"/>
                  </a:lnTo>
                  <a:lnTo>
                    <a:pt x="34" y="8"/>
                  </a:lnTo>
                  <a:lnTo>
                    <a:pt x="34" y="8"/>
                  </a:lnTo>
                  <a:lnTo>
                    <a:pt x="34" y="8"/>
                  </a:lnTo>
                  <a:lnTo>
                    <a:pt x="34" y="10"/>
                  </a:lnTo>
                  <a:lnTo>
                    <a:pt x="34" y="12"/>
                  </a:lnTo>
                  <a:lnTo>
                    <a:pt x="32" y="12"/>
                  </a:lnTo>
                  <a:lnTo>
                    <a:pt x="32" y="14"/>
                  </a:lnTo>
                  <a:lnTo>
                    <a:pt x="30" y="16"/>
                  </a:lnTo>
                  <a:lnTo>
                    <a:pt x="30" y="16"/>
                  </a:lnTo>
                  <a:lnTo>
                    <a:pt x="30" y="18"/>
                  </a:lnTo>
                  <a:lnTo>
                    <a:pt x="28" y="18"/>
                  </a:lnTo>
                  <a:lnTo>
                    <a:pt x="28" y="18"/>
                  </a:lnTo>
                  <a:lnTo>
                    <a:pt x="26" y="18"/>
                  </a:lnTo>
                  <a:lnTo>
                    <a:pt x="24" y="18"/>
                  </a:lnTo>
                  <a:lnTo>
                    <a:pt x="20" y="20"/>
                  </a:lnTo>
                  <a:lnTo>
                    <a:pt x="18" y="20"/>
                  </a:lnTo>
                  <a:lnTo>
                    <a:pt x="16" y="18"/>
                  </a:lnTo>
                  <a:lnTo>
                    <a:pt x="14" y="18"/>
                  </a:lnTo>
                  <a:lnTo>
                    <a:pt x="12" y="18"/>
                  </a:lnTo>
                  <a:lnTo>
                    <a:pt x="10" y="18"/>
                  </a:lnTo>
                  <a:lnTo>
                    <a:pt x="8" y="18"/>
                  </a:lnTo>
                  <a:lnTo>
                    <a:pt x="8" y="16"/>
                  </a:lnTo>
                  <a:lnTo>
                    <a:pt x="6" y="16"/>
                  </a:lnTo>
                  <a:lnTo>
                    <a:pt x="4" y="14"/>
                  </a:lnTo>
                  <a:lnTo>
                    <a:pt x="2" y="14"/>
                  </a:lnTo>
                  <a:lnTo>
                    <a:pt x="2" y="12"/>
                  </a:lnTo>
                  <a:lnTo>
                    <a:pt x="2" y="12"/>
                  </a:lnTo>
                  <a:lnTo>
                    <a:pt x="0" y="12"/>
                  </a:lnTo>
                  <a:lnTo>
                    <a:pt x="0" y="10"/>
                  </a:lnTo>
                  <a:lnTo>
                    <a:pt x="0" y="10"/>
                  </a:lnTo>
                  <a:lnTo>
                    <a:pt x="0" y="10"/>
                  </a:lnTo>
                  <a:lnTo>
                    <a:pt x="2" y="8"/>
                  </a:lnTo>
                  <a:lnTo>
                    <a:pt x="2" y="8"/>
                  </a:lnTo>
                  <a:lnTo>
                    <a:pt x="4" y="6"/>
                  </a:lnTo>
                  <a:lnTo>
                    <a:pt x="4" y="4"/>
                  </a:lnTo>
                  <a:lnTo>
                    <a:pt x="6" y="2"/>
                  </a:lnTo>
                  <a:lnTo>
                    <a:pt x="8" y="2"/>
                  </a:lnTo>
                  <a:lnTo>
                    <a:pt x="8"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24" name="Freeform 505"/>
            <p:cNvSpPr>
              <a:spLocks/>
            </p:cNvSpPr>
            <p:nvPr/>
          </p:nvSpPr>
          <p:spPr bwMode="auto">
            <a:xfrm>
              <a:off x="2339680" y="4119660"/>
              <a:ext cx="58891" cy="34641"/>
            </a:xfrm>
            <a:custGeom>
              <a:avLst/>
              <a:gdLst>
                <a:gd name="T0" fmla="*/ 8 w 34"/>
                <a:gd name="T1" fmla="*/ 2 h 20"/>
                <a:gd name="T2" fmla="*/ 8 w 34"/>
                <a:gd name="T3" fmla="*/ 2 h 20"/>
                <a:gd name="T4" fmla="*/ 10 w 34"/>
                <a:gd name="T5" fmla="*/ 0 h 20"/>
                <a:gd name="T6" fmla="*/ 10 w 34"/>
                <a:gd name="T7" fmla="*/ 0 h 20"/>
                <a:gd name="T8" fmla="*/ 12 w 34"/>
                <a:gd name="T9" fmla="*/ 0 h 20"/>
                <a:gd name="T10" fmla="*/ 14 w 34"/>
                <a:gd name="T11" fmla="*/ 0 h 20"/>
                <a:gd name="T12" fmla="*/ 18 w 34"/>
                <a:gd name="T13" fmla="*/ 0 h 20"/>
                <a:gd name="T14" fmla="*/ 20 w 34"/>
                <a:gd name="T15" fmla="*/ 2 h 20"/>
                <a:gd name="T16" fmla="*/ 24 w 34"/>
                <a:gd name="T17" fmla="*/ 2 h 20"/>
                <a:gd name="T18" fmla="*/ 26 w 34"/>
                <a:gd name="T19" fmla="*/ 2 h 20"/>
                <a:gd name="T20" fmla="*/ 28 w 34"/>
                <a:gd name="T21" fmla="*/ 4 h 20"/>
                <a:gd name="T22" fmla="*/ 30 w 34"/>
                <a:gd name="T23" fmla="*/ 4 h 20"/>
                <a:gd name="T24" fmla="*/ 32 w 34"/>
                <a:gd name="T25" fmla="*/ 4 h 20"/>
                <a:gd name="T26" fmla="*/ 32 w 34"/>
                <a:gd name="T27" fmla="*/ 6 h 20"/>
                <a:gd name="T28" fmla="*/ 34 w 34"/>
                <a:gd name="T29" fmla="*/ 6 h 20"/>
                <a:gd name="T30" fmla="*/ 34 w 34"/>
                <a:gd name="T31" fmla="*/ 6 h 20"/>
                <a:gd name="T32" fmla="*/ 34 w 34"/>
                <a:gd name="T33" fmla="*/ 8 h 20"/>
                <a:gd name="T34" fmla="*/ 34 w 34"/>
                <a:gd name="T35" fmla="*/ 8 h 20"/>
                <a:gd name="T36" fmla="*/ 34 w 34"/>
                <a:gd name="T37" fmla="*/ 8 h 20"/>
                <a:gd name="T38" fmla="*/ 34 w 34"/>
                <a:gd name="T39" fmla="*/ 10 h 20"/>
                <a:gd name="T40" fmla="*/ 34 w 34"/>
                <a:gd name="T41" fmla="*/ 12 h 20"/>
                <a:gd name="T42" fmla="*/ 32 w 34"/>
                <a:gd name="T43" fmla="*/ 12 h 20"/>
                <a:gd name="T44" fmla="*/ 32 w 34"/>
                <a:gd name="T45" fmla="*/ 14 h 20"/>
                <a:gd name="T46" fmla="*/ 30 w 34"/>
                <a:gd name="T47" fmla="*/ 16 h 20"/>
                <a:gd name="T48" fmla="*/ 30 w 34"/>
                <a:gd name="T49" fmla="*/ 16 h 20"/>
                <a:gd name="T50" fmla="*/ 30 w 34"/>
                <a:gd name="T51" fmla="*/ 18 h 20"/>
                <a:gd name="T52" fmla="*/ 28 w 34"/>
                <a:gd name="T53" fmla="*/ 18 h 20"/>
                <a:gd name="T54" fmla="*/ 28 w 34"/>
                <a:gd name="T55" fmla="*/ 18 h 20"/>
                <a:gd name="T56" fmla="*/ 26 w 34"/>
                <a:gd name="T57" fmla="*/ 18 h 20"/>
                <a:gd name="T58" fmla="*/ 24 w 34"/>
                <a:gd name="T59" fmla="*/ 18 h 20"/>
                <a:gd name="T60" fmla="*/ 20 w 34"/>
                <a:gd name="T61" fmla="*/ 20 h 20"/>
                <a:gd name="T62" fmla="*/ 18 w 34"/>
                <a:gd name="T63" fmla="*/ 20 h 20"/>
                <a:gd name="T64" fmla="*/ 16 w 34"/>
                <a:gd name="T65" fmla="*/ 18 h 20"/>
                <a:gd name="T66" fmla="*/ 14 w 34"/>
                <a:gd name="T67" fmla="*/ 18 h 20"/>
                <a:gd name="T68" fmla="*/ 12 w 34"/>
                <a:gd name="T69" fmla="*/ 18 h 20"/>
                <a:gd name="T70" fmla="*/ 10 w 34"/>
                <a:gd name="T71" fmla="*/ 18 h 20"/>
                <a:gd name="T72" fmla="*/ 8 w 34"/>
                <a:gd name="T73" fmla="*/ 18 h 20"/>
                <a:gd name="T74" fmla="*/ 8 w 34"/>
                <a:gd name="T75" fmla="*/ 16 h 20"/>
                <a:gd name="T76" fmla="*/ 6 w 34"/>
                <a:gd name="T77" fmla="*/ 16 h 20"/>
                <a:gd name="T78" fmla="*/ 4 w 34"/>
                <a:gd name="T79" fmla="*/ 14 h 20"/>
                <a:gd name="T80" fmla="*/ 2 w 34"/>
                <a:gd name="T81" fmla="*/ 14 h 20"/>
                <a:gd name="T82" fmla="*/ 2 w 34"/>
                <a:gd name="T83" fmla="*/ 12 h 20"/>
                <a:gd name="T84" fmla="*/ 2 w 34"/>
                <a:gd name="T85" fmla="*/ 12 h 20"/>
                <a:gd name="T86" fmla="*/ 0 w 34"/>
                <a:gd name="T87" fmla="*/ 12 h 20"/>
                <a:gd name="T88" fmla="*/ 0 w 34"/>
                <a:gd name="T89" fmla="*/ 10 h 20"/>
                <a:gd name="T90" fmla="*/ 0 w 34"/>
                <a:gd name="T91" fmla="*/ 10 h 20"/>
                <a:gd name="T92" fmla="*/ 0 w 34"/>
                <a:gd name="T93" fmla="*/ 10 h 20"/>
                <a:gd name="T94" fmla="*/ 2 w 34"/>
                <a:gd name="T95" fmla="*/ 8 h 20"/>
                <a:gd name="T96" fmla="*/ 2 w 34"/>
                <a:gd name="T97" fmla="*/ 8 h 20"/>
                <a:gd name="T98" fmla="*/ 4 w 34"/>
                <a:gd name="T99" fmla="*/ 6 h 20"/>
                <a:gd name="T100" fmla="*/ 4 w 34"/>
                <a:gd name="T101" fmla="*/ 4 h 20"/>
                <a:gd name="T102" fmla="*/ 6 w 34"/>
                <a:gd name="T103" fmla="*/ 2 h 20"/>
                <a:gd name="T104" fmla="*/ 8 w 34"/>
                <a:gd name="T105" fmla="*/ 2 h 20"/>
                <a:gd name="T106" fmla="*/ 8 w 34"/>
                <a:gd name="T10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20">
                  <a:moveTo>
                    <a:pt x="8" y="2"/>
                  </a:moveTo>
                  <a:lnTo>
                    <a:pt x="8" y="2"/>
                  </a:lnTo>
                  <a:lnTo>
                    <a:pt x="10" y="0"/>
                  </a:lnTo>
                  <a:lnTo>
                    <a:pt x="10" y="0"/>
                  </a:lnTo>
                  <a:lnTo>
                    <a:pt x="12" y="0"/>
                  </a:lnTo>
                  <a:lnTo>
                    <a:pt x="14" y="0"/>
                  </a:lnTo>
                  <a:lnTo>
                    <a:pt x="18" y="0"/>
                  </a:lnTo>
                  <a:lnTo>
                    <a:pt x="20" y="2"/>
                  </a:lnTo>
                  <a:lnTo>
                    <a:pt x="24" y="2"/>
                  </a:lnTo>
                  <a:lnTo>
                    <a:pt x="26" y="2"/>
                  </a:lnTo>
                  <a:lnTo>
                    <a:pt x="28" y="4"/>
                  </a:lnTo>
                  <a:lnTo>
                    <a:pt x="30" y="4"/>
                  </a:lnTo>
                  <a:lnTo>
                    <a:pt x="32" y="4"/>
                  </a:lnTo>
                  <a:lnTo>
                    <a:pt x="32" y="6"/>
                  </a:lnTo>
                  <a:lnTo>
                    <a:pt x="34" y="6"/>
                  </a:lnTo>
                  <a:lnTo>
                    <a:pt x="34" y="6"/>
                  </a:lnTo>
                  <a:lnTo>
                    <a:pt x="34" y="8"/>
                  </a:lnTo>
                  <a:lnTo>
                    <a:pt x="34" y="8"/>
                  </a:lnTo>
                  <a:lnTo>
                    <a:pt x="34" y="8"/>
                  </a:lnTo>
                  <a:lnTo>
                    <a:pt x="34" y="10"/>
                  </a:lnTo>
                  <a:lnTo>
                    <a:pt x="34" y="12"/>
                  </a:lnTo>
                  <a:lnTo>
                    <a:pt x="32" y="12"/>
                  </a:lnTo>
                  <a:lnTo>
                    <a:pt x="32" y="14"/>
                  </a:lnTo>
                  <a:lnTo>
                    <a:pt x="30" y="16"/>
                  </a:lnTo>
                  <a:lnTo>
                    <a:pt x="30" y="16"/>
                  </a:lnTo>
                  <a:lnTo>
                    <a:pt x="30" y="18"/>
                  </a:lnTo>
                  <a:lnTo>
                    <a:pt x="28" y="18"/>
                  </a:lnTo>
                  <a:lnTo>
                    <a:pt x="28" y="18"/>
                  </a:lnTo>
                  <a:lnTo>
                    <a:pt x="26" y="18"/>
                  </a:lnTo>
                  <a:lnTo>
                    <a:pt x="24" y="18"/>
                  </a:lnTo>
                  <a:lnTo>
                    <a:pt x="20" y="20"/>
                  </a:lnTo>
                  <a:lnTo>
                    <a:pt x="18" y="20"/>
                  </a:lnTo>
                  <a:lnTo>
                    <a:pt x="16" y="18"/>
                  </a:lnTo>
                  <a:lnTo>
                    <a:pt x="14" y="18"/>
                  </a:lnTo>
                  <a:lnTo>
                    <a:pt x="12" y="18"/>
                  </a:lnTo>
                  <a:lnTo>
                    <a:pt x="10" y="18"/>
                  </a:lnTo>
                  <a:lnTo>
                    <a:pt x="8" y="18"/>
                  </a:lnTo>
                  <a:lnTo>
                    <a:pt x="8" y="16"/>
                  </a:lnTo>
                  <a:lnTo>
                    <a:pt x="6" y="16"/>
                  </a:lnTo>
                  <a:lnTo>
                    <a:pt x="4" y="14"/>
                  </a:lnTo>
                  <a:lnTo>
                    <a:pt x="2" y="14"/>
                  </a:lnTo>
                  <a:lnTo>
                    <a:pt x="2" y="12"/>
                  </a:lnTo>
                  <a:lnTo>
                    <a:pt x="2" y="12"/>
                  </a:lnTo>
                  <a:lnTo>
                    <a:pt x="0" y="12"/>
                  </a:lnTo>
                  <a:lnTo>
                    <a:pt x="0" y="10"/>
                  </a:lnTo>
                  <a:lnTo>
                    <a:pt x="0" y="10"/>
                  </a:lnTo>
                  <a:lnTo>
                    <a:pt x="0" y="10"/>
                  </a:lnTo>
                  <a:lnTo>
                    <a:pt x="2" y="8"/>
                  </a:lnTo>
                  <a:lnTo>
                    <a:pt x="2" y="8"/>
                  </a:lnTo>
                  <a:lnTo>
                    <a:pt x="4" y="6"/>
                  </a:lnTo>
                  <a:lnTo>
                    <a:pt x="4" y="4"/>
                  </a:lnTo>
                  <a:lnTo>
                    <a:pt x="6" y="2"/>
                  </a:lnTo>
                  <a:lnTo>
                    <a:pt x="8" y="2"/>
                  </a:lnTo>
                  <a:lnTo>
                    <a:pt x="8"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25" name="Freeform 506"/>
            <p:cNvSpPr>
              <a:spLocks/>
            </p:cNvSpPr>
            <p:nvPr/>
          </p:nvSpPr>
          <p:spPr bwMode="auto">
            <a:xfrm>
              <a:off x="2502495" y="4074626"/>
              <a:ext cx="96996" cy="69283"/>
            </a:xfrm>
            <a:custGeom>
              <a:avLst/>
              <a:gdLst>
                <a:gd name="T0" fmla="*/ 0 w 56"/>
                <a:gd name="T1" fmla="*/ 40 h 40"/>
                <a:gd name="T2" fmla="*/ 4 w 56"/>
                <a:gd name="T3" fmla="*/ 32 h 40"/>
                <a:gd name="T4" fmla="*/ 4 w 56"/>
                <a:gd name="T5" fmla="*/ 28 h 40"/>
                <a:gd name="T6" fmla="*/ 6 w 56"/>
                <a:gd name="T7" fmla="*/ 24 h 40"/>
                <a:gd name="T8" fmla="*/ 6 w 56"/>
                <a:gd name="T9" fmla="*/ 18 h 40"/>
                <a:gd name="T10" fmla="*/ 4 w 56"/>
                <a:gd name="T11" fmla="*/ 8 h 40"/>
                <a:gd name="T12" fmla="*/ 6 w 56"/>
                <a:gd name="T13" fmla="*/ 0 h 40"/>
                <a:gd name="T14" fmla="*/ 12 w 56"/>
                <a:gd name="T15" fmla="*/ 2 h 40"/>
                <a:gd name="T16" fmla="*/ 16 w 56"/>
                <a:gd name="T17" fmla="*/ 2 h 40"/>
                <a:gd name="T18" fmla="*/ 18 w 56"/>
                <a:gd name="T19" fmla="*/ 4 h 40"/>
                <a:gd name="T20" fmla="*/ 20 w 56"/>
                <a:gd name="T21" fmla="*/ 6 h 40"/>
                <a:gd name="T22" fmla="*/ 22 w 56"/>
                <a:gd name="T23" fmla="*/ 8 h 40"/>
                <a:gd name="T24" fmla="*/ 24 w 56"/>
                <a:gd name="T25" fmla="*/ 10 h 40"/>
                <a:gd name="T26" fmla="*/ 28 w 56"/>
                <a:gd name="T27" fmla="*/ 12 h 40"/>
                <a:gd name="T28" fmla="*/ 30 w 56"/>
                <a:gd name="T29" fmla="*/ 12 h 40"/>
                <a:gd name="T30" fmla="*/ 32 w 56"/>
                <a:gd name="T31" fmla="*/ 12 h 40"/>
                <a:gd name="T32" fmla="*/ 36 w 56"/>
                <a:gd name="T33" fmla="*/ 12 h 40"/>
                <a:gd name="T34" fmla="*/ 36 w 56"/>
                <a:gd name="T35" fmla="*/ 12 h 40"/>
                <a:gd name="T36" fmla="*/ 36 w 56"/>
                <a:gd name="T37" fmla="*/ 14 h 40"/>
                <a:gd name="T38" fmla="*/ 38 w 56"/>
                <a:gd name="T39" fmla="*/ 16 h 40"/>
                <a:gd name="T40" fmla="*/ 38 w 56"/>
                <a:gd name="T41" fmla="*/ 20 h 40"/>
                <a:gd name="T42" fmla="*/ 38 w 56"/>
                <a:gd name="T43" fmla="*/ 22 h 40"/>
                <a:gd name="T44" fmla="*/ 42 w 56"/>
                <a:gd name="T45" fmla="*/ 22 h 40"/>
                <a:gd name="T46" fmla="*/ 46 w 56"/>
                <a:gd name="T47" fmla="*/ 24 h 40"/>
                <a:gd name="T48" fmla="*/ 52 w 56"/>
                <a:gd name="T49" fmla="*/ 28 h 40"/>
                <a:gd name="T50" fmla="*/ 54 w 56"/>
                <a:gd name="T51" fmla="*/ 30 h 40"/>
                <a:gd name="T52" fmla="*/ 56 w 56"/>
                <a:gd name="T53" fmla="*/ 30 h 40"/>
                <a:gd name="T54" fmla="*/ 56 w 56"/>
                <a:gd name="T55" fmla="*/ 32 h 40"/>
                <a:gd name="T56" fmla="*/ 56 w 56"/>
                <a:gd name="T57" fmla="*/ 34 h 40"/>
                <a:gd name="T58" fmla="*/ 54 w 56"/>
                <a:gd name="T59" fmla="*/ 36 h 40"/>
                <a:gd name="T60" fmla="*/ 52 w 56"/>
                <a:gd name="T61" fmla="*/ 38 h 40"/>
                <a:gd name="T62" fmla="*/ 50 w 56"/>
                <a:gd name="T63" fmla="*/ 38 h 40"/>
                <a:gd name="T64" fmla="*/ 46 w 56"/>
                <a:gd name="T65" fmla="*/ 38 h 40"/>
                <a:gd name="T66" fmla="*/ 38 w 56"/>
                <a:gd name="T67" fmla="*/ 38 h 40"/>
                <a:gd name="T68" fmla="*/ 28 w 56"/>
                <a:gd name="T69" fmla="*/ 38 h 40"/>
                <a:gd name="T70" fmla="*/ 20 w 56"/>
                <a:gd name="T71" fmla="*/ 38 h 40"/>
                <a:gd name="T72" fmla="*/ 14 w 56"/>
                <a:gd name="T73" fmla="*/ 38 h 40"/>
                <a:gd name="T74" fmla="*/ 0 w 56"/>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40">
                  <a:moveTo>
                    <a:pt x="0" y="40"/>
                  </a:moveTo>
                  <a:lnTo>
                    <a:pt x="0" y="40"/>
                  </a:lnTo>
                  <a:lnTo>
                    <a:pt x="2" y="36"/>
                  </a:lnTo>
                  <a:lnTo>
                    <a:pt x="4" y="32"/>
                  </a:lnTo>
                  <a:lnTo>
                    <a:pt x="4" y="30"/>
                  </a:lnTo>
                  <a:lnTo>
                    <a:pt x="4" y="28"/>
                  </a:lnTo>
                  <a:lnTo>
                    <a:pt x="6" y="26"/>
                  </a:lnTo>
                  <a:lnTo>
                    <a:pt x="6" y="24"/>
                  </a:lnTo>
                  <a:lnTo>
                    <a:pt x="6" y="22"/>
                  </a:lnTo>
                  <a:lnTo>
                    <a:pt x="6" y="18"/>
                  </a:lnTo>
                  <a:lnTo>
                    <a:pt x="4" y="12"/>
                  </a:lnTo>
                  <a:lnTo>
                    <a:pt x="4" y="8"/>
                  </a:lnTo>
                  <a:lnTo>
                    <a:pt x="4" y="0"/>
                  </a:lnTo>
                  <a:lnTo>
                    <a:pt x="6" y="0"/>
                  </a:lnTo>
                  <a:lnTo>
                    <a:pt x="10" y="2"/>
                  </a:lnTo>
                  <a:lnTo>
                    <a:pt x="12" y="2"/>
                  </a:lnTo>
                  <a:lnTo>
                    <a:pt x="14" y="2"/>
                  </a:lnTo>
                  <a:lnTo>
                    <a:pt x="16" y="2"/>
                  </a:lnTo>
                  <a:lnTo>
                    <a:pt x="18" y="4"/>
                  </a:lnTo>
                  <a:lnTo>
                    <a:pt x="18" y="4"/>
                  </a:lnTo>
                  <a:lnTo>
                    <a:pt x="20" y="4"/>
                  </a:lnTo>
                  <a:lnTo>
                    <a:pt x="20" y="6"/>
                  </a:lnTo>
                  <a:lnTo>
                    <a:pt x="22" y="8"/>
                  </a:lnTo>
                  <a:lnTo>
                    <a:pt x="22" y="8"/>
                  </a:lnTo>
                  <a:lnTo>
                    <a:pt x="24" y="10"/>
                  </a:lnTo>
                  <a:lnTo>
                    <a:pt x="24" y="10"/>
                  </a:lnTo>
                  <a:lnTo>
                    <a:pt x="26" y="10"/>
                  </a:lnTo>
                  <a:lnTo>
                    <a:pt x="28" y="12"/>
                  </a:lnTo>
                  <a:lnTo>
                    <a:pt x="30" y="12"/>
                  </a:lnTo>
                  <a:lnTo>
                    <a:pt x="30" y="12"/>
                  </a:lnTo>
                  <a:lnTo>
                    <a:pt x="30" y="12"/>
                  </a:lnTo>
                  <a:lnTo>
                    <a:pt x="32" y="12"/>
                  </a:lnTo>
                  <a:lnTo>
                    <a:pt x="34" y="12"/>
                  </a:lnTo>
                  <a:lnTo>
                    <a:pt x="36" y="12"/>
                  </a:lnTo>
                  <a:lnTo>
                    <a:pt x="36" y="12"/>
                  </a:lnTo>
                  <a:lnTo>
                    <a:pt x="36" y="12"/>
                  </a:lnTo>
                  <a:lnTo>
                    <a:pt x="36" y="12"/>
                  </a:lnTo>
                  <a:lnTo>
                    <a:pt x="36" y="14"/>
                  </a:lnTo>
                  <a:lnTo>
                    <a:pt x="36" y="14"/>
                  </a:lnTo>
                  <a:lnTo>
                    <a:pt x="38" y="16"/>
                  </a:lnTo>
                  <a:lnTo>
                    <a:pt x="38" y="18"/>
                  </a:lnTo>
                  <a:lnTo>
                    <a:pt x="38" y="20"/>
                  </a:lnTo>
                  <a:lnTo>
                    <a:pt x="38" y="20"/>
                  </a:lnTo>
                  <a:lnTo>
                    <a:pt x="38" y="22"/>
                  </a:lnTo>
                  <a:lnTo>
                    <a:pt x="40" y="22"/>
                  </a:lnTo>
                  <a:lnTo>
                    <a:pt x="42" y="22"/>
                  </a:lnTo>
                  <a:lnTo>
                    <a:pt x="44" y="24"/>
                  </a:lnTo>
                  <a:lnTo>
                    <a:pt x="46" y="24"/>
                  </a:lnTo>
                  <a:lnTo>
                    <a:pt x="48" y="26"/>
                  </a:lnTo>
                  <a:lnTo>
                    <a:pt x="52" y="28"/>
                  </a:lnTo>
                  <a:lnTo>
                    <a:pt x="54" y="28"/>
                  </a:lnTo>
                  <a:lnTo>
                    <a:pt x="54" y="30"/>
                  </a:lnTo>
                  <a:lnTo>
                    <a:pt x="56" y="30"/>
                  </a:lnTo>
                  <a:lnTo>
                    <a:pt x="56" y="30"/>
                  </a:lnTo>
                  <a:lnTo>
                    <a:pt x="56" y="32"/>
                  </a:lnTo>
                  <a:lnTo>
                    <a:pt x="56" y="32"/>
                  </a:lnTo>
                  <a:lnTo>
                    <a:pt x="56" y="32"/>
                  </a:lnTo>
                  <a:lnTo>
                    <a:pt x="56" y="34"/>
                  </a:lnTo>
                  <a:lnTo>
                    <a:pt x="54" y="34"/>
                  </a:lnTo>
                  <a:lnTo>
                    <a:pt x="54" y="36"/>
                  </a:lnTo>
                  <a:lnTo>
                    <a:pt x="52" y="36"/>
                  </a:lnTo>
                  <a:lnTo>
                    <a:pt x="52" y="38"/>
                  </a:lnTo>
                  <a:lnTo>
                    <a:pt x="52" y="38"/>
                  </a:lnTo>
                  <a:lnTo>
                    <a:pt x="50" y="38"/>
                  </a:lnTo>
                  <a:lnTo>
                    <a:pt x="48" y="38"/>
                  </a:lnTo>
                  <a:lnTo>
                    <a:pt x="46" y="38"/>
                  </a:lnTo>
                  <a:lnTo>
                    <a:pt x="42" y="38"/>
                  </a:lnTo>
                  <a:lnTo>
                    <a:pt x="38" y="38"/>
                  </a:lnTo>
                  <a:lnTo>
                    <a:pt x="34" y="38"/>
                  </a:lnTo>
                  <a:lnTo>
                    <a:pt x="28" y="38"/>
                  </a:lnTo>
                  <a:lnTo>
                    <a:pt x="22" y="38"/>
                  </a:lnTo>
                  <a:lnTo>
                    <a:pt x="20" y="38"/>
                  </a:lnTo>
                  <a:lnTo>
                    <a:pt x="18" y="38"/>
                  </a:lnTo>
                  <a:lnTo>
                    <a:pt x="14" y="38"/>
                  </a:lnTo>
                  <a:lnTo>
                    <a:pt x="8" y="38"/>
                  </a:lnTo>
                  <a:lnTo>
                    <a:pt x="0" y="4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26" name="Freeform 507"/>
            <p:cNvSpPr>
              <a:spLocks/>
            </p:cNvSpPr>
            <p:nvPr/>
          </p:nvSpPr>
          <p:spPr bwMode="auto">
            <a:xfrm>
              <a:off x="2502495" y="4074626"/>
              <a:ext cx="96996" cy="69283"/>
            </a:xfrm>
            <a:custGeom>
              <a:avLst/>
              <a:gdLst>
                <a:gd name="T0" fmla="*/ 0 w 56"/>
                <a:gd name="T1" fmla="*/ 40 h 40"/>
                <a:gd name="T2" fmla="*/ 4 w 56"/>
                <a:gd name="T3" fmla="*/ 32 h 40"/>
                <a:gd name="T4" fmla="*/ 4 w 56"/>
                <a:gd name="T5" fmla="*/ 28 h 40"/>
                <a:gd name="T6" fmla="*/ 6 w 56"/>
                <a:gd name="T7" fmla="*/ 24 h 40"/>
                <a:gd name="T8" fmla="*/ 6 w 56"/>
                <a:gd name="T9" fmla="*/ 18 h 40"/>
                <a:gd name="T10" fmla="*/ 4 w 56"/>
                <a:gd name="T11" fmla="*/ 8 h 40"/>
                <a:gd name="T12" fmla="*/ 6 w 56"/>
                <a:gd name="T13" fmla="*/ 0 h 40"/>
                <a:gd name="T14" fmla="*/ 12 w 56"/>
                <a:gd name="T15" fmla="*/ 2 h 40"/>
                <a:gd name="T16" fmla="*/ 16 w 56"/>
                <a:gd name="T17" fmla="*/ 2 h 40"/>
                <a:gd name="T18" fmla="*/ 18 w 56"/>
                <a:gd name="T19" fmla="*/ 4 h 40"/>
                <a:gd name="T20" fmla="*/ 20 w 56"/>
                <a:gd name="T21" fmla="*/ 6 h 40"/>
                <a:gd name="T22" fmla="*/ 22 w 56"/>
                <a:gd name="T23" fmla="*/ 8 h 40"/>
                <a:gd name="T24" fmla="*/ 24 w 56"/>
                <a:gd name="T25" fmla="*/ 10 h 40"/>
                <a:gd name="T26" fmla="*/ 28 w 56"/>
                <a:gd name="T27" fmla="*/ 12 h 40"/>
                <a:gd name="T28" fmla="*/ 30 w 56"/>
                <a:gd name="T29" fmla="*/ 12 h 40"/>
                <a:gd name="T30" fmla="*/ 32 w 56"/>
                <a:gd name="T31" fmla="*/ 12 h 40"/>
                <a:gd name="T32" fmla="*/ 36 w 56"/>
                <a:gd name="T33" fmla="*/ 12 h 40"/>
                <a:gd name="T34" fmla="*/ 36 w 56"/>
                <a:gd name="T35" fmla="*/ 12 h 40"/>
                <a:gd name="T36" fmla="*/ 36 w 56"/>
                <a:gd name="T37" fmla="*/ 14 h 40"/>
                <a:gd name="T38" fmla="*/ 38 w 56"/>
                <a:gd name="T39" fmla="*/ 16 h 40"/>
                <a:gd name="T40" fmla="*/ 38 w 56"/>
                <a:gd name="T41" fmla="*/ 20 h 40"/>
                <a:gd name="T42" fmla="*/ 38 w 56"/>
                <a:gd name="T43" fmla="*/ 22 h 40"/>
                <a:gd name="T44" fmla="*/ 42 w 56"/>
                <a:gd name="T45" fmla="*/ 22 h 40"/>
                <a:gd name="T46" fmla="*/ 46 w 56"/>
                <a:gd name="T47" fmla="*/ 24 h 40"/>
                <a:gd name="T48" fmla="*/ 52 w 56"/>
                <a:gd name="T49" fmla="*/ 28 h 40"/>
                <a:gd name="T50" fmla="*/ 54 w 56"/>
                <a:gd name="T51" fmla="*/ 30 h 40"/>
                <a:gd name="T52" fmla="*/ 56 w 56"/>
                <a:gd name="T53" fmla="*/ 30 h 40"/>
                <a:gd name="T54" fmla="*/ 56 w 56"/>
                <a:gd name="T55" fmla="*/ 32 h 40"/>
                <a:gd name="T56" fmla="*/ 56 w 56"/>
                <a:gd name="T57" fmla="*/ 34 h 40"/>
                <a:gd name="T58" fmla="*/ 54 w 56"/>
                <a:gd name="T59" fmla="*/ 36 h 40"/>
                <a:gd name="T60" fmla="*/ 52 w 56"/>
                <a:gd name="T61" fmla="*/ 38 h 40"/>
                <a:gd name="T62" fmla="*/ 50 w 56"/>
                <a:gd name="T63" fmla="*/ 38 h 40"/>
                <a:gd name="T64" fmla="*/ 46 w 56"/>
                <a:gd name="T65" fmla="*/ 38 h 40"/>
                <a:gd name="T66" fmla="*/ 38 w 56"/>
                <a:gd name="T67" fmla="*/ 38 h 40"/>
                <a:gd name="T68" fmla="*/ 28 w 56"/>
                <a:gd name="T69" fmla="*/ 38 h 40"/>
                <a:gd name="T70" fmla="*/ 20 w 56"/>
                <a:gd name="T71" fmla="*/ 38 h 40"/>
                <a:gd name="T72" fmla="*/ 14 w 56"/>
                <a:gd name="T73" fmla="*/ 38 h 40"/>
                <a:gd name="T74" fmla="*/ 0 w 56"/>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40">
                  <a:moveTo>
                    <a:pt x="0" y="40"/>
                  </a:moveTo>
                  <a:lnTo>
                    <a:pt x="0" y="40"/>
                  </a:lnTo>
                  <a:lnTo>
                    <a:pt x="2" y="36"/>
                  </a:lnTo>
                  <a:lnTo>
                    <a:pt x="4" y="32"/>
                  </a:lnTo>
                  <a:lnTo>
                    <a:pt x="4" y="30"/>
                  </a:lnTo>
                  <a:lnTo>
                    <a:pt x="4" y="28"/>
                  </a:lnTo>
                  <a:lnTo>
                    <a:pt x="6" y="26"/>
                  </a:lnTo>
                  <a:lnTo>
                    <a:pt x="6" y="24"/>
                  </a:lnTo>
                  <a:lnTo>
                    <a:pt x="6" y="22"/>
                  </a:lnTo>
                  <a:lnTo>
                    <a:pt x="6" y="18"/>
                  </a:lnTo>
                  <a:lnTo>
                    <a:pt x="4" y="12"/>
                  </a:lnTo>
                  <a:lnTo>
                    <a:pt x="4" y="8"/>
                  </a:lnTo>
                  <a:lnTo>
                    <a:pt x="4" y="0"/>
                  </a:lnTo>
                  <a:lnTo>
                    <a:pt x="6" y="0"/>
                  </a:lnTo>
                  <a:lnTo>
                    <a:pt x="10" y="2"/>
                  </a:lnTo>
                  <a:lnTo>
                    <a:pt x="12" y="2"/>
                  </a:lnTo>
                  <a:lnTo>
                    <a:pt x="14" y="2"/>
                  </a:lnTo>
                  <a:lnTo>
                    <a:pt x="16" y="2"/>
                  </a:lnTo>
                  <a:lnTo>
                    <a:pt x="18" y="4"/>
                  </a:lnTo>
                  <a:lnTo>
                    <a:pt x="18" y="4"/>
                  </a:lnTo>
                  <a:lnTo>
                    <a:pt x="20" y="4"/>
                  </a:lnTo>
                  <a:lnTo>
                    <a:pt x="20" y="6"/>
                  </a:lnTo>
                  <a:lnTo>
                    <a:pt x="22" y="8"/>
                  </a:lnTo>
                  <a:lnTo>
                    <a:pt x="22" y="8"/>
                  </a:lnTo>
                  <a:lnTo>
                    <a:pt x="24" y="10"/>
                  </a:lnTo>
                  <a:lnTo>
                    <a:pt x="24" y="10"/>
                  </a:lnTo>
                  <a:lnTo>
                    <a:pt x="26" y="10"/>
                  </a:lnTo>
                  <a:lnTo>
                    <a:pt x="28" y="12"/>
                  </a:lnTo>
                  <a:lnTo>
                    <a:pt x="30" y="12"/>
                  </a:lnTo>
                  <a:lnTo>
                    <a:pt x="30" y="12"/>
                  </a:lnTo>
                  <a:lnTo>
                    <a:pt x="30" y="12"/>
                  </a:lnTo>
                  <a:lnTo>
                    <a:pt x="32" y="12"/>
                  </a:lnTo>
                  <a:lnTo>
                    <a:pt x="34" y="12"/>
                  </a:lnTo>
                  <a:lnTo>
                    <a:pt x="36" y="12"/>
                  </a:lnTo>
                  <a:lnTo>
                    <a:pt x="36" y="12"/>
                  </a:lnTo>
                  <a:lnTo>
                    <a:pt x="36" y="12"/>
                  </a:lnTo>
                  <a:lnTo>
                    <a:pt x="36" y="12"/>
                  </a:lnTo>
                  <a:lnTo>
                    <a:pt x="36" y="14"/>
                  </a:lnTo>
                  <a:lnTo>
                    <a:pt x="36" y="14"/>
                  </a:lnTo>
                  <a:lnTo>
                    <a:pt x="38" y="16"/>
                  </a:lnTo>
                  <a:lnTo>
                    <a:pt x="38" y="18"/>
                  </a:lnTo>
                  <a:lnTo>
                    <a:pt x="38" y="20"/>
                  </a:lnTo>
                  <a:lnTo>
                    <a:pt x="38" y="20"/>
                  </a:lnTo>
                  <a:lnTo>
                    <a:pt x="38" y="22"/>
                  </a:lnTo>
                  <a:lnTo>
                    <a:pt x="40" y="22"/>
                  </a:lnTo>
                  <a:lnTo>
                    <a:pt x="42" y="22"/>
                  </a:lnTo>
                  <a:lnTo>
                    <a:pt x="44" y="24"/>
                  </a:lnTo>
                  <a:lnTo>
                    <a:pt x="46" y="24"/>
                  </a:lnTo>
                  <a:lnTo>
                    <a:pt x="48" y="26"/>
                  </a:lnTo>
                  <a:lnTo>
                    <a:pt x="52" y="28"/>
                  </a:lnTo>
                  <a:lnTo>
                    <a:pt x="54" y="28"/>
                  </a:lnTo>
                  <a:lnTo>
                    <a:pt x="54" y="30"/>
                  </a:lnTo>
                  <a:lnTo>
                    <a:pt x="56" y="30"/>
                  </a:lnTo>
                  <a:lnTo>
                    <a:pt x="56" y="30"/>
                  </a:lnTo>
                  <a:lnTo>
                    <a:pt x="56" y="32"/>
                  </a:lnTo>
                  <a:lnTo>
                    <a:pt x="56" y="32"/>
                  </a:lnTo>
                  <a:lnTo>
                    <a:pt x="56" y="32"/>
                  </a:lnTo>
                  <a:lnTo>
                    <a:pt x="56" y="34"/>
                  </a:lnTo>
                  <a:lnTo>
                    <a:pt x="54" y="34"/>
                  </a:lnTo>
                  <a:lnTo>
                    <a:pt x="54" y="36"/>
                  </a:lnTo>
                  <a:lnTo>
                    <a:pt x="52" y="36"/>
                  </a:lnTo>
                  <a:lnTo>
                    <a:pt x="52" y="38"/>
                  </a:lnTo>
                  <a:lnTo>
                    <a:pt x="52" y="38"/>
                  </a:lnTo>
                  <a:lnTo>
                    <a:pt x="50" y="38"/>
                  </a:lnTo>
                  <a:lnTo>
                    <a:pt x="48" y="38"/>
                  </a:lnTo>
                  <a:lnTo>
                    <a:pt x="46" y="38"/>
                  </a:lnTo>
                  <a:lnTo>
                    <a:pt x="42" y="38"/>
                  </a:lnTo>
                  <a:lnTo>
                    <a:pt x="38" y="38"/>
                  </a:lnTo>
                  <a:lnTo>
                    <a:pt x="34" y="38"/>
                  </a:lnTo>
                  <a:lnTo>
                    <a:pt x="28" y="38"/>
                  </a:lnTo>
                  <a:lnTo>
                    <a:pt x="22" y="38"/>
                  </a:lnTo>
                  <a:lnTo>
                    <a:pt x="20" y="38"/>
                  </a:lnTo>
                  <a:lnTo>
                    <a:pt x="18" y="38"/>
                  </a:lnTo>
                  <a:lnTo>
                    <a:pt x="14" y="38"/>
                  </a:lnTo>
                  <a:lnTo>
                    <a:pt x="8" y="38"/>
                  </a:lnTo>
                  <a:lnTo>
                    <a:pt x="0" y="4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27" name="Freeform 508"/>
            <p:cNvSpPr>
              <a:spLocks/>
            </p:cNvSpPr>
            <p:nvPr/>
          </p:nvSpPr>
          <p:spPr bwMode="auto">
            <a:xfrm>
              <a:off x="2616812" y="4119660"/>
              <a:ext cx="41570" cy="27713"/>
            </a:xfrm>
            <a:custGeom>
              <a:avLst/>
              <a:gdLst>
                <a:gd name="T0" fmla="*/ 8 w 24"/>
                <a:gd name="T1" fmla="*/ 2 h 16"/>
                <a:gd name="T2" fmla="*/ 8 w 24"/>
                <a:gd name="T3" fmla="*/ 2 h 16"/>
                <a:gd name="T4" fmla="*/ 6 w 24"/>
                <a:gd name="T5" fmla="*/ 4 h 16"/>
                <a:gd name="T6" fmla="*/ 2 w 24"/>
                <a:gd name="T7" fmla="*/ 4 h 16"/>
                <a:gd name="T8" fmla="*/ 2 w 24"/>
                <a:gd name="T9" fmla="*/ 6 h 16"/>
                <a:gd name="T10" fmla="*/ 0 w 24"/>
                <a:gd name="T11" fmla="*/ 6 h 16"/>
                <a:gd name="T12" fmla="*/ 0 w 24"/>
                <a:gd name="T13" fmla="*/ 8 h 16"/>
                <a:gd name="T14" fmla="*/ 0 w 24"/>
                <a:gd name="T15" fmla="*/ 8 h 16"/>
                <a:gd name="T16" fmla="*/ 0 w 24"/>
                <a:gd name="T17" fmla="*/ 8 h 16"/>
                <a:gd name="T18" fmla="*/ 0 w 24"/>
                <a:gd name="T19" fmla="*/ 8 h 16"/>
                <a:gd name="T20" fmla="*/ 0 w 24"/>
                <a:gd name="T21" fmla="*/ 10 h 16"/>
                <a:gd name="T22" fmla="*/ 0 w 24"/>
                <a:gd name="T23" fmla="*/ 10 h 16"/>
                <a:gd name="T24" fmla="*/ 2 w 24"/>
                <a:gd name="T25" fmla="*/ 10 h 16"/>
                <a:gd name="T26" fmla="*/ 4 w 24"/>
                <a:gd name="T27" fmla="*/ 12 h 16"/>
                <a:gd name="T28" fmla="*/ 6 w 24"/>
                <a:gd name="T29" fmla="*/ 12 h 16"/>
                <a:gd name="T30" fmla="*/ 8 w 24"/>
                <a:gd name="T31" fmla="*/ 14 h 16"/>
                <a:gd name="T32" fmla="*/ 10 w 24"/>
                <a:gd name="T33" fmla="*/ 14 h 16"/>
                <a:gd name="T34" fmla="*/ 12 w 24"/>
                <a:gd name="T35" fmla="*/ 16 h 16"/>
                <a:gd name="T36" fmla="*/ 12 w 24"/>
                <a:gd name="T37" fmla="*/ 16 h 16"/>
                <a:gd name="T38" fmla="*/ 14 w 24"/>
                <a:gd name="T39" fmla="*/ 16 h 16"/>
                <a:gd name="T40" fmla="*/ 14 w 24"/>
                <a:gd name="T41" fmla="*/ 16 h 16"/>
                <a:gd name="T42" fmla="*/ 16 w 24"/>
                <a:gd name="T43" fmla="*/ 16 h 16"/>
                <a:gd name="T44" fmla="*/ 16 w 24"/>
                <a:gd name="T45" fmla="*/ 16 h 16"/>
                <a:gd name="T46" fmla="*/ 18 w 24"/>
                <a:gd name="T47" fmla="*/ 16 h 16"/>
                <a:gd name="T48" fmla="*/ 20 w 24"/>
                <a:gd name="T49" fmla="*/ 14 h 16"/>
                <a:gd name="T50" fmla="*/ 20 w 24"/>
                <a:gd name="T51" fmla="*/ 14 h 16"/>
                <a:gd name="T52" fmla="*/ 22 w 24"/>
                <a:gd name="T53" fmla="*/ 14 h 16"/>
                <a:gd name="T54" fmla="*/ 22 w 24"/>
                <a:gd name="T55" fmla="*/ 12 h 16"/>
                <a:gd name="T56" fmla="*/ 22 w 24"/>
                <a:gd name="T57" fmla="*/ 12 h 16"/>
                <a:gd name="T58" fmla="*/ 24 w 24"/>
                <a:gd name="T59" fmla="*/ 10 h 16"/>
                <a:gd name="T60" fmla="*/ 24 w 24"/>
                <a:gd name="T61" fmla="*/ 10 h 16"/>
                <a:gd name="T62" fmla="*/ 24 w 24"/>
                <a:gd name="T63" fmla="*/ 8 h 16"/>
                <a:gd name="T64" fmla="*/ 24 w 24"/>
                <a:gd name="T65" fmla="*/ 6 h 16"/>
                <a:gd name="T66" fmla="*/ 24 w 24"/>
                <a:gd name="T67" fmla="*/ 4 h 16"/>
                <a:gd name="T68" fmla="*/ 24 w 24"/>
                <a:gd name="T69" fmla="*/ 4 h 16"/>
                <a:gd name="T70" fmla="*/ 22 w 24"/>
                <a:gd name="T71" fmla="*/ 2 h 16"/>
                <a:gd name="T72" fmla="*/ 22 w 24"/>
                <a:gd name="T73" fmla="*/ 2 h 16"/>
                <a:gd name="T74" fmla="*/ 22 w 24"/>
                <a:gd name="T75" fmla="*/ 2 h 16"/>
                <a:gd name="T76" fmla="*/ 22 w 24"/>
                <a:gd name="T77" fmla="*/ 0 h 16"/>
                <a:gd name="T78" fmla="*/ 22 w 24"/>
                <a:gd name="T79" fmla="*/ 0 h 16"/>
                <a:gd name="T80" fmla="*/ 20 w 24"/>
                <a:gd name="T81" fmla="*/ 0 h 16"/>
                <a:gd name="T82" fmla="*/ 20 w 24"/>
                <a:gd name="T83" fmla="*/ 0 h 16"/>
                <a:gd name="T84" fmla="*/ 18 w 24"/>
                <a:gd name="T85" fmla="*/ 0 h 16"/>
                <a:gd name="T86" fmla="*/ 16 w 24"/>
                <a:gd name="T87" fmla="*/ 0 h 16"/>
                <a:gd name="T88" fmla="*/ 14 w 24"/>
                <a:gd name="T89" fmla="*/ 0 h 16"/>
                <a:gd name="T90" fmla="*/ 12 w 24"/>
                <a:gd name="T91" fmla="*/ 2 h 16"/>
                <a:gd name="T92" fmla="*/ 8 w 24"/>
                <a:gd name="T9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16">
                  <a:moveTo>
                    <a:pt x="8" y="2"/>
                  </a:moveTo>
                  <a:lnTo>
                    <a:pt x="8" y="2"/>
                  </a:lnTo>
                  <a:lnTo>
                    <a:pt x="6" y="4"/>
                  </a:lnTo>
                  <a:lnTo>
                    <a:pt x="2" y="4"/>
                  </a:lnTo>
                  <a:lnTo>
                    <a:pt x="2" y="6"/>
                  </a:lnTo>
                  <a:lnTo>
                    <a:pt x="0" y="6"/>
                  </a:lnTo>
                  <a:lnTo>
                    <a:pt x="0" y="8"/>
                  </a:lnTo>
                  <a:lnTo>
                    <a:pt x="0" y="8"/>
                  </a:lnTo>
                  <a:lnTo>
                    <a:pt x="0" y="8"/>
                  </a:lnTo>
                  <a:lnTo>
                    <a:pt x="0" y="8"/>
                  </a:lnTo>
                  <a:lnTo>
                    <a:pt x="0" y="10"/>
                  </a:lnTo>
                  <a:lnTo>
                    <a:pt x="0" y="10"/>
                  </a:lnTo>
                  <a:lnTo>
                    <a:pt x="2" y="10"/>
                  </a:lnTo>
                  <a:lnTo>
                    <a:pt x="4" y="12"/>
                  </a:lnTo>
                  <a:lnTo>
                    <a:pt x="6" y="12"/>
                  </a:lnTo>
                  <a:lnTo>
                    <a:pt x="8" y="14"/>
                  </a:lnTo>
                  <a:lnTo>
                    <a:pt x="10" y="14"/>
                  </a:lnTo>
                  <a:lnTo>
                    <a:pt x="12" y="16"/>
                  </a:lnTo>
                  <a:lnTo>
                    <a:pt x="12" y="16"/>
                  </a:lnTo>
                  <a:lnTo>
                    <a:pt x="14" y="16"/>
                  </a:lnTo>
                  <a:lnTo>
                    <a:pt x="14" y="16"/>
                  </a:lnTo>
                  <a:lnTo>
                    <a:pt x="16" y="16"/>
                  </a:lnTo>
                  <a:lnTo>
                    <a:pt x="16" y="16"/>
                  </a:lnTo>
                  <a:lnTo>
                    <a:pt x="18" y="16"/>
                  </a:lnTo>
                  <a:lnTo>
                    <a:pt x="20" y="14"/>
                  </a:lnTo>
                  <a:lnTo>
                    <a:pt x="20" y="14"/>
                  </a:lnTo>
                  <a:lnTo>
                    <a:pt x="22" y="14"/>
                  </a:lnTo>
                  <a:lnTo>
                    <a:pt x="22" y="12"/>
                  </a:lnTo>
                  <a:lnTo>
                    <a:pt x="22" y="12"/>
                  </a:lnTo>
                  <a:lnTo>
                    <a:pt x="24" y="10"/>
                  </a:lnTo>
                  <a:lnTo>
                    <a:pt x="24" y="10"/>
                  </a:lnTo>
                  <a:lnTo>
                    <a:pt x="24" y="8"/>
                  </a:lnTo>
                  <a:lnTo>
                    <a:pt x="24" y="6"/>
                  </a:lnTo>
                  <a:lnTo>
                    <a:pt x="24" y="4"/>
                  </a:lnTo>
                  <a:lnTo>
                    <a:pt x="24" y="4"/>
                  </a:lnTo>
                  <a:lnTo>
                    <a:pt x="22" y="2"/>
                  </a:lnTo>
                  <a:lnTo>
                    <a:pt x="22" y="2"/>
                  </a:lnTo>
                  <a:lnTo>
                    <a:pt x="22" y="2"/>
                  </a:lnTo>
                  <a:lnTo>
                    <a:pt x="22" y="0"/>
                  </a:lnTo>
                  <a:lnTo>
                    <a:pt x="22" y="0"/>
                  </a:lnTo>
                  <a:lnTo>
                    <a:pt x="20" y="0"/>
                  </a:lnTo>
                  <a:lnTo>
                    <a:pt x="20" y="0"/>
                  </a:lnTo>
                  <a:lnTo>
                    <a:pt x="18" y="0"/>
                  </a:lnTo>
                  <a:lnTo>
                    <a:pt x="16" y="0"/>
                  </a:lnTo>
                  <a:lnTo>
                    <a:pt x="14" y="0"/>
                  </a:lnTo>
                  <a:lnTo>
                    <a:pt x="12" y="2"/>
                  </a:lnTo>
                  <a:lnTo>
                    <a:pt x="8"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28" name="Freeform 509"/>
            <p:cNvSpPr>
              <a:spLocks/>
            </p:cNvSpPr>
            <p:nvPr/>
          </p:nvSpPr>
          <p:spPr bwMode="auto">
            <a:xfrm>
              <a:off x="2616812" y="4119660"/>
              <a:ext cx="41570" cy="27713"/>
            </a:xfrm>
            <a:custGeom>
              <a:avLst/>
              <a:gdLst>
                <a:gd name="T0" fmla="*/ 8 w 24"/>
                <a:gd name="T1" fmla="*/ 2 h 16"/>
                <a:gd name="T2" fmla="*/ 8 w 24"/>
                <a:gd name="T3" fmla="*/ 2 h 16"/>
                <a:gd name="T4" fmla="*/ 6 w 24"/>
                <a:gd name="T5" fmla="*/ 4 h 16"/>
                <a:gd name="T6" fmla="*/ 2 w 24"/>
                <a:gd name="T7" fmla="*/ 4 h 16"/>
                <a:gd name="T8" fmla="*/ 2 w 24"/>
                <a:gd name="T9" fmla="*/ 6 h 16"/>
                <a:gd name="T10" fmla="*/ 0 w 24"/>
                <a:gd name="T11" fmla="*/ 6 h 16"/>
                <a:gd name="T12" fmla="*/ 0 w 24"/>
                <a:gd name="T13" fmla="*/ 8 h 16"/>
                <a:gd name="T14" fmla="*/ 0 w 24"/>
                <a:gd name="T15" fmla="*/ 8 h 16"/>
                <a:gd name="T16" fmla="*/ 0 w 24"/>
                <a:gd name="T17" fmla="*/ 8 h 16"/>
                <a:gd name="T18" fmla="*/ 0 w 24"/>
                <a:gd name="T19" fmla="*/ 8 h 16"/>
                <a:gd name="T20" fmla="*/ 0 w 24"/>
                <a:gd name="T21" fmla="*/ 10 h 16"/>
                <a:gd name="T22" fmla="*/ 0 w 24"/>
                <a:gd name="T23" fmla="*/ 10 h 16"/>
                <a:gd name="T24" fmla="*/ 2 w 24"/>
                <a:gd name="T25" fmla="*/ 10 h 16"/>
                <a:gd name="T26" fmla="*/ 4 w 24"/>
                <a:gd name="T27" fmla="*/ 12 h 16"/>
                <a:gd name="T28" fmla="*/ 6 w 24"/>
                <a:gd name="T29" fmla="*/ 12 h 16"/>
                <a:gd name="T30" fmla="*/ 8 w 24"/>
                <a:gd name="T31" fmla="*/ 14 h 16"/>
                <a:gd name="T32" fmla="*/ 10 w 24"/>
                <a:gd name="T33" fmla="*/ 14 h 16"/>
                <a:gd name="T34" fmla="*/ 12 w 24"/>
                <a:gd name="T35" fmla="*/ 16 h 16"/>
                <a:gd name="T36" fmla="*/ 12 w 24"/>
                <a:gd name="T37" fmla="*/ 16 h 16"/>
                <a:gd name="T38" fmla="*/ 14 w 24"/>
                <a:gd name="T39" fmla="*/ 16 h 16"/>
                <a:gd name="T40" fmla="*/ 14 w 24"/>
                <a:gd name="T41" fmla="*/ 16 h 16"/>
                <a:gd name="T42" fmla="*/ 16 w 24"/>
                <a:gd name="T43" fmla="*/ 16 h 16"/>
                <a:gd name="T44" fmla="*/ 16 w 24"/>
                <a:gd name="T45" fmla="*/ 16 h 16"/>
                <a:gd name="T46" fmla="*/ 18 w 24"/>
                <a:gd name="T47" fmla="*/ 16 h 16"/>
                <a:gd name="T48" fmla="*/ 20 w 24"/>
                <a:gd name="T49" fmla="*/ 14 h 16"/>
                <a:gd name="T50" fmla="*/ 20 w 24"/>
                <a:gd name="T51" fmla="*/ 14 h 16"/>
                <a:gd name="T52" fmla="*/ 22 w 24"/>
                <a:gd name="T53" fmla="*/ 14 h 16"/>
                <a:gd name="T54" fmla="*/ 22 w 24"/>
                <a:gd name="T55" fmla="*/ 12 h 16"/>
                <a:gd name="T56" fmla="*/ 22 w 24"/>
                <a:gd name="T57" fmla="*/ 12 h 16"/>
                <a:gd name="T58" fmla="*/ 24 w 24"/>
                <a:gd name="T59" fmla="*/ 10 h 16"/>
                <a:gd name="T60" fmla="*/ 24 w 24"/>
                <a:gd name="T61" fmla="*/ 10 h 16"/>
                <a:gd name="T62" fmla="*/ 24 w 24"/>
                <a:gd name="T63" fmla="*/ 8 h 16"/>
                <a:gd name="T64" fmla="*/ 24 w 24"/>
                <a:gd name="T65" fmla="*/ 6 h 16"/>
                <a:gd name="T66" fmla="*/ 24 w 24"/>
                <a:gd name="T67" fmla="*/ 4 h 16"/>
                <a:gd name="T68" fmla="*/ 24 w 24"/>
                <a:gd name="T69" fmla="*/ 4 h 16"/>
                <a:gd name="T70" fmla="*/ 22 w 24"/>
                <a:gd name="T71" fmla="*/ 2 h 16"/>
                <a:gd name="T72" fmla="*/ 22 w 24"/>
                <a:gd name="T73" fmla="*/ 2 h 16"/>
                <a:gd name="T74" fmla="*/ 22 w 24"/>
                <a:gd name="T75" fmla="*/ 2 h 16"/>
                <a:gd name="T76" fmla="*/ 22 w 24"/>
                <a:gd name="T77" fmla="*/ 0 h 16"/>
                <a:gd name="T78" fmla="*/ 22 w 24"/>
                <a:gd name="T79" fmla="*/ 0 h 16"/>
                <a:gd name="T80" fmla="*/ 20 w 24"/>
                <a:gd name="T81" fmla="*/ 0 h 16"/>
                <a:gd name="T82" fmla="*/ 20 w 24"/>
                <a:gd name="T83" fmla="*/ 0 h 16"/>
                <a:gd name="T84" fmla="*/ 18 w 24"/>
                <a:gd name="T85" fmla="*/ 0 h 16"/>
                <a:gd name="T86" fmla="*/ 16 w 24"/>
                <a:gd name="T87" fmla="*/ 0 h 16"/>
                <a:gd name="T88" fmla="*/ 14 w 24"/>
                <a:gd name="T89" fmla="*/ 0 h 16"/>
                <a:gd name="T90" fmla="*/ 12 w 24"/>
                <a:gd name="T91" fmla="*/ 2 h 16"/>
                <a:gd name="T92" fmla="*/ 8 w 24"/>
                <a:gd name="T9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16">
                  <a:moveTo>
                    <a:pt x="8" y="2"/>
                  </a:moveTo>
                  <a:lnTo>
                    <a:pt x="8" y="2"/>
                  </a:lnTo>
                  <a:lnTo>
                    <a:pt x="6" y="4"/>
                  </a:lnTo>
                  <a:lnTo>
                    <a:pt x="2" y="4"/>
                  </a:lnTo>
                  <a:lnTo>
                    <a:pt x="2" y="6"/>
                  </a:lnTo>
                  <a:lnTo>
                    <a:pt x="0" y="6"/>
                  </a:lnTo>
                  <a:lnTo>
                    <a:pt x="0" y="8"/>
                  </a:lnTo>
                  <a:lnTo>
                    <a:pt x="0" y="8"/>
                  </a:lnTo>
                  <a:lnTo>
                    <a:pt x="0" y="8"/>
                  </a:lnTo>
                  <a:lnTo>
                    <a:pt x="0" y="8"/>
                  </a:lnTo>
                  <a:lnTo>
                    <a:pt x="0" y="10"/>
                  </a:lnTo>
                  <a:lnTo>
                    <a:pt x="0" y="10"/>
                  </a:lnTo>
                  <a:lnTo>
                    <a:pt x="2" y="10"/>
                  </a:lnTo>
                  <a:lnTo>
                    <a:pt x="4" y="12"/>
                  </a:lnTo>
                  <a:lnTo>
                    <a:pt x="6" y="12"/>
                  </a:lnTo>
                  <a:lnTo>
                    <a:pt x="8" y="14"/>
                  </a:lnTo>
                  <a:lnTo>
                    <a:pt x="10" y="14"/>
                  </a:lnTo>
                  <a:lnTo>
                    <a:pt x="12" y="16"/>
                  </a:lnTo>
                  <a:lnTo>
                    <a:pt x="12" y="16"/>
                  </a:lnTo>
                  <a:lnTo>
                    <a:pt x="14" y="16"/>
                  </a:lnTo>
                  <a:lnTo>
                    <a:pt x="14" y="16"/>
                  </a:lnTo>
                  <a:lnTo>
                    <a:pt x="16" y="16"/>
                  </a:lnTo>
                  <a:lnTo>
                    <a:pt x="16" y="16"/>
                  </a:lnTo>
                  <a:lnTo>
                    <a:pt x="18" y="16"/>
                  </a:lnTo>
                  <a:lnTo>
                    <a:pt x="20" y="14"/>
                  </a:lnTo>
                  <a:lnTo>
                    <a:pt x="20" y="14"/>
                  </a:lnTo>
                  <a:lnTo>
                    <a:pt x="22" y="14"/>
                  </a:lnTo>
                  <a:lnTo>
                    <a:pt x="22" y="12"/>
                  </a:lnTo>
                  <a:lnTo>
                    <a:pt x="22" y="12"/>
                  </a:lnTo>
                  <a:lnTo>
                    <a:pt x="24" y="10"/>
                  </a:lnTo>
                  <a:lnTo>
                    <a:pt x="24" y="10"/>
                  </a:lnTo>
                  <a:lnTo>
                    <a:pt x="24" y="8"/>
                  </a:lnTo>
                  <a:lnTo>
                    <a:pt x="24" y="6"/>
                  </a:lnTo>
                  <a:lnTo>
                    <a:pt x="24" y="4"/>
                  </a:lnTo>
                  <a:lnTo>
                    <a:pt x="24" y="4"/>
                  </a:lnTo>
                  <a:lnTo>
                    <a:pt x="22" y="2"/>
                  </a:lnTo>
                  <a:lnTo>
                    <a:pt x="22" y="2"/>
                  </a:lnTo>
                  <a:lnTo>
                    <a:pt x="22" y="2"/>
                  </a:lnTo>
                  <a:lnTo>
                    <a:pt x="22" y="0"/>
                  </a:lnTo>
                  <a:lnTo>
                    <a:pt x="22" y="0"/>
                  </a:lnTo>
                  <a:lnTo>
                    <a:pt x="20" y="0"/>
                  </a:lnTo>
                  <a:lnTo>
                    <a:pt x="20" y="0"/>
                  </a:lnTo>
                  <a:lnTo>
                    <a:pt x="18" y="0"/>
                  </a:lnTo>
                  <a:lnTo>
                    <a:pt x="16" y="0"/>
                  </a:lnTo>
                  <a:lnTo>
                    <a:pt x="14" y="0"/>
                  </a:lnTo>
                  <a:lnTo>
                    <a:pt x="12" y="2"/>
                  </a:lnTo>
                  <a:lnTo>
                    <a:pt x="8"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29" name="Freeform 510"/>
            <p:cNvSpPr>
              <a:spLocks/>
            </p:cNvSpPr>
            <p:nvPr/>
          </p:nvSpPr>
          <p:spPr bwMode="auto">
            <a:xfrm>
              <a:off x="2450533" y="4303260"/>
              <a:ext cx="332558" cy="336023"/>
            </a:xfrm>
            <a:custGeom>
              <a:avLst/>
              <a:gdLst>
                <a:gd name="T0" fmla="*/ 16 w 192"/>
                <a:gd name="T1" fmla="*/ 20 h 194"/>
                <a:gd name="T2" fmla="*/ 12 w 192"/>
                <a:gd name="T3" fmla="*/ 38 h 194"/>
                <a:gd name="T4" fmla="*/ 8 w 192"/>
                <a:gd name="T5" fmla="*/ 46 h 194"/>
                <a:gd name="T6" fmla="*/ 0 w 192"/>
                <a:gd name="T7" fmla="*/ 50 h 194"/>
                <a:gd name="T8" fmla="*/ 6 w 192"/>
                <a:gd name="T9" fmla="*/ 58 h 194"/>
                <a:gd name="T10" fmla="*/ 12 w 192"/>
                <a:gd name="T11" fmla="*/ 68 h 194"/>
                <a:gd name="T12" fmla="*/ 8 w 192"/>
                <a:gd name="T13" fmla="*/ 82 h 194"/>
                <a:gd name="T14" fmla="*/ 10 w 192"/>
                <a:gd name="T15" fmla="*/ 86 h 194"/>
                <a:gd name="T16" fmla="*/ 28 w 192"/>
                <a:gd name="T17" fmla="*/ 84 h 194"/>
                <a:gd name="T18" fmla="*/ 36 w 192"/>
                <a:gd name="T19" fmla="*/ 86 h 194"/>
                <a:gd name="T20" fmla="*/ 36 w 192"/>
                <a:gd name="T21" fmla="*/ 96 h 194"/>
                <a:gd name="T22" fmla="*/ 44 w 192"/>
                <a:gd name="T23" fmla="*/ 100 h 194"/>
                <a:gd name="T24" fmla="*/ 70 w 192"/>
                <a:gd name="T25" fmla="*/ 108 h 194"/>
                <a:gd name="T26" fmla="*/ 82 w 192"/>
                <a:gd name="T27" fmla="*/ 114 h 194"/>
                <a:gd name="T28" fmla="*/ 82 w 192"/>
                <a:gd name="T29" fmla="*/ 132 h 194"/>
                <a:gd name="T30" fmla="*/ 76 w 192"/>
                <a:gd name="T31" fmla="*/ 158 h 194"/>
                <a:gd name="T32" fmla="*/ 86 w 192"/>
                <a:gd name="T33" fmla="*/ 176 h 194"/>
                <a:gd name="T34" fmla="*/ 94 w 192"/>
                <a:gd name="T35" fmla="*/ 186 h 194"/>
                <a:gd name="T36" fmla="*/ 106 w 192"/>
                <a:gd name="T37" fmla="*/ 194 h 194"/>
                <a:gd name="T38" fmla="*/ 120 w 192"/>
                <a:gd name="T39" fmla="*/ 192 h 194"/>
                <a:gd name="T40" fmla="*/ 132 w 192"/>
                <a:gd name="T41" fmla="*/ 184 h 194"/>
                <a:gd name="T42" fmla="*/ 134 w 192"/>
                <a:gd name="T43" fmla="*/ 174 h 194"/>
                <a:gd name="T44" fmla="*/ 130 w 192"/>
                <a:gd name="T45" fmla="*/ 168 h 194"/>
                <a:gd name="T46" fmla="*/ 122 w 192"/>
                <a:gd name="T47" fmla="*/ 164 h 194"/>
                <a:gd name="T48" fmla="*/ 122 w 192"/>
                <a:gd name="T49" fmla="*/ 146 h 194"/>
                <a:gd name="T50" fmla="*/ 130 w 192"/>
                <a:gd name="T51" fmla="*/ 140 h 194"/>
                <a:gd name="T52" fmla="*/ 136 w 192"/>
                <a:gd name="T53" fmla="*/ 144 h 194"/>
                <a:gd name="T54" fmla="*/ 144 w 192"/>
                <a:gd name="T55" fmla="*/ 152 h 194"/>
                <a:gd name="T56" fmla="*/ 150 w 192"/>
                <a:gd name="T57" fmla="*/ 146 h 194"/>
                <a:gd name="T58" fmla="*/ 164 w 192"/>
                <a:gd name="T59" fmla="*/ 146 h 194"/>
                <a:gd name="T60" fmla="*/ 178 w 192"/>
                <a:gd name="T61" fmla="*/ 144 h 194"/>
                <a:gd name="T62" fmla="*/ 182 w 192"/>
                <a:gd name="T63" fmla="*/ 130 h 194"/>
                <a:gd name="T64" fmla="*/ 176 w 192"/>
                <a:gd name="T65" fmla="*/ 118 h 194"/>
                <a:gd name="T66" fmla="*/ 174 w 192"/>
                <a:gd name="T67" fmla="*/ 106 h 194"/>
                <a:gd name="T68" fmla="*/ 182 w 192"/>
                <a:gd name="T69" fmla="*/ 94 h 194"/>
                <a:gd name="T70" fmla="*/ 186 w 192"/>
                <a:gd name="T71" fmla="*/ 86 h 194"/>
                <a:gd name="T72" fmla="*/ 192 w 192"/>
                <a:gd name="T73" fmla="*/ 78 h 194"/>
                <a:gd name="T74" fmla="*/ 190 w 192"/>
                <a:gd name="T75" fmla="*/ 64 h 194"/>
                <a:gd name="T76" fmla="*/ 184 w 192"/>
                <a:gd name="T77" fmla="*/ 54 h 194"/>
                <a:gd name="T78" fmla="*/ 176 w 192"/>
                <a:gd name="T79" fmla="*/ 44 h 194"/>
                <a:gd name="T80" fmla="*/ 176 w 192"/>
                <a:gd name="T81" fmla="*/ 38 h 194"/>
                <a:gd name="T82" fmla="*/ 178 w 192"/>
                <a:gd name="T83" fmla="*/ 30 h 194"/>
                <a:gd name="T84" fmla="*/ 174 w 192"/>
                <a:gd name="T85" fmla="*/ 26 h 194"/>
                <a:gd name="T86" fmla="*/ 156 w 192"/>
                <a:gd name="T87" fmla="*/ 28 h 194"/>
                <a:gd name="T88" fmla="*/ 138 w 192"/>
                <a:gd name="T89" fmla="*/ 32 h 194"/>
                <a:gd name="T90" fmla="*/ 128 w 192"/>
                <a:gd name="T91" fmla="*/ 38 h 194"/>
                <a:gd name="T92" fmla="*/ 116 w 192"/>
                <a:gd name="T93" fmla="*/ 36 h 194"/>
                <a:gd name="T94" fmla="*/ 92 w 192"/>
                <a:gd name="T95" fmla="*/ 36 h 194"/>
                <a:gd name="T96" fmla="*/ 86 w 192"/>
                <a:gd name="T97" fmla="*/ 32 h 194"/>
                <a:gd name="T98" fmla="*/ 80 w 192"/>
                <a:gd name="T99" fmla="*/ 24 h 194"/>
                <a:gd name="T100" fmla="*/ 64 w 192"/>
                <a:gd name="T101" fmla="*/ 20 h 194"/>
                <a:gd name="T102" fmla="*/ 60 w 192"/>
                <a:gd name="T103" fmla="*/ 10 h 194"/>
                <a:gd name="T104" fmla="*/ 50 w 192"/>
                <a:gd name="T105" fmla="*/ 8 h 194"/>
                <a:gd name="T106" fmla="*/ 50 w 192"/>
                <a:gd name="T107" fmla="*/ 2 h 194"/>
                <a:gd name="T108" fmla="*/ 48 w 192"/>
                <a:gd name="T109" fmla="*/ 2 h 194"/>
                <a:gd name="T110" fmla="*/ 42 w 192"/>
                <a:gd name="T111"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94">
                  <a:moveTo>
                    <a:pt x="28" y="6"/>
                  </a:moveTo>
                  <a:lnTo>
                    <a:pt x="28" y="6"/>
                  </a:lnTo>
                  <a:lnTo>
                    <a:pt x="26" y="8"/>
                  </a:lnTo>
                  <a:lnTo>
                    <a:pt x="24" y="12"/>
                  </a:lnTo>
                  <a:lnTo>
                    <a:pt x="20" y="16"/>
                  </a:lnTo>
                  <a:lnTo>
                    <a:pt x="18" y="18"/>
                  </a:lnTo>
                  <a:lnTo>
                    <a:pt x="16" y="20"/>
                  </a:lnTo>
                  <a:lnTo>
                    <a:pt x="16" y="20"/>
                  </a:lnTo>
                  <a:lnTo>
                    <a:pt x="16" y="22"/>
                  </a:lnTo>
                  <a:lnTo>
                    <a:pt x="14" y="26"/>
                  </a:lnTo>
                  <a:lnTo>
                    <a:pt x="14" y="28"/>
                  </a:lnTo>
                  <a:lnTo>
                    <a:pt x="14" y="32"/>
                  </a:lnTo>
                  <a:lnTo>
                    <a:pt x="12" y="36"/>
                  </a:lnTo>
                  <a:lnTo>
                    <a:pt x="12" y="38"/>
                  </a:lnTo>
                  <a:lnTo>
                    <a:pt x="12" y="40"/>
                  </a:lnTo>
                  <a:lnTo>
                    <a:pt x="12" y="42"/>
                  </a:lnTo>
                  <a:lnTo>
                    <a:pt x="10" y="42"/>
                  </a:lnTo>
                  <a:lnTo>
                    <a:pt x="10" y="44"/>
                  </a:lnTo>
                  <a:lnTo>
                    <a:pt x="10" y="44"/>
                  </a:lnTo>
                  <a:lnTo>
                    <a:pt x="10" y="44"/>
                  </a:lnTo>
                  <a:lnTo>
                    <a:pt x="8" y="46"/>
                  </a:lnTo>
                  <a:lnTo>
                    <a:pt x="4" y="46"/>
                  </a:lnTo>
                  <a:lnTo>
                    <a:pt x="4" y="48"/>
                  </a:lnTo>
                  <a:lnTo>
                    <a:pt x="2" y="48"/>
                  </a:lnTo>
                  <a:lnTo>
                    <a:pt x="2" y="48"/>
                  </a:lnTo>
                  <a:lnTo>
                    <a:pt x="0" y="48"/>
                  </a:lnTo>
                  <a:lnTo>
                    <a:pt x="0" y="50"/>
                  </a:lnTo>
                  <a:lnTo>
                    <a:pt x="0" y="50"/>
                  </a:lnTo>
                  <a:lnTo>
                    <a:pt x="0" y="50"/>
                  </a:lnTo>
                  <a:lnTo>
                    <a:pt x="0" y="52"/>
                  </a:lnTo>
                  <a:lnTo>
                    <a:pt x="0" y="52"/>
                  </a:lnTo>
                  <a:lnTo>
                    <a:pt x="2" y="54"/>
                  </a:lnTo>
                  <a:lnTo>
                    <a:pt x="2" y="56"/>
                  </a:lnTo>
                  <a:lnTo>
                    <a:pt x="4" y="56"/>
                  </a:lnTo>
                  <a:lnTo>
                    <a:pt x="6" y="58"/>
                  </a:lnTo>
                  <a:lnTo>
                    <a:pt x="8" y="60"/>
                  </a:lnTo>
                  <a:lnTo>
                    <a:pt x="10" y="64"/>
                  </a:lnTo>
                  <a:lnTo>
                    <a:pt x="12" y="64"/>
                  </a:lnTo>
                  <a:lnTo>
                    <a:pt x="12" y="66"/>
                  </a:lnTo>
                  <a:lnTo>
                    <a:pt x="12" y="66"/>
                  </a:lnTo>
                  <a:lnTo>
                    <a:pt x="12" y="68"/>
                  </a:lnTo>
                  <a:lnTo>
                    <a:pt x="12" y="68"/>
                  </a:lnTo>
                  <a:lnTo>
                    <a:pt x="12" y="70"/>
                  </a:lnTo>
                  <a:lnTo>
                    <a:pt x="12" y="70"/>
                  </a:lnTo>
                  <a:lnTo>
                    <a:pt x="12" y="72"/>
                  </a:lnTo>
                  <a:lnTo>
                    <a:pt x="12" y="74"/>
                  </a:lnTo>
                  <a:lnTo>
                    <a:pt x="10" y="76"/>
                  </a:lnTo>
                  <a:lnTo>
                    <a:pt x="10" y="78"/>
                  </a:lnTo>
                  <a:lnTo>
                    <a:pt x="8" y="82"/>
                  </a:lnTo>
                  <a:lnTo>
                    <a:pt x="8" y="82"/>
                  </a:lnTo>
                  <a:lnTo>
                    <a:pt x="8" y="84"/>
                  </a:lnTo>
                  <a:lnTo>
                    <a:pt x="8" y="84"/>
                  </a:lnTo>
                  <a:lnTo>
                    <a:pt x="8" y="84"/>
                  </a:lnTo>
                  <a:lnTo>
                    <a:pt x="10" y="86"/>
                  </a:lnTo>
                  <a:lnTo>
                    <a:pt x="10" y="86"/>
                  </a:lnTo>
                  <a:lnTo>
                    <a:pt x="10" y="86"/>
                  </a:lnTo>
                  <a:lnTo>
                    <a:pt x="12" y="86"/>
                  </a:lnTo>
                  <a:lnTo>
                    <a:pt x="14" y="86"/>
                  </a:lnTo>
                  <a:lnTo>
                    <a:pt x="16" y="86"/>
                  </a:lnTo>
                  <a:lnTo>
                    <a:pt x="18" y="86"/>
                  </a:lnTo>
                  <a:lnTo>
                    <a:pt x="22" y="86"/>
                  </a:lnTo>
                  <a:lnTo>
                    <a:pt x="26" y="86"/>
                  </a:lnTo>
                  <a:lnTo>
                    <a:pt x="28" y="84"/>
                  </a:lnTo>
                  <a:lnTo>
                    <a:pt x="30" y="84"/>
                  </a:lnTo>
                  <a:lnTo>
                    <a:pt x="32" y="84"/>
                  </a:lnTo>
                  <a:lnTo>
                    <a:pt x="34" y="84"/>
                  </a:lnTo>
                  <a:lnTo>
                    <a:pt x="34" y="86"/>
                  </a:lnTo>
                  <a:lnTo>
                    <a:pt x="34" y="86"/>
                  </a:lnTo>
                  <a:lnTo>
                    <a:pt x="36" y="86"/>
                  </a:lnTo>
                  <a:lnTo>
                    <a:pt x="36" y="86"/>
                  </a:lnTo>
                  <a:lnTo>
                    <a:pt x="36" y="88"/>
                  </a:lnTo>
                  <a:lnTo>
                    <a:pt x="36" y="88"/>
                  </a:lnTo>
                  <a:lnTo>
                    <a:pt x="36" y="90"/>
                  </a:lnTo>
                  <a:lnTo>
                    <a:pt x="36" y="92"/>
                  </a:lnTo>
                  <a:lnTo>
                    <a:pt x="36" y="92"/>
                  </a:lnTo>
                  <a:lnTo>
                    <a:pt x="36" y="94"/>
                  </a:lnTo>
                  <a:lnTo>
                    <a:pt x="36" y="96"/>
                  </a:lnTo>
                  <a:lnTo>
                    <a:pt x="36" y="96"/>
                  </a:lnTo>
                  <a:lnTo>
                    <a:pt x="36" y="96"/>
                  </a:lnTo>
                  <a:lnTo>
                    <a:pt x="38" y="98"/>
                  </a:lnTo>
                  <a:lnTo>
                    <a:pt x="38" y="98"/>
                  </a:lnTo>
                  <a:lnTo>
                    <a:pt x="40" y="98"/>
                  </a:lnTo>
                  <a:lnTo>
                    <a:pt x="40" y="100"/>
                  </a:lnTo>
                  <a:lnTo>
                    <a:pt x="44" y="100"/>
                  </a:lnTo>
                  <a:lnTo>
                    <a:pt x="46" y="102"/>
                  </a:lnTo>
                  <a:lnTo>
                    <a:pt x="50" y="104"/>
                  </a:lnTo>
                  <a:lnTo>
                    <a:pt x="52" y="104"/>
                  </a:lnTo>
                  <a:lnTo>
                    <a:pt x="58" y="106"/>
                  </a:lnTo>
                  <a:lnTo>
                    <a:pt x="60" y="106"/>
                  </a:lnTo>
                  <a:lnTo>
                    <a:pt x="64" y="108"/>
                  </a:lnTo>
                  <a:lnTo>
                    <a:pt x="70" y="108"/>
                  </a:lnTo>
                  <a:lnTo>
                    <a:pt x="74" y="110"/>
                  </a:lnTo>
                  <a:lnTo>
                    <a:pt x="76" y="110"/>
                  </a:lnTo>
                  <a:lnTo>
                    <a:pt x="78" y="112"/>
                  </a:lnTo>
                  <a:lnTo>
                    <a:pt x="80" y="112"/>
                  </a:lnTo>
                  <a:lnTo>
                    <a:pt x="80" y="112"/>
                  </a:lnTo>
                  <a:lnTo>
                    <a:pt x="80" y="114"/>
                  </a:lnTo>
                  <a:lnTo>
                    <a:pt x="82" y="114"/>
                  </a:lnTo>
                  <a:lnTo>
                    <a:pt x="82" y="116"/>
                  </a:lnTo>
                  <a:lnTo>
                    <a:pt x="82" y="118"/>
                  </a:lnTo>
                  <a:lnTo>
                    <a:pt x="82" y="120"/>
                  </a:lnTo>
                  <a:lnTo>
                    <a:pt x="84" y="122"/>
                  </a:lnTo>
                  <a:lnTo>
                    <a:pt x="84" y="124"/>
                  </a:lnTo>
                  <a:lnTo>
                    <a:pt x="82" y="128"/>
                  </a:lnTo>
                  <a:lnTo>
                    <a:pt x="82" y="132"/>
                  </a:lnTo>
                  <a:lnTo>
                    <a:pt x="82" y="136"/>
                  </a:lnTo>
                  <a:lnTo>
                    <a:pt x="80" y="142"/>
                  </a:lnTo>
                  <a:lnTo>
                    <a:pt x="80" y="144"/>
                  </a:lnTo>
                  <a:lnTo>
                    <a:pt x="80" y="146"/>
                  </a:lnTo>
                  <a:lnTo>
                    <a:pt x="78" y="152"/>
                  </a:lnTo>
                  <a:lnTo>
                    <a:pt x="76" y="156"/>
                  </a:lnTo>
                  <a:lnTo>
                    <a:pt x="76" y="158"/>
                  </a:lnTo>
                  <a:lnTo>
                    <a:pt x="76" y="160"/>
                  </a:lnTo>
                  <a:lnTo>
                    <a:pt x="76" y="162"/>
                  </a:lnTo>
                  <a:lnTo>
                    <a:pt x="76" y="164"/>
                  </a:lnTo>
                  <a:lnTo>
                    <a:pt x="78" y="168"/>
                  </a:lnTo>
                  <a:lnTo>
                    <a:pt x="78" y="174"/>
                  </a:lnTo>
                  <a:lnTo>
                    <a:pt x="82" y="176"/>
                  </a:lnTo>
                  <a:lnTo>
                    <a:pt x="86" y="176"/>
                  </a:lnTo>
                  <a:lnTo>
                    <a:pt x="86" y="178"/>
                  </a:lnTo>
                  <a:lnTo>
                    <a:pt x="88" y="178"/>
                  </a:lnTo>
                  <a:lnTo>
                    <a:pt x="88" y="178"/>
                  </a:lnTo>
                  <a:lnTo>
                    <a:pt x="90" y="180"/>
                  </a:lnTo>
                  <a:lnTo>
                    <a:pt x="92" y="182"/>
                  </a:lnTo>
                  <a:lnTo>
                    <a:pt x="94" y="186"/>
                  </a:lnTo>
                  <a:lnTo>
                    <a:pt x="94" y="186"/>
                  </a:lnTo>
                  <a:lnTo>
                    <a:pt x="96" y="188"/>
                  </a:lnTo>
                  <a:lnTo>
                    <a:pt x="96" y="188"/>
                  </a:lnTo>
                  <a:lnTo>
                    <a:pt x="98" y="190"/>
                  </a:lnTo>
                  <a:lnTo>
                    <a:pt x="100" y="192"/>
                  </a:lnTo>
                  <a:lnTo>
                    <a:pt x="104" y="192"/>
                  </a:lnTo>
                  <a:lnTo>
                    <a:pt x="104" y="192"/>
                  </a:lnTo>
                  <a:lnTo>
                    <a:pt x="106" y="194"/>
                  </a:lnTo>
                  <a:lnTo>
                    <a:pt x="108" y="194"/>
                  </a:lnTo>
                  <a:lnTo>
                    <a:pt x="110" y="194"/>
                  </a:lnTo>
                  <a:lnTo>
                    <a:pt x="112" y="194"/>
                  </a:lnTo>
                  <a:lnTo>
                    <a:pt x="114" y="194"/>
                  </a:lnTo>
                  <a:lnTo>
                    <a:pt x="116" y="192"/>
                  </a:lnTo>
                  <a:lnTo>
                    <a:pt x="118" y="192"/>
                  </a:lnTo>
                  <a:lnTo>
                    <a:pt x="120" y="192"/>
                  </a:lnTo>
                  <a:lnTo>
                    <a:pt x="122" y="192"/>
                  </a:lnTo>
                  <a:lnTo>
                    <a:pt x="122" y="190"/>
                  </a:lnTo>
                  <a:lnTo>
                    <a:pt x="124" y="190"/>
                  </a:lnTo>
                  <a:lnTo>
                    <a:pt x="126" y="188"/>
                  </a:lnTo>
                  <a:lnTo>
                    <a:pt x="128" y="188"/>
                  </a:lnTo>
                  <a:lnTo>
                    <a:pt x="130" y="186"/>
                  </a:lnTo>
                  <a:lnTo>
                    <a:pt x="132" y="184"/>
                  </a:lnTo>
                  <a:lnTo>
                    <a:pt x="134" y="182"/>
                  </a:lnTo>
                  <a:lnTo>
                    <a:pt x="134" y="182"/>
                  </a:lnTo>
                  <a:lnTo>
                    <a:pt x="134" y="180"/>
                  </a:lnTo>
                  <a:lnTo>
                    <a:pt x="134" y="178"/>
                  </a:lnTo>
                  <a:lnTo>
                    <a:pt x="134" y="178"/>
                  </a:lnTo>
                  <a:lnTo>
                    <a:pt x="134" y="176"/>
                  </a:lnTo>
                  <a:lnTo>
                    <a:pt x="134" y="174"/>
                  </a:lnTo>
                  <a:lnTo>
                    <a:pt x="134" y="172"/>
                  </a:lnTo>
                  <a:lnTo>
                    <a:pt x="134" y="172"/>
                  </a:lnTo>
                  <a:lnTo>
                    <a:pt x="134" y="170"/>
                  </a:lnTo>
                  <a:lnTo>
                    <a:pt x="134" y="170"/>
                  </a:lnTo>
                  <a:lnTo>
                    <a:pt x="132" y="170"/>
                  </a:lnTo>
                  <a:lnTo>
                    <a:pt x="132" y="168"/>
                  </a:lnTo>
                  <a:lnTo>
                    <a:pt x="130" y="168"/>
                  </a:lnTo>
                  <a:lnTo>
                    <a:pt x="128" y="168"/>
                  </a:lnTo>
                  <a:lnTo>
                    <a:pt x="126" y="166"/>
                  </a:lnTo>
                  <a:lnTo>
                    <a:pt x="126" y="166"/>
                  </a:lnTo>
                  <a:lnTo>
                    <a:pt x="124" y="166"/>
                  </a:lnTo>
                  <a:lnTo>
                    <a:pt x="124" y="164"/>
                  </a:lnTo>
                  <a:lnTo>
                    <a:pt x="124" y="164"/>
                  </a:lnTo>
                  <a:lnTo>
                    <a:pt x="122" y="164"/>
                  </a:lnTo>
                  <a:lnTo>
                    <a:pt x="122" y="162"/>
                  </a:lnTo>
                  <a:lnTo>
                    <a:pt x="122" y="160"/>
                  </a:lnTo>
                  <a:lnTo>
                    <a:pt x="122" y="158"/>
                  </a:lnTo>
                  <a:lnTo>
                    <a:pt x="122" y="156"/>
                  </a:lnTo>
                  <a:lnTo>
                    <a:pt x="122" y="152"/>
                  </a:lnTo>
                  <a:lnTo>
                    <a:pt x="122" y="148"/>
                  </a:lnTo>
                  <a:lnTo>
                    <a:pt x="122" y="146"/>
                  </a:lnTo>
                  <a:lnTo>
                    <a:pt x="124" y="146"/>
                  </a:lnTo>
                  <a:lnTo>
                    <a:pt x="124" y="144"/>
                  </a:lnTo>
                  <a:lnTo>
                    <a:pt x="124" y="142"/>
                  </a:lnTo>
                  <a:lnTo>
                    <a:pt x="126" y="142"/>
                  </a:lnTo>
                  <a:lnTo>
                    <a:pt x="126" y="142"/>
                  </a:lnTo>
                  <a:lnTo>
                    <a:pt x="128" y="140"/>
                  </a:lnTo>
                  <a:lnTo>
                    <a:pt x="130" y="140"/>
                  </a:lnTo>
                  <a:lnTo>
                    <a:pt x="130" y="140"/>
                  </a:lnTo>
                  <a:lnTo>
                    <a:pt x="130" y="140"/>
                  </a:lnTo>
                  <a:lnTo>
                    <a:pt x="132" y="140"/>
                  </a:lnTo>
                  <a:lnTo>
                    <a:pt x="132" y="140"/>
                  </a:lnTo>
                  <a:lnTo>
                    <a:pt x="134" y="142"/>
                  </a:lnTo>
                  <a:lnTo>
                    <a:pt x="134" y="142"/>
                  </a:lnTo>
                  <a:lnTo>
                    <a:pt x="136" y="144"/>
                  </a:lnTo>
                  <a:lnTo>
                    <a:pt x="138" y="146"/>
                  </a:lnTo>
                  <a:lnTo>
                    <a:pt x="138" y="148"/>
                  </a:lnTo>
                  <a:lnTo>
                    <a:pt x="140" y="150"/>
                  </a:lnTo>
                  <a:lnTo>
                    <a:pt x="142" y="150"/>
                  </a:lnTo>
                  <a:lnTo>
                    <a:pt x="142" y="150"/>
                  </a:lnTo>
                  <a:lnTo>
                    <a:pt x="142" y="152"/>
                  </a:lnTo>
                  <a:lnTo>
                    <a:pt x="144" y="152"/>
                  </a:lnTo>
                  <a:lnTo>
                    <a:pt x="144" y="152"/>
                  </a:lnTo>
                  <a:lnTo>
                    <a:pt x="144" y="152"/>
                  </a:lnTo>
                  <a:lnTo>
                    <a:pt x="146" y="150"/>
                  </a:lnTo>
                  <a:lnTo>
                    <a:pt x="146" y="150"/>
                  </a:lnTo>
                  <a:lnTo>
                    <a:pt x="148" y="148"/>
                  </a:lnTo>
                  <a:lnTo>
                    <a:pt x="150" y="146"/>
                  </a:lnTo>
                  <a:lnTo>
                    <a:pt x="150" y="146"/>
                  </a:lnTo>
                  <a:lnTo>
                    <a:pt x="152" y="146"/>
                  </a:lnTo>
                  <a:lnTo>
                    <a:pt x="154" y="146"/>
                  </a:lnTo>
                  <a:lnTo>
                    <a:pt x="154" y="146"/>
                  </a:lnTo>
                  <a:lnTo>
                    <a:pt x="156" y="146"/>
                  </a:lnTo>
                  <a:lnTo>
                    <a:pt x="158" y="146"/>
                  </a:lnTo>
                  <a:lnTo>
                    <a:pt x="162" y="146"/>
                  </a:lnTo>
                  <a:lnTo>
                    <a:pt x="164" y="146"/>
                  </a:lnTo>
                  <a:lnTo>
                    <a:pt x="168" y="146"/>
                  </a:lnTo>
                  <a:lnTo>
                    <a:pt x="172" y="146"/>
                  </a:lnTo>
                  <a:lnTo>
                    <a:pt x="174" y="146"/>
                  </a:lnTo>
                  <a:lnTo>
                    <a:pt x="174" y="146"/>
                  </a:lnTo>
                  <a:lnTo>
                    <a:pt x="176" y="144"/>
                  </a:lnTo>
                  <a:lnTo>
                    <a:pt x="178" y="144"/>
                  </a:lnTo>
                  <a:lnTo>
                    <a:pt x="178" y="144"/>
                  </a:lnTo>
                  <a:lnTo>
                    <a:pt x="178" y="144"/>
                  </a:lnTo>
                  <a:lnTo>
                    <a:pt x="178" y="142"/>
                  </a:lnTo>
                  <a:lnTo>
                    <a:pt x="180" y="140"/>
                  </a:lnTo>
                  <a:lnTo>
                    <a:pt x="180" y="138"/>
                  </a:lnTo>
                  <a:lnTo>
                    <a:pt x="182" y="136"/>
                  </a:lnTo>
                  <a:lnTo>
                    <a:pt x="182" y="134"/>
                  </a:lnTo>
                  <a:lnTo>
                    <a:pt x="182" y="130"/>
                  </a:lnTo>
                  <a:lnTo>
                    <a:pt x="182" y="126"/>
                  </a:lnTo>
                  <a:lnTo>
                    <a:pt x="182" y="126"/>
                  </a:lnTo>
                  <a:lnTo>
                    <a:pt x="180" y="124"/>
                  </a:lnTo>
                  <a:lnTo>
                    <a:pt x="180" y="124"/>
                  </a:lnTo>
                  <a:lnTo>
                    <a:pt x="180" y="122"/>
                  </a:lnTo>
                  <a:lnTo>
                    <a:pt x="178" y="120"/>
                  </a:lnTo>
                  <a:lnTo>
                    <a:pt x="176" y="118"/>
                  </a:lnTo>
                  <a:lnTo>
                    <a:pt x="174" y="116"/>
                  </a:lnTo>
                  <a:lnTo>
                    <a:pt x="174" y="116"/>
                  </a:lnTo>
                  <a:lnTo>
                    <a:pt x="174" y="114"/>
                  </a:lnTo>
                  <a:lnTo>
                    <a:pt x="174" y="112"/>
                  </a:lnTo>
                  <a:lnTo>
                    <a:pt x="174" y="110"/>
                  </a:lnTo>
                  <a:lnTo>
                    <a:pt x="174" y="108"/>
                  </a:lnTo>
                  <a:lnTo>
                    <a:pt x="174" y="106"/>
                  </a:lnTo>
                  <a:lnTo>
                    <a:pt x="174" y="104"/>
                  </a:lnTo>
                  <a:lnTo>
                    <a:pt x="174" y="102"/>
                  </a:lnTo>
                  <a:lnTo>
                    <a:pt x="176" y="102"/>
                  </a:lnTo>
                  <a:lnTo>
                    <a:pt x="176" y="100"/>
                  </a:lnTo>
                  <a:lnTo>
                    <a:pt x="176" y="100"/>
                  </a:lnTo>
                  <a:lnTo>
                    <a:pt x="180" y="98"/>
                  </a:lnTo>
                  <a:lnTo>
                    <a:pt x="182" y="94"/>
                  </a:lnTo>
                  <a:lnTo>
                    <a:pt x="182" y="94"/>
                  </a:lnTo>
                  <a:lnTo>
                    <a:pt x="184" y="92"/>
                  </a:lnTo>
                  <a:lnTo>
                    <a:pt x="184" y="92"/>
                  </a:lnTo>
                  <a:lnTo>
                    <a:pt x="184" y="92"/>
                  </a:lnTo>
                  <a:lnTo>
                    <a:pt x="184" y="90"/>
                  </a:lnTo>
                  <a:lnTo>
                    <a:pt x="186" y="88"/>
                  </a:lnTo>
                  <a:lnTo>
                    <a:pt x="186" y="86"/>
                  </a:lnTo>
                  <a:lnTo>
                    <a:pt x="186" y="84"/>
                  </a:lnTo>
                  <a:lnTo>
                    <a:pt x="188" y="84"/>
                  </a:lnTo>
                  <a:lnTo>
                    <a:pt x="190" y="82"/>
                  </a:lnTo>
                  <a:lnTo>
                    <a:pt x="192" y="80"/>
                  </a:lnTo>
                  <a:lnTo>
                    <a:pt x="192" y="80"/>
                  </a:lnTo>
                  <a:lnTo>
                    <a:pt x="192" y="80"/>
                  </a:lnTo>
                  <a:lnTo>
                    <a:pt x="192" y="78"/>
                  </a:lnTo>
                  <a:lnTo>
                    <a:pt x="192" y="78"/>
                  </a:lnTo>
                  <a:lnTo>
                    <a:pt x="192" y="76"/>
                  </a:lnTo>
                  <a:lnTo>
                    <a:pt x="192" y="74"/>
                  </a:lnTo>
                  <a:lnTo>
                    <a:pt x="192" y="70"/>
                  </a:lnTo>
                  <a:lnTo>
                    <a:pt x="192" y="66"/>
                  </a:lnTo>
                  <a:lnTo>
                    <a:pt x="192" y="64"/>
                  </a:lnTo>
                  <a:lnTo>
                    <a:pt x="190" y="64"/>
                  </a:lnTo>
                  <a:lnTo>
                    <a:pt x="188" y="62"/>
                  </a:lnTo>
                  <a:lnTo>
                    <a:pt x="186" y="62"/>
                  </a:lnTo>
                  <a:lnTo>
                    <a:pt x="186" y="62"/>
                  </a:lnTo>
                  <a:lnTo>
                    <a:pt x="186" y="60"/>
                  </a:lnTo>
                  <a:lnTo>
                    <a:pt x="184" y="58"/>
                  </a:lnTo>
                  <a:lnTo>
                    <a:pt x="184" y="56"/>
                  </a:lnTo>
                  <a:lnTo>
                    <a:pt x="184" y="54"/>
                  </a:lnTo>
                  <a:lnTo>
                    <a:pt x="182" y="50"/>
                  </a:lnTo>
                  <a:lnTo>
                    <a:pt x="182" y="50"/>
                  </a:lnTo>
                  <a:lnTo>
                    <a:pt x="180" y="48"/>
                  </a:lnTo>
                  <a:lnTo>
                    <a:pt x="180" y="48"/>
                  </a:lnTo>
                  <a:lnTo>
                    <a:pt x="180" y="46"/>
                  </a:lnTo>
                  <a:lnTo>
                    <a:pt x="176" y="44"/>
                  </a:lnTo>
                  <a:lnTo>
                    <a:pt x="176" y="44"/>
                  </a:lnTo>
                  <a:lnTo>
                    <a:pt x="174" y="42"/>
                  </a:lnTo>
                  <a:lnTo>
                    <a:pt x="174" y="42"/>
                  </a:lnTo>
                  <a:lnTo>
                    <a:pt x="174" y="40"/>
                  </a:lnTo>
                  <a:lnTo>
                    <a:pt x="174" y="40"/>
                  </a:lnTo>
                  <a:lnTo>
                    <a:pt x="174" y="40"/>
                  </a:lnTo>
                  <a:lnTo>
                    <a:pt x="174" y="40"/>
                  </a:lnTo>
                  <a:lnTo>
                    <a:pt x="176" y="38"/>
                  </a:lnTo>
                  <a:lnTo>
                    <a:pt x="176" y="38"/>
                  </a:lnTo>
                  <a:lnTo>
                    <a:pt x="178" y="36"/>
                  </a:lnTo>
                  <a:lnTo>
                    <a:pt x="178" y="36"/>
                  </a:lnTo>
                  <a:lnTo>
                    <a:pt x="178" y="36"/>
                  </a:lnTo>
                  <a:lnTo>
                    <a:pt x="178" y="34"/>
                  </a:lnTo>
                  <a:lnTo>
                    <a:pt x="178" y="32"/>
                  </a:lnTo>
                  <a:lnTo>
                    <a:pt x="178" y="30"/>
                  </a:lnTo>
                  <a:lnTo>
                    <a:pt x="178" y="30"/>
                  </a:lnTo>
                  <a:lnTo>
                    <a:pt x="178" y="30"/>
                  </a:lnTo>
                  <a:lnTo>
                    <a:pt x="178" y="28"/>
                  </a:lnTo>
                  <a:lnTo>
                    <a:pt x="178" y="28"/>
                  </a:lnTo>
                  <a:lnTo>
                    <a:pt x="176" y="28"/>
                  </a:lnTo>
                  <a:lnTo>
                    <a:pt x="176" y="26"/>
                  </a:lnTo>
                  <a:lnTo>
                    <a:pt x="174" y="26"/>
                  </a:lnTo>
                  <a:lnTo>
                    <a:pt x="172" y="26"/>
                  </a:lnTo>
                  <a:lnTo>
                    <a:pt x="170" y="26"/>
                  </a:lnTo>
                  <a:lnTo>
                    <a:pt x="168" y="26"/>
                  </a:lnTo>
                  <a:lnTo>
                    <a:pt x="164" y="26"/>
                  </a:lnTo>
                  <a:lnTo>
                    <a:pt x="160" y="28"/>
                  </a:lnTo>
                  <a:lnTo>
                    <a:pt x="158" y="28"/>
                  </a:lnTo>
                  <a:lnTo>
                    <a:pt x="156" y="28"/>
                  </a:lnTo>
                  <a:lnTo>
                    <a:pt x="152" y="28"/>
                  </a:lnTo>
                  <a:lnTo>
                    <a:pt x="148" y="28"/>
                  </a:lnTo>
                  <a:lnTo>
                    <a:pt x="144" y="28"/>
                  </a:lnTo>
                  <a:lnTo>
                    <a:pt x="142" y="30"/>
                  </a:lnTo>
                  <a:lnTo>
                    <a:pt x="140" y="30"/>
                  </a:lnTo>
                  <a:lnTo>
                    <a:pt x="140" y="30"/>
                  </a:lnTo>
                  <a:lnTo>
                    <a:pt x="138" y="32"/>
                  </a:lnTo>
                  <a:lnTo>
                    <a:pt x="136" y="32"/>
                  </a:lnTo>
                  <a:lnTo>
                    <a:pt x="134" y="34"/>
                  </a:lnTo>
                  <a:lnTo>
                    <a:pt x="134" y="36"/>
                  </a:lnTo>
                  <a:lnTo>
                    <a:pt x="132" y="36"/>
                  </a:lnTo>
                  <a:lnTo>
                    <a:pt x="130" y="38"/>
                  </a:lnTo>
                  <a:lnTo>
                    <a:pt x="130" y="38"/>
                  </a:lnTo>
                  <a:lnTo>
                    <a:pt x="128" y="38"/>
                  </a:lnTo>
                  <a:lnTo>
                    <a:pt x="128" y="38"/>
                  </a:lnTo>
                  <a:lnTo>
                    <a:pt x="126" y="38"/>
                  </a:lnTo>
                  <a:lnTo>
                    <a:pt x="124" y="38"/>
                  </a:lnTo>
                  <a:lnTo>
                    <a:pt x="120" y="36"/>
                  </a:lnTo>
                  <a:lnTo>
                    <a:pt x="118" y="36"/>
                  </a:lnTo>
                  <a:lnTo>
                    <a:pt x="118" y="36"/>
                  </a:lnTo>
                  <a:lnTo>
                    <a:pt x="116" y="36"/>
                  </a:lnTo>
                  <a:lnTo>
                    <a:pt x="114" y="36"/>
                  </a:lnTo>
                  <a:lnTo>
                    <a:pt x="110" y="36"/>
                  </a:lnTo>
                  <a:lnTo>
                    <a:pt x="102" y="36"/>
                  </a:lnTo>
                  <a:lnTo>
                    <a:pt x="98" y="36"/>
                  </a:lnTo>
                  <a:lnTo>
                    <a:pt x="96" y="36"/>
                  </a:lnTo>
                  <a:lnTo>
                    <a:pt x="94" y="36"/>
                  </a:lnTo>
                  <a:lnTo>
                    <a:pt x="92" y="36"/>
                  </a:lnTo>
                  <a:lnTo>
                    <a:pt x="90" y="36"/>
                  </a:lnTo>
                  <a:lnTo>
                    <a:pt x="88" y="34"/>
                  </a:lnTo>
                  <a:lnTo>
                    <a:pt x="86" y="34"/>
                  </a:lnTo>
                  <a:lnTo>
                    <a:pt x="86" y="34"/>
                  </a:lnTo>
                  <a:lnTo>
                    <a:pt x="86" y="34"/>
                  </a:lnTo>
                  <a:lnTo>
                    <a:pt x="86" y="32"/>
                  </a:lnTo>
                  <a:lnTo>
                    <a:pt x="86" y="32"/>
                  </a:lnTo>
                  <a:lnTo>
                    <a:pt x="84" y="30"/>
                  </a:lnTo>
                  <a:lnTo>
                    <a:pt x="84" y="28"/>
                  </a:lnTo>
                  <a:lnTo>
                    <a:pt x="84" y="26"/>
                  </a:lnTo>
                  <a:lnTo>
                    <a:pt x="84" y="26"/>
                  </a:lnTo>
                  <a:lnTo>
                    <a:pt x="82" y="24"/>
                  </a:lnTo>
                  <a:lnTo>
                    <a:pt x="82" y="24"/>
                  </a:lnTo>
                  <a:lnTo>
                    <a:pt x="80" y="24"/>
                  </a:lnTo>
                  <a:lnTo>
                    <a:pt x="78" y="24"/>
                  </a:lnTo>
                  <a:lnTo>
                    <a:pt x="76" y="22"/>
                  </a:lnTo>
                  <a:lnTo>
                    <a:pt x="72" y="22"/>
                  </a:lnTo>
                  <a:lnTo>
                    <a:pt x="68" y="22"/>
                  </a:lnTo>
                  <a:lnTo>
                    <a:pt x="66" y="20"/>
                  </a:lnTo>
                  <a:lnTo>
                    <a:pt x="66" y="20"/>
                  </a:lnTo>
                  <a:lnTo>
                    <a:pt x="64" y="20"/>
                  </a:lnTo>
                  <a:lnTo>
                    <a:pt x="62" y="18"/>
                  </a:lnTo>
                  <a:lnTo>
                    <a:pt x="62" y="18"/>
                  </a:lnTo>
                  <a:lnTo>
                    <a:pt x="62" y="16"/>
                  </a:lnTo>
                  <a:lnTo>
                    <a:pt x="62" y="14"/>
                  </a:lnTo>
                  <a:lnTo>
                    <a:pt x="60" y="12"/>
                  </a:lnTo>
                  <a:lnTo>
                    <a:pt x="60" y="10"/>
                  </a:lnTo>
                  <a:lnTo>
                    <a:pt x="60" y="10"/>
                  </a:lnTo>
                  <a:lnTo>
                    <a:pt x="60" y="10"/>
                  </a:lnTo>
                  <a:lnTo>
                    <a:pt x="58" y="10"/>
                  </a:lnTo>
                  <a:lnTo>
                    <a:pt x="58" y="8"/>
                  </a:lnTo>
                  <a:lnTo>
                    <a:pt x="56" y="8"/>
                  </a:lnTo>
                  <a:lnTo>
                    <a:pt x="54" y="8"/>
                  </a:lnTo>
                  <a:lnTo>
                    <a:pt x="52" y="8"/>
                  </a:lnTo>
                  <a:lnTo>
                    <a:pt x="50" y="8"/>
                  </a:lnTo>
                  <a:lnTo>
                    <a:pt x="50" y="8"/>
                  </a:lnTo>
                  <a:lnTo>
                    <a:pt x="50" y="6"/>
                  </a:lnTo>
                  <a:lnTo>
                    <a:pt x="48" y="6"/>
                  </a:lnTo>
                  <a:lnTo>
                    <a:pt x="48" y="6"/>
                  </a:lnTo>
                  <a:lnTo>
                    <a:pt x="48" y="6"/>
                  </a:lnTo>
                  <a:lnTo>
                    <a:pt x="48" y="4"/>
                  </a:lnTo>
                  <a:lnTo>
                    <a:pt x="50" y="2"/>
                  </a:lnTo>
                  <a:lnTo>
                    <a:pt x="50" y="2"/>
                  </a:lnTo>
                  <a:lnTo>
                    <a:pt x="50" y="2"/>
                  </a:lnTo>
                  <a:lnTo>
                    <a:pt x="50" y="2"/>
                  </a:lnTo>
                  <a:lnTo>
                    <a:pt x="48" y="0"/>
                  </a:lnTo>
                  <a:lnTo>
                    <a:pt x="48" y="0"/>
                  </a:lnTo>
                  <a:lnTo>
                    <a:pt x="48" y="0"/>
                  </a:lnTo>
                  <a:lnTo>
                    <a:pt x="48" y="2"/>
                  </a:lnTo>
                  <a:lnTo>
                    <a:pt x="46" y="2"/>
                  </a:lnTo>
                  <a:lnTo>
                    <a:pt x="46" y="4"/>
                  </a:lnTo>
                  <a:lnTo>
                    <a:pt x="46" y="6"/>
                  </a:lnTo>
                  <a:lnTo>
                    <a:pt x="44" y="6"/>
                  </a:lnTo>
                  <a:lnTo>
                    <a:pt x="44" y="6"/>
                  </a:lnTo>
                  <a:lnTo>
                    <a:pt x="44" y="6"/>
                  </a:lnTo>
                  <a:lnTo>
                    <a:pt x="42" y="8"/>
                  </a:lnTo>
                  <a:lnTo>
                    <a:pt x="40" y="8"/>
                  </a:lnTo>
                  <a:lnTo>
                    <a:pt x="38" y="8"/>
                  </a:lnTo>
                  <a:lnTo>
                    <a:pt x="34" y="6"/>
                  </a:lnTo>
                  <a:lnTo>
                    <a:pt x="30" y="6"/>
                  </a:lnTo>
                  <a:lnTo>
                    <a:pt x="28" y="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0" name="Freeform 511"/>
            <p:cNvSpPr>
              <a:spLocks/>
            </p:cNvSpPr>
            <p:nvPr/>
          </p:nvSpPr>
          <p:spPr bwMode="auto">
            <a:xfrm>
              <a:off x="2450533" y="4303260"/>
              <a:ext cx="332558" cy="336023"/>
            </a:xfrm>
            <a:custGeom>
              <a:avLst/>
              <a:gdLst>
                <a:gd name="T0" fmla="*/ 16 w 192"/>
                <a:gd name="T1" fmla="*/ 20 h 194"/>
                <a:gd name="T2" fmla="*/ 12 w 192"/>
                <a:gd name="T3" fmla="*/ 38 h 194"/>
                <a:gd name="T4" fmla="*/ 8 w 192"/>
                <a:gd name="T5" fmla="*/ 46 h 194"/>
                <a:gd name="T6" fmla="*/ 0 w 192"/>
                <a:gd name="T7" fmla="*/ 50 h 194"/>
                <a:gd name="T8" fmla="*/ 6 w 192"/>
                <a:gd name="T9" fmla="*/ 58 h 194"/>
                <a:gd name="T10" fmla="*/ 12 w 192"/>
                <a:gd name="T11" fmla="*/ 68 h 194"/>
                <a:gd name="T12" fmla="*/ 8 w 192"/>
                <a:gd name="T13" fmla="*/ 82 h 194"/>
                <a:gd name="T14" fmla="*/ 10 w 192"/>
                <a:gd name="T15" fmla="*/ 86 h 194"/>
                <a:gd name="T16" fmla="*/ 28 w 192"/>
                <a:gd name="T17" fmla="*/ 84 h 194"/>
                <a:gd name="T18" fmla="*/ 36 w 192"/>
                <a:gd name="T19" fmla="*/ 86 h 194"/>
                <a:gd name="T20" fmla="*/ 36 w 192"/>
                <a:gd name="T21" fmla="*/ 96 h 194"/>
                <a:gd name="T22" fmla="*/ 44 w 192"/>
                <a:gd name="T23" fmla="*/ 100 h 194"/>
                <a:gd name="T24" fmla="*/ 70 w 192"/>
                <a:gd name="T25" fmla="*/ 108 h 194"/>
                <a:gd name="T26" fmla="*/ 82 w 192"/>
                <a:gd name="T27" fmla="*/ 114 h 194"/>
                <a:gd name="T28" fmla="*/ 82 w 192"/>
                <a:gd name="T29" fmla="*/ 132 h 194"/>
                <a:gd name="T30" fmla="*/ 76 w 192"/>
                <a:gd name="T31" fmla="*/ 158 h 194"/>
                <a:gd name="T32" fmla="*/ 86 w 192"/>
                <a:gd name="T33" fmla="*/ 176 h 194"/>
                <a:gd name="T34" fmla="*/ 94 w 192"/>
                <a:gd name="T35" fmla="*/ 186 h 194"/>
                <a:gd name="T36" fmla="*/ 106 w 192"/>
                <a:gd name="T37" fmla="*/ 194 h 194"/>
                <a:gd name="T38" fmla="*/ 120 w 192"/>
                <a:gd name="T39" fmla="*/ 192 h 194"/>
                <a:gd name="T40" fmla="*/ 132 w 192"/>
                <a:gd name="T41" fmla="*/ 184 h 194"/>
                <a:gd name="T42" fmla="*/ 134 w 192"/>
                <a:gd name="T43" fmla="*/ 174 h 194"/>
                <a:gd name="T44" fmla="*/ 130 w 192"/>
                <a:gd name="T45" fmla="*/ 168 h 194"/>
                <a:gd name="T46" fmla="*/ 122 w 192"/>
                <a:gd name="T47" fmla="*/ 164 h 194"/>
                <a:gd name="T48" fmla="*/ 122 w 192"/>
                <a:gd name="T49" fmla="*/ 146 h 194"/>
                <a:gd name="T50" fmla="*/ 130 w 192"/>
                <a:gd name="T51" fmla="*/ 140 h 194"/>
                <a:gd name="T52" fmla="*/ 136 w 192"/>
                <a:gd name="T53" fmla="*/ 144 h 194"/>
                <a:gd name="T54" fmla="*/ 144 w 192"/>
                <a:gd name="T55" fmla="*/ 152 h 194"/>
                <a:gd name="T56" fmla="*/ 150 w 192"/>
                <a:gd name="T57" fmla="*/ 146 h 194"/>
                <a:gd name="T58" fmla="*/ 164 w 192"/>
                <a:gd name="T59" fmla="*/ 146 h 194"/>
                <a:gd name="T60" fmla="*/ 178 w 192"/>
                <a:gd name="T61" fmla="*/ 144 h 194"/>
                <a:gd name="T62" fmla="*/ 182 w 192"/>
                <a:gd name="T63" fmla="*/ 130 h 194"/>
                <a:gd name="T64" fmla="*/ 176 w 192"/>
                <a:gd name="T65" fmla="*/ 118 h 194"/>
                <a:gd name="T66" fmla="*/ 174 w 192"/>
                <a:gd name="T67" fmla="*/ 106 h 194"/>
                <a:gd name="T68" fmla="*/ 182 w 192"/>
                <a:gd name="T69" fmla="*/ 94 h 194"/>
                <a:gd name="T70" fmla="*/ 186 w 192"/>
                <a:gd name="T71" fmla="*/ 86 h 194"/>
                <a:gd name="T72" fmla="*/ 192 w 192"/>
                <a:gd name="T73" fmla="*/ 78 h 194"/>
                <a:gd name="T74" fmla="*/ 190 w 192"/>
                <a:gd name="T75" fmla="*/ 64 h 194"/>
                <a:gd name="T76" fmla="*/ 184 w 192"/>
                <a:gd name="T77" fmla="*/ 54 h 194"/>
                <a:gd name="T78" fmla="*/ 176 w 192"/>
                <a:gd name="T79" fmla="*/ 44 h 194"/>
                <a:gd name="T80" fmla="*/ 176 w 192"/>
                <a:gd name="T81" fmla="*/ 38 h 194"/>
                <a:gd name="T82" fmla="*/ 178 w 192"/>
                <a:gd name="T83" fmla="*/ 30 h 194"/>
                <a:gd name="T84" fmla="*/ 174 w 192"/>
                <a:gd name="T85" fmla="*/ 26 h 194"/>
                <a:gd name="T86" fmla="*/ 156 w 192"/>
                <a:gd name="T87" fmla="*/ 28 h 194"/>
                <a:gd name="T88" fmla="*/ 138 w 192"/>
                <a:gd name="T89" fmla="*/ 32 h 194"/>
                <a:gd name="T90" fmla="*/ 128 w 192"/>
                <a:gd name="T91" fmla="*/ 38 h 194"/>
                <a:gd name="T92" fmla="*/ 116 w 192"/>
                <a:gd name="T93" fmla="*/ 36 h 194"/>
                <a:gd name="T94" fmla="*/ 92 w 192"/>
                <a:gd name="T95" fmla="*/ 36 h 194"/>
                <a:gd name="T96" fmla="*/ 86 w 192"/>
                <a:gd name="T97" fmla="*/ 32 h 194"/>
                <a:gd name="T98" fmla="*/ 80 w 192"/>
                <a:gd name="T99" fmla="*/ 24 h 194"/>
                <a:gd name="T100" fmla="*/ 64 w 192"/>
                <a:gd name="T101" fmla="*/ 20 h 194"/>
                <a:gd name="T102" fmla="*/ 60 w 192"/>
                <a:gd name="T103" fmla="*/ 10 h 194"/>
                <a:gd name="T104" fmla="*/ 50 w 192"/>
                <a:gd name="T105" fmla="*/ 8 h 194"/>
                <a:gd name="T106" fmla="*/ 50 w 192"/>
                <a:gd name="T107" fmla="*/ 2 h 194"/>
                <a:gd name="T108" fmla="*/ 48 w 192"/>
                <a:gd name="T109" fmla="*/ 2 h 194"/>
                <a:gd name="T110" fmla="*/ 42 w 192"/>
                <a:gd name="T111"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94">
                  <a:moveTo>
                    <a:pt x="28" y="6"/>
                  </a:moveTo>
                  <a:lnTo>
                    <a:pt x="28" y="6"/>
                  </a:lnTo>
                  <a:lnTo>
                    <a:pt x="26" y="8"/>
                  </a:lnTo>
                  <a:lnTo>
                    <a:pt x="24" y="12"/>
                  </a:lnTo>
                  <a:lnTo>
                    <a:pt x="20" y="16"/>
                  </a:lnTo>
                  <a:lnTo>
                    <a:pt x="18" y="18"/>
                  </a:lnTo>
                  <a:lnTo>
                    <a:pt x="16" y="20"/>
                  </a:lnTo>
                  <a:lnTo>
                    <a:pt x="16" y="20"/>
                  </a:lnTo>
                  <a:lnTo>
                    <a:pt x="16" y="22"/>
                  </a:lnTo>
                  <a:lnTo>
                    <a:pt x="14" y="26"/>
                  </a:lnTo>
                  <a:lnTo>
                    <a:pt x="14" y="28"/>
                  </a:lnTo>
                  <a:lnTo>
                    <a:pt x="14" y="32"/>
                  </a:lnTo>
                  <a:lnTo>
                    <a:pt x="12" y="36"/>
                  </a:lnTo>
                  <a:lnTo>
                    <a:pt x="12" y="38"/>
                  </a:lnTo>
                  <a:lnTo>
                    <a:pt x="12" y="40"/>
                  </a:lnTo>
                  <a:lnTo>
                    <a:pt x="12" y="42"/>
                  </a:lnTo>
                  <a:lnTo>
                    <a:pt x="10" y="42"/>
                  </a:lnTo>
                  <a:lnTo>
                    <a:pt x="10" y="44"/>
                  </a:lnTo>
                  <a:lnTo>
                    <a:pt x="10" y="44"/>
                  </a:lnTo>
                  <a:lnTo>
                    <a:pt x="10" y="44"/>
                  </a:lnTo>
                  <a:lnTo>
                    <a:pt x="8" y="46"/>
                  </a:lnTo>
                  <a:lnTo>
                    <a:pt x="4" y="46"/>
                  </a:lnTo>
                  <a:lnTo>
                    <a:pt x="4" y="48"/>
                  </a:lnTo>
                  <a:lnTo>
                    <a:pt x="2" y="48"/>
                  </a:lnTo>
                  <a:lnTo>
                    <a:pt x="2" y="48"/>
                  </a:lnTo>
                  <a:lnTo>
                    <a:pt x="0" y="48"/>
                  </a:lnTo>
                  <a:lnTo>
                    <a:pt x="0" y="50"/>
                  </a:lnTo>
                  <a:lnTo>
                    <a:pt x="0" y="50"/>
                  </a:lnTo>
                  <a:lnTo>
                    <a:pt x="0" y="50"/>
                  </a:lnTo>
                  <a:lnTo>
                    <a:pt x="0" y="52"/>
                  </a:lnTo>
                  <a:lnTo>
                    <a:pt x="0" y="52"/>
                  </a:lnTo>
                  <a:lnTo>
                    <a:pt x="2" y="54"/>
                  </a:lnTo>
                  <a:lnTo>
                    <a:pt x="2" y="56"/>
                  </a:lnTo>
                  <a:lnTo>
                    <a:pt x="4" y="56"/>
                  </a:lnTo>
                  <a:lnTo>
                    <a:pt x="6" y="58"/>
                  </a:lnTo>
                  <a:lnTo>
                    <a:pt x="8" y="60"/>
                  </a:lnTo>
                  <a:lnTo>
                    <a:pt x="10" y="64"/>
                  </a:lnTo>
                  <a:lnTo>
                    <a:pt x="12" y="64"/>
                  </a:lnTo>
                  <a:lnTo>
                    <a:pt x="12" y="66"/>
                  </a:lnTo>
                  <a:lnTo>
                    <a:pt x="12" y="66"/>
                  </a:lnTo>
                  <a:lnTo>
                    <a:pt x="12" y="68"/>
                  </a:lnTo>
                  <a:lnTo>
                    <a:pt x="12" y="68"/>
                  </a:lnTo>
                  <a:lnTo>
                    <a:pt x="12" y="70"/>
                  </a:lnTo>
                  <a:lnTo>
                    <a:pt x="12" y="70"/>
                  </a:lnTo>
                  <a:lnTo>
                    <a:pt x="12" y="72"/>
                  </a:lnTo>
                  <a:lnTo>
                    <a:pt x="12" y="74"/>
                  </a:lnTo>
                  <a:lnTo>
                    <a:pt x="10" y="76"/>
                  </a:lnTo>
                  <a:lnTo>
                    <a:pt x="10" y="78"/>
                  </a:lnTo>
                  <a:lnTo>
                    <a:pt x="8" y="82"/>
                  </a:lnTo>
                  <a:lnTo>
                    <a:pt x="8" y="82"/>
                  </a:lnTo>
                  <a:lnTo>
                    <a:pt x="8" y="84"/>
                  </a:lnTo>
                  <a:lnTo>
                    <a:pt x="8" y="84"/>
                  </a:lnTo>
                  <a:lnTo>
                    <a:pt x="8" y="84"/>
                  </a:lnTo>
                  <a:lnTo>
                    <a:pt x="10" y="86"/>
                  </a:lnTo>
                  <a:lnTo>
                    <a:pt x="10" y="86"/>
                  </a:lnTo>
                  <a:lnTo>
                    <a:pt x="10" y="86"/>
                  </a:lnTo>
                  <a:lnTo>
                    <a:pt x="12" y="86"/>
                  </a:lnTo>
                  <a:lnTo>
                    <a:pt x="14" y="86"/>
                  </a:lnTo>
                  <a:lnTo>
                    <a:pt x="16" y="86"/>
                  </a:lnTo>
                  <a:lnTo>
                    <a:pt x="18" y="86"/>
                  </a:lnTo>
                  <a:lnTo>
                    <a:pt x="22" y="86"/>
                  </a:lnTo>
                  <a:lnTo>
                    <a:pt x="26" y="86"/>
                  </a:lnTo>
                  <a:lnTo>
                    <a:pt x="28" y="84"/>
                  </a:lnTo>
                  <a:lnTo>
                    <a:pt x="30" y="84"/>
                  </a:lnTo>
                  <a:lnTo>
                    <a:pt x="32" y="84"/>
                  </a:lnTo>
                  <a:lnTo>
                    <a:pt x="34" y="84"/>
                  </a:lnTo>
                  <a:lnTo>
                    <a:pt x="34" y="86"/>
                  </a:lnTo>
                  <a:lnTo>
                    <a:pt x="34" y="86"/>
                  </a:lnTo>
                  <a:lnTo>
                    <a:pt x="36" y="86"/>
                  </a:lnTo>
                  <a:lnTo>
                    <a:pt x="36" y="86"/>
                  </a:lnTo>
                  <a:lnTo>
                    <a:pt x="36" y="88"/>
                  </a:lnTo>
                  <a:lnTo>
                    <a:pt x="36" y="88"/>
                  </a:lnTo>
                  <a:lnTo>
                    <a:pt x="36" y="90"/>
                  </a:lnTo>
                  <a:lnTo>
                    <a:pt x="36" y="92"/>
                  </a:lnTo>
                  <a:lnTo>
                    <a:pt x="36" y="92"/>
                  </a:lnTo>
                  <a:lnTo>
                    <a:pt x="36" y="94"/>
                  </a:lnTo>
                  <a:lnTo>
                    <a:pt x="36" y="96"/>
                  </a:lnTo>
                  <a:lnTo>
                    <a:pt x="36" y="96"/>
                  </a:lnTo>
                  <a:lnTo>
                    <a:pt x="36" y="96"/>
                  </a:lnTo>
                  <a:lnTo>
                    <a:pt x="38" y="98"/>
                  </a:lnTo>
                  <a:lnTo>
                    <a:pt x="38" y="98"/>
                  </a:lnTo>
                  <a:lnTo>
                    <a:pt x="40" y="98"/>
                  </a:lnTo>
                  <a:lnTo>
                    <a:pt x="40" y="100"/>
                  </a:lnTo>
                  <a:lnTo>
                    <a:pt x="44" y="100"/>
                  </a:lnTo>
                  <a:lnTo>
                    <a:pt x="46" y="102"/>
                  </a:lnTo>
                  <a:lnTo>
                    <a:pt x="50" y="104"/>
                  </a:lnTo>
                  <a:lnTo>
                    <a:pt x="52" y="104"/>
                  </a:lnTo>
                  <a:lnTo>
                    <a:pt x="58" y="106"/>
                  </a:lnTo>
                  <a:lnTo>
                    <a:pt x="60" y="106"/>
                  </a:lnTo>
                  <a:lnTo>
                    <a:pt x="64" y="108"/>
                  </a:lnTo>
                  <a:lnTo>
                    <a:pt x="70" y="108"/>
                  </a:lnTo>
                  <a:lnTo>
                    <a:pt x="74" y="110"/>
                  </a:lnTo>
                  <a:lnTo>
                    <a:pt x="76" y="110"/>
                  </a:lnTo>
                  <a:lnTo>
                    <a:pt x="78" y="112"/>
                  </a:lnTo>
                  <a:lnTo>
                    <a:pt x="80" y="112"/>
                  </a:lnTo>
                  <a:lnTo>
                    <a:pt x="80" y="112"/>
                  </a:lnTo>
                  <a:lnTo>
                    <a:pt x="80" y="114"/>
                  </a:lnTo>
                  <a:lnTo>
                    <a:pt x="82" y="114"/>
                  </a:lnTo>
                  <a:lnTo>
                    <a:pt x="82" y="116"/>
                  </a:lnTo>
                  <a:lnTo>
                    <a:pt x="82" y="118"/>
                  </a:lnTo>
                  <a:lnTo>
                    <a:pt x="82" y="120"/>
                  </a:lnTo>
                  <a:lnTo>
                    <a:pt x="84" y="122"/>
                  </a:lnTo>
                  <a:lnTo>
                    <a:pt x="84" y="124"/>
                  </a:lnTo>
                  <a:lnTo>
                    <a:pt x="82" y="128"/>
                  </a:lnTo>
                  <a:lnTo>
                    <a:pt x="82" y="132"/>
                  </a:lnTo>
                  <a:lnTo>
                    <a:pt x="82" y="136"/>
                  </a:lnTo>
                  <a:lnTo>
                    <a:pt x="80" y="142"/>
                  </a:lnTo>
                  <a:lnTo>
                    <a:pt x="80" y="144"/>
                  </a:lnTo>
                  <a:lnTo>
                    <a:pt x="80" y="146"/>
                  </a:lnTo>
                  <a:lnTo>
                    <a:pt x="78" y="152"/>
                  </a:lnTo>
                  <a:lnTo>
                    <a:pt x="76" y="156"/>
                  </a:lnTo>
                  <a:lnTo>
                    <a:pt x="76" y="158"/>
                  </a:lnTo>
                  <a:lnTo>
                    <a:pt x="76" y="160"/>
                  </a:lnTo>
                  <a:lnTo>
                    <a:pt x="76" y="162"/>
                  </a:lnTo>
                  <a:lnTo>
                    <a:pt x="76" y="164"/>
                  </a:lnTo>
                  <a:lnTo>
                    <a:pt x="78" y="168"/>
                  </a:lnTo>
                  <a:lnTo>
                    <a:pt x="78" y="174"/>
                  </a:lnTo>
                  <a:lnTo>
                    <a:pt x="82" y="176"/>
                  </a:lnTo>
                  <a:lnTo>
                    <a:pt x="86" y="176"/>
                  </a:lnTo>
                  <a:lnTo>
                    <a:pt x="86" y="178"/>
                  </a:lnTo>
                  <a:lnTo>
                    <a:pt x="88" y="178"/>
                  </a:lnTo>
                  <a:lnTo>
                    <a:pt x="88" y="178"/>
                  </a:lnTo>
                  <a:lnTo>
                    <a:pt x="90" y="180"/>
                  </a:lnTo>
                  <a:lnTo>
                    <a:pt x="92" y="182"/>
                  </a:lnTo>
                  <a:lnTo>
                    <a:pt x="94" y="186"/>
                  </a:lnTo>
                  <a:lnTo>
                    <a:pt x="94" y="186"/>
                  </a:lnTo>
                  <a:lnTo>
                    <a:pt x="96" y="188"/>
                  </a:lnTo>
                  <a:lnTo>
                    <a:pt x="96" y="188"/>
                  </a:lnTo>
                  <a:lnTo>
                    <a:pt x="98" y="190"/>
                  </a:lnTo>
                  <a:lnTo>
                    <a:pt x="100" y="192"/>
                  </a:lnTo>
                  <a:lnTo>
                    <a:pt x="104" y="192"/>
                  </a:lnTo>
                  <a:lnTo>
                    <a:pt x="104" y="192"/>
                  </a:lnTo>
                  <a:lnTo>
                    <a:pt x="106" y="194"/>
                  </a:lnTo>
                  <a:lnTo>
                    <a:pt x="108" y="194"/>
                  </a:lnTo>
                  <a:lnTo>
                    <a:pt x="110" y="194"/>
                  </a:lnTo>
                  <a:lnTo>
                    <a:pt x="112" y="194"/>
                  </a:lnTo>
                  <a:lnTo>
                    <a:pt x="114" y="194"/>
                  </a:lnTo>
                  <a:lnTo>
                    <a:pt x="116" y="192"/>
                  </a:lnTo>
                  <a:lnTo>
                    <a:pt x="118" y="192"/>
                  </a:lnTo>
                  <a:lnTo>
                    <a:pt x="120" y="192"/>
                  </a:lnTo>
                  <a:lnTo>
                    <a:pt x="122" y="192"/>
                  </a:lnTo>
                  <a:lnTo>
                    <a:pt x="122" y="190"/>
                  </a:lnTo>
                  <a:lnTo>
                    <a:pt x="124" y="190"/>
                  </a:lnTo>
                  <a:lnTo>
                    <a:pt x="126" y="188"/>
                  </a:lnTo>
                  <a:lnTo>
                    <a:pt x="128" y="188"/>
                  </a:lnTo>
                  <a:lnTo>
                    <a:pt x="130" y="186"/>
                  </a:lnTo>
                  <a:lnTo>
                    <a:pt x="132" y="184"/>
                  </a:lnTo>
                  <a:lnTo>
                    <a:pt x="134" y="182"/>
                  </a:lnTo>
                  <a:lnTo>
                    <a:pt x="134" y="182"/>
                  </a:lnTo>
                  <a:lnTo>
                    <a:pt x="134" y="180"/>
                  </a:lnTo>
                  <a:lnTo>
                    <a:pt x="134" y="178"/>
                  </a:lnTo>
                  <a:lnTo>
                    <a:pt x="134" y="178"/>
                  </a:lnTo>
                  <a:lnTo>
                    <a:pt x="134" y="176"/>
                  </a:lnTo>
                  <a:lnTo>
                    <a:pt x="134" y="174"/>
                  </a:lnTo>
                  <a:lnTo>
                    <a:pt x="134" y="172"/>
                  </a:lnTo>
                  <a:lnTo>
                    <a:pt x="134" y="172"/>
                  </a:lnTo>
                  <a:lnTo>
                    <a:pt x="134" y="170"/>
                  </a:lnTo>
                  <a:lnTo>
                    <a:pt x="134" y="170"/>
                  </a:lnTo>
                  <a:lnTo>
                    <a:pt x="132" y="170"/>
                  </a:lnTo>
                  <a:lnTo>
                    <a:pt x="132" y="168"/>
                  </a:lnTo>
                  <a:lnTo>
                    <a:pt x="130" y="168"/>
                  </a:lnTo>
                  <a:lnTo>
                    <a:pt x="128" y="168"/>
                  </a:lnTo>
                  <a:lnTo>
                    <a:pt x="126" y="166"/>
                  </a:lnTo>
                  <a:lnTo>
                    <a:pt x="126" y="166"/>
                  </a:lnTo>
                  <a:lnTo>
                    <a:pt x="124" y="166"/>
                  </a:lnTo>
                  <a:lnTo>
                    <a:pt x="124" y="164"/>
                  </a:lnTo>
                  <a:lnTo>
                    <a:pt x="124" y="164"/>
                  </a:lnTo>
                  <a:lnTo>
                    <a:pt x="122" y="164"/>
                  </a:lnTo>
                  <a:lnTo>
                    <a:pt x="122" y="162"/>
                  </a:lnTo>
                  <a:lnTo>
                    <a:pt x="122" y="160"/>
                  </a:lnTo>
                  <a:lnTo>
                    <a:pt x="122" y="158"/>
                  </a:lnTo>
                  <a:lnTo>
                    <a:pt x="122" y="156"/>
                  </a:lnTo>
                  <a:lnTo>
                    <a:pt x="122" y="152"/>
                  </a:lnTo>
                  <a:lnTo>
                    <a:pt x="122" y="148"/>
                  </a:lnTo>
                  <a:lnTo>
                    <a:pt x="122" y="146"/>
                  </a:lnTo>
                  <a:lnTo>
                    <a:pt x="124" y="146"/>
                  </a:lnTo>
                  <a:lnTo>
                    <a:pt x="124" y="144"/>
                  </a:lnTo>
                  <a:lnTo>
                    <a:pt x="124" y="142"/>
                  </a:lnTo>
                  <a:lnTo>
                    <a:pt x="126" y="142"/>
                  </a:lnTo>
                  <a:lnTo>
                    <a:pt x="126" y="142"/>
                  </a:lnTo>
                  <a:lnTo>
                    <a:pt x="128" y="140"/>
                  </a:lnTo>
                  <a:lnTo>
                    <a:pt x="130" y="140"/>
                  </a:lnTo>
                  <a:lnTo>
                    <a:pt x="130" y="140"/>
                  </a:lnTo>
                  <a:lnTo>
                    <a:pt x="130" y="140"/>
                  </a:lnTo>
                  <a:lnTo>
                    <a:pt x="132" y="140"/>
                  </a:lnTo>
                  <a:lnTo>
                    <a:pt x="132" y="140"/>
                  </a:lnTo>
                  <a:lnTo>
                    <a:pt x="134" y="142"/>
                  </a:lnTo>
                  <a:lnTo>
                    <a:pt x="134" y="142"/>
                  </a:lnTo>
                  <a:lnTo>
                    <a:pt x="136" y="144"/>
                  </a:lnTo>
                  <a:lnTo>
                    <a:pt x="138" y="146"/>
                  </a:lnTo>
                  <a:lnTo>
                    <a:pt x="138" y="148"/>
                  </a:lnTo>
                  <a:lnTo>
                    <a:pt x="140" y="150"/>
                  </a:lnTo>
                  <a:lnTo>
                    <a:pt x="142" y="150"/>
                  </a:lnTo>
                  <a:lnTo>
                    <a:pt x="142" y="150"/>
                  </a:lnTo>
                  <a:lnTo>
                    <a:pt x="142" y="152"/>
                  </a:lnTo>
                  <a:lnTo>
                    <a:pt x="144" y="152"/>
                  </a:lnTo>
                  <a:lnTo>
                    <a:pt x="144" y="152"/>
                  </a:lnTo>
                  <a:lnTo>
                    <a:pt x="144" y="152"/>
                  </a:lnTo>
                  <a:lnTo>
                    <a:pt x="146" y="150"/>
                  </a:lnTo>
                  <a:lnTo>
                    <a:pt x="146" y="150"/>
                  </a:lnTo>
                  <a:lnTo>
                    <a:pt x="148" y="148"/>
                  </a:lnTo>
                  <a:lnTo>
                    <a:pt x="150" y="146"/>
                  </a:lnTo>
                  <a:lnTo>
                    <a:pt x="150" y="146"/>
                  </a:lnTo>
                  <a:lnTo>
                    <a:pt x="152" y="146"/>
                  </a:lnTo>
                  <a:lnTo>
                    <a:pt x="154" y="146"/>
                  </a:lnTo>
                  <a:lnTo>
                    <a:pt x="154" y="146"/>
                  </a:lnTo>
                  <a:lnTo>
                    <a:pt x="156" y="146"/>
                  </a:lnTo>
                  <a:lnTo>
                    <a:pt x="158" y="146"/>
                  </a:lnTo>
                  <a:lnTo>
                    <a:pt x="162" y="146"/>
                  </a:lnTo>
                  <a:lnTo>
                    <a:pt x="164" y="146"/>
                  </a:lnTo>
                  <a:lnTo>
                    <a:pt x="168" y="146"/>
                  </a:lnTo>
                  <a:lnTo>
                    <a:pt x="172" y="146"/>
                  </a:lnTo>
                  <a:lnTo>
                    <a:pt x="174" y="146"/>
                  </a:lnTo>
                  <a:lnTo>
                    <a:pt x="174" y="146"/>
                  </a:lnTo>
                  <a:lnTo>
                    <a:pt x="176" y="144"/>
                  </a:lnTo>
                  <a:lnTo>
                    <a:pt x="178" y="144"/>
                  </a:lnTo>
                  <a:lnTo>
                    <a:pt x="178" y="144"/>
                  </a:lnTo>
                  <a:lnTo>
                    <a:pt x="178" y="144"/>
                  </a:lnTo>
                  <a:lnTo>
                    <a:pt x="178" y="142"/>
                  </a:lnTo>
                  <a:lnTo>
                    <a:pt x="180" y="140"/>
                  </a:lnTo>
                  <a:lnTo>
                    <a:pt x="180" y="138"/>
                  </a:lnTo>
                  <a:lnTo>
                    <a:pt x="182" y="136"/>
                  </a:lnTo>
                  <a:lnTo>
                    <a:pt x="182" y="134"/>
                  </a:lnTo>
                  <a:lnTo>
                    <a:pt x="182" y="130"/>
                  </a:lnTo>
                  <a:lnTo>
                    <a:pt x="182" y="126"/>
                  </a:lnTo>
                  <a:lnTo>
                    <a:pt x="182" y="126"/>
                  </a:lnTo>
                  <a:lnTo>
                    <a:pt x="180" y="124"/>
                  </a:lnTo>
                  <a:lnTo>
                    <a:pt x="180" y="124"/>
                  </a:lnTo>
                  <a:lnTo>
                    <a:pt x="180" y="122"/>
                  </a:lnTo>
                  <a:lnTo>
                    <a:pt x="178" y="120"/>
                  </a:lnTo>
                  <a:lnTo>
                    <a:pt x="176" y="118"/>
                  </a:lnTo>
                  <a:lnTo>
                    <a:pt x="174" y="116"/>
                  </a:lnTo>
                  <a:lnTo>
                    <a:pt x="174" y="116"/>
                  </a:lnTo>
                  <a:lnTo>
                    <a:pt x="174" y="114"/>
                  </a:lnTo>
                  <a:lnTo>
                    <a:pt x="174" y="112"/>
                  </a:lnTo>
                  <a:lnTo>
                    <a:pt x="174" y="110"/>
                  </a:lnTo>
                  <a:lnTo>
                    <a:pt x="174" y="108"/>
                  </a:lnTo>
                  <a:lnTo>
                    <a:pt x="174" y="106"/>
                  </a:lnTo>
                  <a:lnTo>
                    <a:pt x="174" y="104"/>
                  </a:lnTo>
                  <a:lnTo>
                    <a:pt x="174" y="102"/>
                  </a:lnTo>
                  <a:lnTo>
                    <a:pt x="176" y="102"/>
                  </a:lnTo>
                  <a:lnTo>
                    <a:pt x="176" y="100"/>
                  </a:lnTo>
                  <a:lnTo>
                    <a:pt x="176" y="100"/>
                  </a:lnTo>
                  <a:lnTo>
                    <a:pt x="180" y="98"/>
                  </a:lnTo>
                  <a:lnTo>
                    <a:pt x="182" y="94"/>
                  </a:lnTo>
                  <a:lnTo>
                    <a:pt x="182" y="94"/>
                  </a:lnTo>
                  <a:lnTo>
                    <a:pt x="184" y="92"/>
                  </a:lnTo>
                  <a:lnTo>
                    <a:pt x="184" y="92"/>
                  </a:lnTo>
                  <a:lnTo>
                    <a:pt x="184" y="92"/>
                  </a:lnTo>
                  <a:lnTo>
                    <a:pt x="184" y="90"/>
                  </a:lnTo>
                  <a:lnTo>
                    <a:pt x="186" y="88"/>
                  </a:lnTo>
                  <a:lnTo>
                    <a:pt x="186" y="86"/>
                  </a:lnTo>
                  <a:lnTo>
                    <a:pt x="186" y="84"/>
                  </a:lnTo>
                  <a:lnTo>
                    <a:pt x="188" y="84"/>
                  </a:lnTo>
                  <a:lnTo>
                    <a:pt x="190" y="82"/>
                  </a:lnTo>
                  <a:lnTo>
                    <a:pt x="192" y="80"/>
                  </a:lnTo>
                  <a:lnTo>
                    <a:pt x="192" y="80"/>
                  </a:lnTo>
                  <a:lnTo>
                    <a:pt x="192" y="80"/>
                  </a:lnTo>
                  <a:lnTo>
                    <a:pt x="192" y="78"/>
                  </a:lnTo>
                  <a:lnTo>
                    <a:pt x="192" y="78"/>
                  </a:lnTo>
                  <a:lnTo>
                    <a:pt x="192" y="76"/>
                  </a:lnTo>
                  <a:lnTo>
                    <a:pt x="192" y="74"/>
                  </a:lnTo>
                  <a:lnTo>
                    <a:pt x="192" y="70"/>
                  </a:lnTo>
                  <a:lnTo>
                    <a:pt x="192" y="66"/>
                  </a:lnTo>
                  <a:lnTo>
                    <a:pt x="192" y="64"/>
                  </a:lnTo>
                  <a:lnTo>
                    <a:pt x="190" y="64"/>
                  </a:lnTo>
                  <a:lnTo>
                    <a:pt x="188" y="62"/>
                  </a:lnTo>
                  <a:lnTo>
                    <a:pt x="186" y="62"/>
                  </a:lnTo>
                  <a:lnTo>
                    <a:pt x="186" y="62"/>
                  </a:lnTo>
                  <a:lnTo>
                    <a:pt x="186" y="60"/>
                  </a:lnTo>
                  <a:lnTo>
                    <a:pt x="184" y="58"/>
                  </a:lnTo>
                  <a:lnTo>
                    <a:pt x="184" y="56"/>
                  </a:lnTo>
                  <a:lnTo>
                    <a:pt x="184" y="54"/>
                  </a:lnTo>
                  <a:lnTo>
                    <a:pt x="182" y="50"/>
                  </a:lnTo>
                  <a:lnTo>
                    <a:pt x="182" y="50"/>
                  </a:lnTo>
                  <a:lnTo>
                    <a:pt x="180" y="48"/>
                  </a:lnTo>
                  <a:lnTo>
                    <a:pt x="180" y="48"/>
                  </a:lnTo>
                  <a:lnTo>
                    <a:pt x="180" y="46"/>
                  </a:lnTo>
                  <a:lnTo>
                    <a:pt x="176" y="44"/>
                  </a:lnTo>
                  <a:lnTo>
                    <a:pt x="176" y="44"/>
                  </a:lnTo>
                  <a:lnTo>
                    <a:pt x="174" y="42"/>
                  </a:lnTo>
                  <a:lnTo>
                    <a:pt x="174" y="42"/>
                  </a:lnTo>
                  <a:lnTo>
                    <a:pt x="174" y="40"/>
                  </a:lnTo>
                  <a:lnTo>
                    <a:pt x="174" y="40"/>
                  </a:lnTo>
                  <a:lnTo>
                    <a:pt x="174" y="40"/>
                  </a:lnTo>
                  <a:lnTo>
                    <a:pt x="174" y="40"/>
                  </a:lnTo>
                  <a:lnTo>
                    <a:pt x="176" y="38"/>
                  </a:lnTo>
                  <a:lnTo>
                    <a:pt x="176" y="38"/>
                  </a:lnTo>
                  <a:lnTo>
                    <a:pt x="178" y="36"/>
                  </a:lnTo>
                  <a:lnTo>
                    <a:pt x="178" y="36"/>
                  </a:lnTo>
                  <a:lnTo>
                    <a:pt x="178" y="36"/>
                  </a:lnTo>
                  <a:lnTo>
                    <a:pt x="178" y="34"/>
                  </a:lnTo>
                  <a:lnTo>
                    <a:pt x="178" y="32"/>
                  </a:lnTo>
                  <a:lnTo>
                    <a:pt x="178" y="30"/>
                  </a:lnTo>
                  <a:lnTo>
                    <a:pt x="178" y="30"/>
                  </a:lnTo>
                  <a:lnTo>
                    <a:pt x="178" y="30"/>
                  </a:lnTo>
                  <a:lnTo>
                    <a:pt x="178" y="28"/>
                  </a:lnTo>
                  <a:lnTo>
                    <a:pt x="178" y="28"/>
                  </a:lnTo>
                  <a:lnTo>
                    <a:pt x="176" y="28"/>
                  </a:lnTo>
                  <a:lnTo>
                    <a:pt x="176" y="26"/>
                  </a:lnTo>
                  <a:lnTo>
                    <a:pt x="174" y="26"/>
                  </a:lnTo>
                  <a:lnTo>
                    <a:pt x="172" y="26"/>
                  </a:lnTo>
                  <a:lnTo>
                    <a:pt x="170" y="26"/>
                  </a:lnTo>
                  <a:lnTo>
                    <a:pt x="168" y="26"/>
                  </a:lnTo>
                  <a:lnTo>
                    <a:pt x="164" y="26"/>
                  </a:lnTo>
                  <a:lnTo>
                    <a:pt x="160" y="28"/>
                  </a:lnTo>
                  <a:lnTo>
                    <a:pt x="158" y="28"/>
                  </a:lnTo>
                  <a:lnTo>
                    <a:pt x="156" y="28"/>
                  </a:lnTo>
                  <a:lnTo>
                    <a:pt x="152" y="28"/>
                  </a:lnTo>
                  <a:lnTo>
                    <a:pt x="148" y="28"/>
                  </a:lnTo>
                  <a:lnTo>
                    <a:pt x="144" y="28"/>
                  </a:lnTo>
                  <a:lnTo>
                    <a:pt x="142" y="30"/>
                  </a:lnTo>
                  <a:lnTo>
                    <a:pt x="140" y="30"/>
                  </a:lnTo>
                  <a:lnTo>
                    <a:pt x="140" y="30"/>
                  </a:lnTo>
                  <a:lnTo>
                    <a:pt x="138" y="32"/>
                  </a:lnTo>
                  <a:lnTo>
                    <a:pt x="136" y="32"/>
                  </a:lnTo>
                  <a:lnTo>
                    <a:pt x="134" y="34"/>
                  </a:lnTo>
                  <a:lnTo>
                    <a:pt x="134" y="36"/>
                  </a:lnTo>
                  <a:lnTo>
                    <a:pt x="132" y="36"/>
                  </a:lnTo>
                  <a:lnTo>
                    <a:pt x="130" y="38"/>
                  </a:lnTo>
                  <a:lnTo>
                    <a:pt x="130" y="38"/>
                  </a:lnTo>
                  <a:lnTo>
                    <a:pt x="128" y="38"/>
                  </a:lnTo>
                  <a:lnTo>
                    <a:pt x="128" y="38"/>
                  </a:lnTo>
                  <a:lnTo>
                    <a:pt x="126" y="38"/>
                  </a:lnTo>
                  <a:lnTo>
                    <a:pt x="124" y="38"/>
                  </a:lnTo>
                  <a:lnTo>
                    <a:pt x="120" y="36"/>
                  </a:lnTo>
                  <a:lnTo>
                    <a:pt x="118" y="36"/>
                  </a:lnTo>
                  <a:lnTo>
                    <a:pt x="118" y="36"/>
                  </a:lnTo>
                  <a:lnTo>
                    <a:pt x="116" y="36"/>
                  </a:lnTo>
                  <a:lnTo>
                    <a:pt x="114" y="36"/>
                  </a:lnTo>
                  <a:lnTo>
                    <a:pt x="110" y="36"/>
                  </a:lnTo>
                  <a:lnTo>
                    <a:pt x="102" y="36"/>
                  </a:lnTo>
                  <a:lnTo>
                    <a:pt x="98" y="36"/>
                  </a:lnTo>
                  <a:lnTo>
                    <a:pt x="96" y="36"/>
                  </a:lnTo>
                  <a:lnTo>
                    <a:pt x="94" y="36"/>
                  </a:lnTo>
                  <a:lnTo>
                    <a:pt x="92" y="36"/>
                  </a:lnTo>
                  <a:lnTo>
                    <a:pt x="90" y="36"/>
                  </a:lnTo>
                  <a:lnTo>
                    <a:pt x="88" y="34"/>
                  </a:lnTo>
                  <a:lnTo>
                    <a:pt x="86" y="34"/>
                  </a:lnTo>
                  <a:lnTo>
                    <a:pt x="86" y="34"/>
                  </a:lnTo>
                  <a:lnTo>
                    <a:pt x="86" y="34"/>
                  </a:lnTo>
                  <a:lnTo>
                    <a:pt x="86" y="32"/>
                  </a:lnTo>
                  <a:lnTo>
                    <a:pt x="86" y="32"/>
                  </a:lnTo>
                  <a:lnTo>
                    <a:pt x="84" y="30"/>
                  </a:lnTo>
                  <a:lnTo>
                    <a:pt x="84" y="28"/>
                  </a:lnTo>
                  <a:lnTo>
                    <a:pt x="84" y="26"/>
                  </a:lnTo>
                  <a:lnTo>
                    <a:pt x="84" y="26"/>
                  </a:lnTo>
                  <a:lnTo>
                    <a:pt x="82" y="24"/>
                  </a:lnTo>
                  <a:lnTo>
                    <a:pt x="82" y="24"/>
                  </a:lnTo>
                  <a:lnTo>
                    <a:pt x="80" y="24"/>
                  </a:lnTo>
                  <a:lnTo>
                    <a:pt x="78" y="24"/>
                  </a:lnTo>
                  <a:lnTo>
                    <a:pt x="76" y="22"/>
                  </a:lnTo>
                  <a:lnTo>
                    <a:pt x="72" y="22"/>
                  </a:lnTo>
                  <a:lnTo>
                    <a:pt x="68" y="22"/>
                  </a:lnTo>
                  <a:lnTo>
                    <a:pt x="66" y="20"/>
                  </a:lnTo>
                  <a:lnTo>
                    <a:pt x="66" y="20"/>
                  </a:lnTo>
                  <a:lnTo>
                    <a:pt x="64" y="20"/>
                  </a:lnTo>
                  <a:lnTo>
                    <a:pt x="62" y="18"/>
                  </a:lnTo>
                  <a:lnTo>
                    <a:pt x="62" y="18"/>
                  </a:lnTo>
                  <a:lnTo>
                    <a:pt x="62" y="16"/>
                  </a:lnTo>
                  <a:lnTo>
                    <a:pt x="62" y="14"/>
                  </a:lnTo>
                  <a:lnTo>
                    <a:pt x="60" y="12"/>
                  </a:lnTo>
                  <a:lnTo>
                    <a:pt x="60" y="10"/>
                  </a:lnTo>
                  <a:lnTo>
                    <a:pt x="60" y="10"/>
                  </a:lnTo>
                  <a:lnTo>
                    <a:pt x="60" y="10"/>
                  </a:lnTo>
                  <a:lnTo>
                    <a:pt x="58" y="10"/>
                  </a:lnTo>
                  <a:lnTo>
                    <a:pt x="58" y="8"/>
                  </a:lnTo>
                  <a:lnTo>
                    <a:pt x="56" y="8"/>
                  </a:lnTo>
                  <a:lnTo>
                    <a:pt x="54" y="8"/>
                  </a:lnTo>
                  <a:lnTo>
                    <a:pt x="52" y="8"/>
                  </a:lnTo>
                  <a:lnTo>
                    <a:pt x="50" y="8"/>
                  </a:lnTo>
                  <a:lnTo>
                    <a:pt x="50" y="8"/>
                  </a:lnTo>
                  <a:lnTo>
                    <a:pt x="50" y="6"/>
                  </a:lnTo>
                  <a:lnTo>
                    <a:pt x="48" y="6"/>
                  </a:lnTo>
                  <a:lnTo>
                    <a:pt x="48" y="6"/>
                  </a:lnTo>
                  <a:lnTo>
                    <a:pt x="48" y="6"/>
                  </a:lnTo>
                  <a:lnTo>
                    <a:pt x="48" y="4"/>
                  </a:lnTo>
                  <a:lnTo>
                    <a:pt x="50" y="2"/>
                  </a:lnTo>
                  <a:lnTo>
                    <a:pt x="50" y="2"/>
                  </a:lnTo>
                  <a:lnTo>
                    <a:pt x="50" y="2"/>
                  </a:lnTo>
                  <a:lnTo>
                    <a:pt x="50" y="2"/>
                  </a:lnTo>
                  <a:lnTo>
                    <a:pt x="48" y="0"/>
                  </a:lnTo>
                  <a:lnTo>
                    <a:pt x="48" y="0"/>
                  </a:lnTo>
                  <a:lnTo>
                    <a:pt x="48" y="0"/>
                  </a:lnTo>
                  <a:lnTo>
                    <a:pt x="48" y="2"/>
                  </a:lnTo>
                  <a:lnTo>
                    <a:pt x="46" y="2"/>
                  </a:lnTo>
                  <a:lnTo>
                    <a:pt x="46" y="4"/>
                  </a:lnTo>
                  <a:lnTo>
                    <a:pt x="46" y="6"/>
                  </a:lnTo>
                  <a:lnTo>
                    <a:pt x="44" y="6"/>
                  </a:lnTo>
                  <a:lnTo>
                    <a:pt x="44" y="6"/>
                  </a:lnTo>
                  <a:lnTo>
                    <a:pt x="44" y="6"/>
                  </a:lnTo>
                  <a:lnTo>
                    <a:pt x="42" y="8"/>
                  </a:lnTo>
                  <a:lnTo>
                    <a:pt x="40" y="8"/>
                  </a:lnTo>
                  <a:lnTo>
                    <a:pt x="38" y="8"/>
                  </a:lnTo>
                  <a:lnTo>
                    <a:pt x="34" y="6"/>
                  </a:lnTo>
                  <a:lnTo>
                    <a:pt x="30" y="6"/>
                  </a:lnTo>
                  <a:lnTo>
                    <a:pt x="28" y="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1" name="Freeform 512"/>
            <p:cNvSpPr>
              <a:spLocks/>
            </p:cNvSpPr>
            <p:nvPr/>
          </p:nvSpPr>
          <p:spPr bwMode="auto">
            <a:xfrm>
              <a:off x="2918193" y="4493788"/>
              <a:ext cx="86604" cy="114317"/>
            </a:xfrm>
            <a:custGeom>
              <a:avLst/>
              <a:gdLst>
                <a:gd name="T0" fmla="*/ 10 w 50"/>
                <a:gd name="T1" fmla="*/ 2 h 66"/>
                <a:gd name="T2" fmla="*/ 6 w 50"/>
                <a:gd name="T3" fmla="*/ 8 h 66"/>
                <a:gd name="T4" fmla="*/ 6 w 50"/>
                <a:gd name="T5" fmla="*/ 10 h 66"/>
                <a:gd name="T6" fmla="*/ 4 w 50"/>
                <a:gd name="T7" fmla="*/ 14 h 66"/>
                <a:gd name="T8" fmla="*/ 4 w 50"/>
                <a:gd name="T9" fmla="*/ 20 h 66"/>
                <a:gd name="T10" fmla="*/ 6 w 50"/>
                <a:gd name="T11" fmla="*/ 32 h 66"/>
                <a:gd name="T12" fmla="*/ 6 w 50"/>
                <a:gd name="T13" fmla="*/ 40 h 66"/>
                <a:gd name="T14" fmla="*/ 6 w 50"/>
                <a:gd name="T15" fmla="*/ 46 h 66"/>
                <a:gd name="T16" fmla="*/ 6 w 50"/>
                <a:gd name="T17" fmla="*/ 50 h 66"/>
                <a:gd name="T18" fmla="*/ 4 w 50"/>
                <a:gd name="T19" fmla="*/ 54 h 66"/>
                <a:gd name="T20" fmla="*/ 2 w 50"/>
                <a:gd name="T21" fmla="*/ 56 h 66"/>
                <a:gd name="T22" fmla="*/ 2 w 50"/>
                <a:gd name="T23" fmla="*/ 58 h 66"/>
                <a:gd name="T24" fmla="*/ 6 w 50"/>
                <a:gd name="T25" fmla="*/ 62 h 66"/>
                <a:gd name="T26" fmla="*/ 8 w 50"/>
                <a:gd name="T27" fmla="*/ 64 h 66"/>
                <a:gd name="T28" fmla="*/ 10 w 50"/>
                <a:gd name="T29" fmla="*/ 66 h 66"/>
                <a:gd name="T30" fmla="*/ 14 w 50"/>
                <a:gd name="T31" fmla="*/ 66 h 66"/>
                <a:gd name="T32" fmla="*/ 18 w 50"/>
                <a:gd name="T33" fmla="*/ 66 h 66"/>
                <a:gd name="T34" fmla="*/ 22 w 50"/>
                <a:gd name="T35" fmla="*/ 66 h 66"/>
                <a:gd name="T36" fmla="*/ 22 w 50"/>
                <a:gd name="T37" fmla="*/ 64 h 66"/>
                <a:gd name="T38" fmla="*/ 24 w 50"/>
                <a:gd name="T39" fmla="*/ 62 h 66"/>
                <a:gd name="T40" fmla="*/ 26 w 50"/>
                <a:gd name="T41" fmla="*/ 58 h 66"/>
                <a:gd name="T42" fmla="*/ 28 w 50"/>
                <a:gd name="T43" fmla="*/ 52 h 66"/>
                <a:gd name="T44" fmla="*/ 30 w 50"/>
                <a:gd name="T45" fmla="*/ 48 h 66"/>
                <a:gd name="T46" fmla="*/ 34 w 50"/>
                <a:gd name="T47" fmla="*/ 44 h 66"/>
                <a:gd name="T48" fmla="*/ 38 w 50"/>
                <a:gd name="T49" fmla="*/ 42 h 66"/>
                <a:gd name="T50" fmla="*/ 40 w 50"/>
                <a:gd name="T51" fmla="*/ 40 h 66"/>
                <a:gd name="T52" fmla="*/ 42 w 50"/>
                <a:gd name="T53" fmla="*/ 40 h 66"/>
                <a:gd name="T54" fmla="*/ 46 w 50"/>
                <a:gd name="T55" fmla="*/ 40 h 66"/>
                <a:gd name="T56" fmla="*/ 50 w 50"/>
                <a:gd name="T57" fmla="*/ 40 h 66"/>
                <a:gd name="T58" fmla="*/ 50 w 50"/>
                <a:gd name="T59" fmla="*/ 36 h 66"/>
                <a:gd name="T60" fmla="*/ 48 w 50"/>
                <a:gd name="T61" fmla="*/ 30 h 66"/>
                <a:gd name="T62" fmla="*/ 46 w 50"/>
                <a:gd name="T63" fmla="*/ 28 h 66"/>
                <a:gd name="T64" fmla="*/ 42 w 50"/>
                <a:gd name="T65" fmla="*/ 26 h 66"/>
                <a:gd name="T66" fmla="*/ 40 w 50"/>
                <a:gd name="T67" fmla="*/ 24 h 66"/>
                <a:gd name="T68" fmla="*/ 38 w 50"/>
                <a:gd name="T69" fmla="*/ 22 h 66"/>
                <a:gd name="T70" fmla="*/ 38 w 50"/>
                <a:gd name="T71" fmla="*/ 18 h 66"/>
                <a:gd name="T72" fmla="*/ 36 w 50"/>
                <a:gd name="T73" fmla="*/ 16 h 66"/>
                <a:gd name="T74" fmla="*/ 36 w 50"/>
                <a:gd name="T75" fmla="*/ 14 h 66"/>
                <a:gd name="T76" fmla="*/ 32 w 50"/>
                <a:gd name="T77" fmla="*/ 12 h 66"/>
                <a:gd name="T78" fmla="*/ 28 w 50"/>
                <a:gd name="T79" fmla="*/ 10 h 66"/>
                <a:gd name="T80" fmla="*/ 26 w 50"/>
                <a:gd name="T81" fmla="*/ 10 h 66"/>
                <a:gd name="T82" fmla="*/ 22 w 50"/>
                <a:gd name="T83" fmla="*/ 10 h 66"/>
                <a:gd name="T84" fmla="*/ 20 w 50"/>
                <a:gd name="T85" fmla="*/ 8 h 66"/>
                <a:gd name="T86" fmla="*/ 18 w 50"/>
                <a:gd name="T87" fmla="*/ 8 h 66"/>
                <a:gd name="T88" fmla="*/ 18 w 50"/>
                <a:gd name="T89" fmla="*/ 4 h 66"/>
                <a:gd name="T90" fmla="*/ 18 w 50"/>
                <a:gd name="T91" fmla="*/ 2 h 66"/>
                <a:gd name="T92" fmla="*/ 16 w 50"/>
                <a:gd name="T93" fmla="*/ 0 h 66"/>
                <a:gd name="T94" fmla="*/ 16 w 50"/>
                <a:gd name="T95" fmla="*/ 0 h 66"/>
                <a:gd name="T96" fmla="*/ 14 w 50"/>
                <a:gd name="T97" fmla="*/ 0 h 66"/>
                <a:gd name="T98" fmla="*/ 10 w 50"/>
                <a:gd name="T99"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66">
                  <a:moveTo>
                    <a:pt x="10" y="2"/>
                  </a:moveTo>
                  <a:lnTo>
                    <a:pt x="10" y="2"/>
                  </a:lnTo>
                  <a:lnTo>
                    <a:pt x="8" y="4"/>
                  </a:lnTo>
                  <a:lnTo>
                    <a:pt x="6" y="8"/>
                  </a:lnTo>
                  <a:lnTo>
                    <a:pt x="6" y="8"/>
                  </a:lnTo>
                  <a:lnTo>
                    <a:pt x="6" y="10"/>
                  </a:lnTo>
                  <a:lnTo>
                    <a:pt x="4" y="12"/>
                  </a:lnTo>
                  <a:lnTo>
                    <a:pt x="4" y="14"/>
                  </a:lnTo>
                  <a:lnTo>
                    <a:pt x="4" y="16"/>
                  </a:lnTo>
                  <a:lnTo>
                    <a:pt x="4" y="20"/>
                  </a:lnTo>
                  <a:lnTo>
                    <a:pt x="6" y="26"/>
                  </a:lnTo>
                  <a:lnTo>
                    <a:pt x="6" y="32"/>
                  </a:lnTo>
                  <a:lnTo>
                    <a:pt x="6" y="38"/>
                  </a:lnTo>
                  <a:lnTo>
                    <a:pt x="6" y="40"/>
                  </a:lnTo>
                  <a:lnTo>
                    <a:pt x="6" y="44"/>
                  </a:lnTo>
                  <a:lnTo>
                    <a:pt x="6" y="46"/>
                  </a:lnTo>
                  <a:lnTo>
                    <a:pt x="6" y="48"/>
                  </a:lnTo>
                  <a:lnTo>
                    <a:pt x="6" y="50"/>
                  </a:lnTo>
                  <a:lnTo>
                    <a:pt x="6" y="54"/>
                  </a:lnTo>
                  <a:lnTo>
                    <a:pt x="4" y="54"/>
                  </a:lnTo>
                  <a:lnTo>
                    <a:pt x="4" y="54"/>
                  </a:lnTo>
                  <a:lnTo>
                    <a:pt x="2" y="56"/>
                  </a:lnTo>
                  <a:lnTo>
                    <a:pt x="0" y="56"/>
                  </a:lnTo>
                  <a:lnTo>
                    <a:pt x="2" y="58"/>
                  </a:lnTo>
                  <a:lnTo>
                    <a:pt x="4" y="60"/>
                  </a:lnTo>
                  <a:lnTo>
                    <a:pt x="6" y="62"/>
                  </a:lnTo>
                  <a:lnTo>
                    <a:pt x="6" y="64"/>
                  </a:lnTo>
                  <a:lnTo>
                    <a:pt x="8" y="64"/>
                  </a:lnTo>
                  <a:lnTo>
                    <a:pt x="8" y="64"/>
                  </a:lnTo>
                  <a:lnTo>
                    <a:pt x="10" y="66"/>
                  </a:lnTo>
                  <a:lnTo>
                    <a:pt x="12" y="66"/>
                  </a:lnTo>
                  <a:lnTo>
                    <a:pt x="14" y="66"/>
                  </a:lnTo>
                  <a:lnTo>
                    <a:pt x="16" y="66"/>
                  </a:lnTo>
                  <a:lnTo>
                    <a:pt x="18" y="66"/>
                  </a:lnTo>
                  <a:lnTo>
                    <a:pt x="20" y="66"/>
                  </a:lnTo>
                  <a:lnTo>
                    <a:pt x="22" y="66"/>
                  </a:lnTo>
                  <a:lnTo>
                    <a:pt x="22" y="66"/>
                  </a:lnTo>
                  <a:lnTo>
                    <a:pt x="22" y="64"/>
                  </a:lnTo>
                  <a:lnTo>
                    <a:pt x="24" y="64"/>
                  </a:lnTo>
                  <a:lnTo>
                    <a:pt x="24" y="62"/>
                  </a:lnTo>
                  <a:lnTo>
                    <a:pt x="24" y="60"/>
                  </a:lnTo>
                  <a:lnTo>
                    <a:pt x="26" y="58"/>
                  </a:lnTo>
                  <a:lnTo>
                    <a:pt x="26" y="56"/>
                  </a:lnTo>
                  <a:lnTo>
                    <a:pt x="28" y="52"/>
                  </a:lnTo>
                  <a:lnTo>
                    <a:pt x="30" y="50"/>
                  </a:lnTo>
                  <a:lnTo>
                    <a:pt x="30" y="48"/>
                  </a:lnTo>
                  <a:lnTo>
                    <a:pt x="32" y="46"/>
                  </a:lnTo>
                  <a:lnTo>
                    <a:pt x="34" y="44"/>
                  </a:lnTo>
                  <a:lnTo>
                    <a:pt x="36" y="42"/>
                  </a:lnTo>
                  <a:lnTo>
                    <a:pt x="38" y="42"/>
                  </a:lnTo>
                  <a:lnTo>
                    <a:pt x="38" y="40"/>
                  </a:lnTo>
                  <a:lnTo>
                    <a:pt x="40" y="40"/>
                  </a:lnTo>
                  <a:lnTo>
                    <a:pt x="40" y="40"/>
                  </a:lnTo>
                  <a:lnTo>
                    <a:pt x="42" y="40"/>
                  </a:lnTo>
                  <a:lnTo>
                    <a:pt x="44" y="40"/>
                  </a:lnTo>
                  <a:lnTo>
                    <a:pt x="46" y="40"/>
                  </a:lnTo>
                  <a:lnTo>
                    <a:pt x="50" y="40"/>
                  </a:lnTo>
                  <a:lnTo>
                    <a:pt x="50" y="40"/>
                  </a:lnTo>
                  <a:lnTo>
                    <a:pt x="50" y="38"/>
                  </a:lnTo>
                  <a:lnTo>
                    <a:pt x="50" y="36"/>
                  </a:lnTo>
                  <a:lnTo>
                    <a:pt x="48" y="32"/>
                  </a:lnTo>
                  <a:lnTo>
                    <a:pt x="48" y="30"/>
                  </a:lnTo>
                  <a:lnTo>
                    <a:pt x="48" y="30"/>
                  </a:lnTo>
                  <a:lnTo>
                    <a:pt x="46" y="28"/>
                  </a:lnTo>
                  <a:lnTo>
                    <a:pt x="46" y="28"/>
                  </a:lnTo>
                  <a:lnTo>
                    <a:pt x="42" y="26"/>
                  </a:lnTo>
                  <a:lnTo>
                    <a:pt x="40" y="24"/>
                  </a:lnTo>
                  <a:lnTo>
                    <a:pt x="40" y="24"/>
                  </a:lnTo>
                  <a:lnTo>
                    <a:pt x="38" y="24"/>
                  </a:lnTo>
                  <a:lnTo>
                    <a:pt x="38" y="22"/>
                  </a:lnTo>
                  <a:lnTo>
                    <a:pt x="38" y="22"/>
                  </a:lnTo>
                  <a:lnTo>
                    <a:pt x="38" y="18"/>
                  </a:lnTo>
                  <a:lnTo>
                    <a:pt x="36" y="16"/>
                  </a:lnTo>
                  <a:lnTo>
                    <a:pt x="36" y="16"/>
                  </a:lnTo>
                  <a:lnTo>
                    <a:pt x="36" y="14"/>
                  </a:lnTo>
                  <a:lnTo>
                    <a:pt x="36" y="14"/>
                  </a:lnTo>
                  <a:lnTo>
                    <a:pt x="34" y="12"/>
                  </a:lnTo>
                  <a:lnTo>
                    <a:pt x="32" y="12"/>
                  </a:lnTo>
                  <a:lnTo>
                    <a:pt x="30" y="12"/>
                  </a:lnTo>
                  <a:lnTo>
                    <a:pt x="28" y="10"/>
                  </a:lnTo>
                  <a:lnTo>
                    <a:pt x="28" y="10"/>
                  </a:lnTo>
                  <a:lnTo>
                    <a:pt x="26" y="10"/>
                  </a:lnTo>
                  <a:lnTo>
                    <a:pt x="24" y="10"/>
                  </a:lnTo>
                  <a:lnTo>
                    <a:pt x="22" y="10"/>
                  </a:lnTo>
                  <a:lnTo>
                    <a:pt x="22" y="10"/>
                  </a:lnTo>
                  <a:lnTo>
                    <a:pt x="20" y="8"/>
                  </a:lnTo>
                  <a:lnTo>
                    <a:pt x="20" y="8"/>
                  </a:lnTo>
                  <a:lnTo>
                    <a:pt x="18" y="8"/>
                  </a:lnTo>
                  <a:lnTo>
                    <a:pt x="18" y="6"/>
                  </a:lnTo>
                  <a:lnTo>
                    <a:pt x="18" y="4"/>
                  </a:lnTo>
                  <a:lnTo>
                    <a:pt x="18" y="2"/>
                  </a:lnTo>
                  <a:lnTo>
                    <a:pt x="18" y="2"/>
                  </a:lnTo>
                  <a:lnTo>
                    <a:pt x="16" y="0"/>
                  </a:lnTo>
                  <a:lnTo>
                    <a:pt x="16" y="0"/>
                  </a:lnTo>
                  <a:lnTo>
                    <a:pt x="16" y="0"/>
                  </a:lnTo>
                  <a:lnTo>
                    <a:pt x="16" y="0"/>
                  </a:lnTo>
                  <a:lnTo>
                    <a:pt x="14" y="0"/>
                  </a:lnTo>
                  <a:lnTo>
                    <a:pt x="14" y="0"/>
                  </a:lnTo>
                  <a:lnTo>
                    <a:pt x="12" y="0"/>
                  </a:lnTo>
                  <a:lnTo>
                    <a:pt x="10" y="2"/>
                  </a:lnTo>
                  <a:lnTo>
                    <a:pt x="1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2" name="Freeform 513"/>
            <p:cNvSpPr>
              <a:spLocks/>
            </p:cNvSpPr>
            <p:nvPr/>
          </p:nvSpPr>
          <p:spPr bwMode="auto">
            <a:xfrm>
              <a:off x="2918193" y="4493788"/>
              <a:ext cx="86604" cy="114317"/>
            </a:xfrm>
            <a:custGeom>
              <a:avLst/>
              <a:gdLst>
                <a:gd name="T0" fmla="*/ 10 w 50"/>
                <a:gd name="T1" fmla="*/ 2 h 66"/>
                <a:gd name="T2" fmla="*/ 6 w 50"/>
                <a:gd name="T3" fmla="*/ 8 h 66"/>
                <a:gd name="T4" fmla="*/ 6 w 50"/>
                <a:gd name="T5" fmla="*/ 10 h 66"/>
                <a:gd name="T6" fmla="*/ 4 w 50"/>
                <a:gd name="T7" fmla="*/ 14 h 66"/>
                <a:gd name="T8" fmla="*/ 4 w 50"/>
                <a:gd name="T9" fmla="*/ 20 h 66"/>
                <a:gd name="T10" fmla="*/ 6 w 50"/>
                <a:gd name="T11" fmla="*/ 32 h 66"/>
                <a:gd name="T12" fmla="*/ 6 w 50"/>
                <a:gd name="T13" fmla="*/ 40 h 66"/>
                <a:gd name="T14" fmla="*/ 6 w 50"/>
                <a:gd name="T15" fmla="*/ 46 h 66"/>
                <a:gd name="T16" fmla="*/ 6 w 50"/>
                <a:gd name="T17" fmla="*/ 50 h 66"/>
                <a:gd name="T18" fmla="*/ 4 w 50"/>
                <a:gd name="T19" fmla="*/ 54 h 66"/>
                <a:gd name="T20" fmla="*/ 2 w 50"/>
                <a:gd name="T21" fmla="*/ 56 h 66"/>
                <a:gd name="T22" fmla="*/ 2 w 50"/>
                <a:gd name="T23" fmla="*/ 58 h 66"/>
                <a:gd name="T24" fmla="*/ 6 w 50"/>
                <a:gd name="T25" fmla="*/ 62 h 66"/>
                <a:gd name="T26" fmla="*/ 8 w 50"/>
                <a:gd name="T27" fmla="*/ 64 h 66"/>
                <a:gd name="T28" fmla="*/ 10 w 50"/>
                <a:gd name="T29" fmla="*/ 66 h 66"/>
                <a:gd name="T30" fmla="*/ 14 w 50"/>
                <a:gd name="T31" fmla="*/ 66 h 66"/>
                <a:gd name="T32" fmla="*/ 18 w 50"/>
                <a:gd name="T33" fmla="*/ 66 h 66"/>
                <a:gd name="T34" fmla="*/ 22 w 50"/>
                <a:gd name="T35" fmla="*/ 66 h 66"/>
                <a:gd name="T36" fmla="*/ 22 w 50"/>
                <a:gd name="T37" fmla="*/ 64 h 66"/>
                <a:gd name="T38" fmla="*/ 24 w 50"/>
                <a:gd name="T39" fmla="*/ 62 h 66"/>
                <a:gd name="T40" fmla="*/ 26 w 50"/>
                <a:gd name="T41" fmla="*/ 58 h 66"/>
                <a:gd name="T42" fmla="*/ 28 w 50"/>
                <a:gd name="T43" fmla="*/ 52 h 66"/>
                <a:gd name="T44" fmla="*/ 30 w 50"/>
                <a:gd name="T45" fmla="*/ 48 h 66"/>
                <a:gd name="T46" fmla="*/ 34 w 50"/>
                <a:gd name="T47" fmla="*/ 44 h 66"/>
                <a:gd name="T48" fmla="*/ 38 w 50"/>
                <a:gd name="T49" fmla="*/ 42 h 66"/>
                <a:gd name="T50" fmla="*/ 40 w 50"/>
                <a:gd name="T51" fmla="*/ 40 h 66"/>
                <a:gd name="T52" fmla="*/ 42 w 50"/>
                <a:gd name="T53" fmla="*/ 40 h 66"/>
                <a:gd name="T54" fmla="*/ 46 w 50"/>
                <a:gd name="T55" fmla="*/ 40 h 66"/>
                <a:gd name="T56" fmla="*/ 50 w 50"/>
                <a:gd name="T57" fmla="*/ 40 h 66"/>
                <a:gd name="T58" fmla="*/ 50 w 50"/>
                <a:gd name="T59" fmla="*/ 36 h 66"/>
                <a:gd name="T60" fmla="*/ 48 w 50"/>
                <a:gd name="T61" fmla="*/ 30 h 66"/>
                <a:gd name="T62" fmla="*/ 46 w 50"/>
                <a:gd name="T63" fmla="*/ 28 h 66"/>
                <a:gd name="T64" fmla="*/ 42 w 50"/>
                <a:gd name="T65" fmla="*/ 26 h 66"/>
                <a:gd name="T66" fmla="*/ 40 w 50"/>
                <a:gd name="T67" fmla="*/ 24 h 66"/>
                <a:gd name="T68" fmla="*/ 38 w 50"/>
                <a:gd name="T69" fmla="*/ 22 h 66"/>
                <a:gd name="T70" fmla="*/ 38 w 50"/>
                <a:gd name="T71" fmla="*/ 18 h 66"/>
                <a:gd name="T72" fmla="*/ 36 w 50"/>
                <a:gd name="T73" fmla="*/ 16 h 66"/>
                <a:gd name="T74" fmla="*/ 36 w 50"/>
                <a:gd name="T75" fmla="*/ 14 h 66"/>
                <a:gd name="T76" fmla="*/ 32 w 50"/>
                <a:gd name="T77" fmla="*/ 12 h 66"/>
                <a:gd name="T78" fmla="*/ 28 w 50"/>
                <a:gd name="T79" fmla="*/ 10 h 66"/>
                <a:gd name="T80" fmla="*/ 26 w 50"/>
                <a:gd name="T81" fmla="*/ 10 h 66"/>
                <a:gd name="T82" fmla="*/ 22 w 50"/>
                <a:gd name="T83" fmla="*/ 10 h 66"/>
                <a:gd name="T84" fmla="*/ 20 w 50"/>
                <a:gd name="T85" fmla="*/ 8 h 66"/>
                <a:gd name="T86" fmla="*/ 18 w 50"/>
                <a:gd name="T87" fmla="*/ 8 h 66"/>
                <a:gd name="T88" fmla="*/ 18 w 50"/>
                <a:gd name="T89" fmla="*/ 4 h 66"/>
                <a:gd name="T90" fmla="*/ 18 w 50"/>
                <a:gd name="T91" fmla="*/ 2 h 66"/>
                <a:gd name="T92" fmla="*/ 16 w 50"/>
                <a:gd name="T93" fmla="*/ 0 h 66"/>
                <a:gd name="T94" fmla="*/ 16 w 50"/>
                <a:gd name="T95" fmla="*/ 0 h 66"/>
                <a:gd name="T96" fmla="*/ 14 w 50"/>
                <a:gd name="T97" fmla="*/ 0 h 66"/>
                <a:gd name="T98" fmla="*/ 10 w 50"/>
                <a:gd name="T99"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66">
                  <a:moveTo>
                    <a:pt x="10" y="2"/>
                  </a:moveTo>
                  <a:lnTo>
                    <a:pt x="10" y="2"/>
                  </a:lnTo>
                  <a:lnTo>
                    <a:pt x="8" y="4"/>
                  </a:lnTo>
                  <a:lnTo>
                    <a:pt x="6" y="8"/>
                  </a:lnTo>
                  <a:lnTo>
                    <a:pt x="6" y="8"/>
                  </a:lnTo>
                  <a:lnTo>
                    <a:pt x="6" y="10"/>
                  </a:lnTo>
                  <a:lnTo>
                    <a:pt x="4" y="12"/>
                  </a:lnTo>
                  <a:lnTo>
                    <a:pt x="4" y="14"/>
                  </a:lnTo>
                  <a:lnTo>
                    <a:pt x="4" y="16"/>
                  </a:lnTo>
                  <a:lnTo>
                    <a:pt x="4" y="20"/>
                  </a:lnTo>
                  <a:lnTo>
                    <a:pt x="6" y="26"/>
                  </a:lnTo>
                  <a:lnTo>
                    <a:pt x="6" y="32"/>
                  </a:lnTo>
                  <a:lnTo>
                    <a:pt x="6" y="38"/>
                  </a:lnTo>
                  <a:lnTo>
                    <a:pt x="6" y="40"/>
                  </a:lnTo>
                  <a:lnTo>
                    <a:pt x="6" y="44"/>
                  </a:lnTo>
                  <a:lnTo>
                    <a:pt x="6" y="46"/>
                  </a:lnTo>
                  <a:lnTo>
                    <a:pt x="6" y="48"/>
                  </a:lnTo>
                  <a:lnTo>
                    <a:pt x="6" y="50"/>
                  </a:lnTo>
                  <a:lnTo>
                    <a:pt x="6" y="54"/>
                  </a:lnTo>
                  <a:lnTo>
                    <a:pt x="4" y="54"/>
                  </a:lnTo>
                  <a:lnTo>
                    <a:pt x="4" y="54"/>
                  </a:lnTo>
                  <a:lnTo>
                    <a:pt x="2" y="56"/>
                  </a:lnTo>
                  <a:lnTo>
                    <a:pt x="0" y="56"/>
                  </a:lnTo>
                  <a:lnTo>
                    <a:pt x="2" y="58"/>
                  </a:lnTo>
                  <a:lnTo>
                    <a:pt x="4" y="60"/>
                  </a:lnTo>
                  <a:lnTo>
                    <a:pt x="6" y="62"/>
                  </a:lnTo>
                  <a:lnTo>
                    <a:pt x="6" y="64"/>
                  </a:lnTo>
                  <a:lnTo>
                    <a:pt x="8" y="64"/>
                  </a:lnTo>
                  <a:lnTo>
                    <a:pt x="8" y="64"/>
                  </a:lnTo>
                  <a:lnTo>
                    <a:pt x="10" y="66"/>
                  </a:lnTo>
                  <a:lnTo>
                    <a:pt x="12" y="66"/>
                  </a:lnTo>
                  <a:lnTo>
                    <a:pt x="14" y="66"/>
                  </a:lnTo>
                  <a:lnTo>
                    <a:pt x="16" y="66"/>
                  </a:lnTo>
                  <a:lnTo>
                    <a:pt x="18" y="66"/>
                  </a:lnTo>
                  <a:lnTo>
                    <a:pt x="20" y="66"/>
                  </a:lnTo>
                  <a:lnTo>
                    <a:pt x="22" y="66"/>
                  </a:lnTo>
                  <a:lnTo>
                    <a:pt x="22" y="66"/>
                  </a:lnTo>
                  <a:lnTo>
                    <a:pt x="22" y="64"/>
                  </a:lnTo>
                  <a:lnTo>
                    <a:pt x="24" y="64"/>
                  </a:lnTo>
                  <a:lnTo>
                    <a:pt x="24" y="62"/>
                  </a:lnTo>
                  <a:lnTo>
                    <a:pt x="24" y="60"/>
                  </a:lnTo>
                  <a:lnTo>
                    <a:pt x="26" y="58"/>
                  </a:lnTo>
                  <a:lnTo>
                    <a:pt x="26" y="56"/>
                  </a:lnTo>
                  <a:lnTo>
                    <a:pt x="28" y="52"/>
                  </a:lnTo>
                  <a:lnTo>
                    <a:pt x="30" y="50"/>
                  </a:lnTo>
                  <a:lnTo>
                    <a:pt x="30" y="48"/>
                  </a:lnTo>
                  <a:lnTo>
                    <a:pt x="32" y="46"/>
                  </a:lnTo>
                  <a:lnTo>
                    <a:pt x="34" y="44"/>
                  </a:lnTo>
                  <a:lnTo>
                    <a:pt x="36" y="42"/>
                  </a:lnTo>
                  <a:lnTo>
                    <a:pt x="38" y="42"/>
                  </a:lnTo>
                  <a:lnTo>
                    <a:pt x="38" y="40"/>
                  </a:lnTo>
                  <a:lnTo>
                    <a:pt x="40" y="40"/>
                  </a:lnTo>
                  <a:lnTo>
                    <a:pt x="40" y="40"/>
                  </a:lnTo>
                  <a:lnTo>
                    <a:pt x="42" y="40"/>
                  </a:lnTo>
                  <a:lnTo>
                    <a:pt x="44" y="40"/>
                  </a:lnTo>
                  <a:lnTo>
                    <a:pt x="46" y="40"/>
                  </a:lnTo>
                  <a:lnTo>
                    <a:pt x="50" y="40"/>
                  </a:lnTo>
                  <a:lnTo>
                    <a:pt x="50" y="40"/>
                  </a:lnTo>
                  <a:lnTo>
                    <a:pt x="50" y="38"/>
                  </a:lnTo>
                  <a:lnTo>
                    <a:pt x="50" y="36"/>
                  </a:lnTo>
                  <a:lnTo>
                    <a:pt x="48" y="32"/>
                  </a:lnTo>
                  <a:lnTo>
                    <a:pt x="48" y="30"/>
                  </a:lnTo>
                  <a:lnTo>
                    <a:pt x="48" y="30"/>
                  </a:lnTo>
                  <a:lnTo>
                    <a:pt x="46" y="28"/>
                  </a:lnTo>
                  <a:lnTo>
                    <a:pt x="46" y="28"/>
                  </a:lnTo>
                  <a:lnTo>
                    <a:pt x="42" y="26"/>
                  </a:lnTo>
                  <a:lnTo>
                    <a:pt x="40" y="24"/>
                  </a:lnTo>
                  <a:lnTo>
                    <a:pt x="40" y="24"/>
                  </a:lnTo>
                  <a:lnTo>
                    <a:pt x="38" y="24"/>
                  </a:lnTo>
                  <a:lnTo>
                    <a:pt x="38" y="22"/>
                  </a:lnTo>
                  <a:lnTo>
                    <a:pt x="38" y="22"/>
                  </a:lnTo>
                  <a:lnTo>
                    <a:pt x="38" y="18"/>
                  </a:lnTo>
                  <a:lnTo>
                    <a:pt x="36" y="16"/>
                  </a:lnTo>
                  <a:lnTo>
                    <a:pt x="36" y="16"/>
                  </a:lnTo>
                  <a:lnTo>
                    <a:pt x="36" y="14"/>
                  </a:lnTo>
                  <a:lnTo>
                    <a:pt x="36" y="14"/>
                  </a:lnTo>
                  <a:lnTo>
                    <a:pt x="34" y="12"/>
                  </a:lnTo>
                  <a:lnTo>
                    <a:pt x="32" y="12"/>
                  </a:lnTo>
                  <a:lnTo>
                    <a:pt x="30" y="12"/>
                  </a:lnTo>
                  <a:lnTo>
                    <a:pt x="28" y="10"/>
                  </a:lnTo>
                  <a:lnTo>
                    <a:pt x="28" y="10"/>
                  </a:lnTo>
                  <a:lnTo>
                    <a:pt x="26" y="10"/>
                  </a:lnTo>
                  <a:lnTo>
                    <a:pt x="24" y="10"/>
                  </a:lnTo>
                  <a:lnTo>
                    <a:pt x="22" y="10"/>
                  </a:lnTo>
                  <a:lnTo>
                    <a:pt x="22" y="10"/>
                  </a:lnTo>
                  <a:lnTo>
                    <a:pt x="20" y="8"/>
                  </a:lnTo>
                  <a:lnTo>
                    <a:pt x="20" y="8"/>
                  </a:lnTo>
                  <a:lnTo>
                    <a:pt x="18" y="8"/>
                  </a:lnTo>
                  <a:lnTo>
                    <a:pt x="18" y="6"/>
                  </a:lnTo>
                  <a:lnTo>
                    <a:pt x="18" y="4"/>
                  </a:lnTo>
                  <a:lnTo>
                    <a:pt x="18" y="2"/>
                  </a:lnTo>
                  <a:lnTo>
                    <a:pt x="18" y="2"/>
                  </a:lnTo>
                  <a:lnTo>
                    <a:pt x="16" y="0"/>
                  </a:lnTo>
                  <a:lnTo>
                    <a:pt x="16" y="0"/>
                  </a:lnTo>
                  <a:lnTo>
                    <a:pt x="16" y="0"/>
                  </a:lnTo>
                  <a:lnTo>
                    <a:pt x="16" y="0"/>
                  </a:lnTo>
                  <a:lnTo>
                    <a:pt x="14" y="0"/>
                  </a:lnTo>
                  <a:lnTo>
                    <a:pt x="14" y="0"/>
                  </a:lnTo>
                  <a:lnTo>
                    <a:pt x="12" y="0"/>
                  </a:lnTo>
                  <a:lnTo>
                    <a:pt x="10" y="2"/>
                  </a:lnTo>
                  <a:lnTo>
                    <a:pt x="1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3" name="Freeform 514"/>
            <p:cNvSpPr>
              <a:spLocks/>
            </p:cNvSpPr>
            <p:nvPr/>
          </p:nvSpPr>
          <p:spPr bwMode="auto">
            <a:xfrm>
              <a:off x="2190722" y="3991487"/>
              <a:ext cx="256347" cy="114317"/>
            </a:xfrm>
            <a:custGeom>
              <a:avLst/>
              <a:gdLst>
                <a:gd name="T0" fmla="*/ 0 w 148"/>
                <a:gd name="T1" fmla="*/ 20 h 66"/>
                <a:gd name="T2" fmla="*/ 0 w 148"/>
                <a:gd name="T3" fmla="*/ 18 h 66"/>
                <a:gd name="T4" fmla="*/ 0 w 148"/>
                <a:gd name="T5" fmla="*/ 16 h 66"/>
                <a:gd name="T6" fmla="*/ 2 w 148"/>
                <a:gd name="T7" fmla="*/ 14 h 66"/>
                <a:gd name="T8" fmla="*/ 6 w 148"/>
                <a:gd name="T9" fmla="*/ 10 h 66"/>
                <a:gd name="T10" fmla="*/ 14 w 148"/>
                <a:gd name="T11" fmla="*/ 6 h 66"/>
                <a:gd name="T12" fmla="*/ 20 w 148"/>
                <a:gd name="T13" fmla="*/ 4 h 66"/>
                <a:gd name="T14" fmla="*/ 22 w 148"/>
                <a:gd name="T15" fmla="*/ 2 h 66"/>
                <a:gd name="T16" fmla="*/ 26 w 148"/>
                <a:gd name="T17" fmla="*/ 0 h 66"/>
                <a:gd name="T18" fmla="*/ 30 w 148"/>
                <a:gd name="T19" fmla="*/ 0 h 66"/>
                <a:gd name="T20" fmla="*/ 36 w 148"/>
                <a:gd name="T21" fmla="*/ 0 h 66"/>
                <a:gd name="T22" fmla="*/ 46 w 148"/>
                <a:gd name="T23" fmla="*/ 4 h 66"/>
                <a:gd name="T24" fmla="*/ 60 w 148"/>
                <a:gd name="T25" fmla="*/ 6 h 66"/>
                <a:gd name="T26" fmla="*/ 68 w 148"/>
                <a:gd name="T27" fmla="*/ 8 h 66"/>
                <a:gd name="T28" fmla="*/ 76 w 148"/>
                <a:gd name="T29" fmla="*/ 10 h 66"/>
                <a:gd name="T30" fmla="*/ 82 w 148"/>
                <a:gd name="T31" fmla="*/ 12 h 66"/>
                <a:gd name="T32" fmla="*/ 94 w 148"/>
                <a:gd name="T33" fmla="*/ 20 h 66"/>
                <a:gd name="T34" fmla="*/ 100 w 148"/>
                <a:gd name="T35" fmla="*/ 24 h 66"/>
                <a:gd name="T36" fmla="*/ 110 w 148"/>
                <a:gd name="T37" fmla="*/ 28 h 66"/>
                <a:gd name="T38" fmla="*/ 128 w 148"/>
                <a:gd name="T39" fmla="*/ 34 h 66"/>
                <a:gd name="T40" fmla="*/ 136 w 148"/>
                <a:gd name="T41" fmla="*/ 38 h 66"/>
                <a:gd name="T42" fmla="*/ 140 w 148"/>
                <a:gd name="T43" fmla="*/ 42 h 66"/>
                <a:gd name="T44" fmla="*/ 144 w 148"/>
                <a:gd name="T45" fmla="*/ 46 h 66"/>
                <a:gd name="T46" fmla="*/ 146 w 148"/>
                <a:gd name="T47" fmla="*/ 48 h 66"/>
                <a:gd name="T48" fmla="*/ 148 w 148"/>
                <a:gd name="T49" fmla="*/ 50 h 66"/>
                <a:gd name="T50" fmla="*/ 148 w 148"/>
                <a:gd name="T51" fmla="*/ 52 h 66"/>
                <a:gd name="T52" fmla="*/ 148 w 148"/>
                <a:gd name="T53" fmla="*/ 54 h 66"/>
                <a:gd name="T54" fmla="*/ 146 w 148"/>
                <a:gd name="T55" fmla="*/ 56 h 66"/>
                <a:gd name="T56" fmla="*/ 144 w 148"/>
                <a:gd name="T57" fmla="*/ 58 h 66"/>
                <a:gd name="T58" fmla="*/ 140 w 148"/>
                <a:gd name="T59" fmla="*/ 60 h 66"/>
                <a:gd name="T60" fmla="*/ 134 w 148"/>
                <a:gd name="T61" fmla="*/ 64 h 66"/>
                <a:gd name="T62" fmla="*/ 128 w 148"/>
                <a:gd name="T63" fmla="*/ 64 h 66"/>
                <a:gd name="T64" fmla="*/ 122 w 148"/>
                <a:gd name="T65" fmla="*/ 66 h 66"/>
                <a:gd name="T66" fmla="*/ 112 w 148"/>
                <a:gd name="T67" fmla="*/ 66 h 66"/>
                <a:gd name="T68" fmla="*/ 108 w 148"/>
                <a:gd name="T69" fmla="*/ 66 h 66"/>
                <a:gd name="T70" fmla="*/ 104 w 148"/>
                <a:gd name="T71" fmla="*/ 66 h 66"/>
                <a:gd name="T72" fmla="*/ 100 w 148"/>
                <a:gd name="T73" fmla="*/ 64 h 66"/>
                <a:gd name="T74" fmla="*/ 98 w 148"/>
                <a:gd name="T75" fmla="*/ 62 h 66"/>
                <a:gd name="T76" fmla="*/ 98 w 148"/>
                <a:gd name="T77" fmla="*/ 60 h 66"/>
                <a:gd name="T78" fmla="*/ 98 w 148"/>
                <a:gd name="T79" fmla="*/ 58 h 66"/>
                <a:gd name="T80" fmla="*/ 98 w 148"/>
                <a:gd name="T81" fmla="*/ 54 h 66"/>
                <a:gd name="T82" fmla="*/ 100 w 148"/>
                <a:gd name="T83" fmla="*/ 50 h 66"/>
                <a:gd name="T84" fmla="*/ 100 w 148"/>
                <a:gd name="T85" fmla="*/ 48 h 66"/>
                <a:gd name="T86" fmla="*/ 100 w 148"/>
                <a:gd name="T87" fmla="*/ 46 h 66"/>
                <a:gd name="T88" fmla="*/ 98 w 148"/>
                <a:gd name="T89" fmla="*/ 44 h 66"/>
                <a:gd name="T90" fmla="*/ 96 w 148"/>
                <a:gd name="T91" fmla="*/ 40 h 66"/>
                <a:gd name="T92" fmla="*/ 90 w 148"/>
                <a:gd name="T93" fmla="*/ 36 h 66"/>
                <a:gd name="T94" fmla="*/ 80 w 148"/>
                <a:gd name="T95" fmla="*/ 28 h 66"/>
                <a:gd name="T96" fmla="*/ 72 w 148"/>
                <a:gd name="T97" fmla="*/ 22 h 66"/>
                <a:gd name="T98" fmla="*/ 66 w 148"/>
                <a:gd name="T99" fmla="*/ 20 h 66"/>
                <a:gd name="T100" fmla="*/ 62 w 148"/>
                <a:gd name="T101" fmla="*/ 18 h 66"/>
                <a:gd name="T102" fmla="*/ 56 w 148"/>
                <a:gd name="T103" fmla="*/ 16 h 66"/>
                <a:gd name="T104" fmla="*/ 44 w 148"/>
                <a:gd name="T105" fmla="*/ 14 h 66"/>
                <a:gd name="T106" fmla="*/ 32 w 148"/>
                <a:gd name="T107" fmla="*/ 14 h 66"/>
                <a:gd name="T108" fmla="*/ 22 w 148"/>
                <a:gd name="T109" fmla="*/ 14 h 66"/>
                <a:gd name="T110" fmla="*/ 16 w 148"/>
                <a:gd name="T111" fmla="*/ 14 h 66"/>
                <a:gd name="T112" fmla="*/ 12 w 148"/>
                <a:gd name="T113" fmla="*/ 16 h 66"/>
                <a:gd name="T114" fmla="*/ 4 w 148"/>
                <a:gd name="T115" fmla="*/ 20 h 66"/>
                <a:gd name="T116" fmla="*/ 2 w 148"/>
                <a:gd name="T117" fmla="*/ 20 h 66"/>
                <a:gd name="T118" fmla="*/ 0 w 148"/>
                <a:gd name="T119" fmla="*/ 20 h 66"/>
                <a:gd name="T120" fmla="*/ 0 w 148"/>
                <a:gd name="T121"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66">
                  <a:moveTo>
                    <a:pt x="0" y="20"/>
                  </a:moveTo>
                  <a:lnTo>
                    <a:pt x="0" y="20"/>
                  </a:lnTo>
                  <a:lnTo>
                    <a:pt x="0" y="18"/>
                  </a:lnTo>
                  <a:lnTo>
                    <a:pt x="0" y="18"/>
                  </a:lnTo>
                  <a:lnTo>
                    <a:pt x="0" y="16"/>
                  </a:lnTo>
                  <a:lnTo>
                    <a:pt x="0" y="16"/>
                  </a:lnTo>
                  <a:lnTo>
                    <a:pt x="0" y="16"/>
                  </a:lnTo>
                  <a:lnTo>
                    <a:pt x="2" y="14"/>
                  </a:lnTo>
                  <a:lnTo>
                    <a:pt x="4" y="12"/>
                  </a:lnTo>
                  <a:lnTo>
                    <a:pt x="6" y="10"/>
                  </a:lnTo>
                  <a:lnTo>
                    <a:pt x="10" y="10"/>
                  </a:lnTo>
                  <a:lnTo>
                    <a:pt x="14" y="6"/>
                  </a:lnTo>
                  <a:lnTo>
                    <a:pt x="16" y="4"/>
                  </a:lnTo>
                  <a:lnTo>
                    <a:pt x="20" y="4"/>
                  </a:lnTo>
                  <a:lnTo>
                    <a:pt x="22" y="2"/>
                  </a:lnTo>
                  <a:lnTo>
                    <a:pt x="22" y="2"/>
                  </a:lnTo>
                  <a:lnTo>
                    <a:pt x="24" y="0"/>
                  </a:lnTo>
                  <a:lnTo>
                    <a:pt x="26" y="0"/>
                  </a:lnTo>
                  <a:lnTo>
                    <a:pt x="28" y="0"/>
                  </a:lnTo>
                  <a:lnTo>
                    <a:pt x="30" y="0"/>
                  </a:lnTo>
                  <a:lnTo>
                    <a:pt x="34" y="0"/>
                  </a:lnTo>
                  <a:lnTo>
                    <a:pt x="36" y="0"/>
                  </a:lnTo>
                  <a:lnTo>
                    <a:pt x="42" y="2"/>
                  </a:lnTo>
                  <a:lnTo>
                    <a:pt x="46" y="4"/>
                  </a:lnTo>
                  <a:lnTo>
                    <a:pt x="52" y="4"/>
                  </a:lnTo>
                  <a:lnTo>
                    <a:pt x="60" y="6"/>
                  </a:lnTo>
                  <a:lnTo>
                    <a:pt x="64" y="6"/>
                  </a:lnTo>
                  <a:lnTo>
                    <a:pt x="68" y="8"/>
                  </a:lnTo>
                  <a:lnTo>
                    <a:pt x="72" y="8"/>
                  </a:lnTo>
                  <a:lnTo>
                    <a:pt x="76" y="10"/>
                  </a:lnTo>
                  <a:lnTo>
                    <a:pt x="78" y="10"/>
                  </a:lnTo>
                  <a:lnTo>
                    <a:pt x="82" y="12"/>
                  </a:lnTo>
                  <a:lnTo>
                    <a:pt x="88" y="16"/>
                  </a:lnTo>
                  <a:lnTo>
                    <a:pt x="94" y="20"/>
                  </a:lnTo>
                  <a:lnTo>
                    <a:pt x="98" y="22"/>
                  </a:lnTo>
                  <a:lnTo>
                    <a:pt x="100" y="24"/>
                  </a:lnTo>
                  <a:lnTo>
                    <a:pt x="104" y="26"/>
                  </a:lnTo>
                  <a:lnTo>
                    <a:pt x="110" y="28"/>
                  </a:lnTo>
                  <a:lnTo>
                    <a:pt x="122" y="32"/>
                  </a:lnTo>
                  <a:lnTo>
                    <a:pt x="128" y="34"/>
                  </a:lnTo>
                  <a:lnTo>
                    <a:pt x="134" y="38"/>
                  </a:lnTo>
                  <a:lnTo>
                    <a:pt x="136" y="38"/>
                  </a:lnTo>
                  <a:lnTo>
                    <a:pt x="138" y="40"/>
                  </a:lnTo>
                  <a:lnTo>
                    <a:pt x="140" y="42"/>
                  </a:lnTo>
                  <a:lnTo>
                    <a:pt x="142" y="44"/>
                  </a:lnTo>
                  <a:lnTo>
                    <a:pt x="144" y="46"/>
                  </a:lnTo>
                  <a:lnTo>
                    <a:pt x="146" y="46"/>
                  </a:lnTo>
                  <a:lnTo>
                    <a:pt x="146" y="48"/>
                  </a:lnTo>
                  <a:lnTo>
                    <a:pt x="148" y="50"/>
                  </a:lnTo>
                  <a:lnTo>
                    <a:pt x="148" y="50"/>
                  </a:lnTo>
                  <a:lnTo>
                    <a:pt x="148" y="52"/>
                  </a:lnTo>
                  <a:lnTo>
                    <a:pt x="148" y="52"/>
                  </a:lnTo>
                  <a:lnTo>
                    <a:pt x="148" y="54"/>
                  </a:lnTo>
                  <a:lnTo>
                    <a:pt x="148" y="54"/>
                  </a:lnTo>
                  <a:lnTo>
                    <a:pt x="148" y="56"/>
                  </a:lnTo>
                  <a:lnTo>
                    <a:pt x="146" y="56"/>
                  </a:lnTo>
                  <a:lnTo>
                    <a:pt x="146" y="58"/>
                  </a:lnTo>
                  <a:lnTo>
                    <a:pt x="144" y="58"/>
                  </a:lnTo>
                  <a:lnTo>
                    <a:pt x="142" y="60"/>
                  </a:lnTo>
                  <a:lnTo>
                    <a:pt x="140" y="60"/>
                  </a:lnTo>
                  <a:lnTo>
                    <a:pt x="136" y="62"/>
                  </a:lnTo>
                  <a:lnTo>
                    <a:pt x="134" y="64"/>
                  </a:lnTo>
                  <a:lnTo>
                    <a:pt x="130" y="64"/>
                  </a:lnTo>
                  <a:lnTo>
                    <a:pt x="128" y="64"/>
                  </a:lnTo>
                  <a:lnTo>
                    <a:pt x="124" y="66"/>
                  </a:lnTo>
                  <a:lnTo>
                    <a:pt x="122" y="66"/>
                  </a:lnTo>
                  <a:lnTo>
                    <a:pt x="116" y="66"/>
                  </a:lnTo>
                  <a:lnTo>
                    <a:pt x="112" y="66"/>
                  </a:lnTo>
                  <a:lnTo>
                    <a:pt x="110" y="66"/>
                  </a:lnTo>
                  <a:lnTo>
                    <a:pt x="108" y="66"/>
                  </a:lnTo>
                  <a:lnTo>
                    <a:pt x="106" y="66"/>
                  </a:lnTo>
                  <a:lnTo>
                    <a:pt x="104" y="66"/>
                  </a:lnTo>
                  <a:lnTo>
                    <a:pt x="102" y="64"/>
                  </a:lnTo>
                  <a:lnTo>
                    <a:pt x="100" y="64"/>
                  </a:lnTo>
                  <a:lnTo>
                    <a:pt x="98" y="64"/>
                  </a:lnTo>
                  <a:lnTo>
                    <a:pt x="98" y="62"/>
                  </a:lnTo>
                  <a:lnTo>
                    <a:pt x="98" y="62"/>
                  </a:lnTo>
                  <a:lnTo>
                    <a:pt x="98" y="60"/>
                  </a:lnTo>
                  <a:lnTo>
                    <a:pt x="98" y="60"/>
                  </a:lnTo>
                  <a:lnTo>
                    <a:pt x="98" y="58"/>
                  </a:lnTo>
                  <a:lnTo>
                    <a:pt x="98" y="56"/>
                  </a:lnTo>
                  <a:lnTo>
                    <a:pt x="98" y="54"/>
                  </a:lnTo>
                  <a:lnTo>
                    <a:pt x="100" y="52"/>
                  </a:lnTo>
                  <a:lnTo>
                    <a:pt x="100" y="50"/>
                  </a:lnTo>
                  <a:lnTo>
                    <a:pt x="100" y="48"/>
                  </a:lnTo>
                  <a:lnTo>
                    <a:pt x="100" y="48"/>
                  </a:lnTo>
                  <a:lnTo>
                    <a:pt x="100" y="46"/>
                  </a:lnTo>
                  <a:lnTo>
                    <a:pt x="100" y="46"/>
                  </a:lnTo>
                  <a:lnTo>
                    <a:pt x="100" y="44"/>
                  </a:lnTo>
                  <a:lnTo>
                    <a:pt x="98" y="44"/>
                  </a:lnTo>
                  <a:lnTo>
                    <a:pt x="98" y="42"/>
                  </a:lnTo>
                  <a:lnTo>
                    <a:pt x="96" y="40"/>
                  </a:lnTo>
                  <a:lnTo>
                    <a:pt x="92" y="38"/>
                  </a:lnTo>
                  <a:lnTo>
                    <a:pt x="90" y="36"/>
                  </a:lnTo>
                  <a:lnTo>
                    <a:pt x="86" y="32"/>
                  </a:lnTo>
                  <a:lnTo>
                    <a:pt x="80" y="28"/>
                  </a:lnTo>
                  <a:lnTo>
                    <a:pt x="74" y="24"/>
                  </a:lnTo>
                  <a:lnTo>
                    <a:pt x="72" y="22"/>
                  </a:lnTo>
                  <a:lnTo>
                    <a:pt x="68" y="20"/>
                  </a:lnTo>
                  <a:lnTo>
                    <a:pt x="66" y="20"/>
                  </a:lnTo>
                  <a:lnTo>
                    <a:pt x="64" y="18"/>
                  </a:lnTo>
                  <a:lnTo>
                    <a:pt x="62" y="18"/>
                  </a:lnTo>
                  <a:lnTo>
                    <a:pt x="60" y="16"/>
                  </a:lnTo>
                  <a:lnTo>
                    <a:pt x="56" y="16"/>
                  </a:lnTo>
                  <a:lnTo>
                    <a:pt x="50" y="16"/>
                  </a:lnTo>
                  <a:lnTo>
                    <a:pt x="44" y="14"/>
                  </a:lnTo>
                  <a:lnTo>
                    <a:pt x="38" y="14"/>
                  </a:lnTo>
                  <a:lnTo>
                    <a:pt x="32" y="14"/>
                  </a:lnTo>
                  <a:lnTo>
                    <a:pt x="26" y="14"/>
                  </a:lnTo>
                  <a:lnTo>
                    <a:pt x="22" y="14"/>
                  </a:lnTo>
                  <a:lnTo>
                    <a:pt x="16" y="14"/>
                  </a:lnTo>
                  <a:lnTo>
                    <a:pt x="16" y="14"/>
                  </a:lnTo>
                  <a:lnTo>
                    <a:pt x="16" y="14"/>
                  </a:lnTo>
                  <a:lnTo>
                    <a:pt x="12" y="16"/>
                  </a:lnTo>
                  <a:lnTo>
                    <a:pt x="8" y="18"/>
                  </a:lnTo>
                  <a:lnTo>
                    <a:pt x="4" y="20"/>
                  </a:lnTo>
                  <a:lnTo>
                    <a:pt x="4" y="20"/>
                  </a:lnTo>
                  <a:lnTo>
                    <a:pt x="2" y="20"/>
                  </a:lnTo>
                  <a:lnTo>
                    <a:pt x="2" y="20"/>
                  </a:lnTo>
                  <a:lnTo>
                    <a:pt x="0" y="20"/>
                  </a:lnTo>
                  <a:lnTo>
                    <a:pt x="0" y="20"/>
                  </a:lnTo>
                  <a:lnTo>
                    <a:pt x="0"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4" name="Freeform 515"/>
            <p:cNvSpPr>
              <a:spLocks/>
            </p:cNvSpPr>
            <p:nvPr/>
          </p:nvSpPr>
          <p:spPr bwMode="auto">
            <a:xfrm>
              <a:off x="2190722" y="3991487"/>
              <a:ext cx="256347" cy="114317"/>
            </a:xfrm>
            <a:custGeom>
              <a:avLst/>
              <a:gdLst>
                <a:gd name="T0" fmla="*/ 0 w 148"/>
                <a:gd name="T1" fmla="*/ 20 h 66"/>
                <a:gd name="T2" fmla="*/ 0 w 148"/>
                <a:gd name="T3" fmla="*/ 18 h 66"/>
                <a:gd name="T4" fmla="*/ 0 w 148"/>
                <a:gd name="T5" fmla="*/ 16 h 66"/>
                <a:gd name="T6" fmla="*/ 2 w 148"/>
                <a:gd name="T7" fmla="*/ 14 h 66"/>
                <a:gd name="T8" fmla="*/ 6 w 148"/>
                <a:gd name="T9" fmla="*/ 10 h 66"/>
                <a:gd name="T10" fmla="*/ 14 w 148"/>
                <a:gd name="T11" fmla="*/ 6 h 66"/>
                <a:gd name="T12" fmla="*/ 20 w 148"/>
                <a:gd name="T13" fmla="*/ 4 h 66"/>
                <a:gd name="T14" fmla="*/ 22 w 148"/>
                <a:gd name="T15" fmla="*/ 2 h 66"/>
                <a:gd name="T16" fmla="*/ 26 w 148"/>
                <a:gd name="T17" fmla="*/ 0 h 66"/>
                <a:gd name="T18" fmla="*/ 30 w 148"/>
                <a:gd name="T19" fmla="*/ 0 h 66"/>
                <a:gd name="T20" fmla="*/ 36 w 148"/>
                <a:gd name="T21" fmla="*/ 0 h 66"/>
                <a:gd name="T22" fmla="*/ 46 w 148"/>
                <a:gd name="T23" fmla="*/ 4 h 66"/>
                <a:gd name="T24" fmla="*/ 60 w 148"/>
                <a:gd name="T25" fmla="*/ 6 h 66"/>
                <a:gd name="T26" fmla="*/ 68 w 148"/>
                <a:gd name="T27" fmla="*/ 8 h 66"/>
                <a:gd name="T28" fmla="*/ 76 w 148"/>
                <a:gd name="T29" fmla="*/ 10 h 66"/>
                <a:gd name="T30" fmla="*/ 82 w 148"/>
                <a:gd name="T31" fmla="*/ 12 h 66"/>
                <a:gd name="T32" fmla="*/ 94 w 148"/>
                <a:gd name="T33" fmla="*/ 20 h 66"/>
                <a:gd name="T34" fmla="*/ 100 w 148"/>
                <a:gd name="T35" fmla="*/ 24 h 66"/>
                <a:gd name="T36" fmla="*/ 110 w 148"/>
                <a:gd name="T37" fmla="*/ 28 h 66"/>
                <a:gd name="T38" fmla="*/ 128 w 148"/>
                <a:gd name="T39" fmla="*/ 34 h 66"/>
                <a:gd name="T40" fmla="*/ 136 w 148"/>
                <a:gd name="T41" fmla="*/ 38 h 66"/>
                <a:gd name="T42" fmla="*/ 140 w 148"/>
                <a:gd name="T43" fmla="*/ 42 h 66"/>
                <a:gd name="T44" fmla="*/ 144 w 148"/>
                <a:gd name="T45" fmla="*/ 46 h 66"/>
                <a:gd name="T46" fmla="*/ 146 w 148"/>
                <a:gd name="T47" fmla="*/ 48 h 66"/>
                <a:gd name="T48" fmla="*/ 148 w 148"/>
                <a:gd name="T49" fmla="*/ 50 h 66"/>
                <a:gd name="T50" fmla="*/ 148 w 148"/>
                <a:gd name="T51" fmla="*/ 52 h 66"/>
                <a:gd name="T52" fmla="*/ 148 w 148"/>
                <a:gd name="T53" fmla="*/ 54 h 66"/>
                <a:gd name="T54" fmla="*/ 146 w 148"/>
                <a:gd name="T55" fmla="*/ 56 h 66"/>
                <a:gd name="T56" fmla="*/ 144 w 148"/>
                <a:gd name="T57" fmla="*/ 58 h 66"/>
                <a:gd name="T58" fmla="*/ 140 w 148"/>
                <a:gd name="T59" fmla="*/ 60 h 66"/>
                <a:gd name="T60" fmla="*/ 134 w 148"/>
                <a:gd name="T61" fmla="*/ 64 h 66"/>
                <a:gd name="T62" fmla="*/ 128 w 148"/>
                <a:gd name="T63" fmla="*/ 64 h 66"/>
                <a:gd name="T64" fmla="*/ 122 w 148"/>
                <a:gd name="T65" fmla="*/ 66 h 66"/>
                <a:gd name="T66" fmla="*/ 112 w 148"/>
                <a:gd name="T67" fmla="*/ 66 h 66"/>
                <a:gd name="T68" fmla="*/ 108 w 148"/>
                <a:gd name="T69" fmla="*/ 66 h 66"/>
                <a:gd name="T70" fmla="*/ 104 w 148"/>
                <a:gd name="T71" fmla="*/ 66 h 66"/>
                <a:gd name="T72" fmla="*/ 100 w 148"/>
                <a:gd name="T73" fmla="*/ 64 h 66"/>
                <a:gd name="T74" fmla="*/ 98 w 148"/>
                <a:gd name="T75" fmla="*/ 62 h 66"/>
                <a:gd name="T76" fmla="*/ 98 w 148"/>
                <a:gd name="T77" fmla="*/ 60 h 66"/>
                <a:gd name="T78" fmla="*/ 98 w 148"/>
                <a:gd name="T79" fmla="*/ 58 h 66"/>
                <a:gd name="T80" fmla="*/ 98 w 148"/>
                <a:gd name="T81" fmla="*/ 54 h 66"/>
                <a:gd name="T82" fmla="*/ 100 w 148"/>
                <a:gd name="T83" fmla="*/ 50 h 66"/>
                <a:gd name="T84" fmla="*/ 100 w 148"/>
                <a:gd name="T85" fmla="*/ 48 h 66"/>
                <a:gd name="T86" fmla="*/ 100 w 148"/>
                <a:gd name="T87" fmla="*/ 46 h 66"/>
                <a:gd name="T88" fmla="*/ 98 w 148"/>
                <a:gd name="T89" fmla="*/ 44 h 66"/>
                <a:gd name="T90" fmla="*/ 96 w 148"/>
                <a:gd name="T91" fmla="*/ 40 h 66"/>
                <a:gd name="T92" fmla="*/ 90 w 148"/>
                <a:gd name="T93" fmla="*/ 36 h 66"/>
                <a:gd name="T94" fmla="*/ 80 w 148"/>
                <a:gd name="T95" fmla="*/ 28 h 66"/>
                <a:gd name="T96" fmla="*/ 72 w 148"/>
                <a:gd name="T97" fmla="*/ 22 h 66"/>
                <a:gd name="T98" fmla="*/ 66 w 148"/>
                <a:gd name="T99" fmla="*/ 20 h 66"/>
                <a:gd name="T100" fmla="*/ 62 w 148"/>
                <a:gd name="T101" fmla="*/ 18 h 66"/>
                <a:gd name="T102" fmla="*/ 56 w 148"/>
                <a:gd name="T103" fmla="*/ 16 h 66"/>
                <a:gd name="T104" fmla="*/ 44 w 148"/>
                <a:gd name="T105" fmla="*/ 14 h 66"/>
                <a:gd name="T106" fmla="*/ 32 w 148"/>
                <a:gd name="T107" fmla="*/ 14 h 66"/>
                <a:gd name="T108" fmla="*/ 22 w 148"/>
                <a:gd name="T109" fmla="*/ 14 h 66"/>
                <a:gd name="T110" fmla="*/ 16 w 148"/>
                <a:gd name="T111" fmla="*/ 14 h 66"/>
                <a:gd name="T112" fmla="*/ 12 w 148"/>
                <a:gd name="T113" fmla="*/ 16 h 66"/>
                <a:gd name="T114" fmla="*/ 4 w 148"/>
                <a:gd name="T115" fmla="*/ 20 h 66"/>
                <a:gd name="T116" fmla="*/ 2 w 148"/>
                <a:gd name="T117" fmla="*/ 20 h 66"/>
                <a:gd name="T118" fmla="*/ 0 w 148"/>
                <a:gd name="T119" fmla="*/ 20 h 66"/>
                <a:gd name="T120" fmla="*/ 0 w 148"/>
                <a:gd name="T121"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66">
                  <a:moveTo>
                    <a:pt x="0" y="20"/>
                  </a:moveTo>
                  <a:lnTo>
                    <a:pt x="0" y="20"/>
                  </a:lnTo>
                  <a:lnTo>
                    <a:pt x="0" y="18"/>
                  </a:lnTo>
                  <a:lnTo>
                    <a:pt x="0" y="18"/>
                  </a:lnTo>
                  <a:lnTo>
                    <a:pt x="0" y="16"/>
                  </a:lnTo>
                  <a:lnTo>
                    <a:pt x="0" y="16"/>
                  </a:lnTo>
                  <a:lnTo>
                    <a:pt x="0" y="16"/>
                  </a:lnTo>
                  <a:lnTo>
                    <a:pt x="2" y="14"/>
                  </a:lnTo>
                  <a:lnTo>
                    <a:pt x="4" y="12"/>
                  </a:lnTo>
                  <a:lnTo>
                    <a:pt x="6" y="10"/>
                  </a:lnTo>
                  <a:lnTo>
                    <a:pt x="10" y="10"/>
                  </a:lnTo>
                  <a:lnTo>
                    <a:pt x="14" y="6"/>
                  </a:lnTo>
                  <a:lnTo>
                    <a:pt x="16" y="4"/>
                  </a:lnTo>
                  <a:lnTo>
                    <a:pt x="20" y="4"/>
                  </a:lnTo>
                  <a:lnTo>
                    <a:pt x="22" y="2"/>
                  </a:lnTo>
                  <a:lnTo>
                    <a:pt x="22" y="2"/>
                  </a:lnTo>
                  <a:lnTo>
                    <a:pt x="24" y="0"/>
                  </a:lnTo>
                  <a:lnTo>
                    <a:pt x="26" y="0"/>
                  </a:lnTo>
                  <a:lnTo>
                    <a:pt x="28" y="0"/>
                  </a:lnTo>
                  <a:lnTo>
                    <a:pt x="30" y="0"/>
                  </a:lnTo>
                  <a:lnTo>
                    <a:pt x="34" y="0"/>
                  </a:lnTo>
                  <a:lnTo>
                    <a:pt x="36" y="0"/>
                  </a:lnTo>
                  <a:lnTo>
                    <a:pt x="42" y="2"/>
                  </a:lnTo>
                  <a:lnTo>
                    <a:pt x="46" y="4"/>
                  </a:lnTo>
                  <a:lnTo>
                    <a:pt x="52" y="4"/>
                  </a:lnTo>
                  <a:lnTo>
                    <a:pt x="60" y="6"/>
                  </a:lnTo>
                  <a:lnTo>
                    <a:pt x="64" y="6"/>
                  </a:lnTo>
                  <a:lnTo>
                    <a:pt x="68" y="8"/>
                  </a:lnTo>
                  <a:lnTo>
                    <a:pt x="72" y="8"/>
                  </a:lnTo>
                  <a:lnTo>
                    <a:pt x="76" y="10"/>
                  </a:lnTo>
                  <a:lnTo>
                    <a:pt x="78" y="10"/>
                  </a:lnTo>
                  <a:lnTo>
                    <a:pt x="82" y="12"/>
                  </a:lnTo>
                  <a:lnTo>
                    <a:pt x="88" y="16"/>
                  </a:lnTo>
                  <a:lnTo>
                    <a:pt x="94" y="20"/>
                  </a:lnTo>
                  <a:lnTo>
                    <a:pt x="98" y="22"/>
                  </a:lnTo>
                  <a:lnTo>
                    <a:pt x="100" y="24"/>
                  </a:lnTo>
                  <a:lnTo>
                    <a:pt x="104" y="26"/>
                  </a:lnTo>
                  <a:lnTo>
                    <a:pt x="110" y="28"/>
                  </a:lnTo>
                  <a:lnTo>
                    <a:pt x="122" y="32"/>
                  </a:lnTo>
                  <a:lnTo>
                    <a:pt x="128" y="34"/>
                  </a:lnTo>
                  <a:lnTo>
                    <a:pt x="134" y="38"/>
                  </a:lnTo>
                  <a:lnTo>
                    <a:pt x="136" y="38"/>
                  </a:lnTo>
                  <a:lnTo>
                    <a:pt x="138" y="40"/>
                  </a:lnTo>
                  <a:lnTo>
                    <a:pt x="140" y="42"/>
                  </a:lnTo>
                  <a:lnTo>
                    <a:pt x="142" y="44"/>
                  </a:lnTo>
                  <a:lnTo>
                    <a:pt x="144" y="46"/>
                  </a:lnTo>
                  <a:lnTo>
                    <a:pt x="146" y="46"/>
                  </a:lnTo>
                  <a:lnTo>
                    <a:pt x="146" y="48"/>
                  </a:lnTo>
                  <a:lnTo>
                    <a:pt x="148" y="50"/>
                  </a:lnTo>
                  <a:lnTo>
                    <a:pt x="148" y="50"/>
                  </a:lnTo>
                  <a:lnTo>
                    <a:pt x="148" y="52"/>
                  </a:lnTo>
                  <a:lnTo>
                    <a:pt x="148" y="52"/>
                  </a:lnTo>
                  <a:lnTo>
                    <a:pt x="148" y="54"/>
                  </a:lnTo>
                  <a:lnTo>
                    <a:pt x="148" y="54"/>
                  </a:lnTo>
                  <a:lnTo>
                    <a:pt x="148" y="56"/>
                  </a:lnTo>
                  <a:lnTo>
                    <a:pt x="146" y="56"/>
                  </a:lnTo>
                  <a:lnTo>
                    <a:pt x="146" y="58"/>
                  </a:lnTo>
                  <a:lnTo>
                    <a:pt x="144" y="58"/>
                  </a:lnTo>
                  <a:lnTo>
                    <a:pt x="142" y="60"/>
                  </a:lnTo>
                  <a:lnTo>
                    <a:pt x="140" y="60"/>
                  </a:lnTo>
                  <a:lnTo>
                    <a:pt x="136" y="62"/>
                  </a:lnTo>
                  <a:lnTo>
                    <a:pt x="134" y="64"/>
                  </a:lnTo>
                  <a:lnTo>
                    <a:pt x="130" y="64"/>
                  </a:lnTo>
                  <a:lnTo>
                    <a:pt x="128" y="64"/>
                  </a:lnTo>
                  <a:lnTo>
                    <a:pt x="124" y="66"/>
                  </a:lnTo>
                  <a:lnTo>
                    <a:pt x="122" y="66"/>
                  </a:lnTo>
                  <a:lnTo>
                    <a:pt x="116" y="66"/>
                  </a:lnTo>
                  <a:lnTo>
                    <a:pt x="112" y="66"/>
                  </a:lnTo>
                  <a:lnTo>
                    <a:pt x="110" y="66"/>
                  </a:lnTo>
                  <a:lnTo>
                    <a:pt x="108" y="66"/>
                  </a:lnTo>
                  <a:lnTo>
                    <a:pt x="106" y="66"/>
                  </a:lnTo>
                  <a:lnTo>
                    <a:pt x="104" y="66"/>
                  </a:lnTo>
                  <a:lnTo>
                    <a:pt x="102" y="64"/>
                  </a:lnTo>
                  <a:lnTo>
                    <a:pt x="100" y="64"/>
                  </a:lnTo>
                  <a:lnTo>
                    <a:pt x="98" y="64"/>
                  </a:lnTo>
                  <a:lnTo>
                    <a:pt x="98" y="62"/>
                  </a:lnTo>
                  <a:lnTo>
                    <a:pt x="98" y="62"/>
                  </a:lnTo>
                  <a:lnTo>
                    <a:pt x="98" y="60"/>
                  </a:lnTo>
                  <a:lnTo>
                    <a:pt x="98" y="60"/>
                  </a:lnTo>
                  <a:lnTo>
                    <a:pt x="98" y="58"/>
                  </a:lnTo>
                  <a:lnTo>
                    <a:pt x="98" y="56"/>
                  </a:lnTo>
                  <a:lnTo>
                    <a:pt x="98" y="54"/>
                  </a:lnTo>
                  <a:lnTo>
                    <a:pt x="100" y="52"/>
                  </a:lnTo>
                  <a:lnTo>
                    <a:pt x="100" y="50"/>
                  </a:lnTo>
                  <a:lnTo>
                    <a:pt x="100" y="48"/>
                  </a:lnTo>
                  <a:lnTo>
                    <a:pt x="100" y="48"/>
                  </a:lnTo>
                  <a:lnTo>
                    <a:pt x="100" y="46"/>
                  </a:lnTo>
                  <a:lnTo>
                    <a:pt x="100" y="46"/>
                  </a:lnTo>
                  <a:lnTo>
                    <a:pt x="100" y="44"/>
                  </a:lnTo>
                  <a:lnTo>
                    <a:pt x="98" y="44"/>
                  </a:lnTo>
                  <a:lnTo>
                    <a:pt x="98" y="42"/>
                  </a:lnTo>
                  <a:lnTo>
                    <a:pt x="96" y="40"/>
                  </a:lnTo>
                  <a:lnTo>
                    <a:pt x="92" y="38"/>
                  </a:lnTo>
                  <a:lnTo>
                    <a:pt x="90" y="36"/>
                  </a:lnTo>
                  <a:lnTo>
                    <a:pt x="86" y="32"/>
                  </a:lnTo>
                  <a:lnTo>
                    <a:pt x="80" y="28"/>
                  </a:lnTo>
                  <a:lnTo>
                    <a:pt x="74" y="24"/>
                  </a:lnTo>
                  <a:lnTo>
                    <a:pt x="72" y="22"/>
                  </a:lnTo>
                  <a:lnTo>
                    <a:pt x="68" y="20"/>
                  </a:lnTo>
                  <a:lnTo>
                    <a:pt x="66" y="20"/>
                  </a:lnTo>
                  <a:lnTo>
                    <a:pt x="64" y="18"/>
                  </a:lnTo>
                  <a:lnTo>
                    <a:pt x="62" y="18"/>
                  </a:lnTo>
                  <a:lnTo>
                    <a:pt x="60" y="16"/>
                  </a:lnTo>
                  <a:lnTo>
                    <a:pt x="56" y="16"/>
                  </a:lnTo>
                  <a:lnTo>
                    <a:pt x="50" y="16"/>
                  </a:lnTo>
                  <a:lnTo>
                    <a:pt x="44" y="14"/>
                  </a:lnTo>
                  <a:lnTo>
                    <a:pt x="38" y="14"/>
                  </a:lnTo>
                  <a:lnTo>
                    <a:pt x="32" y="14"/>
                  </a:lnTo>
                  <a:lnTo>
                    <a:pt x="26" y="14"/>
                  </a:lnTo>
                  <a:lnTo>
                    <a:pt x="22" y="14"/>
                  </a:lnTo>
                  <a:lnTo>
                    <a:pt x="16" y="14"/>
                  </a:lnTo>
                  <a:lnTo>
                    <a:pt x="16" y="14"/>
                  </a:lnTo>
                  <a:lnTo>
                    <a:pt x="16" y="14"/>
                  </a:lnTo>
                  <a:lnTo>
                    <a:pt x="12" y="16"/>
                  </a:lnTo>
                  <a:lnTo>
                    <a:pt x="8" y="18"/>
                  </a:lnTo>
                  <a:lnTo>
                    <a:pt x="4" y="20"/>
                  </a:lnTo>
                  <a:lnTo>
                    <a:pt x="4" y="20"/>
                  </a:lnTo>
                  <a:lnTo>
                    <a:pt x="2" y="20"/>
                  </a:lnTo>
                  <a:lnTo>
                    <a:pt x="2" y="20"/>
                  </a:lnTo>
                  <a:lnTo>
                    <a:pt x="0" y="20"/>
                  </a:lnTo>
                  <a:lnTo>
                    <a:pt x="0" y="20"/>
                  </a:lnTo>
                  <a:lnTo>
                    <a:pt x="0"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5" name="Freeform 516"/>
            <p:cNvSpPr>
              <a:spLocks/>
            </p:cNvSpPr>
            <p:nvPr/>
          </p:nvSpPr>
          <p:spPr bwMode="auto">
            <a:xfrm>
              <a:off x="2828125" y="4476468"/>
              <a:ext cx="103925" cy="142030"/>
            </a:xfrm>
            <a:custGeom>
              <a:avLst/>
              <a:gdLst>
                <a:gd name="T0" fmla="*/ 20 w 60"/>
                <a:gd name="T1" fmla="*/ 18 h 82"/>
                <a:gd name="T2" fmla="*/ 20 w 60"/>
                <a:gd name="T3" fmla="*/ 26 h 82"/>
                <a:gd name="T4" fmla="*/ 20 w 60"/>
                <a:gd name="T5" fmla="*/ 30 h 82"/>
                <a:gd name="T6" fmla="*/ 18 w 60"/>
                <a:gd name="T7" fmla="*/ 32 h 82"/>
                <a:gd name="T8" fmla="*/ 14 w 60"/>
                <a:gd name="T9" fmla="*/ 32 h 82"/>
                <a:gd name="T10" fmla="*/ 10 w 60"/>
                <a:gd name="T11" fmla="*/ 30 h 82"/>
                <a:gd name="T12" fmla="*/ 4 w 60"/>
                <a:gd name="T13" fmla="*/ 32 h 82"/>
                <a:gd name="T14" fmla="*/ 2 w 60"/>
                <a:gd name="T15" fmla="*/ 34 h 82"/>
                <a:gd name="T16" fmla="*/ 0 w 60"/>
                <a:gd name="T17" fmla="*/ 38 h 82"/>
                <a:gd name="T18" fmla="*/ 0 w 60"/>
                <a:gd name="T19" fmla="*/ 44 h 82"/>
                <a:gd name="T20" fmla="*/ 2 w 60"/>
                <a:gd name="T21" fmla="*/ 48 h 82"/>
                <a:gd name="T22" fmla="*/ 4 w 60"/>
                <a:gd name="T23" fmla="*/ 52 h 82"/>
                <a:gd name="T24" fmla="*/ 8 w 60"/>
                <a:gd name="T25" fmla="*/ 56 h 82"/>
                <a:gd name="T26" fmla="*/ 12 w 60"/>
                <a:gd name="T27" fmla="*/ 58 h 82"/>
                <a:gd name="T28" fmla="*/ 16 w 60"/>
                <a:gd name="T29" fmla="*/ 60 h 82"/>
                <a:gd name="T30" fmla="*/ 16 w 60"/>
                <a:gd name="T31" fmla="*/ 64 h 82"/>
                <a:gd name="T32" fmla="*/ 16 w 60"/>
                <a:gd name="T33" fmla="*/ 70 h 82"/>
                <a:gd name="T34" fmla="*/ 16 w 60"/>
                <a:gd name="T35" fmla="*/ 76 h 82"/>
                <a:gd name="T36" fmla="*/ 16 w 60"/>
                <a:gd name="T37" fmla="*/ 82 h 82"/>
                <a:gd name="T38" fmla="*/ 24 w 60"/>
                <a:gd name="T39" fmla="*/ 82 h 82"/>
                <a:gd name="T40" fmla="*/ 30 w 60"/>
                <a:gd name="T41" fmla="*/ 82 h 82"/>
                <a:gd name="T42" fmla="*/ 32 w 60"/>
                <a:gd name="T43" fmla="*/ 80 h 82"/>
                <a:gd name="T44" fmla="*/ 32 w 60"/>
                <a:gd name="T45" fmla="*/ 78 h 82"/>
                <a:gd name="T46" fmla="*/ 32 w 60"/>
                <a:gd name="T47" fmla="*/ 72 h 82"/>
                <a:gd name="T48" fmla="*/ 32 w 60"/>
                <a:gd name="T49" fmla="*/ 70 h 82"/>
                <a:gd name="T50" fmla="*/ 32 w 60"/>
                <a:gd name="T51" fmla="*/ 68 h 82"/>
                <a:gd name="T52" fmla="*/ 36 w 60"/>
                <a:gd name="T53" fmla="*/ 66 h 82"/>
                <a:gd name="T54" fmla="*/ 44 w 60"/>
                <a:gd name="T55" fmla="*/ 66 h 82"/>
                <a:gd name="T56" fmla="*/ 52 w 60"/>
                <a:gd name="T57" fmla="*/ 66 h 82"/>
                <a:gd name="T58" fmla="*/ 56 w 60"/>
                <a:gd name="T59" fmla="*/ 64 h 82"/>
                <a:gd name="T60" fmla="*/ 58 w 60"/>
                <a:gd name="T61" fmla="*/ 58 h 82"/>
                <a:gd name="T62" fmla="*/ 58 w 60"/>
                <a:gd name="T63" fmla="*/ 50 h 82"/>
                <a:gd name="T64" fmla="*/ 58 w 60"/>
                <a:gd name="T65" fmla="*/ 36 h 82"/>
                <a:gd name="T66" fmla="*/ 56 w 60"/>
                <a:gd name="T67" fmla="*/ 24 h 82"/>
                <a:gd name="T68" fmla="*/ 58 w 60"/>
                <a:gd name="T69" fmla="*/ 18 h 82"/>
                <a:gd name="T70" fmla="*/ 60 w 60"/>
                <a:gd name="T71" fmla="*/ 12 h 82"/>
                <a:gd name="T72" fmla="*/ 58 w 60"/>
                <a:gd name="T73" fmla="*/ 6 h 82"/>
                <a:gd name="T74" fmla="*/ 56 w 60"/>
                <a:gd name="T75" fmla="*/ 2 h 82"/>
                <a:gd name="T76" fmla="*/ 52 w 60"/>
                <a:gd name="T77" fmla="*/ 0 h 82"/>
                <a:gd name="T78" fmla="*/ 44 w 60"/>
                <a:gd name="T79" fmla="*/ 0 h 82"/>
                <a:gd name="T80" fmla="*/ 38 w 60"/>
                <a:gd name="T81" fmla="*/ 2 h 82"/>
                <a:gd name="T82" fmla="*/ 36 w 60"/>
                <a:gd name="T83" fmla="*/ 4 h 82"/>
                <a:gd name="T84" fmla="*/ 34 w 60"/>
                <a:gd name="T85" fmla="*/ 10 h 82"/>
                <a:gd name="T86" fmla="*/ 30 w 60"/>
                <a:gd name="T87" fmla="*/ 12 h 82"/>
                <a:gd name="T88" fmla="*/ 20 w 60"/>
                <a:gd name="T8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82">
                  <a:moveTo>
                    <a:pt x="20" y="16"/>
                  </a:moveTo>
                  <a:lnTo>
                    <a:pt x="20" y="16"/>
                  </a:lnTo>
                  <a:lnTo>
                    <a:pt x="20" y="18"/>
                  </a:lnTo>
                  <a:lnTo>
                    <a:pt x="20" y="20"/>
                  </a:lnTo>
                  <a:lnTo>
                    <a:pt x="20" y="22"/>
                  </a:lnTo>
                  <a:lnTo>
                    <a:pt x="20" y="26"/>
                  </a:lnTo>
                  <a:lnTo>
                    <a:pt x="20" y="28"/>
                  </a:lnTo>
                  <a:lnTo>
                    <a:pt x="20" y="28"/>
                  </a:lnTo>
                  <a:lnTo>
                    <a:pt x="20" y="30"/>
                  </a:lnTo>
                  <a:lnTo>
                    <a:pt x="18" y="30"/>
                  </a:lnTo>
                  <a:lnTo>
                    <a:pt x="18" y="32"/>
                  </a:lnTo>
                  <a:lnTo>
                    <a:pt x="18" y="32"/>
                  </a:lnTo>
                  <a:lnTo>
                    <a:pt x="18" y="32"/>
                  </a:lnTo>
                  <a:lnTo>
                    <a:pt x="16" y="32"/>
                  </a:lnTo>
                  <a:lnTo>
                    <a:pt x="14" y="32"/>
                  </a:lnTo>
                  <a:lnTo>
                    <a:pt x="14" y="32"/>
                  </a:lnTo>
                  <a:lnTo>
                    <a:pt x="10" y="30"/>
                  </a:lnTo>
                  <a:lnTo>
                    <a:pt x="10" y="30"/>
                  </a:lnTo>
                  <a:lnTo>
                    <a:pt x="8" y="30"/>
                  </a:lnTo>
                  <a:lnTo>
                    <a:pt x="6" y="32"/>
                  </a:lnTo>
                  <a:lnTo>
                    <a:pt x="4" y="32"/>
                  </a:lnTo>
                  <a:lnTo>
                    <a:pt x="4" y="34"/>
                  </a:lnTo>
                  <a:lnTo>
                    <a:pt x="2" y="34"/>
                  </a:lnTo>
                  <a:lnTo>
                    <a:pt x="2" y="34"/>
                  </a:lnTo>
                  <a:lnTo>
                    <a:pt x="2" y="36"/>
                  </a:lnTo>
                  <a:lnTo>
                    <a:pt x="0" y="36"/>
                  </a:lnTo>
                  <a:lnTo>
                    <a:pt x="0" y="38"/>
                  </a:lnTo>
                  <a:lnTo>
                    <a:pt x="0" y="40"/>
                  </a:lnTo>
                  <a:lnTo>
                    <a:pt x="0" y="42"/>
                  </a:lnTo>
                  <a:lnTo>
                    <a:pt x="0" y="44"/>
                  </a:lnTo>
                  <a:lnTo>
                    <a:pt x="0" y="46"/>
                  </a:lnTo>
                  <a:lnTo>
                    <a:pt x="2" y="46"/>
                  </a:lnTo>
                  <a:lnTo>
                    <a:pt x="2" y="48"/>
                  </a:lnTo>
                  <a:lnTo>
                    <a:pt x="2" y="50"/>
                  </a:lnTo>
                  <a:lnTo>
                    <a:pt x="2" y="50"/>
                  </a:lnTo>
                  <a:lnTo>
                    <a:pt x="4" y="52"/>
                  </a:lnTo>
                  <a:lnTo>
                    <a:pt x="6" y="54"/>
                  </a:lnTo>
                  <a:lnTo>
                    <a:pt x="8" y="54"/>
                  </a:lnTo>
                  <a:lnTo>
                    <a:pt x="8" y="56"/>
                  </a:lnTo>
                  <a:lnTo>
                    <a:pt x="10" y="56"/>
                  </a:lnTo>
                  <a:lnTo>
                    <a:pt x="12" y="58"/>
                  </a:lnTo>
                  <a:lnTo>
                    <a:pt x="12" y="58"/>
                  </a:lnTo>
                  <a:lnTo>
                    <a:pt x="14" y="58"/>
                  </a:lnTo>
                  <a:lnTo>
                    <a:pt x="14" y="58"/>
                  </a:lnTo>
                  <a:lnTo>
                    <a:pt x="16" y="60"/>
                  </a:lnTo>
                  <a:lnTo>
                    <a:pt x="16" y="60"/>
                  </a:lnTo>
                  <a:lnTo>
                    <a:pt x="16" y="62"/>
                  </a:lnTo>
                  <a:lnTo>
                    <a:pt x="16" y="64"/>
                  </a:lnTo>
                  <a:lnTo>
                    <a:pt x="16" y="66"/>
                  </a:lnTo>
                  <a:lnTo>
                    <a:pt x="18" y="68"/>
                  </a:lnTo>
                  <a:lnTo>
                    <a:pt x="16" y="70"/>
                  </a:lnTo>
                  <a:lnTo>
                    <a:pt x="16" y="74"/>
                  </a:lnTo>
                  <a:lnTo>
                    <a:pt x="16" y="76"/>
                  </a:lnTo>
                  <a:lnTo>
                    <a:pt x="16" y="76"/>
                  </a:lnTo>
                  <a:lnTo>
                    <a:pt x="16" y="78"/>
                  </a:lnTo>
                  <a:lnTo>
                    <a:pt x="14" y="82"/>
                  </a:lnTo>
                  <a:lnTo>
                    <a:pt x="16" y="82"/>
                  </a:lnTo>
                  <a:lnTo>
                    <a:pt x="18" y="82"/>
                  </a:lnTo>
                  <a:lnTo>
                    <a:pt x="22" y="82"/>
                  </a:lnTo>
                  <a:lnTo>
                    <a:pt x="24" y="82"/>
                  </a:lnTo>
                  <a:lnTo>
                    <a:pt x="26" y="82"/>
                  </a:lnTo>
                  <a:lnTo>
                    <a:pt x="28" y="82"/>
                  </a:lnTo>
                  <a:lnTo>
                    <a:pt x="30" y="82"/>
                  </a:lnTo>
                  <a:lnTo>
                    <a:pt x="30" y="82"/>
                  </a:lnTo>
                  <a:lnTo>
                    <a:pt x="30" y="82"/>
                  </a:lnTo>
                  <a:lnTo>
                    <a:pt x="32" y="80"/>
                  </a:lnTo>
                  <a:lnTo>
                    <a:pt x="32" y="80"/>
                  </a:lnTo>
                  <a:lnTo>
                    <a:pt x="32" y="80"/>
                  </a:lnTo>
                  <a:lnTo>
                    <a:pt x="32" y="78"/>
                  </a:lnTo>
                  <a:lnTo>
                    <a:pt x="32" y="76"/>
                  </a:lnTo>
                  <a:lnTo>
                    <a:pt x="32" y="74"/>
                  </a:lnTo>
                  <a:lnTo>
                    <a:pt x="32" y="72"/>
                  </a:lnTo>
                  <a:lnTo>
                    <a:pt x="30" y="70"/>
                  </a:lnTo>
                  <a:lnTo>
                    <a:pt x="30" y="70"/>
                  </a:lnTo>
                  <a:lnTo>
                    <a:pt x="32" y="70"/>
                  </a:lnTo>
                  <a:lnTo>
                    <a:pt x="32" y="68"/>
                  </a:lnTo>
                  <a:lnTo>
                    <a:pt x="32" y="68"/>
                  </a:lnTo>
                  <a:lnTo>
                    <a:pt x="32" y="68"/>
                  </a:lnTo>
                  <a:lnTo>
                    <a:pt x="34" y="66"/>
                  </a:lnTo>
                  <a:lnTo>
                    <a:pt x="34" y="66"/>
                  </a:lnTo>
                  <a:lnTo>
                    <a:pt x="36" y="66"/>
                  </a:lnTo>
                  <a:lnTo>
                    <a:pt x="38" y="66"/>
                  </a:lnTo>
                  <a:lnTo>
                    <a:pt x="40" y="66"/>
                  </a:lnTo>
                  <a:lnTo>
                    <a:pt x="44" y="66"/>
                  </a:lnTo>
                  <a:lnTo>
                    <a:pt x="48" y="66"/>
                  </a:lnTo>
                  <a:lnTo>
                    <a:pt x="50" y="66"/>
                  </a:lnTo>
                  <a:lnTo>
                    <a:pt x="52" y="66"/>
                  </a:lnTo>
                  <a:lnTo>
                    <a:pt x="54" y="66"/>
                  </a:lnTo>
                  <a:lnTo>
                    <a:pt x="56" y="64"/>
                  </a:lnTo>
                  <a:lnTo>
                    <a:pt x="56" y="64"/>
                  </a:lnTo>
                  <a:lnTo>
                    <a:pt x="58" y="62"/>
                  </a:lnTo>
                  <a:lnTo>
                    <a:pt x="58" y="60"/>
                  </a:lnTo>
                  <a:lnTo>
                    <a:pt x="58" y="58"/>
                  </a:lnTo>
                  <a:lnTo>
                    <a:pt x="58" y="56"/>
                  </a:lnTo>
                  <a:lnTo>
                    <a:pt x="58" y="54"/>
                  </a:lnTo>
                  <a:lnTo>
                    <a:pt x="58" y="50"/>
                  </a:lnTo>
                  <a:lnTo>
                    <a:pt x="58" y="48"/>
                  </a:lnTo>
                  <a:lnTo>
                    <a:pt x="58" y="42"/>
                  </a:lnTo>
                  <a:lnTo>
                    <a:pt x="58" y="36"/>
                  </a:lnTo>
                  <a:lnTo>
                    <a:pt x="56" y="30"/>
                  </a:lnTo>
                  <a:lnTo>
                    <a:pt x="56" y="28"/>
                  </a:lnTo>
                  <a:lnTo>
                    <a:pt x="56" y="24"/>
                  </a:lnTo>
                  <a:lnTo>
                    <a:pt x="56" y="22"/>
                  </a:lnTo>
                  <a:lnTo>
                    <a:pt x="58" y="20"/>
                  </a:lnTo>
                  <a:lnTo>
                    <a:pt x="58" y="18"/>
                  </a:lnTo>
                  <a:lnTo>
                    <a:pt x="58" y="18"/>
                  </a:lnTo>
                  <a:lnTo>
                    <a:pt x="60" y="16"/>
                  </a:lnTo>
                  <a:lnTo>
                    <a:pt x="60" y="12"/>
                  </a:lnTo>
                  <a:lnTo>
                    <a:pt x="60" y="10"/>
                  </a:lnTo>
                  <a:lnTo>
                    <a:pt x="58" y="8"/>
                  </a:lnTo>
                  <a:lnTo>
                    <a:pt x="58" y="6"/>
                  </a:lnTo>
                  <a:lnTo>
                    <a:pt x="58" y="4"/>
                  </a:lnTo>
                  <a:lnTo>
                    <a:pt x="56" y="4"/>
                  </a:lnTo>
                  <a:lnTo>
                    <a:pt x="56" y="2"/>
                  </a:lnTo>
                  <a:lnTo>
                    <a:pt x="56" y="2"/>
                  </a:lnTo>
                  <a:lnTo>
                    <a:pt x="54" y="2"/>
                  </a:lnTo>
                  <a:lnTo>
                    <a:pt x="52" y="0"/>
                  </a:lnTo>
                  <a:lnTo>
                    <a:pt x="50" y="0"/>
                  </a:lnTo>
                  <a:lnTo>
                    <a:pt x="46" y="0"/>
                  </a:lnTo>
                  <a:lnTo>
                    <a:pt x="44" y="0"/>
                  </a:lnTo>
                  <a:lnTo>
                    <a:pt x="42" y="0"/>
                  </a:lnTo>
                  <a:lnTo>
                    <a:pt x="40" y="2"/>
                  </a:lnTo>
                  <a:lnTo>
                    <a:pt x="38" y="2"/>
                  </a:lnTo>
                  <a:lnTo>
                    <a:pt x="38" y="2"/>
                  </a:lnTo>
                  <a:lnTo>
                    <a:pt x="36" y="4"/>
                  </a:lnTo>
                  <a:lnTo>
                    <a:pt x="36" y="4"/>
                  </a:lnTo>
                  <a:lnTo>
                    <a:pt x="36" y="6"/>
                  </a:lnTo>
                  <a:lnTo>
                    <a:pt x="34" y="8"/>
                  </a:lnTo>
                  <a:lnTo>
                    <a:pt x="34" y="10"/>
                  </a:lnTo>
                  <a:lnTo>
                    <a:pt x="32" y="10"/>
                  </a:lnTo>
                  <a:lnTo>
                    <a:pt x="32" y="10"/>
                  </a:lnTo>
                  <a:lnTo>
                    <a:pt x="30" y="12"/>
                  </a:lnTo>
                  <a:lnTo>
                    <a:pt x="26" y="14"/>
                  </a:lnTo>
                  <a:lnTo>
                    <a:pt x="22" y="16"/>
                  </a:lnTo>
                  <a:lnTo>
                    <a:pt x="20" y="1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6" name="Freeform 517"/>
            <p:cNvSpPr>
              <a:spLocks/>
            </p:cNvSpPr>
            <p:nvPr/>
          </p:nvSpPr>
          <p:spPr bwMode="auto">
            <a:xfrm>
              <a:off x="2828125" y="4476468"/>
              <a:ext cx="103925" cy="142030"/>
            </a:xfrm>
            <a:custGeom>
              <a:avLst/>
              <a:gdLst>
                <a:gd name="T0" fmla="*/ 20 w 60"/>
                <a:gd name="T1" fmla="*/ 18 h 82"/>
                <a:gd name="T2" fmla="*/ 20 w 60"/>
                <a:gd name="T3" fmla="*/ 26 h 82"/>
                <a:gd name="T4" fmla="*/ 20 w 60"/>
                <a:gd name="T5" fmla="*/ 30 h 82"/>
                <a:gd name="T6" fmla="*/ 18 w 60"/>
                <a:gd name="T7" fmla="*/ 32 h 82"/>
                <a:gd name="T8" fmla="*/ 14 w 60"/>
                <a:gd name="T9" fmla="*/ 32 h 82"/>
                <a:gd name="T10" fmla="*/ 10 w 60"/>
                <a:gd name="T11" fmla="*/ 30 h 82"/>
                <a:gd name="T12" fmla="*/ 4 w 60"/>
                <a:gd name="T13" fmla="*/ 32 h 82"/>
                <a:gd name="T14" fmla="*/ 2 w 60"/>
                <a:gd name="T15" fmla="*/ 34 h 82"/>
                <a:gd name="T16" fmla="*/ 0 w 60"/>
                <a:gd name="T17" fmla="*/ 38 h 82"/>
                <a:gd name="T18" fmla="*/ 0 w 60"/>
                <a:gd name="T19" fmla="*/ 44 h 82"/>
                <a:gd name="T20" fmla="*/ 2 w 60"/>
                <a:gd name="T21" fmla="*/ 48 h 82"/>
                <a:gd name="T22" fmla="*/ 4 w 60"/>
                <a:gd name="T23" fmla="*/ 52 h 82"/>
                <a:gd name="T24" fmla="*/ 8 w 60"/>
                <a:gd name="T25" fmla="*/ 56 h 82"/>
                <a:gd name="T26" fmla="*/ 12 w 60"/>
                <a:gd name="T27" fmla="*/ 58 h 82"/>
                <a:gd name="T28" fmla="*/ 16 w 60"/>
                <a:gd name="T29" fmla="*/ 60 h 82"/>
                <a:gd name="T30" fmla="*/ 16 w 60"/>
                <a:gd name="T31" fmla="*/ 64 h 82"/>
                <a:gd name="T32" fmla="*/ 16 w 60"/>
                <a:gd name="T33" fmla="*/ 70 h 82"/>
                <a:gd name="T34" fmla="*/ 16 w 60"/>
                <a:gd name="T35" fmla="*/ 76 h 82"/>
                <a:gd name="T36" fmla="*/ 16 w 60"/>
                <a:gd name="T37" fmla="*/ 82 h 82"/>
                <a:gd name="T38" fmla="*/ 24 w 60"/>
                <a:gd name="T39" fmla="*/ 82 h 82"/>
                <a:gd name="T40" fmla="*/ 30 w 60"/>
                <a:gd name="T41" fmla="*/ 82 h 82"/>
                <a:gd name="T42" fmla="*/ 32 w 60"/>
                <a:gd name="T43" fmla="*/ 80 h 82"/>
                <a:gd name="T44" fmla="*/ 32 w 60"/>
                <a:gd name="T45" fmla="*/ 78 h 82"/>
                <a:gd name="T46" fmla="*/ 32 w 60"/>
                <a:gd name="T47" fmla="*/ 72 h 82"/>
                <a:gd name="T48" fmla="*/ 32 w 60"/>
                <a:gd name="T49" fmla="*/ 70 h 82"/>
                <a:gd name="T50" fmla="*/ 32 w 60"/>
                <a:gd name="T51" fmla="*/ 68 h 82"/>
                <a:gd name="T52" fmla="*/ 36 w 60"/>
                <a:gd name="T53" fmla="*/ 66 h 82"/>
                <a:gd name="T54" fmla="*/ 44 w 60"/>
                <a:gd name="T55" fmla="*/ 66 h 82"/>
                <a:gd name="T56" fmla="*/ 52 w 60"/>
                <a:gd name="T57" fmla="*/ 66 h 82"/>
                <a:gd name="T58" fmla="*/ 56 w 60"/>
                <a:gd name="T59" fmla="*/ 64 h 82"/>
                <a:gd name="T60" fmla="*/ 58 w 60"/>
                <a:gd name="T61" fmla="*/ 58 h 82"/>
                <a:gd name="T62" fmla="*/ 58 w 60"/>
                <a:gd name="T63" fmla="*/ 50 h 82"/>
                <a:gd name="T64" fmla="*/ 58 w 60"/>
                <a:gd name="T65" fmla="*/ 36 h 82"/>
                <a:gd name="T66" fmla="*/ 56 w 60"/>
                <a:gd name="T67" fmla="*/ 24 h 82"/>
                <a:gd name="T68" fmla="*/ 58 w 60"/>
                <a:gd name="T69" fmla="*/ 18 h 82"/>
                <a:gd name="T70" fmla="*/ 60 w 60"/>
                <a:gd name="T71" fmla="*/ 12 h 82"/>
                <a:gd name="T72" fmla="*/ 58 w 60"/>
                <a:gd name="T73" fmla="*/ 6 h 82"/>
                <a:gd name="T74" fmla="*/ 56 w 60"/>
                <a:gd name="T75" fmla="*/ 2 h 82"/>
                <a:gd name="T76" fmla="*/ 52 w 60"/>
                <a:gd name="T77" fmla="*/ 0 h 82"/>
                <a:gd name="T78" fmla="*/ 44 w 60"/>
                <a:gd name="T79" fmla="*/ 0 h 82"/>
                <a:gd name="T80" fmla="*/ 38 w 60"/>
                <a:gd name="T81" fmla="*/ 2 h 82"/>
                <a:gd name="T82" fmla="*/ 36 w 60"/>
                <a:gd name="T83" fmla="*/ 4 h 82"/>
                <a:gd name="T84" fmla="*/ 34 w 60"/>
                <a:gd name="T85" fmla="*/ 10 h 82"/>
                <a:gd name="T86" fmla="*/ 30 w 60"/>
                <a:gd name="T87" fmla="*/ 12 h 82"/>
                <a:gd name="T88" fmla="*/ 20 w 60"/>
                <a:gd name="T8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82">
                  <a:moveTo>
                    <a:pt x="20" y="16"/>
                  </a:moveTo>
                  <a:lnTo>
                    <a:pt x="20" y="16"/>
                  </a:lnTo>
                  <a:lnTo>
                    <a:pt x="20" y="18"/>
                  </a:lnTo>
                  <a:lnTo>
                    <a:pt x="20" y="20"/>
                  </a:lnTo>
                  <a:lnTo>
                    <a:pt x="20" y="22"/>
                  </a:lnTo>
                  <a:lnTo>
                    <a:pt x="20" y="26"/>
                  </a:lnTo>
                  <a:lnTo>
                    <a:pt x="20" y="28"/>
                  </a:lnTo>
                  <a:lnTo>
                    <a:pt x="20" y="28"/>
                  </a:lnTo>
                  <a:lnTo>
                    <a:pt x="20" y="30"/>
                  </a:lnTo>
                  <a:lnTo>
                    <a:pt x="18" y="30"/>
                  </a:lnTo>
                  <a:lnTo>
                    <a:pt x="18" y="32"/>
                  </a:lnTo>
                  <a:lnTo>
                    <a:pt x="18" y="32"/>
                  </a:lnTo>
                  <a:lnTo>
                    <a:pt x="18" y="32"/>
                  </a:lnTo>
                  <a:lnTo>
                    <a:pt x="16" y="32"/>
                  </a:lnTo>
                  <a:lnTo>
                    <a:pt x="14" y="32"/>
                  </a:lnTo>
                  <a:lnTo>
                    <a:pt x="14" y="32"/>
                  </a:lnTo>
                  <a:lnTo>
                    <a:pt x="10" y="30"/>
                  </a:lnTo>
                  <a:lnTo>
                    <a:pt x="10" y="30"/>
                  </a:lnTo>
                  <a:lnTo>
                    <a:pt x="8" y="30"/>
                  </a:lnTo>
                  <a:lnTo>
                    <a:pt x="6" y="32"/>
                  </a:lnTo>
                  <a:lnTo>
                    <a:pt x="4" y="32"/>
                  </a:lnTo>
                  <a:lnTo>
                    <a:pt x="4" y="34"/>
                  </a:lnTo>
                  <a:lnTo>
                    <a:pt x="2" y="34"/>
                  </a:lnTo>
                  <a:lnTo>
                    <a:pt x="2" y="34"/>
                  </a:lnTo>
                  <a:lnTo>
                    <a:pt x="2" y="36"/>
                  </a:lnTo>
                  <a:lnTo>
                    <a:pt x="0" y="36"/>
                  </a:lnTo>
                  <a:lnTo>
                    <a:pt x="0" y="38"/>
                  </a:lnTo>
                  <a:lnTo>
                    <a:pt x="0" y="40"/>
                  </a:lnTo>
                  <a:lnTo>
                    <a:pt x="0" y="42"/>
                  </a:lnTo>
                  <a:lnTo>
                    <a:pt x="0" y="44"/>
                  </a:lnTo>
                  <a:lnTo>
                    <a:pt x="0" y="46"/>
                  </a:lnTo>
                  <a:lnTo>
                    <a:pt x="2" y="46"/>
                  </a:lnTo>
                  <a:lnTo>
                    <a:pt x="2" y="48"/>
                  </a:lnTo>
                  <a:lnTo>
                    <a:pt x="2" y="50"/>
                  </a:lnTo>
                  <a:lnTo>
                    <a:pt x="2" y="50"/>
                  </a:lnTo>
                  <a:lnTo>
                    <a:pt x="4" y="52"/>
                  </a:lnTo>
                  <a:lnTo>
                    <a:pt x="6" y="54"/>
                  </a:lnTo>
                  <a:lnTo>
                    <a:pt x="8" y="54"/>
                  </a:lnTo>
                  <a:lnTo>
                    <a:pt x="8" y="56"/>
                  </a:lnTo>
                  <a:lnTo>
                    <a:pt x="10" y="56"/>
                  </a:lnTo>
                  <a:lnTo>
                    <a:pt x="12" y="58"/>
                  </a:lnTo>
                  <a:lnTo>
                    <a:pt x="12" y="58"/>
                  </a:lnTo>
                  <a:lnTo>
                    <a:pt x="14" y="58"/>
                  </a:lnTo>
                  <a:lnTo>
                    <a:pt x="14" y="58"/>
                  </a:lnTo>
                  <a:lnTo>
                    <a:pt x="16" y="60"/>
                  </a:lnTo>
                  <a:lnTo>
                    <a:pt x="16" y="60"/>
                  </a:lnTo>
                  <a:lnTo>
                    <a:pt x="16" y="62"/>
                  </a:lnTo>
                  <a:lnTo>
                    <a:pt x="16" y="64"/>
                  </a:lnTo>
                  <a:lnTo>
                    <a:pt x="16" y="66"/>
                  </a:lnTo>
                  <a:lnTo>
                    <a:pt x="18" y="68"/>
                  </a:lnTo>
                  <a:lnTo>
                    <a:pt x="16" y="70"/>
                  </a:lnTo>
                  <a:lnTo>
                    <a:pt x="16" y="74"/>
                  </a:lnTo>
                  <a:lnTo>
                    <a:pt x="16" y="76"/>
                  </a:lnTo>
                  <a:lnTo>
                    <a:pt x="16" y="76"/>
                  </a:lnTo>
                  <a:lnTo>
                    <a:pt x="16" y="78"/>
                  </a:lnTo>
                  <a:lnTo>
                    <a:pt x="14" y="82"/>
                  </a:lnTo>
                  <a:lnTo>
                    <a:pt x="16" y="82"/>
                  </a:lnTo>
                  <a:lnTo>
                    <a:pt x="18" y="82"/>
                  </a:lnTo>
                  <a:lnTo>
                    <a:pt x="22" y="82"/>
                  </a:lnTo>
                  <a:lnTo>
                    <a:pt x="24" y="82"/>
                  </a:lnTo>
                  <a:lnTo>
                    <a:pt x="26" y="82"/>
                  </a:lnTo>
                  <a:lnTo>
                    <a:pt x="28" y="82"/>
                  </a:lnTo>
                  <a:lnTo>
                    <a:pt x="30" y="82"/>
                  </a:lnTo>
                  <a:lnTo>
                    <a:pt x="30" y="82"/>
                  </a:lnTo>
                  <a:lnTo>
                    <a:pt x="30" y="82"/>
                  </a:lnTo>
                  <a:lnTo>
                    <a:pt x="32" y="80"/>
                  </a:lnTo>
                  <a:lnTo>
                    <a:pt x="32" y="80"/>
                  </a:lnTo>
                  <a:lnTo>
                    <a:pt x="32" y="80"/>
                  </a:lnTo>
                  <a:lnTo>
                    <a:pt x="32" y="78"/>
                  </a:lnTo>
                  <a:lnTo>
                    <a:pt x="32" y="76"/>
                  </a:lnTo>
                  <a:lnTo>
                    <a:pt x="32" y="74"/>
                  </a:lnTo>
                  <a:lnTo>
                    <a:pt x="32" y="72"/>
                  </a:lnTo>
                  <a:lnTo>
                    <a:pt x="30" y="70"/>
                  </a:lnTo>
                  <a:lnTo>
                    <a:pt x="30" y="70"/>
                  </a:lnTo>
                  <a:lnTo>
                    <a:pt x="32" y="70"/>
                  </a:lnTo>
                  <a:lnTo>
                    <a:pt x="32" y="68"/>
                  </a:lnTo>
                  <a:lnTo>
                    <a:pt x="32" y="68"/>
                  </a:lnTo>
                  <a:lnTo>
                    <a:pt x="32" y="68"/>
                  </a:lnTo>
                  <a:lnTo>
                    <a:pt x="34" y="66"/>
                  </a:lnTo>
                  <a:lnTo>
                    <a:pt x="34" y="66"/>
                  </a:lnTo>
                  <a:lnTo>
                    <a:pt x="36" y="66"/>
                  </a:lnTo>
                  <a:lnTo>
                    <a:pt x="38" y="66"/>
                  </a:lnTo>
                  <a:lnTo>
                    <a:pt x="40" y="66"/>
                  </a:lnTo>
                  <a:lnTo>
                    <a:pt x="44" y="66"/>
                  </a:lnTo>
                  <a:lnTo>
                    <a:pt x="48" y="66"/>
                  </a:lnTo>
                  <a:lnTo>
                    <a:pt x="50" y="66"/>
                  </a:lnTo>
                  <a:lnTo>
                    <a:pt x="52" y="66"/>
                  </a:lnTo>
                  <a:lnTo>
                    <a:pt x="54" y="66"/>
                  </a:lnTo>
                  <a:lnTo>
                    <a:pt x="56" y="64"/>
                  </a:lnTo>
                  <a:lnTo>
                    <a:pt x="56" y="64"/>
                  </a:lnTo>
                  <a:lnTo>
                    <a:pt x="58" y="62"/>
                  </a:lnTo>
                  <a:lnTo>
                    <a:pt x="58" y="60"/>
                  </a:lnTo>
                  <a:lnTo>
                    <a:pt x="58" y="58"/>
                  </a:lnTo>
                  <a:lnTo>
                    <a:pt x="58" y="56"/>
                  </a:lnTo>
                  <a:lnTo>
                    <a:pt x="58" y="54"/>
                  </a:lnTo>
                  <a:lnTo>
                    <a:pt x="58" y="50"/>
                  </a:lnTo>
                  <a:lnTo>
                    <a:pt x="58" y="48"/>
                  </a:lnTo>
                  <a:lnTo>
                    <a:pt x="58" y="42"/>
                  </a:lnTo>
                  <a:lnTo>
                    <a:pt x="58" y="36"/>
                  </a:lnTo>
                  <a:lnTo>
                    <a:pt x="56" y="30"/>
                  </a:lnTo>
                  <a:lnTo>
                    <a:pt x="56" y="28"/>
                  </a:lnTo>
                  <a:lnTo>
                    <a:pt x="56" y="24"/>
                  </a:lnTo>
                  <a:lnTo>
                    <a:pt x="56" y="22"/>
                  </a:lnTo>
                  <a:lnTo>
                    <a:pt x="58" y="20"/>
                  </a:lnTo>
                  <a:lnTo>
                    <a:pt x="58" y="18"/>
                  </a:lnTo>
                  <a:lnTo>
                    <a:pt x="58" y="18"/>
                  </a:lnTo>
                  <a:lnTo>
                    <a:pt x="60" y="16"/>
                  </a:lnTo>
                  <a:lnTo>
                    <a:pt x="60" y="12"/>
                  </a:lnTo>
                  <a:lnTo>
                    <a:pt x="60" y="10"/>
                  </a:lnTo>
                  <a:lnTo>
                    <a:pt x="58" y="8"/>
                  </a:lnTo>
                  <a:lnTo>
                    <a:pt x="58" y="6"/>
                  </a:lnTo>
                  <a:lnTo>
                    <a:pt x="58" y="4"/>
                  </a:lnTo>
                  <a:lnTo>
                    <a:pt x="56" y="4"/>
                  </a:lnTo>
                  <a:lnTo>
                    <a:pt x="56" y="2"/>
                  </a:lnTo>
                  <a:lnTo>
                    <a:pt x="56" y="2"/>
                  </a:lnTo>
                  <a:lnTo>
                    <a:pt x="54" y="2"/>
                  </a:lnTo>
                  <a:lnTo>
                    <a:pt x="52" y="0"/>
                  </a:lnTo>
                  <a:lnTo>
                    <a:pt x="50" y="0"/>
                  </a:lnTo>
                  <a:lnTo>
                    <a:pt x="46" y="0"/>
                  </a:lnTo>
                  <a:lnTo>
                    <a:pt x="44" y="0"/>
                  </a:lnTo>
                  <a:lnTo>
                    <a:pt x="42" y="0"/>
                  </a:lnTo>
                  <a:lnTo>
                    <a:pt x="40" y="2"/>
                  </a:lnTo>
                  <a:lnTo>
                    <a:pt x="38" y="2"/>
                  </a:lnTo>
                  <a:lnTo>
                    <a:pt x="38" y="2"/>
                  </a:lnTo>
                  <a:lnTo>
                    <a:pt x="36" y="4"/>
                  </a:lnTo>
                  <a:lnTo>
                    <a:pt x="36" y="4"/>
                  </a:lnTo>
                  <a:lnTo>
                    <a:pt x="36" y="6"/>
                  </a:lnTo>
                  <a:lnTo>
                    <a:pt x="34" y="8"/>
                  </a:lnTo>
                  <a:lnTo>
                    <a:pt x="34" y="10"/>
                  </a:lnTo>
                  <a:lnTo>
                    <a:pt x="32" y="10"/>
                  </a:lnTo>
                  <a:lnTo>
                    <a:pt x="32" y="10"/>
                  </a:lnTo>
                  <a:lnTo>
                    <a:pt x="30" y="12"/>
                  </a:lnTo>
                  <a:lnTo>
                    <a:pt x="26" y="14"/>
                  </a:lnTo>
                  <a:lnTo>
                    <a:pt x="22" y="16"/>
                  </a:lnTo>
                  <a:lnTo>
                    <a:pt x="20" y="1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7" name="Freeform 518"/>
            <p:cNvSpPr>
              <a:spLocks/>
            </p:cNvSpPr>
            <p:nvPr/>
          </p:nvSpPr>
          <p:spPr bwMode="auto">
            <a:xfrm>
              <a:off x="1986337" y="4154302"/>
              <a:ext cx="86604" cy="107389"/>
            </a:xfrm>
            <a:custGeom>
              <a:avLst/>
              <a:gdLst>
                <a:gd name="T0" fmla="*/ 0 w 50"/>
                <a:gd name="T1" fmla="*/ 48 h 62"/>
                <a:gd name="T2" fmla="*/ 2 w 50"/>
                <a:gd name="T3" fmla="*/ 40 h 62"/>
                <a:gd name="T4" fmla="*/ 4 w 50"/>
                <a:gd name="T5" fmla="*/ 34 h 62"/>
                <a:gd name="T6" fmla="*/ 6 w 50"/>
                <a:gd name="T7" fmla="*/ 32 h 62"/>
                <a:gd name="T8" fmla="*/ 6 w 50"/>
                <a:gd name="T9" fmla="*/ 30 h 62"/>
                <a:gd name="T10" fmla="*/ 8 w 50"/>
                <a:gd name="T11" fmla="*/ 30 h 62"/>
                <a:gd name="T12" fmla="*/ 12 w 50"/>
                <a:gd name="T13" fmla="*/ 28 h 62"/>
                <a:gd name="T14" fmla="*/ 16 w 50"/>
                <a:gd name="T15" fmla="*/ 28 h 62"/>
                <a:gd name="T16" fmla="*/ 18 w 50"/>
                <a:gd name="T17" fmla="*/ 28 h 62"/>
                <a:gd name="T18" fmla="*/ 20 w 50"/>
                <a:gd name="T19" fmla="*/ 26 h 62"/>
                <a:gd name="T20" fmla="*/ 20 w 50"/>
                <a:gd name="T21" fmla="*/ 24 h 62"/>
                <a:gd name="T22" fmla="*/ 20 w 50"/>
                <a:gd name="T23" fmla="*/ 20 h 62"/>
                <a:gd name="T24" fmla="*/ 20 w 50"/>
                <a:gd name="T25" fmla="*/ 16 h 62"/>
                <a:gd name="T26" fmla="*/ 20 w 50"/>
                <a:gd name="T27" fmla="*/ 12 h 62"/>
                <a:gd name="T28" fmla="*/ 20 w 50"/>
                <a:gd name="T29" fmla="*/ 10 h 62"/>
                <a:gd name="T30" fmla="*/ 22 w 50"/>
                <a:gd name="T31" fmla="*/ 8 h 62"/>
                <a:gd name="T32" fmla="*/ 24 w 50"/>
                <a:gd name="T33" fmla="*/ 6 h 62"/>
                <a:gd name="T34" fmla="*/ 30 w 50"/>
                <a:gd name="T35" fmla="*/ 4 h 62"/>
                <a:gd name="T36" fmla="*/ 38 w 50"/>
                <a:gd name="T37" fmla="*/ 2 h 62"/>
                <a:gd name="T38" fmla="*/ 44 w 50"/>
                <a:gd name="T39" fmla="*/ 0 h 62"/>
                <a:gd name="T40" fmla="*/ 42 w 50"/>
                <a:gd name="T41" fmla="*/ 14 h 62"/>
                <a:gd name="T42" fmla="*/ 42 w 50"/>
                <a:gd name="T43" fmla="*/ 22 h 62"/>
                <a:gd name="T44" fmla="*/ 40 w 50"/>
                <a:gd name="T45" fmla="*/ 28 h 62"/>
                <a:gd name="T46" fmla="*/ 42 w 50"/>
                <a:gd name="T47" fmla="*/ 32 h 62"/>
                <a:gd name="T48" fmla="*/ 42 w 50"/>
                <a:gd name="T49" fmla="*/ 32 h 62"/>
                <a:gd name="T50" fmla="*/ 44 w 50"/>
                <a:gd name="T51" fmla="*/ 34 h 62"/>
                <a:gd name="T52" fmla="*/ 46 w 50"/>
                <a:gd name="T53" fmla="*/ 34 h 62"/>
                <a:gd name="T54" fmla="*/ 50 w 50"/>
                <a:gd name="T55" fmla="*/ 34 h 62"/>
                <a:gd name="T56" fmla="*/ 50 w 50"/>
                <a:gd name="T57" fmla="*/ 40 h 62"/>
                <a:gd name="T58" fmla="*/ 48 w 50"/>
                <a:gd name="T59" fmla="*/ 44 h 62"/>
                <a:gd name="T60" fmla="*/ 48 w 50"/>
                <a:gd name="T61" fmla="*/ 46 h 62"/>
                <a:gd name="T62" fmla="*/ 46 w 50"/>
                <a:gd name="T63" fmla="*/ 48 h 62"/>
                <a:gd name="T64" fmla="*/ 46 w 50"/>
                <a:gd name="T65" fmla="*/ 48 h 62"/>
                <a:gd name="T66" fmla="*/ 42 w 50"/>
                <a:gd name="T67" fmla="*/ 48 h 62"/>
                <a:gd name="T68" fmla="*/ 40 w 50"/>
                <a:gd name="T69" fmla="*/ 46 h 62"/>
                <a:gd name="T70" fmla="*/ 38 w 50"/>
                <a:gd name="T71" fmla="*/ 46 h 62"/>
                <a:gd name="T72" fmla="*/ 36 w 50"/>
                <a:gd name="T73" fmla="*/ 48 h 62"/>
                <a:gd name="T74" fmla="*/ 36 w 50"/>
                <a:gd name="T75" fmla="*/ 50 h 62"/>
                <a:gd name="T76" fmla="*/ 36 w 50"/>
                <a:gd name="T77" fmla="*/ 52 h 62"/>
                <a:gd name="T78" fmla="*/ 34 w 50"/>
                <a:gd name="T79" fmla="*/ 60 h 62"/>
                <a:gd name="T80" fmla="*/ 32 w 50"/>
                <a:gd name="T81" fmla="*/ 60 h 62"/>
                <a:gd name="T82" fmla="*/ 22 w 50"/>
                <a:gd name="T83" fmla="*/ 60 h 62"/>
                <a:gd name="T84" fmla="*/ 16 w 50"/>
                <a:gd name="T85" fmla="*/ 60 h 62"/>
                <a:gd name="T86" fmla="*/ 14 w 50"/>
                <a:gd name="T87" fmla="*/ 60 h 62"/>
                <a:gd name="T88" fmla="*/ 12 w 50"/>
                <a:gd name="T89" fmla="*/ 58 h 62"/>
                <a:gd name="T90" fmla="*/ 8 w 50"/>
                <a:gd name="T91" fmla="*/ 56 h 62"/>
                <a:gd name="T92" fmla="*/ 2 w 50"/>
                <a:gd name="T9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0" y="48"/>
                  </a:moveTo>
                  <a:lnTo>
                    <a:pt x="0" y="48"/>
                  </a:lnTo>
                  <a:lnTo>
                    <a:pt x="0" y="46"/>
                  </a:lnTo>
                  <a:lnTo>
                    <a:pt x="2" y="40"/>
                  </a:lnTo>
                  <a:lnTo>
                    <a:pt x="2" y="38"/>
                  </a:lnTo>
                  <a:lnTo>
                    <a:pt x="4" y="34"/>
                  </a:lnTo>
                  <a:lnTo>
                    <a:pt x="4" y="32"/>
                  </a:lnTo>
                  <a:lnTo>
                    <a:pt x="6" y="32"/>
                  </a:lnTo>
                  <a:lnTo>
                    <a:pt x="6" y="30"/>
                  </a:lnTo>
                  <a:lnTo>
                    <a:pt x="6" y="30"/>
                  </a:lnTo>
                  <a:lnTo>
                    <a:pt x="8" y="30"/>
                  </a:lnTo>
                  <a:lnTo>
                    <a:pt x="8" y="30"/>
                  </a:lnTo>
                  <a:lnTo>
                    <a:pt x="10" y="30"/>
                  </a:lnTo>
                  <a:lnTo>
                    <a:pt x="12" y="28"/>
                  </a:lnTo>
                  <a:lnTo>
                    <a:pt x="14" y="28"/>
                  </a:lnTo>
                  <a:lnTo>
                    <a:pt x="16" y="28"/>
                  </a:lnTo>
                  <a:lnTo>
                    <a:pt x="18" y="28"/>
                  </a:lnTo>
                  <a:lnTo>
                    <a:pt x="18" y="28"/>
                  </a:lnTo>
                  <a:lnTo>
                    <a:pt x="18" y="26"/>
                  </a:lnTo>
                  <a:lnTo>
                    <a:pt x="20" y="26"/>
                  </a:lnTo>
                  <a:lnTo>
                    <a:pt x="20" y="26"/>
                  </a:lnTo>
                  <a:lnTo>
                    <a:pt x="20" y="24"/>
                  </a:lnTo>
                  <a:lnTo>
                    <a:pt x="20" y="24"/>
                  </a:lnTo>
                  <a:lnTo>
                    <a:pt x="20" y="20"/>
                  </a:lnTo>
                  <a:lnTo>
                    <a:pt x="20" y="18"/>
                  </a:lnTo>
                  <a:lnTo>
                    <a:pt x="20" y="16"/>
                  </a:lnTo>
                  <a:lnTo>
                    <a:pt x="20" y="14"/>
                  </a:lnTo>
                  <a:lnTo>
                    <a:pt x="20" y="12"/>
                  </a:lnTo>
                  <a:lnTo>
                    <a:pt x="20" y="10"/>
                  </a:lnTo>
                  <a:lnTo>
                    <a:pt x="20" y="10"/>
                  </a:lnTo>
                  <a:lnTo>
                    <a:pt x="22" y="10"/>
                  </a:lnTo>
                  <a:lnTo>
                    <a:pt x="22" y="8"/>
                  </a:lnTo>
                  <a:lnTo>
                    <a:pt x="24" y="8"/>
                  </a:lnTo>
                  <a:lnTo>
                    <a:pt x="24" y="6"/>
                  </a:lnTo>
                  <a:lnTo>
                    <a:pt x="26" y="6"/>
                  </a:lnTo>
                  <a:lnTo>
                    <a:pt x="30" y="4"/>
                  </a:lnTo>
                  <a:lnTo>
                    <a:pt x="34" y="2"/>
                  </a:lnTo>
                  <a:lnTo>
                    <a:pt x="38" y="2"/>
                  </a:lnTo>
                  <a:lnTo>
                    <a:pt x="40" y="0"/>
                  </a:lnTo>
                  <a:lnTo>
                    <a:pt x="44" y="0"/>
                  </a:lnTo>
                  <a:lnTo>
                    <a:pt x="42" y="8"/>
                  </a:lnTo>
                  <a:lnTo>
                    <a:pt x="42" y="14"/>
                  </a:lnTo>
                  <a:lnTo>
                    <a:pt x="42" y="18"/>
                  </a:lnTo>
                  <a:lnTo>
                    <a:pt x="42" y="22"/>
                  </a:lnTo>
                  <a:lnTo>
                    <a:pt x="42" y="26"/>
                  </a:lnTo>
                  <a:lnTo>
                    <a:pt x="40" y="28"/>
                  </a:lnTo>
                  <a:lnTo>
                    <a:pt x="40" y="30"/>
                  </a:lnTo>
                  <a:lnTo>
                    <a:pt x="42" y="32"/>
                  </a:lnTo>
                  <a:lnTo>
                    <a:pt x="42" y="32"/>
                  </a:lnTo>
                  <a:lnTo>
                    <a:pt x="42" y="32"/>
                  </a:lnTo>
                  <a:lnTo>
                    <a:pt x="42" y="32"/>
                  </a:lnTo>
                  <a:lnTo>
                    <a:pt x="44" y="34"/>
                  </a:lnTo>
                  <a:lnTo>
                    <a:pt x="44" y="34"/>
                  </a:lnTo>
                  <a:lnTo>
                    <a:pt x="46" y="34"/>
                  </a:lnTo>
                  <a:lnTo>
                    <a:pt x="48" y="34"/>
                  </a:lnTo>
                  <a:lnTo>
                    <a:pt x="50" y="34"/>
                  </a:lnTo>
                  <a:lnTo>
                    <a:pt x="50" y="36"/>
                  </a:lnTo>
                  <a:lnTo>
                    <a:pt x="50" y="40"/>
                  </a:lnTo>
                  <a:lnTo>
                    <a:pt x="50" y="42"/>
                  </a:lnTo>
                  <a:lnTo>
                    <a:pt x="48" y="44"/>
                  </a:lnTo>
                  <a:lnTo>
                    <a:pt x="48" y="46"/>
                  </a:lnTo>
                  <a:lnTo>
                    <a:pt x="48" y="46"/>
                  </a:lnTo>
                  <a:lnTo>
                    <a:pt x="48" y="48"/>
                  </a:lnTo>
                  <a:lnTo>
                    <a:pt x="46" y="48"/>
                  </a:lnTo>
                  <a:lnTo>
                    <a:pt x="46" y="48"/>
                  </a:lnTo>
                  <a:lnTo>
                    <a:pt x="46" y="48"/>
                  </a:lnTo>
                  <a:lnTo>
                    <a:pt x="44" y="48"/>
                  </a:lnTo>
                  <a:lnTo>
                    <a:pt x="42" y="48"/>
                  </a:lnTo>
                  <a:lnTo>
                    <a:pt x="40" y="46"/>
                  </a:lnTo>
                  <a:lnTo>
                    <a:pt x="40" y="46"/>
                  </a:lnTo>
                  <a:lnTo>
                    <a:pt x="38" y="46"/>
                  </a:lnTo>
                  <a:lnTo>
                    <a:pt x="38" y="46"/>
                  </a:lnTo>
                  <a:lnTo>
                    <a:pt x="38" y="48"/>
                  </a:lnTo>
                  <a:lnTo>
                    <a:pt x="36" y="48"/>
                  </a:lnTo>
                  <a:lnTo>
                    <a:pt x="36" y="48"/>
                  </a:lnTo>
                  <a:lnTo>
                    <a:pt x="36" y="50"/>
                  </a:lnTo>
                  <a:lnTo>
                    <a:pt x="36" y="50"/>
                  </a:lnTo>
                  <a:lnTo>
                    <a:pt x="36" y="52"/>
                  </a:lnTo>
                  <a:lnTo>
                    <a:pt x="34" y="54"/>
                  </a:lnTo>
                  <a:lnTo>
                    <a:pt x="34" y="60"/>
                  </a:lnTo>
                  <a:lnTo>
                    <a:pt x="34" y="60"/>
                  </a:lnTo>
                  <a:lnTo>
                    <a:pt x="32" y="60"/>
                  </a:lnTo>
                  <a:lnTo>
                    <a:pt x="26" y="62"/>
                  </a:lnTo>
                  <a:lnTo>
                    <a:pt x="22" y="60"/>
                  </a:lnTo>
                  <a:lnTo>
                    <a:pt x="20" y="60"/>
                  </a:lnTo>
                  <a:lnTo>
                    <a:pt x="16" y="60"/>
                  </a:lnTo>
                  <a:lnTo>
                    <a:pt x="16" y="60"/>
                  </a:lnTo>
                  <a:lnTo>
                    <a:pt x="14" y="60"/>
                  </a:lnTo>
                  <a:lnTo>
                    <a:pt x="14" y="60"/>
                  </a:lnTo>
                  <a:lnTo>
                    <a:pt x="12" y="58"/>
                  </a:lnTo>
                  <a:lnTo>
                    <a:pt x="10" y="58"/>
                  </a:lnTo>
                  <a:lnTo>
                    <a:pt x="8" y="56"/>
                  </a:lnTo>
                  <a:lnTo>
                    <a:pt x="6" y="54"/>
                  </a:lnTo>
                  <a:lnTo>
                    <a:pt x="2" y="50"/>
                  </a:lnTo>
                  <a:lnTo>
                    <a:pt x="0" y="4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8" name="Freeform 519"/>
            <p:cNvSpPr>
              <a:spLocks/>
            </p:cNvSpPr>
            <p:nvPr/>
          </p:nvSpPr>
          <p:spPr bwMode="auto">
            <a:xfrm>
              <a:off x="1986337" y="4154302"/>
              <a:ext cx="86604" cy="107389"/>
            </a:xfrm>
            <a:custGeom>
              <a:avLst/>
              <a:gdLst>
                <a:gd name="T0" fmla="*/ 0 w 50"/>
                <a:gd name="T1" fmla="*/ 48 h 62"/>
                <a:gd name="T2" fmla="*/ 2 w 50"/>
                <a:gd name="T3" fmla="*/ 40 h 62"/>
                <a:gd name="T4" fmla="*/ 4 w 50"/>
                <a:gd name="T5" fmla="*/ 34 h 62"/>
                <a:gd name="T6" fmla="*/ 6 w 50"/>
                <a:gd name="T7" fmla="*/ 32 h 62"/>
                <a:gd name="T8" fmla="*/ 6 w 50"/>
                <a:gd name="T9" fmla="*/ 30 h 62"/>
                <a:gd name="T10" fmla="*/ 8 w 50"/>
                <a:gd name="T11" fmla="*/ 30 h 62"/>
                <a:gd name="T12" fmla="*/ 12 w 50"/>
                <a:gd name="T13" fmla="*/ 28 h 62"/>
                <a:gd name="T14" fmla="*/ 16 w 50"/>
                <a:gd name="T15" fmla="*/ 28 h 62"/>
                <a:gd name="T16" fmla="*/ 18 w 50"/>
                <a:gd name="T17" fmla="*/ 28 h 62"/>
                <a:gd name="T18" fmla="*/ 20 w 50"/>
                <a:gd name="T19" fmla="*/ 26 h 62"/>
                <a:gd name="T20" fmla="*/ 20 w 50"/>
                <a:gd name="T21" fmla="*/ 24 h 62"/>
                <a:gd name="T22" fmla="*/ 20 w 50"/>
                <a:gd name="T23" fmla="*/ 20 h 62"/>
                <a:gd name="T24" fmla="*/ 20 w 50"/>
                <a:gd name="T25" fmla="*/ 16 h 62"/>
                <a:gd name="T26" fmla="*/ 20 w 50"/>
                <a:gd name="T27" fmla="*/ 12 h 62"/>
                <a:gd name="T28" fmla="*/ 20 w 50"/>
                <a:gd name="T29" fmla="*/ 10 h 62"/>
                <a:gd name="T30" fmla="*/ 22 w 50"/>
                <a:gd name="T31" fmla="*/ 8 h 62"/>
                <a:gd name="T32" fmla="*/ 24 w 50"/>
                <a:gd name="T33" fmla="*/ 6 h 62"/>
                <a:gd name="T34" fmla="*/ 30 w 50"/>
                <a:gd name="T35" fmla="*/ 4 h 62"/>
                <a:gd name="T36" fmla="*/ 38 w 50"/>
                <a:gd name="T37" fmla="*/ 2 h 62"/>
                <a:gd name="T38" fmla="*/ 44 w 50"/>
                <a:gd name="T39" fmla="*/ 0 h 62"/>
                <a:gd name="T40" fmla="*/ 42 w 50"/>
                <a:gd name="T41" fmla="*/ 14 h 62"/>
                <a:gd name="T42" fmla="*/ 42 w 50"/>
                <a:gd name="T43" fmla="*/ 22 h 62"/>
                <a:gd name="T44" fmla="*/ 40 w 50"/>
                <a:gd name="T45" fmla="*/ 28 h 62"/>
                <a:gd name="T46" fmla="*/ 42 w 50"/>
                <a:gd name="T47" fmla="*/ 32 h 62"/>
                <a:gd name="T48" fmla="*/ 42 w 50"/>
                <a:gd name="T49" fmla="*/ 32 h 62"/>
                <a:gd name="T50" fmla="*/ 44 w 50"/>
                <a:gd name="T51" fmla="*/ 34 h 62"/>
                <a:gd name="T52" fmla="*/ 46 w 50"/>
                <a:gd name="T53" fmla="*/ 34 h 62"/>
                <a:gd name="T54" fmla="*/ 50 w 50"/>
                <a:gd name="T55" fmla="*/ 34 h 62"/>
                <a:gd name="T56" fmla="*/ 50 w 50"/>
                <a:gd name="T57" fmla="*/ 40 h 62"/>
                <a:gd name="T58" fmla="*/ 48 w 50"/>
                <a:gd name="T59" fmla="*/ 44 h 62"/>
                <a:gd name="T60" fmla="*/ 48 w 50"/>
                <a:gd name="T61" fmla="*/ 46 h 62"/>
                <a:gd name="T62" fmla="*/ 46 w 50"/>
                <a:gd name="T63" fmla="*/ 48 h 62"/>
                <a:gd name="T64" fmla="*/ 46 w 50"/>
                <a:gd name="T65" fmla="*/ 48 h 62"/>
                <a:gd name="T66" fmla="*/ 42 w 50"/>
                <a:gd name="T67" fmla="*/ 48 h 62"/>
                <a:gd name="T68" fmla="*/ 40 w 50"/>
                <a:gd name="T69" fmla="*/ 46 h 62"/>
                <a:gd name="T70" fmla="*/ 38 w 50"/>
                <a:gd name="T71" fmla="*/ 46 h 62"/>
                <a:gd name="T72" fmla="*/ 36 w 50"/>
                <a:gd name="T73" fmla="*/ 48 h 62"/>
                <a:gd name="T74" fmla="*/ 36 w 50"/>
                <a:gd name="T75" fmla="*/ 50 h 62"/>
                <a:gd name="T76" fmla="*/ 36 w 50"/>
                <a:gd name="T77" fmla="*/ 52 h 62"/>
                <a:gd name="T78" fmla="*/ 34 w 50"/>
                <a:gd name="T79" fmla="*/ 60 h 62"/>
                <a:gd name="T80" fmla="*/ 32 w 50"/>
                <a:gd name="T81" fmla="*/ 60 h 62"/>
                <a:gd name="T82" fmla="*/ 22 w 50"/>
                <a:gd name="T83" fmla="*/ 60 h 62"/>
                <a:gd name="T84" fmla="*/ 16 w 50"/>
                <a:gd name="T85" fmla="*/ 60 h 62"/>
                <a:gd name="T86" fmla="*/ 14 w 50"/>
                <a:gd name="T87" fmla="*/ 60 h 62"/>
                <a:gd name="T88" fmla="*/ 12 w 50"/>
                <a:gd name="T89" fmla="*/ 58 h 62"/>
                <a:gd name="T90" fmla="*/ 8 w 50"/>
                <a:gd name="T91" fmla="*/ 56 h 62"/>
                <a:gd name="T92" fmla="*/ 2 w 50"/>
                <a:gd name="T9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0" y="48"/>
                  </a:moveTo>
                  <a:lnTo>
                    <a:pt x="0" y="48"/>
                  </a:lnTo>
                  <a:lnTo>
                    <a:pt x="0" y="46"/>
                  </a:lnTo>
                  <a:lnTo>
                    <a:pt x="2" y="40"/>
                  </a:lnTo>
                  <a:lnTo>
                    <a:pt x="2" y="38"/>
                  </a:lnTo>
                  <a:lnTo>
                    <a:pt x="4" y="34"/>
                  </a:lnTo>
                  <a:lnTo>
                    <a:pt x="4" y="32"/>
                  </a:lnTo>
                  <a:lnTo>
                    <a:pt x="6" y="32"/>
                  </a:lnTo>
                  <a:lnTo>
                    <a:pt x="6" y="30"/>
                  </a:lnTo>
                  <a:lnTo>
                    <a:pt x="6" y="30"/>
                  </a:lnTo>
                  <a:lnTo>
                    <a:pt x="8" y="30"/>
                  </a:lnTo>
                  <a:lnTo>
                    <a:pt x="8" y="30"/>
                  </a:lnTo>
                  <a:lnTo>
                    <a:pt x="10" y="30"/>
                  </a:lnTo>
                  <a:lnTo>
                    <a:pt x="12" y="28"/>
                  </a:lnTo>
                  <a:lnTo>
                    <a:pt x="14" y="28"/>
                  </a:lnTo>
                  <a:lnTo>
                    <a:pt x="16" y="28"/>
                  </a:lnTo>
                  <a:lnTo>
                    <a:pt x="18" y="28"/>
                  </a:lnTo>
                  <a:lnTo>
                    <a:pt x="18" y="28"/>
                  </a:lnTo>
                  <a:lnTo>
                    <a:pt x="18" y="26"/>
                  </a:lnTo>
                  <a:lnTo>
                    <a:pt x="20" y="26"/>
                  </a:lnTo>
                  <a:lnTo>
                    <a:pt x="20" y="26"/>
                  </a:lnTo>
                  <a:lnTo>
                    <a:pt x="20" y="24"/>
                  </a:lnTo>
                  <a:lnTo>
                    <a:pt x="20" y="24"/>
                  </a:lnTo>
                  <a:lnTo>
                    <a:pt x="20" y="20"/>
                  </a:lnTo>
                  <a:lnTo>
                    <a:pt x="20" y="18"/>
                  </a:lnTo>
                  <a:lnTo>
                    <a:pt x="20" y="16"/>
                  </a:lnTo>
                  <a:lnTo>
                    <a:pt x="20" y="14"/>
                  </a:lnTo>
                  <a:lnTo>
                    <a:pt x="20" y="12"/>
                  </a:lnTo>
                  <a:lnTo>
                    <a:pt x="20" y="10"/>
                  </a:lnTo>
                  <a:lnTo>
                    <a:pt x="20" y="10"/>
                  </a:lnTo>
                  <a:lnTo>
                    <a:pt x="22" y="10"/>
                  </a:lnTo>
                  <a:lnTo>
                    <a:pt x="22" y="8"/>
                  </a:lnTo>
                  <a:lnTo>
                    <a:pt x="24" y="8"/>
                  </a:lnTo>
                  <a:lnTo>
                    <a:pt x="24" y="6"/>
                  </a:lnTo>
                  <a:lnTo>
                    <a:pt x="26" y="6"/>
                  </a:lnTo>
                  <a:lnTo>
                    <a:pt x="30" y="4"/>
                  </a:lnTo>
                  <a:lnTo>
                    <a:pt x="34" y="2"/>
                  </a:lnTo>
                  <a:lnTo>
                    <a:pt x="38" y="2"/>
                  </a:lnTo>
                  <a:lnTo>
                    <a:pt x="40" y="0"/>
                  </a:lnTo>
                  <a:lnTo>
                    <a:pt x="44" y="0"/>
                  </a:lnTo>
                  <a:lnTo>
                    <a:pt x="42" y="8"/>
                  </a:lnTo>
                  <a:lnTo>
                    <a:pt x="42" y="14"/>
                  </a:lnTo>
                  <a:lnTo>
                    <a:pt x="42" y="18"/>
                  </a:lnTo>
                  <a:lnTo>
                    <a:pt x="42" y="22"/>
                  </a:lnTo>
                  <a:lnTo>
                    <a:pt x="42" y="26"/>
                  </a:lnTo>
                  <a:lnTo>
                    <a:pt x="40" y="28"/>
                  </a:lnTo>
                  <a:lnTo>
                    <a:pt x="40" y="30"/>
                  </a:lnTo>
                  <a:lnTo>
                    <a:pt x="42" y="32"/>
                  </a:lnTo>
                  <a:lnTo>
                    <a:pt x="42" y="32"/>
                  </a:lnTo>
                  <a:lnTo>
                    <a:pt x="42" y="32"/>
                  </a:lnTo>
                  <a:lnTo>
                    <a:pt x="42" y="32"/>
                  </a:lnTo>
                  <a:lnTo>
                    <a:pt x="44" y="34"/>
                  </a:lnTo>
                  <a:lnTo>
                    <a:pt x="44" y="34"/>
                  </a:lnTo>
                  <a:lnTo>
                    <a:pt x="46" y="34"/>
                  </a:lnTo>
                  <a:lnTo>
                    <a:pt x="48" y="34"/>
                  </a:lnTo>
                  <a:lnTo>
                    <a:pt x="50" y="34"/>
                  </a:lnTo>
                  <a:lnTo>
                    <a:pt x="50" y="36"/>
                  </a:lnTo>
                  <a:lnTo>
                    <a:pt x="50" y="40"/>
                  </a:lnTo>
                  <a:lnTo>
                    <a:pt x="50" y="42"/>
                  </a:lnTo>
                  <a:lnTo>
                    <a:pt x="48" y="44"/>
                  </a:lnTo>
                  <a:lnTo>
                    <a:pt x="48" y="46"/>
                  </a:lnTo>
                  <a:lnTo>
                    <a:pt x="48" y="46"/>
                  </a:lnTo>
                  <a:lnTo>
                    <a:pt x="48" y="48"/>
                  </a:lnTo>
                  <a:lnTo>
                    <a:pt x="46" y="48"/>
                  </a:lnTo>
                  <a:lnTo>
                    <a:pt x="46" y="48"/>
                  </a:lnTo>
                  <a:lnTo>
                    <a:pt x="46" y="48"/>
                  </a:lnTo>
                  <a:lnTo>
                    <a:pt x="44" y="48"/>
                  </a:lnTo>
                  <a:lnTo>
                    <a:pt x="42" y="48"/>
                  </a:lnTo>
                  <a:lnTo>
                    <a:pt x="40" y="46"/>
                  </a:lnTo>
                  <a:lnTo>
                    <a:pt x="40" y="46"/>
                  </a:lnTo>
                  <a:lnTo>
                    <a:pt x="38" y="46"/>
                  </a:lnTo>
                  <a:lnTo>
                    <a:pt x="38" y="46"/>
                  </a:lnTo>
                  <a:lnTo>
                    <a:pt x="38" y="48"/>
                  </a:lnTo>
                  <a:lnTo>
                    <a:pt x="36" y="48"/>
                  </a:lnTo>
                  <a:lnTo>
                    <a:pt x="36" y="48"/>
                  </a:lnTo>
                  <a:lnTo>
                    <a:pt x="36" y="50"/>
                  </a:lnTo>
                  <a:lnTo>
                    <a:pt x="36" y="50"/>
                  </a:lnTo>
                  <a:lnTo>
                    <a:pt x="36" y="52"/>
                  </a:lnTo>
                  <a:lnTo>
                    <a:pt x="34" y="54"/>
                  </a:lnTo>
                  <a:lnTo>
                    <a:pt x="34" y="60"/>
                  </a:lnTo>
                  <a:lnTo>
                    <a:pt x="34" y="60"/>
                  </a:lnTo>
                  <a:lnTo>
                    <a:pt x="32" y="60"/>
                  </a:lnTo>
                  <a:lnTo>
                    <a:pt x="26" y="62"/>
                  </a:lnTo>
                  <a:lnTo>
                    <a:pt x="22" y="60"/>
                  </a:lnTo>
                  <a:lnTo>
                    <a:pt x="20" y="60"/>
                  </a:lnTo>
                  <a:lnTo>
                    <a:pt x="16" y="60"/>
                  </a:lnTo>
                  <a:lnTo>
                    <a:pt x="16" y="60"/>
                  </a:lnTo>
                  <a:lnTo>
                    <a:pt x="14" y="60"/>
                  </a:lnTo>
                  <a:lnTo>
                    <a:pt x="14" y="60"/>
                  </a:lnTo>
                  <a:lnTo>
                    <a:pt x="12" y="58"/>
                  </a:lnTo>
                  <a:lnTo>
                    <a:pt x="10" y="58"/>
                  </a:lnTo>
                  <a:lnTo>
                    <a:pt x="8" y="56"/>
                  </a:lnTo>
                  <a:lnTo>
                    <a:pt x="6" y="54"/>
                  </a:lnTo>
                  <a:lnTo>
                    <a:pt x="2" y="50"/>
                  </a:lnTo>
                  <a:lnTo>
                    <a:pt x="0" y="4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39" name="Freeform 520"/>
            <p:cNvSpPr>
              <a:spLocks/>
            </p:cNvSpPr>
            <p:nvPr/>
          </p:nvSpPr>
          <p:spPr bwMode="auto">
            <a:xfrm>
              <a:off x="2059084" y="4130053"/>
              <a:ext cx="45034" cy="83140"/>
            </a:xfrm>
            <a:custGeom>
              <a:avLst/>
              <a:gdLst>
                <a:gd name="T0" fmla="*/ 2 w 26"/>
                <a:gd name="T1" fmla="*/ 12 h 48"/>
                <a:gd name="T2" fmla="*/ 2 w 26"/>
                <a:gd name="T3" fmla="*/ 12 h 48"/>
                <a:gd name="T4" fmla="*/ 6 w 26"/>
                <a:gd name="T5" fmla="*/ 12 h 48"/>
                <a:gd name="T6" fmla="*/ 8 w 26"/>
                <a:gd name="T7" fmla="*/ 10 h 48"/>
                <a:gd name="T8" fmla="*/ 10 w 26"/>
                <a:gd name="T9" fmla="*/ 10 h 48"/>
                <a:gd name="T10" fmla="*/ 12 w 26"/>
                <a:gd name="T11" fmla="*/ 8 h 48"/>
                <a:gd name="T12" fmla="*/ 14 w 26"/>
                <a:gd name="T13" fmla="*/ 8 h 48"/>
                <a:gd name="T14" fmla="*/ 20 w 26"/>
                <a:gd name="T15" fmla="*/ 4 h 48"/>
                <a:gd name="T16" fmla="*/ 26 w 26"/>
                <a:gd name="T17" fmla="*/ 0 h 48"/>
                <a:gd name="T18" fmla="*/ 26 w 26"/>
                <a:gd name="T19" fmla="*/ 8 h 48"/>
                <a:gd name="T20" fmla="*/ 24 w 26"/>
                <a:gd name="T21" fmla="*/ 14 h 48"/>
                <a:gd name="T22" fmla="*/ 24 w 26"/>
                <a:gd name="T23" fmla="*/ 16 h 48"/>
                <a:gd name="T24" fmla="*/ 24 w 26"/>
                <a:gd name="T25" fmla="*/ 20 h 48"/>
                <a:gd name="T26" fmla="*/ 24 w 26"/>
                <a:gd name="T27" fmla="*/ 22 h 48"/>
                <a:gd name="T28" fmla="*/ 24 w 26"/>
                <a:gd name="T29" fmla="*/ 24 h 48"/>
                <a:gd name="T30" fmla="*/ 26 w 26"/>
                <a:gd name="T31" fmla="*/ 32 h 48"/>
                <a:gd name="T32" fmla="*/ 26 w 26"/>
                <a:gd name="T33" fmla="*/ 40 h 48"/>
                <a:gd name="T34" fmla="*/ 22 w 26"/>
                <a:gd name="T35" fmla="*/ 44 h 48"/>
                <a:gd name="T36" fmla="*/ 20 w 26"/>
                <a:gd name="T37" fmla="*/ 46 h 48"/>
                <a:gd name="T38" fmla="*/ 18 w 26"/>
                <a:gd name="T39" fmla="*/ 46 h 48"/>
                <a:gd name="T40" fmla="*/ 16 w 26"/>
                <a:gd name="T41" fmla="*/ 46 h 48"/>
                <a:gd name="T42" fmla="*/ 16 w 26"/>
                <a:gd name="T43" fmla="*/ 48 h 48"/>
                <a:gd name="T44" fmla="*/ 14 w 26"/>
                <a:gd name="T45" fmla="*/ 48 h 48"/>
                <a:gd name="T46" fmla="*/ 12 w 26"/>
                <a:gd name="T47" fmla="*/ 48 h 48"/>
                <a:gd name="T48" fmla="*/ 8 w 26"/>
                <a:gd name="T49" fmla="*/ 48 h 48"/>
                <a:gd name="T50" fmla="*/ 8 w 26"/>
                <a:gd name="T51" fmla="*/ 48 h 48"/>
                <a:gd name="T52" fmla="*/ 4 w 26"/>
                <a:gd name="T53" fmla="*/ 48 h 48"/>
                <a:gd name="T54" fmla="*/ 4 w 26"/>
                <a:gd name="T55" fmla="*/ 48 h 48"/>
                <a:gd name="T56" fmla="*/ 2 w 26"/>
                <a:gd name="T57" fmla="*/ 46 h 48"/>
                <a:gd name="T58" fmla="*/ 2 w 26"/>
                <a:gd name="T59" fmla="*/ 46 h 48"/>
                <a:gd name="T60" fmla="*/ 0 w 26"/>
                <a:gd name="T61" fmla="*/ 46 h 48"/>
                <a:gd name="T62" fmla="*/ 0 w 26"/>
                <a:gd name="T63" fmla="*/ 46 h 48"/>
                <a:gd name="T64" fmla="*/ 0 w 26"/>
                <a:gd name="T65" fmla="*/ 44 h 48"/>
                <a:gd name="T66" fmla="*/ 0 w 26"/>
                <a:gd name="T67" fmla="*/ 44 h 48"/>
                <a:gd name="T68" fmla="*/ 0 w 26"/>
                <a:gd name="T69" fmla="*/ 42 h 48"/>
                <a:gd name="T70" fmla="*/ 0 w 26"/>
                <a:gd name="T71" fmla="*/ 40 h 48"/>
                <a:gd name="T72" fmla="*/ 0 w 26"/>
                <a:gd name="T73" fmla="*/ 36 h 48"/>
                <a:gd name="T74" fmla="*/ 0 w 26"/>
                <a:gd name="T75" fmla="*/ 32 h 48"/>
                <a:gd name="T76" fmla="*/ 0 w 26"/>
                <a:gd name="T77" fmla="*/ 26 h 48"/>
                <a:gd name="T78" fmla="*/ 2 w 26"/>
                <a:gd name="T79" fmla="*/ 20 h 48"/>
                <a:gd name="T80" fmla="*/ 2 w 26"/>
                <a:gd name="T8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8">
                  <a:moveTo>
                    <a:pt x="2" y="12"/>
                  </a:moveTo>
                  <a:lnTo>
                    <a:pt x="2" y="12"/>
                  </a:lnTo>
                  <a:lnTo>
                    <a:pt x="6" y="12"/>
                  </a:lnTo>
                  <a:lnTo>
                    <a:pt x="8" y="10"/>
                  </a:lnTo>
                  <a:lnTo>
                    <a:pt x="10" y="10"/>
                  </a:lnTo>
                  <a:lnTo>
                    <a:pt x="12" y="8"/>
                  </a:lnTo>
                  <a:lnTo>
                    <a:pt x="14" y="8"/>
                  </a:lnTo>
                  <a:lnTo>
                    <a:pt x="20" y="4"/>
                  </a:lnTo>
                  <a:lnTo>
                    <a:pt x="26" y="0"/>
                  </a:lnTo>
                  <a:lnTo>
                    <a:pt x="26" y="8"/>
                  </a:lnTo>
                  <a:lnTo>
                    <a:pt x="24" y="14"/>
                  </a:lnTo>
                  <a:lnTo>
                    <a:pt x="24" y="16"/>
                  </a:lnTo>
                  <a:lnTo>
                    <a:pt x="24" y="20"/>
                  </a:lnTo>
                  <a:lnTo>
                    <a:pt x="24" y="22"/>
                  </a:lnTo>
                  <a:lnTo>
                    <a:pt x="24" y="24"/>
                  </a:lnTo>
                  <a:lnTo>
                    <a:pt x="26" y="32"/>
                  </a:lnTo>
                  <a:lnTo>
                    <a:pt x="26" y="40"/>
                  </a:lnTo>
                  <a:lnTo>
                    <a:pt x="22" y="44"/>
                  </a:lnTo>
                  <a:lnTo>
                    <a:pt x="20" y="46"/>
                  </a:lnTo>
                  <a:lnTo>
                    <a:pt x="18" y="46"/>
                  </a:lnTo>
                  <a:lnTo>
                    <a:pt x="16" y="46"/>
                  </a:lnTo>
                  <a:lnTo>
                    <a:pt x="16" y="48"/>
                  </a:lnTo>
                  <a:lnTo>
                    <a:pt x="14" y="48"/>
                  </a:lnTo>
                  <a:lnTo>
                    <a:pt x="12" y="48"/>
                  </a:lnTo>
                  <a:lnTo>
                    <a:pt x="8" y="48"/>
                  </a:lnTo>
                  <a:lnTo>
                    <a:pt x="8" y="48"/>
                  </a:lnTo>
                  <a:lnTo>
                    <a:pt x="4" y="48"/>
                  </a:lnTo>
                  <a:lnTo>
                    <a:pt x="4" y="48"/>
                  </a:lnTo>
                  <a:lnTo>
                    <a:pt x="2" y="46"/>
                  </a:lnTo>
                  <a:lnTo>
                    <a:pt x="2" y="46"/>
                  </a:lnTo>
                  <a:lnTo>
                    <a:pt x="0" y="46"/>
                  </a:lnTo>
                  <a:lnTo>
                    <a:pt x="0" y="46"/>
                  </a:lnTo>
                  <a:lnTo>
                    <a:pt x="0" y="44"/>
                  </a:lnTo>
                  <a:lnTo>
                    <a:pt x="0" y="44"/>
                  </a:lnTo>
                  <a:lnTo>
                    <a:pt x="0" y="42"/>
                  </a:lnTo>
                  <a:lnTo>
                    <a:pt x="0" y="40"/>
                  </a:lnTo>
                  <a:lnTo>
                    <a:pt x="0" y="36"/>
                  </a:lnTo>
                  <a:lnTo>
                    <a:pt x="0" y="32"/>
                  </a:lnTo>
                  <a:lnTo>
                    <a:pt x="0" y="26"/>
                  </a:lnTo>
                  <a:lnTo>
                    <a:pt x="2" y="20"/>
                  </a:lnTo>
                  <a:lnTo>
                    <a:pt x="2"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0" name="Freeform 521"/>
            <p:cNvSpPr>
              <a:spLocks/>
            </p:cNvSpPr>
            <p:nvPr/>
          </p:nvSpPr>
          <p:spPr bwMode="auto">
            <a:xfrm>
              <a:off x="2059084" y="4130053"/>
              <a:ext cx="45034" cy="83140"/>
            </a:xfrm>
            <a:custGeom>
              <a:avLst/>
              <a:gdLst>
                <a:gd name="T0" fmla="*/ 2 w 26"/>
                <a:gd name="T1" fmla="*/ 12 h 48"/>
                <a:gd name="T2" fmla="*/ 2 w 26"/>
                <a:gd name="T3" fmla="*/ 12 h 48"/>
                <a:gd name="T4" fmla="*/ 6 w 26"/>
                <a:gd name="T5" fmla="*/ 12 h 48"/>
                <a:gd name="T6" fmla="*/ 8 w 26"/>
                <a:gd name="T7" fmla="*/ 10 h 48"/>
                <a:gd name="T8" fmla="*/ 10 w 26"/>
                <a:gd name="T9" fmla="*/ 10 h 48"/>
                <a:gd name="T10" fmla="*/ 12 w 26"/>
                <a:gd name="T11" fmla="*/ 8 h 48"/>
                <a:gd name="T12" fmla="*/ 14 w 26"/>
                <a:gd name="T13" fmla="*/ 8 h 48"/>
                <a:gd name="T14" fmla="*/ 20 w 26"/>
                <a:gd name="T15" fmla="*/ 4 h 48"/>
                <a:gd name="T16" fmla="*/ 26 w 26"/>
                <a:gd name="T17" fmla="*/ 0 h 48"/>
                <a:gd name="T18" fmla="*/ 26 w 26"/>
                <a:gd name="T19" fmla="*/ 8 h 48"/>
                <a:gd name="T20" fmla="*/ 24 w 26"/>
                <a:gd name="T21" fmla="*/ 14 h 48"/>
                <a:gd name="T22" fmla="*/ 24 w 26"/>
                <a:gd name="T23" fmla="*/ 16 h 48"/>
                <a:gd name="T24" fmla="*/ 24 w 26"/>
                <a:gd name="T25" fmla="*/ 20 h 48"/>
                <a:gd name="T26" fmla="*/ 24 w 26"/>
                <a:gd name="T27" fmla="*/ 22 h 48"/>
                <a:gd name="T28" fmla="*/ 24 w 26"/>
                <a:gd name="T29" fmla="*/ 24 h 48"/>
                <a:gd name="T30" fmla="*/ 26 w 26"/>
                <a:gd name="T31" fmla="*/ 32 h 48"/>
                <a:gd name="T32" fmla="*/ 26 w 26"/>
                <a:gd name="T33" fmla="*/ 40 h 48"/>
                <a:gd name="T34" fmla="*/ 22 w 26"/>
                <a:gd name="T35" fmla="*/ 44 h 48"/>
                <a:gd name="T36" fmla="*/ 20 w 26"/>
                <a:gd name="T37" fmla="*/ 46 h 48"/>
                <a:gd name="T38" fmla="*/ 18 w 26"/>
                <a:gd name="T39" fmla="*/ 46 h 48"/>
                <a:gd name="T40" fmla="*/ 16 w 26"/>
                <a:gd name="T41" fmla="*/ 46 h 48"/>
                <a:gd name="T42" fmla="*/ 16 w 26"/>
                <a:gd name="T43" fmla="*/ 48 h 48"/>
                <a:gd name="T44" fmla="*/ 14 w 26"/>
                <a:gd name="T45" fmla="*/ 48 h 48"/>
                <a:gd name="T46" fmla="*/ 12 w 26"/>
                <a:gd name="T47" fmla="*/ 48 h 48"/>
                <a:gd name="T48" fmla="*/ 8 w 26"/>
                <a:gd name="T49" fmla="*/ 48 h 48"/>
                <a:gd name="T50" fmla="*/ 8 w 26"/>
                <a:gd name="T51" fmla="*/ 48 h 48"/>
                <a:gd name="T52" fmla="*/ 4 w 26"/>
                <a:gd name="T53" fmla="*/ 48 h 48"/>
                <a:gd name="T54" fmla="*/ 4 w 26"/>
                <a:gd name="T55" fmla="*/ 48 h 48"/>
                <a:gd name="T56" fmla="*/ 2 w 26"/>
                <a:gd name="T57" fmla="*/ 46 h 48"/>
                <a:gd name="T58" fmla="*/ 2 w 26"/>
                <a:gd name="T59" fmla="*/ 46 h 48"/>
                <a:gd name="T60" fmla="*/ 0 w 26"/>
                <a:gd name="T61" fmla="*/ 46 h 48"/>
                <a:gd name="T62" fmla="*/ 0 w 26"/>
                <a:gd name="T63" fmla="*/ 46 h 48"/>
                <a:gd name="T64" fmla="*/ 0 w 26"/>
                <a:gd name="T65" fmla="*/ 44 h 48"/>
                <a:gd name="T66" fmla="*/ 0 w 26"/>
                <a:gd name="T67" fmla="*/ 44 h 48"/>
                <a:gd name="T68" fmla="*/ 0 w 26"/>
                <a:gd name="T69" fmla="*/ 42 h 48"/>
                <a:gd name="T70" fmla="*/ 0 w 26"/>
                <a:gd name="T71" fmla="*/ 40 h 48"/>
                <a:gd name="T72" fmla="*/ 0 w 26"/>
                <a:gd name="T73" fmla="*/ 36 h 48"/>
                <a:gd name="T74" fmla="*/ 0 w 26"/>
                <a:gd name="T75" fmla="*/ 32 h 48"/>
                <a:gd name="T76" fmla="*/ 0 w 26"/>
                <a:gd name="T77" fmla="*/ 26 h 48"/>
                <a:gd name="T78" fmla="*/ 2 w 26"/>
                <a:gd name="T79" fmla="*/ 20 h 48"/>
                <a:gd name="T80" fmla="*/ 2 w 26"/>
                <a:gd name="T8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8">
                  <a:moveTo>
                    <a:pt x="2" y="12"/>
                  </a:moveTo>
                  <a:lnTo>
                    <a:pt x="2" y="12"/>
                  </a:lnTo>
                  <a:lnTo>
                    <a:pt x="6" y="12"/>
                  </a:lnTo>
                  <a:lnTo>
                    <a:pt x="8" y="10"/>
                  </a:lnTo>
                  <a:lnTo>
                    <a:pt x="10" y="10"/>
                  </a:lnTo>
                  <a:lnTo>
                    <a:pt x="12" y="8"/>
                  </a:lnTo>
                  <a:lnTo>
                    <a:pt x="14" y="8"/>
                  </a:lnTo>
                  <a:lnTo>
                    <a:pt x="20" y="4"/>
                  </a:lnTo>
                  <a:lnTo>
                    <a:pt x="26" y="0"/>
                  </a:lnTo>
                  <a:lnTo>
                    <a:pt x="26" y="8"/>
                  </a:lnTo>
                  <a:lnTo>
                    <a:pt x="24" y="14"/>
                  </a:lnTo>
                  <a:lnTo>
                    <a:pt x="24" y="16"/>
                  </a:lnTo>
                  <a:lnTo>
                    <a:pt x="24" y="20"/>
                  </a:lnTo>
                  <a:lnTo>
                    <a:pt x="24" y="22"/>
                  </a:lnTo>
                  <a:lnTo>
                    <a:pt x="24" y="24"/>
                  </a:lnTo>
                  <a:lnTo>
                    <a:pt x="26" y="32"/>
                  </a:lnTo>
                  <a:lnTo>
                    <a:pt x="26" y="40"/>
                  </a:lnTo>
                  <a:lnTo>
                    <a:pt x="22" y="44"/>
                  </a:lnTo>
                  <a:lnTo>
                    <a:pt x="20" y="46"/>
                  </a:lnTo>
                  <a:lnTo>
                    <a:pt x="18" y="46"/>
                  </a:lnTo>
                  <a:lnTo>
                    <a:pt x="16" y="46"/>
                  </a:lnTo>
                  <a:lnTo>
                    <a:pt x="16" y="48"/>
                  </a:lnTo>
                  <a:lnTo>
                    <a:pt x="14" y="48"/>
                  </a:lnTo>
                  <a:lnTo>
                    <a:pt x="12" y="48"/>
                  </a:lnTo>
                  <a:lnTo>
                    <a:pt x="8" y="48"/>
                  </a:lnTo>
                  <a:lnTo>
                    <a:pt x="8" y="48"/>
                  </a:lnTo>
                  <a:lnTo>
                    <a:pt x="4" y="48"/>
                  </a:lnTo>
                  <a:lnTo>
                    <a:pt x="4" y="48"/>
                  </a:lnTo>
                  <a:lnTo>
                    <a:pt x="2" y="46"/>
                  </a:lnTo>
                  <a:lnTo>
                    <a:pt x="2" y="46"/>
                  </a:lnTo>
                  <a:lnTo>
                    <a:pt x="0" y="46"/>
                  </a:lnTo>
                  <a:lnTo>
                    <a:pt x="0" y="46"/>
                  </a:lnTo>
                  <a:lnTo>
                    <a:pt x="0" y="44"/>
                  </a:lnTo>
                  <a:lnTo>
                    <a:pt x="0" y="44"/>
                  </a:lnTo>
                  <a:lnTo>
                    <a:pt x="0" y="42"/>
                  </a:lnTo>
                  <a:lnTo>
                    <a:pt x="0" y="40"/>
                  </a:lnTo>
                  <a:lnTo>
                    <a:pt x="0" y="36"/>
                  </a:lnTo>
                  <a:lnTo>
                    <a:pt x="0" y="32"/>
                  </a:lnTo>
                  <a:lnTo>
                    <a:pt x="0" y="26"/>
                  </a:lnTo>
                  <a:lnTo>
                    <a:pt x="2" y="20"/>
                  </a:lnTo>
                  <a:lnTo>
                    <a:pt x="2"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1" name="Freeform 522"/>
            <p:cNvSpPr>
              <a:spLocks/>
            </p:cNvSpPr>
            <p:nvPr/>
          </p:nvSpPr>
          <p:spPr bwMode="auto">
            <a:xfrm>
              <a:off x="1414752" y="3693570"/>
              <a:ext cx="717079" cy="543872"/>
            </a:xfrm>
            <a:custGeom>
              <a:avLst/>
              <a:gdLst>
                <a:gd name="T0" fmla="*/ 246 w 414"/>
                <a:gd name="T1" fmla="*/ 120 h 314"/>
                <a:gd name="T2" fmla="*/ 242 w 414"/>
                <a:gd name="T3" fmla="*/ 100 h 314"/>
                <a:gd name="T4" fmla="*/ 230 w 414"/>
                <a:gd name="T5" fmla="*/ 90 h 314"/>
                <a:gd name="T6" fmla="*/ 220 w 414"/>
                <a:gd name="T7" fmla="*/ 64 h 314"/>
                <a:gd name="T8" fmla="*/ 202 w 414"/>
                <a:gd name="T9" fmla="*/ 50 h 314"/>
                <a:gd name="T10" fmla="*/ 198 w 414"/>
                <a:gd name="T11" fmla="*/ 70 h 314"/>
                <a:gd name="T12" fmla="*/ 180 w 414"/>
                <a:gd name="T13" fmla="*/ 68 h 314"/>
                <a:gd name="T14" fmla="*/ 174 w 414"/>
                <a:gd name="T15" fmla="*/ 46 h 314"/>
                <a:gd name="T16" fmla="*/ 166 w 414"/>
                <a:gd name="T17" fmla="*/ 38 h 314"/>
                <a:gd name="T18" fmla="*/ 160 w 414"/>
                <a:gd name="T19" fmla="*/ 28 h 314"/>
                <a:gd name="T20" fmla="*/ 152 w 414"/>
                <a:gd name="T21" fmla="*/ 16 h 314"/>
                <a:gd name="T22" fmla="*/ 140 w 414"/>
                <a:gd name="T23" fmla="*/ 18 h 314"/>
                <a:gd name="T24" fmla="*/ 126 w 414"/>
                <a:gd name="T25" fmla="*/ 22 h 314"/>
                <a:gd name="T26" fmla="*/ 120 w 414"/>
                <a:gd name="T27" fmla="*/ 32 h 314"/>
                <a:gd name="T28" fmla="*/ 90 w 414"/>
                <a:gd name="T29" fmla="*/ 36 h 314"/>
                <a:gd name="T30" fmla="*/ 62 w 414"/>
                <a:gd name="T31" fmla="*/ 30 h 314"/>
                <a:gd name="T32" fmla="*/ 36 w 414"/>
                <a:gd name="T33" fmla="*/ 12 h 314"/>
                <a:gd name="T34" fmla="*/ 26 w 414"/>
                <a:gd name="T35" fmla="*/ 0 h 314"/>
                <a:gd name="T36" fmla="*/ 0 w 414"/>
                <a:gd name="T37" fmla="*/ 28 h 314"/>
                <a:gd name="T38" fmla="*/ 16 w 414"/>
                <a:gd name="T39" fmla="*/ 54 h 314"/>
                <a:gd name="T40" fmla="*/ 28 w 414"/>
                <a:gd name="T41" fmla="*/ 84 h 314"/>
                <a:gd name="T42" fmla="*/ 18 w 414"/>
                <a:gd name="T43" fmla="*/ 94 h 314"/>
                <a:gd name="T44" fmla="*/ 40 w 414"/>
                <a:gd name="T45" fmla="*/ 110 h 314"/>
                <a:gd name="T46" fmla="*/ 58 w 414"/>
                <a:gd name="T47" fmla="*/ 128 h 314"/>
                <a:gd name="T48" fmla="*/ 64 w 414"/>
                <a:gd name="T49" fmla="*/ 154 h 314"/>
                <a:gd name="T50" fmla="*/ 90 w 414"/>
                <a:gd name="T51" fmla="*/ 180 h 314"/>
                <a:gd name="T52" fmla="*/ 100 w 414"/>
                <a:gd name="T53" fmla="*/ 172 h 314"/>
                <a:gd name="T54" fmla="*/ 78 w 414"/>
                <a:gd name="T55" fmla="*/ 128 h 314"/>
                <a:gd name="T56" fmla="*/ 48 w 414"/>
                <a:gd name="T57" fmla="*/ 80 h 314"/>
                <a:gd name="T58" fmla="*/ 28 w 414"/>
                <a:gd name="T59" fmla="*/ 30 h 314"/>
                <a:gd name="T60" fmla="*/ 36 w 414"/>
                <a:gd name="T61" fmla="*/ 24 h 314"/>
                <a:gd name="T62" fmla="*/ 60 w 414"/>
                <a:gd name="T63" fmla="*/ 46 h 314"/>
                <a:gd name="T64" fmla="*/ 66 w 414"/>
                <a:gd name="T65" fmla="*/ 74 h 314"/>
                <a:gd name="T66" fmla="*/ 80 w 414"/>
                <a:gd name="T67" fmla="*/ 94 h 314"/>
                <a:gd name="T68" fmla="*/ 98 w 414"/>
                <a:gd name="T69" fmla="*/ 112 h 314"/>
                <a:gd name="T70" fmla="*/ 96 w 414"/>
                <a:gd name="T71" fmla="*/ 126 h 314"/>
                <a:gd name="T72" fmla="*/ 110 w 414"/>
                <a:gd name="T73" fmla="*/ 132 h 314"/>
                <a:gd name="T74" fmla="*/ 112 w 414"/>
                <a:gd name="T75" fmla="*/ 150 h 314"/>
                <a:gd name="T76" fmla="*/ 128 w 414"/>
                <a:gd name="T77" fmla="*/ 158 h 314"/>
                <a:gd name="T78" fmla="*/ 130 w 414"/>
                <a:gd name="T79" fmla="*/ 172 h 314"/>
                <a:gd name="T80" fmla="*/ 142 w 414"/>
                <a:gd name="T81" fmla="*/ 174 h 314"/>
                <a:gd name="T82" fmla="*/ 146 w 414"/>
                <a:gd name="T83" fmla="*/ 200 h 314"/>
                <a:gd name="T84" fmla="*/ 144 w 414"/>
                <a:gd name="T85" fmla="*/ 220 h 314"/>
                <a:gd name="T86" fmla="*/ 156 w 414"/>
                <a:gd name="T87" fmla="*/ 232 h 314"/>
                <a:gd name="T88" fmla="*/ 250 w 414"/>
                <a:gd name="T89" fmla="*/ 290 h 314"/>
                <a:gd name="T90" fmla="*/ 282 w 414"/>
                <a:gd name="T91" fmla="*/ 294 h 314"/>
                <a:gd name="T92" fmla="*/ 302 w 414"/>
                <a:gd name="T93" fmla="*/ 292 h 314"/>
                <a:gd name="T94" fmla="*/ 328 w 414"/>
                <a:gd name="T95" fmla="*/ 312 h 314"/>
                <a:gd name="T96" fmla="*/ 340 w 414"/>
                <a:gd name="T97" fmla="*/ 294 h 314"/>
                <a:gd name="T98" fmla="*/ 350 w 414"/>
                <a:gd name="T99" fmla="*/ 284 h 314"/>
                <a:gd name="T100" fmla="*/ 364 w 414"/>
                <a:gd name="T101" fmla="*/ 268 h 314"/>
                <a:gd name="T102" fmla="*/ 404 w 414"/>
                <a:gd name="T103" fmla="*/ 248 h 314"/>
                <a:gd name="T104" fmla="*/ 408 w 414"/>
                <a:gd name="T105" fmla="*/ 224 h 314"/>
                <a:gd name="T106" fmla="*/ 414 w 414"/>
                <a:gd name="T107" fmla="*/ 214 h 314"/>
                <a:gd name="T108" fmla="*/ 404 w 414"/>
                <a:gd name="T109" fmla="*/ 198 h 314"/>
                <a:gd name="T110" fmla="*/ 374 w 414"/>
                <a:gd name="T111" fmla="*/ 202 h 314"/>
                <a:gd name="T112" fmla="*/ 356 w 414"/>
                <a:gd name="T113" fmla="*/ 230 h 314"/>
                <a:gd name="T114" fmla="*/ 332 w 414"/>
                <a:gd name="T115" fmla="*/ 246 h 314"/>
                <a:gd name="T116" fmla="*/ 286 w 414"/>
                <a:gd name="T117" fmla="*/ 244 h 314"/>
                <a:gd name="T118" fmla="*/ 268 w 414"/>
                <a:gd name="T119" fmla="*/ 218 h 314"/>
                <a:gd name="T120" fmla="*/ 258 w 414"/>
                <a:gd name="T121" fmla="*/ 16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14">
                  <a:moveTo>
                    <a:pt x="266" y="120"/>
                  </a:moveTo>
                  <a:lnTo>
                    <a:pt x="266" y="120"/>
                  </a:lnTo>
                  <a:lnTo>
                    <a:pt x="264" y="122"/>
                  </a:lnTo>
                  <a:lnTo>
                    <a:pt x="262" y="122"/>
                  </a:lnTo>
                  <a:lnTo>
                    <a:pt x="258" y="122"/>
                  </a:lnTo>
                  <a:lnTo>
                    <a:pt x="254" y="122"/>
                  </a:lnTo>
                  <a:lnTo>
                    <a:pt x="252" y="122"/>
                  </a:lnTo>
                  <a:lnTo>
                    <a:pt x="250" y="122"/>
                  </a:lnTo>
                  <a:lnTo>
                    <a:pt x="248" y="122"/>
                  </a:lnTo>
                  <a:lnTo>
                    <a:pt x="248" y="122"/>
                  </a:lnTo>
                  <a:lnTo>
                    <a:pt x="246" y="120"/>
                  </a:lnTo>
                  <a:lnTo>
                    <a:pt x="246" y="120"/>
                  </a:lnTo>
                  <a:lnTo>
                    <a:pt x="246" y="118"/>
                  </a:lnTo>
                  <a:lnTo>
                    <a:pt x="246" y="118"/>
                  </a:lnTo>
                  <a:lnTo>
                    <a:pt x="246" y="116"/>
                  </a:lnTo>
                  <a:lnTo>
                    <a:pt x="244" y="114"/>
                  </a:lnTo>
                  <a:lnTo>
                    <a:pt x="244" y="110"/>
                  </a:lnTo>
                  <a:lnTo>
                    <a:pt x="244" y="108"/>
                  </a:lnTo>
                  <a:lnTo>
                    <a:pt x="244" y="104"/>
                  </a:lnTo>
                  <a:lnTo>
                    <a:pt x="244" y="104"/>
                  </a:lnTo>
                  <a:lnTo>
                    <a:pt x="244" y="102"/>
                  </a:lnTo>
                  <a:lnTo>
                    <a:pt x="244" y="102"/>
                  </a:lnTo>
                  <a:lnTo>
                    <a:pt x="242" y="100"/>
                  </a:lnTo>
                  <a:lnTo>
                    <a:pt x="242" y="100"/>
                  </a:lnTo>
                  <a:lnTo>
                    <a:pt x="242" y="100"/>
                  </a:lnTo>
                  <a:lnTo>
                    <a:pt x="240" y="98"/>
                  </a:lnTo>
                  <a:lnTo>
                    <a:pt x="238" y="98"/>
                  </a:lnTo>
                  <a:lnTo>
                    <a:pt x="236" y="98"/>
                  </a:lnTo>
                  <a:lnTo>
                    <a:pt x="234" y="96"/>
                  </a:lnTo>
                  <a:lnTo>
                    <a:pt x="232" y="96"/>
                  </a:lnTo>
                  <a:lnTo>
                    <a:pt x="232" y="94"/>
                  </a:lnTo>
                  <a:lnTo>
                    <a:pt x="230" y="94"/>
                  </a:lnTo>
                  <a:lnTo>
                    <a:pt x="230" y="94"/>
                  </a:lnTo>
                  <a:lnTo>
                    <a:pt x="230" y="94"/>
                  </a:lnTo>
                  <a:lnTo>
                    <a:pt x="230" y="92"/>
                  </a:lnTo>
                  <a:lnTo>
                    <a:pt x="230" y="90"/>
                  </a:lnTo>
                  <a:lnTo>
                    <a:pt x="228" y="90"/>
                  </a:lnTo>
                  <a:lnTo>
                    <a:pt x="228" y="86"/>
                  </a:lnTo>
                  <a:lnTo>
                    <a:pt x="228" y="84"/>
                  </a:lnTo>
                  <a:lnTo>
                    <a:pt x="228" y="80"/>
                  </a:lnTo>
                  <a:lnTo>
                    <a:pt x="228" y="78"/>
                  </a:lnTo>
                  <a:lnTo>
                    <a:pt x="228" y="74"/>
                  </a:lnTo>
                  <a:lnTo>
                    <a:pt x="226" y="74"/>
                  </a:lnTo>
                  <a:lnTo>
                    <a:pt x="226" y="72"/>
                  </a:lnTo>
                  <a:lnTo>
                    <a:pt x="226" y="72"/>
                  </a:lnTo>
                  <a:lnTo>
                    <a:pt x="224" y="70"/>
                  </a:lnTo>
                  <a:lnTo>
                    <a:pt x="222" y="66"/>
                  </a:lnTo>
                  <a:lnTo>
                    <a:pt x="220" y="64"/>
                  </a:lnTo>
                  <a:lnTo>
                    <a:pt x="218" y="62"/>
                  </a:lnTo>
                  <a:lnTo>
                    <a:pt x="214" y="58"/>
                  </a:lnTo>
                  <a:lnTo>
                    <a:pt x="212" y="56"/>
                  </a:lnTo>
                  <a:lnTo>
                    <a:pt x="210" y="54"/>
                  </a:lnTo>
                  <a:lnTo>
                    <a:pt x="208" y="52"/>
                  </a:lnTo>
                  <a:lnTo>
                    <a:pt x="208" y="52"/>
                  </a:lnTo>
                  <a:lnTo>
                    <a:pt x="206" y="50"/>
                  </a:lnTo>
                  <a:lnTo>
                    <a:pt x="206" y="50"/>
                  </a:lnTo>
                  <a:lnTo>
                    <a:pt x="204" y="50"/>
                  </a:lnTo>
                  <a:lnTo>
                    <a:pt x="204" y="50"/>
                  </a:lnTo>
                  <a:lnTo>
                    <a:pt x="202" y="50"/>
                  </a:lnTo>
                  <a:lnTo>
                    <a:pt x="202" y="50"/>
                  </a:lnTo>
                  <a:lnTo>
                    <a:pt x="202" y="52"/>
                  </a:lnTo>
                  <a:lnTo>
                    <a:pt x="200" y="52"/>
                  </a:lnTo>
                  <a:lnTo>
                    <a:pt x="200" y="54"/>
                  </a:lnTo>
                  <a:lnTo>
                    <a:pt x="200" y="54"/>
                  </a:lnTo>
                  <a:lnTo>
                    <a:pt x="200" y="56"/>
                  </a:lnTo>
                  <a:lnTo>
                    <a:pt x="200" y="60"/>
                  </a:lnTo>
                  <a:lnTo>
                    <a:pt x="200" y="62"/>
                  </a:lnTo>
                  <a:lnTo>
                    <a:pt x="200" y="66"/>
                  </a:lnTo>
                  <a:lnTo>
                    <a:pt x="200" y="68"/>
                  </a:lnTo>
                  <a:lnTo>
                    <a:pt x="198" y="68"/>
                  </a:lnTo>
                  <a:lnTo>
                    <a:pt x="198" y="70"/>
                  </a:lnTo>
                  <a:lnTo>
                    <a:pt x="198" y="70"/>
                  </a:lnTo>
                  <a:lnTo>
                    <a:pt x="196" y="70"/>
                  </a:lnTo>
                  <a:lnTo>
                    <a:pt x="196" y="72"/>
                  </a:lnTo>
                  <a:lnTo>
                    <a:pt x="194" y="72"/>
                  </a:lnTo>
                  <a:lnTo>
                    <a:pt x="192" y="72"/>
                  </a:lnTo>
                  <a:lnTo>
                    <a:pt x="190" y="72"/>
                  </a:lnTo>
                  <a:lnTo>
                    <a:pt x="188" y="72"/>
                  </a:lnTo>
                  <a:lnTo>
                    <a:pt x="186" y="72"/>
                  </a:lnTo>
                  <a:lnTo>
                    <a:pt x="184" y="72"/>
                  </a:lnTo>
                  <a:lnTo>
                    <a:pt x="184" y="70"/>
                  </a:lnTo>
                  <a:lnTo>
                    <a:pt x="182" y="70"/>
                  </a:lnTo>
                  <a:lnTo>
                    <a:pt x="182" y="70"/>
                  </a:lnTo>
                  <a:lnTo>
                    <a:pt x="180" y="68"/>
                  </a:lnTo>
                  <a:lnTo>
                    <a:pt x="180" y="66"/>
                  </a:lnTo>
                  <a:lnTo>
                    <a:pt x="180" y="66"/>
                  </a:lnTo>
                  <a:lnTo>
                    <a:pt x="180" y="64"/>
                  </a:lnTo>
                  <a:lnTo>
                    <a:pt x="180" y="62"/>
                  </a:lnTo>
                  <a:lnTo>
                    <a:pt x="178" y="58"/>
                  </a:lnTo>
                  <a:lnTo>
                    <a:pt x="178" y="54"/>
                  </a:lnTo>
                  <a:lnTo>
                    <a:pt x="178" y="52"/>
                  </a:lnTo>
                  <a:lnTo>
                    <a:pt x="176" y="50"/>
                  </a:lnTo>
                  <a:lnTo>
                    <a:pt x="176" y="48"/>
                  </a:lnTo>
                  <a:lnTo>
                    <a:pt x="176" y="48"/>
                  </a:lnTo>
                  <a:lnTo>
                    <a:pt x="174" y="46"/>
                  </a:lnTo>
                  <a:lnTo>
                    <a:pt x="174" y="46"/>
                  </a:lnTo>
                  <a:lnTo>
                    <a:pt x="174" y="46"/>
                  </a:lnTo>
                  <a:lnTo>
                    <a:pt x="170" y="46"/>
                  </a:lnTo>
                  <a:lnTo>
                    <a:pt x="170" y="44"/>
                  </a:lnTo>
                  <a:lnTo>
                    <a:pt x="168" y="44"/>
                  </a:lnTo>
                  <a:lnTo>
                    <a:pt x="166" y="44"/>
                  </a:lnTo>
                  <a:lnTo>
                    <a:pt x="166" y="44"/>
                  </a:lnTo>
                  <a:lnTo>
                    <a:pt x="166" y="44"/>
                  </a:lnTo>
                  <a:lnTo>
                    <a:pt x="166" y="44"/>
                  </a:lnTo>
                  <a:lnTo>
                    <a:pt x="166" y="42"/>
                  </a:lnTo>
                  <a:lnTo>
                    <a:pt x="166" y="42"/>
                  </a:lnTo>
                  <a:lnTo>
                    <a:pt x="166" y="40"/>
                  </a:lnTo>
                  <a:lnTo>
                    <a:pt x="166" y="38"/>
                  </a:lnTo>
                  <a:lnTo>
                    <a:pt x="166" y="36"/>
                  </a:lnTo>
                  <a:lnTo>
                    <a:pt x="166" y="34"/>
                  </a:lnTo>
                  <a:lnTo>
                    <a:pt x="166" y="32"/>
                  </a:lnTo>
                  <a:lnTo>
                    <a:pt x="166" y="32"/>
                  </a:lnTo>
                  <a:lnTo>
                    <a:pt x="166" y="32"/>
                  </a:lnTo>
                  <a:lnTo>
                    <a:pt x="166" y="30"/>
                  </a:lnTo>
                  <a:lnTo>
                    <a:pt x="164" y="30"/>
                  </a:lnTo>
                  <a:lnTo>
                    <a:pt x="164" y="30"/>
                  </a:lnTo>
                  <a:lnTo>
                    <a:pt x="164" y="30"/>
                  </a:lnTo>
                  <a:lnTo>
                    <a:pt x="162" y="28"/>
                  </a:lnTo>
                  <a:lnTo>
                    <a:pt x="162" y="28"/>
                  </a:lnTo>
                  <a:lnTo>
                    <a:pt x="160" y="28"/>
                  </a:lnTo>
                  <a:lnTo>
                    <a:pt x="158" y="28"/>
                  </a:lnTo>
                  <a:lnTo>
                    <a:pt x="156" y="28"/>
                  </a:lnTo>
                  <a:lnTo>
                    <a:pt x="154" y="28"/>
                  </a:lnTo>
                  <a:lnTo>
                    <a:pt x="154" y="28"/>
                  </a:lnTo>
                  <a:lnTo>
                    <a:pt x="154" y="28"/>
                  </a:lnTo>
                  <a:lnTo>
                    <a:pt x="152" y="26"/>
                  </a:lnTo>
                  <a:lnTo>
                    <a:pt x="152" y="26"/>
                  </a:lnTo>
                  <a:lnTo>
                    <a:pt x="152" y="26"/>
                  </a:lnTo>
                  <a:lnTo>
                    <a:pt x="152" y="24"/>
                  </a:lnTo>
                  <a:lnTo>
                    <a:pt x="152" y="22"/>
                  </a:lnTo>
                  <a:lnTo>
                    <a:pt x="152" y="20"/>
                  </a:lnTo>
                  <a:lnTo>
                    <a:pt x="152" y="16"/>
                  </a:lnTo>
                  <a:lnTo>
                    <a:pt x="150" y="14"/>
                  </a:lnTo>
                  <a:lnTo>
                    <a:pt x="150" y="14"/>
                  </a:lnTo>
                  <a:lnTo>
                    <a:pt x="150" y="14"/>
                  </a:lnTo>
                  <a:lnTo>
                    <a:pt x="150" y="12"/>
                  </a:lnTo>
                  <a:lnTo>
                    <a:pt x="148" y="12"/>
                  </a:lnTo>
                  <a:lnTo>
                    <a:pt x="148" y="12"/>
                  </a:lnTo>
                  <a:lnTo>
                    <a:pt x="148" y="12"/>
                  </a:lnTo>
                  <a:lnTo>
                    <a:pt x="146" y="12"/>
                  </a:lnTo>
                  <a:lnTo>
                    <a:pt x="146" y="12"/>
                  </a:lnTo>
                  <a:lnTo>
                    <a:pt x="144" y="14"/>
                  </a:lnTo>
                  <a:lnTo>
                    <a:pt x="144" y="16"/>
                  </a:lnTo>
                  <a:lnTo>
                    <a:pt x="140" y="18"/>
                  </a:lnTo>
                  <a:lnTo>
                    <a:pt x="140" y="20"/>
                  </a:lnTo>
                  <a:lnTo>
                    <a:pt x="140" y="20"/>
                  </a:lnTo>
                  <a:lnTo>
                    <a:pt x="138" y="20"/>
                  </a:lnTo>
                  <a:lnTo>
                    <a:pt x="138" y="20"/>
                  </a:lnTo>
                  <a:lnTo>
                    <a:pt x="136" y="20"/>
                  </a:lnTo>
                  <a:lnTo>
                    <a:pt x="132" y="20"/>
                  </a:lnTo>
                  <a:lnTo>
                    <a:pt x="130" y="20"/>
                  </a:lnTo>
                  <a:lnTo>
                    <a:pt x="128" y="20"/>
                  </a:lnTo>
                  <a:lnTo>
                    <a:pt x="128" y="20"/>
                  </a:lnTo>
                  <a:lnTo>
                    <a:pt x="126" y="20"/>
                  </a:lnTo>
                  <a:lnTo>
                    <a:pt x="126" y="22"/>
                  </a:lnTo>
                  <a:lnTo>
                    <a:pt x="126" y="22"/>
                  </a:lnTo>
                  <a:lnTo>
                    <a:pt x="126" y="22"/>
                  </a:lnTo>
                  <a:lnTo>
                    <a:pt x="124" y="22"/>
                  </a:lnTo>
                  <a:lnTo>
                    <a:pt x="124" y="24"/>
                  </a:lnTo>
                  <a:lnTo>
                    <a:pt x="124" y="26"/>
                  </a:lnTo>
                  <a:lnTo>
                    <a:pt x="124" y="26"/>
                  </a:lnTo>
                  <a:lnTo>
                    <a:pt x="124" y="28"/>
                  </a:lnTo>
                  <a:lnTo>
                    <a:pt x="124" y="30"/>
                  </a:lnTo>
                  <a:lnTo>
                    <a:pt x="124" y="30"/>
                  </a:lnTo>
                  <a:lnTo>
                    <a:pt x="124" y="30"/>
                  </a:lnTo>
                  <a:lnTo>
                    <a:pt x="122" y="30"/>
                  </a:lnTo>
                  <a:lnTo>
                    <a:pt x="122" y="30"/>
                  </a:lnTo>
                  <a:lnTo>
                    <a:pt x="120" y="32"/>
                  </a:lnTo>
                  <a:lnTo>
                    <a:pt x="118" y="32"/>
                  </a:lnTo>
                  <a:lnTo>
                    <a:pt x="116" y="32"/>
                  </a:lnTo>
                  <a:lnTo>
                    <a:pt x="112" y="30"/>
                  </a:lnTo>
                  <a:lnTo>
                    <a:pt x="106" y="30"/>
                  </a:lnTo>
                  <a:lnTo>
                    <a:pt x="104" y="30"/>
                  </a:lnTo>
                  <a:lnTo>
                    <a:pt x="102" y="30"/>
                  </a:lnTo>
                  <a:lnTo>
                    <a:pt x="102" y="30"/>
                  </a:lnTo>
                  <a:lnTo>
                    <a:pt x="100" y="30"/>
                  </a:lnTo>
                  <a:lnTo>
                    <a:pt x="98" y="32"/>
                  </a:lnTo>
                  <a:lnTo>
                    <a:pt x="94" y="34"/>
                  </a:lnTo>
                  <a:lnTo>
                    <a:pt x="92" y="34"/>
                  </a:lnTo>
                  <a:lnTo>
                    <a:pt x="90" y="36"/>
                  </a:lnTo>
                  <a:lnTo>
                    <a:pt x="88" y="36"/>
                  </a:lnTo>
                  <a:lnTo>
                    <a:pt x="86" y="36"/>
                  </a:lnTo>
                  <a:lnTo>
                    <a:pt x="84" y="36"/>
                  </a:lnTo>
                  <a:lnTo>
                    <a:pt x="80" y="36"/>
                  </a:lnTo>
                  <a:lnTo>
                    <a:pt x="78" y="36"/>
                  </a:lnTo>
                  <a:lnTo>
                    <a:pt x="74" y="34"/>
                  </a:lnTo>
                  <a:lnTo>
                    <a:pt x="70" y="34"/>
                  </a:lnTo>
                  <a:lnTo>
                    <a:pt x="68" y="34"/>
                  </a:lnTo>
                  <a:lnTo>
                    <a:pt x="66" y="32"/>
                  </a:lnTo>
                  <a:lnTo>
                    <a:pt x="62" y="32"/>
                  </a:lnTo>
                  <a:lnTo>
                    <a:pt x="62" y="30"/>
                  </a:lnTo>
                  <a:lnTo>
                    <a:pt x="62" y="30"/>
                  </a:lnTo>
                  <a:lnTo>
                    <a:pt x="60" y="28"/>
                  </a:lnTo>
                  <a:lnTo>
                    <a:pt x="58" y="26"/>
                  </a:lnTo>
                  <a:lnTo>
                    <a:pt x="56" y="24"/>
                  </a:lnTo>
                  <a:lnTo>
                    <a:pt x="52" y="20"/>
                  </a:lnTo>
                  <a:lnTo>
                    <a:pt x="50" y="18"/>
                  </a:lnTo>
                  <a:lnTo>
                    <a:pt x="48" y="16"/>
                  </a:lnTo>
                  <a:lnTo>
                    <a:pt x="46" y="16"/>
                  </a:lnTo>
                  <a:lnTo>
                    <a:pt x="44" y="14"/>
                  </a:lnTo>
                  <a:lnTo>
                    <a:pt x="42" y="14"/>
                  </a:lnTo>
                  <a:lnTo>
                    <a:pt x="40" y="14"/>
                  </a:lnTo>
                  <a:lnTo>
                    <a:pt x="38" y="12"/>
                  </a:lnTo>
                  <a:lnTo>
                    <a:pt x="36" y="12"/>
                  </a:lnTo>
                  <a:lnTo>
                    <a:pt x="36" y="12"/>
                  </a:lnTo>
                  <a:lnTo>
                    <a:pt x="34" y="10"/>
                  </a:lnTo>
                  <a:lnTo>
                    <a:pt x="34" y="8"/>
                  </a:lnTo>
                  <a:lnTo>
                    <a:pt x="34" y="6"/>
                  </a:lnTo>
                  <a:lnTo>
                    <a:pt x="32" y="6"/>
                  </a:lnTo>
                  <a:lnTo>
                    <a:pt x="32" y="4"/>
                  </a:lnTo>
                  <a:lnTo>
                    <a:pt x="32" y="2"/>
                  </a:lnTo>
                  <a:lnTo>
                    <a:pt x="32" y="2"/>
                  </a:lnTo>
                  <a:lnTo>
                    <a:pt x="32" y="2"/>
                  </a:lnTo>
                  <a:lnTo>
                    <a:pt x="30" y="2"/>
                  </a:lnTo>
                  <a:lnTo>
                    <a:pt x="28" y="0"/>
                  </a:lnTo>
                  <a:lnTo>
                    <a:pt x="26" y="0"/>
                  </a:lnTo>
                  <a:lnTo>
                    <a:pt x="24" y="0"/>
                  </a:lnTo>
                  <a:lnTo>
                    <a:pt x="22" y="0"/>
                  </a:lnTo>
                  <a:lnTo>
                    <a:pt x="18" y="0"/>
                  </a:lnTo>
                  <a:lnTo>
                    <a:pt x="14" y="0"/>
                  </a:lnTo>
                  <a:lnTo>
                    <a:pt x="8" y="0"/>
                  </a:lnTo>
                  <a:lnTo>
                    <a:pt x="4" y="0"/>
                  </a:lnTo>
                  <a:lnTo>
                    <a:pt x="0" y="0"/>
                  </a:lnTo>
                  <a:lnTo>
                    <a:pt x="0" y="6"/>
                  </a:lnTo>
                  <a:lnTo>
                    <a:pt x="0" y="10"/>
                  </a:lnTo>
                  <a:lnTo>
                    <a:pt x="0" y="16"/>
                  </a:lnTo>
                  <a:lnTo>
                    <a:pt x="0" y="22"/>
                  </a:lnTo>
                  <a:lnTo>
                    <a:pt x="0" y="28"/>
                  </a:lnTo>
                  <a:lnTo>
                    <a:pt x="0" y="30"/>
                  </a:lnTo>
                  <a:lnTo>
                    <a:pt x="2" y="34"/>
                  </a:lnTo>
                  <a:lnTo>
                    <a:pt x="2" y="36"/>
                  </a:lnTo>
                  <a:lnTo>
                    <a:pt x="2" y="38"/>
                  </a:lnTo>
                  <a:lnTo>
                    <a:pt x="2" y="38"/>
                  </a:lnTo>
                  <a:lnTo>
                    <a:pt x="4" y="40"/>
                  </a:lnTo>
                  <a:lnTo>
                    <a:pt x="4" y="42"/>
                  </a:lnTo>
                  <a:lnTo>
                    <a:pt x="6" y="44"/>
                  </a:lnTo>
                  <a:lnTo>
                    <a:pt x="8" y="46"/>
                  </a:lnTo>
                  <a:lnTo>
                    <a:pt x="14" y="50"/>
                  </a:lnTo>
                  <a:lnTo>
                    <a:pt x="14" y="52"/>
                  </a:lnTo>
                  <a:lnTo>
                    <a:pt x="16" y="54"/>
                  </a:lnTo>
                  <a:lnTo>
                    <a:pt x="20" y="58"/>
                  </a:lnTo>
                  <a:lnTo>
                    <a:pt x="24" y="64"/>
                  </a:lnTo>
                  <a:lnTo>
                    <a:pt x="26" y="66"/>
                  </a:lnTo>
                  <a:lnTo>
                    <a:pt x="26" y="68"/>
                  </a:lnTo>
                  <a:lnTo>
                    <a:pt x="28" y="72"/>
                  </a:lnTo>
                  <a:lnTo>
                    <a:pt x="28" y="72"/>
                  </a:lnTo>
                  <a:lnTo>
                    <a:pt x="28" y="74"/>
                  </a:lnTo>
                  <a:lnTo>
                    <a:pt x="28" y="76"/>
                  </a:lnTo>
                  <a:lnTo>
                    <a:pt x="28" y="78"/>
                  </a:lnTo>
                  <a:lnTo>
                    <a:pt x="28" y="80"/>
                  </a:lnTo>
                  <a:lnTo>
                    <a:pt x="28" y="82"/>
                  </a:lnTo>
                  <a:lnTo>
                    <a:pt x="28" y="84"/>
                  </a:lnTo>
                  <a:lnTo>
                    <a:pt x="26" y="84"/>
                  </a:lnTo>
                  <a:lnTo>
                    <a:pt x="26" y="86"/>
                  </a:lnTo>
                  <a:lnTo>
                    <a:pt x="26" y="88"/>
                  </a:lnTo>
                  <a:lnTo>
                    <a:pt x="24" y="88"/>
                  </a:lnTo>
                  <a:lnTo>
                    <a:pt x="24" y="90"/>
                  </a:lnTo>
                  <a:lnTo>
                    <a:pt x="20" y="90"/>
                  </a:lnTo>
                  <a:lnTo>
                    <a:pt x="20" y="90"/>
                  </a:lnTo>
                  <a:lnTo>
                    <a:pt x="18" y="92"/>
                  </a:lnTo>
                  <a:lnTo>
                    <a:pt x="18" y="92"/>
                  </a:lnTo>
                  <a:lnTo>
                    <a:pt x="18" y="92"/>
                  </a:lnTo>
                  <a:lnTo>
                    <a:pt x="18" y="92"/>
                  </a:lnTo>
                  <a:lnTo>
                    <a:pt x="18" y="94"/>
                  </a:lnTo>
                  <a:lnTo>
                    <a:pt x="18" y="94"/>
                  </a:lnTo>
                  <a:lnTo>
                    <a:pt x="18" y="96"/>
                  </a:lnTo>
                  <a:lnTo>
                    <a:pt x="20" y="98"/>
                  </a:lnTo>
                  <a:lnTo>
                    <a:pt x="20" y="98"/>
                  </a:lnTo>
                  <a:lnTo>
                    <a:pt x="22" y="100"/>
                  </a:lnTo>
                  <a:lnTo>
                    <a:pt x="24" y="100"/>
                  </a:lnTo>
                  <a:lnTo>
                    <a:pt x="26" y="102"/>
                  </a:lnTo>
                  <a:lnTo>
                    <a:pt x="28" y="104"/>
                  </a:lnTo>
                  <a:lnTo>
                    <a:pt x="32" y="106"/>
                  </a:lnTo>
                  <a:lnTo>
                    <a:pt x="36" y="108"/>
                  </a:lnTo>
                  <a:lnTo>
                    <a:pt x="38" y="110"/>
                  </a:lnTo>
                  <a:lnTo>
                    <a:pt x="40" y="110"/>
                  </a:lnTo>
                  <a:lnTo>
                    <a:pt x="42" y="112"/>
                  </a:lnTo>
                  <a:lnTo>
                    <a:pt x="44" y="112"/>
                  </a:lnTo>
                  <a:lnTo>
                    <a:pt x="46" y="114"/>
                  </a:lnTo>
                  <a:lnTo>
                    <a:pt x="50" y="118"/>
                  </a:lnTo>
                  <a:lnTo>
                    <a:pt x="52" y="120"/>
                  </a:lnTo>
                  <a:lnTo>
                    <a:pt x="54" y="120"/>
                  </a:lnTo>
                  <a:lnTo>
                    <a:pt x="56" y="122"/>
                  </a:lnTo>
                  <a:lnTo>
                    <a:pt x="58" y="124"/>
                  </a:lnTo>
                  <a:lnTo>
                    <a:pt x="58" y="124"/>
                  </a:lnTo>
                  <a:lnTo>
                    <a:pt x="58" y="126"/>
                  </a:lnTo>
                  <a:lnTo>
                    <a:pt x="58" y="126"/>
                  </a:lnTo>
                  <a:lnTo>
                    <a:pt x="58" y="128"/>
                  </a:lnTo>
                  <a:lnTo>
                    <a:pt x="60" y="130"/>
                  </a:lnTo>
                  <a:lnTo>
                    <a:pt x="60" y="132"/>
                  </a:lnTo>
                  <a:lnTo>
                    <a:pt x="60" y="136"/>
                  </a:lnTo>
                  <a:lnTo>
                    <a:pt x="60" y="140"/>
                  </a:lnTo>
                  <a:lnTo>
                    <a:pt x="60" y="144"/>
                  </a:lnTo>
                  <a:lnTo>
                    <a:pt x="60" y="144"/>
                  </a:lnTo>
                  <a:lnTo>
                    <a:pt x="60" y="146"/>
                  </a:lnTo>
                  <a:lnTo>
                    <a:pt x="60" y="148"/>
                  </a:lnTo>
                  <a:lnTo>
                    <a:pt x="60" y="148"/>
                  </a:lnTo>
                  <a:lnTo>
                    <a:pt x="62" y="150"/>
                  </a:lnTo>
                  <a:lnTo>
                    <a:pt x="62" y="152"/>
                  </a:lnTo>
                  <a:lnTo>
                    <a:pt x="64" y="154"/>
                  </a:lnTo>
                  <a:lnTo>
                    <a:pt x="66" y="156"/>
                  </a:lnTo>
                  <a:lnTo>
                    <a:pt x="68" y="160"/>
                  </a:lnTo>
                  <a:lnTo>
                    <a:pt x="72" y="166"/>
                  </a:lnTo>
                  <a:lnTo>
                    <a:pt x="76" y="170"/>
                  </a:lnTo>
                  <a:lnTo>
                    <a:pt x="78" y="172"/>
                  </a:lnTo>
                  <a:lnTo>
                    <a:pt x="80" y="174"/>
                  </a:lnTo>
                  <a:lnTo>
                    <a:pt x="82" y="174"/>
                  </a:lnTo>
                  <a:lnTo>
                    <a:pt x="84" y="176"/>
                  </a:lnTo>
                  <a:lnTo>
                    <a:pt x="86" y="178"/>
                  </a:lnTo>
                  <a:lnTo>
                    <a:pt x="88" y="178"/>
                  </a:lnTo>
                  <a:lnTo>
                    <a:pt x="90" y="178"/>
                  </a:lnTo>
                  <a:lnTo>
                    <a:pt x="90" y="180"/>
                  </a:lnTo>
                  <a:lnTo>
                    <a:pt x="92" y="180"/>
                  </a:lnTo>
                  <a:lnTo>
                    <a:pt x="94" y="180"/>
                  </a:lnTo>
                  <a:lnTo>
                    <a:pt x="96" y="180"/>
                  </a:lnTo>
                  <a:lnTo>
                    <a:pt x="98" y="180"/>
                  </a:lnTo>
                  <a:lnTo>
                    <a:pt x="98" y="180"/>
                  </a:lnTo>
                  <a:lnTo>
                    <a:pt x="100" y="178"/>
                  </a:lnTo>
                  <a:lnTo>
                    <a:pt x="100" y="178"/>
                  </a:lnTo>
                  <a:lnTo>
                    <a:pt x="100" y="178"/>
                  </a:lnTo>
                  <a:lnTo>
                    <a:pt x="100" y="176"/>
                  </a:lnTo>
                  <a:lnTo>
                    <a:pt x="100" y="176"/>
                  </a:lnTo>
                  <a:lnTo>
                    <a:pt x="100" y="174"/>
                  </a:lnTo>
                  <a:lnTo>
                    <a:pt x="100" y="172"/>
                  </a:lnTo>
                  <a:lnTo>
                    <a:pt x="100" y="170"/>
                  </a:lnTo>
                  <a:lnTo>
                    <a:pt x="98" y="168"/>
                  </a:lnTo>
                  <a:lnTo>
                    <a:pt x="96" y="164"/>
                  </a:lnTo>
                  <a:lnTo>
                    <a:pt x="94" y="160"/>
                  </a:lnTo>
                  <a:lnTo>
                    <a:pt x="94" y="158"/>
                  </a:lnTo>
                  <a:lnTo>
                    <a:pt x="92" y="156"/>
                  </a:lnTo>
                  <a:lnTo>
                    <a:pt x="90" y="154"/>
                  </a:lnTo>
                  <a:lnTo>
                    <a:pt x="90" y="150"/>
                  </a:lnTo>
                  <a:lnTo>
                    <a:pt x="86" y="144"/>
                  </a:lnTo>
                  <a:lnTo>
                    <a:pt x="82" y="136"/>
                  </a:lnTo>
                  <a:lnTo>
                    <a:pt x="80" y="130"/>
                  </a:lnTo>
                  <a:lnTo>
                    <a:pt x="78" y="128"/>
                  </a:lnTo>
                  <a:lnTo>
                    <a:pt x="78" y="124"/>
                  </a:lnTo>
                  <a:lnTo>
                    <a:pt x="74" y="118"/>
                  </a:lnTo>
                  <a:lnTo>
                    <a:pt x="72" y="112"/>
                  </a:lnTo>
                  <a:lnTo>
                    <a:pt x="70" y="108"/>
                  </a:lnTo>
                  <a:lnTo>
                    <a:pt x="70" y="106"/>
                  </a:lnTo>
                  <a:lnTo>
                    <a:pt x="68" y="104"/>
                  </a:lnTo>
                  <a:lnTo>
                    <a:pt x="66" y="100"/>
                  </a:lnTo>
                  <a:lnTo>
                    <a:pt x="60" y="94"/>
                  </a:lnTo>
                  <a:lnTo>
                    <a:pt x="56" y="88"/>
                  </a:lnTo>
                  <a:lnTo>
                    <a:pt x="54" y="86"/>
                  </a:lnTo>
                  <a:lnTo>
                    <a:pt x="52" y="84"/>
                  </a:lnTo>
                  <a:lnTo>
                    <a:pt x="48" y="80"/>
                  </a:lnTo>
                  <a:lnTo>
                    <a:pt x="46" y="74"/>
                  </a:lnTo>
                  <a:lnTo>
                    <a:pt x="40" y="64"/>
                  </a:lnTo>
                  <a:lnTo>
                    <a:pt x="36" y="56"/>
                  </a:lnTo>
                  <a:lnTo>
                    <a:pt x="34" y="52"/>
                  </a:lnTo>
                  <a:lnTo>
                    <a:pt x="32" y="50"/>
                  </a:lnTo>
                  <a:lnTo>
                    <a:pt x="32" y="48"/>
                  </a:lnTo>
                  <a:lnTo>
                    <a:pt x="32" y="46"/>
                  </a:lnTo>
                  <a:lnTo>
                    <a:pt x="30" y="40"/>
                  </a:lnTo>
                  <a:lnTo>
                    <a:pt x="30" y="36"/>
                  </a:lnTo>
                  <a:lnTo>
                    <a:pt x="28" y="34"/>
                  </a:lnTo>
                  <a:lnTo>
                    <a:pt x="28" y="32"/>
                  </a:lnTo>
                  <a:lnTo>
                    <a:pt x="28" y="30"/>
                  </a:lnTo>
                  <a:lnTo>
                    <a:pt x="28" y="28"/>
                  </a:lnTo>
                  <a:lnTo>
                    <a:pt x="30" y="26"/>
                  </a:lnTo>
                  <a:lnTo>
                    <a:pt x="30" y="26"/>
                  </a:lnTo>
                  <a:lnTo>
                    <a:pt x="30" y="24"/>
                  </a:lnTo>
                  <a:lnTo>
                    <a:pt x="30" y="24"/>
                  </a:lnTo>
                  <a:lnTo>
                    <a:pt x="32" y="22"/>
                  </a:lnTo>
                  <a:lnTo>
                    <a:pt x="32" y="22"/>
                  </a:lnTo>
                  <a:lnTo>
                    <a:pt x="32" y="22"/>
                  </a:lnTo>
                  <a:lnTo>
                    <a:pt x="34" y="22"/>
                  </a:lnTo>
                  <a:lnTo>
                    <a:pt x="34" y="22"/>
                  </a:lnTo>
                  <a:lnTo>
                    <a:pt x="36" y="24"/>
                  </a:lnTo>
                  <a:lnTo>
                    <a:pt x="36" y="24"/>
                  </a:lnTo>
                  <a:lnTo>
                    <a:pt x="40" y="26"/>
                  </a:lnTo>
                  <a:lnTo>
                    <a:pt x="42" y="28"/>
                  </a:lnTo>
                  <a:lnTo>
                    <a:pt x="42" y="30"/>
                  </a:lnTo>
                  <a:lnTo>
                    <a:pt x="44" y="32"/>
                  </a:lnTo>
                  <a:lnTo>
                    <a:pt x="48" y="34"/>
                  </a:lnTo>
                  <a:lnTo>
                    <a:pt x="50" y="38"/>
                  </a:lnTo>
                  <a:lnTo>
                    <a:pt x="52" y="40"/>
                  </a:lnTo>
                  <a:lnTo>
                    <a:pt x="52" y="42"/>
                  </a:lnTo>
                  <a:lnTo>
                    <a:pt x="54" y="42"/>
                  </a:lnTo>
                  <a:lnTo>
                    <a:pt x="56" y="44"/>
                  </a:lnTo>
                  <a:lnTo>
                    <a:pt x="58" y="46"/>
                  </a:lnTo>
                  <a:lnTo>
                    <a:pt x="60" y="46"/>
                  </a:lnTo>
                  <a:lnTo>
                    <a:pt x="62" y="48"/>
                  </a:lnTo>
                  <a:lnTo>
                    <a:pt x="64" y="48"/>
                  </a:lnTo>
                  <a:lnTo>
                    <a:pt x="64" y="50"/>
                  </a:lnTo>
                  <a:lnTo>
                    <a:pt x="64" y="52"/>
                  </a:lnTo>
                  <a:lnTo>
                    <a:pt x="66" y="52"/>
                  </a:lnTo>
                  <a:lnTo>
                    <a:pt x="66" y="54"/>
                  </a:lnTo>
                  <a:lnTo>
                    <a:pt x="66" y="56"/>
                  </a:lnTo>
                  <a:lnTo>
                    <a:pt x="66" y="60"/>
                  </a:lnTo>
                  <a:lnTo>
                    <a:pt x="66" y="64"/>
                  </a:lnTo>
                  <a:lnTo>
                    <a:pt x="66" y="68"/>
                  </a:lnTo>
                  <a:lnTo>
                    <a:pt x="66" y="72"/>
                  </a:lnTo>
                  <a:lnTo>
                    <a:pt x="66" y="74"/>
                  </a:lnTo>
                  <a:lnTo>
                    <a:pt x="66" y="74"/>
                  </a:lnTo>
                  <a:lnTo>
                    <a:pt x="66" y="76"/>
                  </a:lnTo>
                  <a:lnTo>
                    <a:pt x="66" y="78"/>
                  </a:lnTo>
                  <a:lnTo>
                    <a:pt x="68" y="80"/>
                  </a:lnTo>
                  <a:lnTo>
                    <a:pt x="68" y="80"/>
                  </a:lnTo>
                  <a:lnTo>
                    <a:pt x="70" y="82"/>
                  </a:lnTo>
                  <a:lnTo>
                    <a:pt x="72" y="84"/>
                  </a:lnTo>
                  <a:lnTo>
                    <a:pt x="76" y="86"/>
                  </a:lnTo>
                  <a:lnTo>
                    <a:pt x="76" y="88"/>
                  </a:lnTo>
                  <a:lnTo>
                    <a:pt x="78" y="90"/>
                  </a:lnTo>
                  <a:lnTo>
                    <a:pt x="80" y="90"/>
                  </a:lnTo>
                  <a:lnTo>
                    <a:pt x="80" y="94"/>
                  </a:lnTo>
                  <a:lnTo>
                    <a:pt x="84" y="98"/>
                  </a:lnTo>
                  <a:lnTo>
                    <a:pt x="84" y="102"/>
                  </a:lnTo>
                  <a:lnTo>
                    <a:pt x="86" y="104"/>
                  </a:lnTo>
                  <a:lnTo>
                    <a:pt x="88" y="106"/>
                  </a:lnTo>
                  <a:lnTo>
                    <a:pt x="88" y="108"/>
                  </a:lnTo>
                  <a:lnTo>
                    <a:pt x="90" y="108"/>
                  </a:lnTo>
                  <a:lnTo>
                    <a:pt x="90" y="108"/>
                  </a:lnTo>
                  <a:lnTo>
                    <a:pt x="92" y="110"/>
                  </a:lnTo>
                  <a:lnTo>
                    <a:pt x="94" y="110"/>
                  </a:lnTo>
                  <a:lnTo>
                    <a:pt x="96" y="112"/>
                  </a:lnTo>
                  <a:lnTo>
                    <a:pt x="96" y="112"/>
                  </a:lnTo>
                  <a:lnTo>
                    <a:pt x="98" y="112"/>
                  </a:lnTo>
                  <a:lnTo>
                    <a:pt x="98" y="112"/>
                  </a:lnTo>
                  <a:lnTo>
                    <a:pt x="98" y="112"/>
                  </a:lnTo>
                  <a:lnTo>
                    <a:pt x="98" y="114"/>
                  </a:lnTo>
                  <a:lnTo>
                    <a:pt x="98" y="114"/>
                  </a:lnTo>
                  <a:lnTo>
                    <a:pt x="98" y="116"/>
                  </a:lnTo>
                  <a:lnTo>
                    <a:pt x="98" y="116"/>
                  </a:lnTo>
                  <a:lnTo>
                    <a:pt x="98" y="118"/>
                  </a:lnTo>
                  <a:lnTo>
                    <a:pt x="98" y="120"/>
                  </a:lnTo>
                  <a:lnTo>
                    <a:pt x="96" y="122"/>
                  </a:lnTo>
                  <a:lnTo>
                    <a:pt x="96" y="124"/>
                  </a:lnTo>
                  <a:lnTo>
                    <a:pt x="96" y="126"/>
                  </a:lnTo>
                  <a:lnTo>
                    <a:pt x="96" y="126"/>
                  </a:lnTo>
                  <a:lnTo>
                    <a:pt x="96" y="128"/>
                  </a:lnTo>
                  <a:lnTo>
                    <a:pt x="96" y="128"/>
                  </a:lnTo>
                  <a:lnTo>
                    <a:pt x="98" y="128"/>
                  </a:lnTo>
                  <a:lnTo>
                    <a:pt x="98" y="130"/>
                  </a:lnTo>
                  <a:lnTo>
                    <a:pt x="98" y="130"/>
                  </a:lnTo>
                  <a:lnTo>
                    <a:pt x="100" y="130"/>
                  </a:lnTo>
                  <a:lnTo>
                    <a:pt x="102" y="130"/>
                  </a:lnTo>
                  <a:lnTo>
                    <a:pt x="104" y="130"/>
                  </a:lnTo>
                  <a:lnTo>
                    <a:pt x="106" y="132"/>
                  </a:lnTo>
                  <a:lnTo>
                    <a:pt x="108" y="132"/>
                  </a:lnTo>
                  <a:lnTo>
                    <a:pt x="108" y="132"/>
                  </a:lnTo>
                  <a:lnTo>
                    <a:pt x="110" y="132"/>
                  </a:lnTo>
                  <a:lnTo>
                    <a:pt x="110" y="132"/>
                  </a:lnTo>
                  <a:lnTo>
                    <a:pt x="110" y="134"/>
                  </a:lnTo>
                  <a:lnTo>
                    <a:pt x="112" y="134"/>
                  </a:lnTo>
                  <a:lnTo>
                    <a:pt x="112" y="134"/>
                  </a:lnTo>
                  <a:lnTo>
                    <a:pt x="112" y="136"/>
                  </a:lnTo>
                  <a:lnTo>
                    <a:pt x="112" y="136"/>
                  </a:lnTo>
                  <a:lnTo>
                    <a:pt x="112" y="140"/>
                  </a:lnTo>
                  <a:lnTo>
                    <a:pt x="112" y="142"/>
                  </a:lnTo>
                  <a:lnTo>
                    <a:pt x="112" y="144"/>
                  </a:lnTo>
                  <a:lnTo>
                    <a:pt x="112" y="146"/>
                  </a:lnTo>
                  <a:lnTo>
                    <a:pt x="112" y="148"/>
                  </a:lnTo>
                  <a:lnTo>
                    <a:pt x="112" y="150"/>
                  </a:lnTo>
                  <a:lnTo>
                    <a:pt x="112" y="150"/>
                  </a:lnTo>
                  <a:lnTo>
                    <a:pt x="112" y="150"/>
                  </a:lnTo>
                  <a:lnTo>
                    <a:pt x="112" y="152"/>
                  </a:lnTo>
                  <a:lnTo>
                    <a:pt x="114" y="152"/>
                  </a:lnTo>
                  <a:lnTo>
                    <a:pt x="114" y="152"/>
                  </a:lnTo>
                  <a:lnTo>
                    <a:pt x="116" y="154"/>
                  </a:lnTo>
                  <a:lnTo>
                    <a:pt x="118" y="154"/>
                  </a:lnTo>
                  <a:lnTo>
                    <a:pt x="120" y="156"/>
                  </a:lnTo>
                  <a:lnTo>
                    <a:pt x="124" y="156"/>
                  </a:lnTo>
                  <a:lnTo>
                    <a:pt x="126" y="156"/>
                  </a:lnTo>
                  <a:lnTo>
                    <a:pt x="128" y="158"/>
                  </a:lnTo>
                  <a:lnTo>
                    <a:pt x="128" y="158"/>
                  </a:lnTo>
                  <a:lnTo>
                    <a:pt x="130" y="158"/>
                  </a:lnTo>
                  <a:lnTo>
                    <a:pt x="130" y="160"/>
                  </a:lnTo>
                  <a:lnTo>
                    <a:pt x="130" y="160"/>
                  </a:lnTo>
                  <a:lnTo>
                    <a:pt x="130" y="160"/>
                  </a:lnTo>
                  <a:lnTo>
                    <a:pt x="130" y="162"/>
                  </a:lnTo>
                  <a:lnTo>
                    <a:pt x="130" y="164"/>
                  </a:lnTo>
                  <a:lnTo>
                    <a:pt x="130" y="166"/>
                  </a:lnTo>
                  <a:lnTo>
                    <a:pt x="130" y="168"/>
                  </a:lnTo>
                  <a:lnTo>
                    <a:pt x="128" y="170"/>
                  </a:lnTo>
                  <a:lnTo>
                    <a:pt x="128" y="170"/>
                  </a:lnTo>
                  <a:lnTo>
                    <a:pt x="130" y="172"/>
                  </a:lnTo>
                  <a:lnTo>
                    <a:pt x="130" y="172"/>
                  </a:lnTo>
                  <a:lnTo>
                    <a:pt x="130" y="172"/>
                  </a:lnTo>
                  <a:lnTo>
                    <a:pt x="130" y="172"/>
                  </a:lnTo>
                  <a:lnTo>
                    <a:pt x="130" y="172"/>
                  </a:lnTo>
                  <a:lnTo>
                    <a:pt x="132" y="174"/>
                  </a:lnTo>
                  <a:lnTo>
                    <a:pt x="134" y="174"/>
                  </a:lnTo>
                  <a:lnTo>
                    <a:pt x="136" y="172"/>
                  </a:lnTo>
                  <a:lnTo>
                    <a:pt x="136" y="172"/>
                  </a:lnTo>
                  <a:lnTo>
                    <a:pt x="138" y="172"/>
                  </a:lnTo>
                  <a:lnTo>
                    <a:pt x="140" y="172"/>
                  </a:lnTo>
                  <a:lnTo>
                    <a:pt x="140" y="174"/>
                  </a:lnTo>
                  <a:lnTo>
                    <a:pt x="140" y="174"/>
                  </a:lnTo>
                  <a:lnTo>
                    <a:pt x="142" y="174"/>
                  </a:lnTo>
                  <a:lnTo>
                    <a:pt x="142" y="176"/>
                  </a:lnTo>
                  <a:lnTo>
                    <a:pt x="142" y="176"/>
                  </a:lnTo>
                  <a:lnTo>
                    <a:pt x="142" y="178"/>
                  </a:lnTo>
                  <a:lnTo>
                    <a:pt x="142" y="180"/>
                  </a:lnTo>
                  <a:lnTo>
                    <a:pt x="142" y="182"/>
                  </a:lnTo>
                  <a:lnTo>
                    <a:pt x="142" y="188"/>
                  </a:lnTo>
                  <a:lnTo>
                    <a:pt x="142" y="190"/>
                  </a:lnTo>
                  <a:lnTo>
                    <a:pt x="142" y="192"/>
                  </a:lnTo>
                  <a:lnTo>
                    <a:pt x="142" y="192"/>
                  </a:lnTo>
                  <a:lnTo>
                    <a:pt x="142" y="194"/>
                  </a:lnTo>
                  <a:lnTo>
                    <a:pt x="144" y="196"/>
                  </a:lnTo>
                  <a:lnTo>
                    <a:pt x="146" y="200"/>
                  </a:lnTo>
                  <a:lnTo>
                    <a:pt x="146" y="202"/>
                  </a:lnTo>
                  <a:lnTo>
                    <a:pt x="148" y="204"/>
                  </a:lnTo>
                  <a:lnTo>
                    <a:pt x="148" y="206"/>
                  </a:lnTo>
                  <a:lnTo>
                    <a:pt x="148" y="208"/>
                  </a:lnTo>
                  <a:lnTo>
                    <a:pt x="148" y="208"/>
                  </a:lnTo>
                  <a:lnTo>
                    <a:pt x="148" y="210"/>
                  </a:lnTo>
                  <a:lnTo>
                    <a:pt x="148" y="210"/>
                  </a:lnTo>
                  <a:lnTo>
                    <a:pt x="148" y="212"/>
                  </a:lnTo>
                  <a:lnTo>
                    <a:pt x="146" y="214"/>
                  </a:lnTo>
                  <a:lnTo>
                    <a:pt x="146" y="216"/>
                  </a:lnTo>
                  <a:lnTo>
                    <a:pt x="144" y="218"/>
                  </a:lnTo>
                  <a:lnTo>
                    <a:pt x="144" y="220"/>
                  </a:lnTo>
                  <a:lnTo>
                    <a:pt x="144" y="222"/>
                  </a:lnTo>
                  <a:lnTo>
                    <a:pt x="144" y="222"/>
                  </a:lnTo>
                  <a:lnTo>
                    <a:pt x="144" y="224"/>
                  </a:lnTo>
                  <a:lnTo>
                    <a:pt x="144" y="224"/>
                  </a:lnTo>
                  <a:lnTo>
                    <a:pt x="144" y="224"/>
                  </a:lnTo>
                  <a:lnTo>
                    <a:pt x="144" y="226"/>
                  </a:lnTo>
                  <a:lnTo>
                    <a:pt x="146" y="226"/>
                  </a:lnTo>
                  <a:lnTo>
                    <a:pt x="146" y="226"/>
                  </a:lnTo>
                  <a:lnTo>
                    <a:pt x="148" y="228"/>
                  </a:lnTo>
                  <a:lnTo>
                    <a:pt x="150" y="228"/>
                  </a:lnTo>
                  <a:lnTo>
                    <a:pt x="154" y="230"/>
                  </a:lnTo>
                  <a:lnTo>
                    <a:pt x="156" y="232"/>
                  </a:lnTo>
                  <a:lnTo>
                    <a:pt x="158" y="232"/>
                  </a:lnTo>
                  <a:lnTo>
                    <a:pt x="166" y="238"/>
                  </a:lnTo>
                  <a:lnTo>
                    <a:pt x="176" y="244"/>
                  </a:lnTo>
                  <a:lnTo>
                    <a:pt x="196" y="260"/>
                  </a:lnTo>
                  <a:lnTo>
                    <a:pt x="208" y="266"/>
                  </a:lnTo>
                  <a:lnTo>
                    <a:pt x="218" y="274"/>
                  </a:lnTo>
                  <a:lnTo>
                    <a:pt x="224" y="276"/>
                  </a:lnTo>
                  <a:lnTo>
                    <a:pt x="228" y="280"/>
                  </a:lnTo>
                  <a:lnTo>
                    <a:pt x="232" y="282"/>
                  </a:lnTo>
                  <a:lnTo>
                    <a:pt x="236" y="284"/>
                  </a:lnTo>
                  <a:lnTo>
                    <a:pt x="246" y="288"/>
                  </a:lnTo>
                  <a:lnTo>
                    <a:pt x="250" y="290"/>
                  </a:lnTo>
                  <a:lnTo>
                    <a:pt x="256" y="292"/>
                  </a:lnTo>
                  <a:lnTo>
                    <a:pt x="262" y="294"/>
                  </a:lnTo>
                  <a:lnTo>
                    <a:pt x="264" y="296"/>
                  </a:lnTo>
                  <a:lnTo>
                    <a:pt x="268" y="296"/>
                  </a:lnTo>
                  <a:lnTo>
                    <a:pt x="270" y="296"/>
                  </a:lnTo>
                  <a:lnTo>
                    <a:pt x="272" y="298"/>
                  </a:lnTo>
                  <a:lnTo>
                    <a:pt x="274" y="298"/>
                  </a:lnTo>
                  <a:lnTo>
                    <a:pt x="276" y="296"/>
                  </a:lnTo>
                  <a:lnTo>
                    <a:pt x="278" y="296"/>
                  </a:lnTo>
                  <a:lnTo>
                    <a:pt x="278" y="296"/>
                  </a:lnTo>
                  <a:lnTo>
                    <a:pt x="280" y="296"/>
                  </a:lnTo>
                  <a:lnTo>
                    <a:pt x="282" y="294"/>
                  </a:lnTo>
                  <a:lnTo>
                    <a:pt x="284" y="292"/>
                  </a:lnTo>
                  <a:lnTo>
                    <a:pt x="286" y="290"/>
                  </a:lnTo>
                  <a:lnTo>
                    <a:pt x="288" y="290"/>
                  </a:lnTo>
                  <a:lnTo>
                    <a:pt x="290" y="288"/>
                  </a:lnTo>
                  <a:lnTo>
                    <a:pt x="290" y="288"/>
                  </a:lnTo>
                  <a:lnTo>
                    <a:pt x="290" y="288"/>
                  </a:lnTo>
                  <a:lnTo>
                    <a:pt x="292" y="288"/>
                  </a:lnTo>
                  <a:lnTo>
                    <a:pt x="294" y="288"/>
                  </a:lnTo>
                  <a:lnTo>
                    <a:pt x="296" y="290"/>
                  </a:lnTo>
                  <a:lnTo>
                    <a:pt x="296" y="290"/>
                  </a:lnTo>
                  <a:lnTo>
                    <a:pt x="300" y="292"/>
                  </a:lnTo>
                  <a:lnTo>
                    <a:pt x="302" y="292"/>
                  </a:lnTo>
                  <a:lnTo>
                    <a:pt x="302" y="294"/>
                  </a:lnTo>
                  <a:lnTo>
                    <a:pt x="306" y="294"/>
                  </a:lnTo>
                  <a:lnTo>
                    <a:pt x="310" y="296"/>
                  </a:lnTo>
                  <a:lnTo>
                    <a:pt x="314" y="296"/>
                  </a:lnTo>
                  <a:lnTo>
                    <a:pt x="316" y="298"/>
                  </a:lnTo>
                  <a:lnTo>
                    <a:pt x="318" y="298"/>
                  </a:lnTo>
                  <a:lnTo>
                    <a:pt x="318" y="300"/>
                  </a:lnTo>
                  <a:lnTo>
                    <a:pt x="320" y="300"/>
                  </a:lnTo>
                  <a:lnTo>
                    <a:pt x="322" y="302"/>
                  </a:lnTo>
                  <a:lnTo>
                    <a:pt x="324" y="306"/>
                  </a:lnTo>
                  <a:lnTo>
                    <a:pt x="326" y="308"/>
                  </a:lnTo>
                  <a:lnTo>
                    <a:pt x="328" y="312"/>
                  </a:lnTo>
                  <a:lnTo>
                    <a:pt x="330" y="314"/>
                  </a:lnTo>
                  <a:lnTo>
                    <a:pt x="330" y="312"/>
                  </a:lnTo>
                  <a:lnTo>
                    <a:pt x="332" y="306"/>
                  </a:lnTo>
                  <a:lnTo>
                    <a:pt x="332" y="304"/>
                  </a:lnTo>
                  <a:lnTo>
                    <a:pt x="334" y="300"/>
                  </a:lnTo>
                  <a:lnTo>
                    <a:pt x="334" y="298"/>
                  </a:lnTo>
                  <a:lnTo>
                    <a:pt x="336" y="296"/>
                  </a:lnTo>
                  <a:lnTo>
                    <a:pt x="336" y="296"/>
                  </a:lnTo>
                  <a:lnTo>
                    <a:pt x="336" y="296"/>
                  </a:lnTo>
                  <a:lnTo>
                    <a:pt x="336" y="296"/>
                  </a:lnTo>
                  <a:lnTo>
                    <a:pt x="338" y="294"/>
                  </a:lnTo>
                  <a:lnTo>
                    <a:pt x="340" y="294"/>
                  </a:lnTo>
                  <a:lnTo>
                    <a:pt x="342" y="294"/>
                  </a:lnTo>
                  <a:lnTo>
                    <a:pt x="344" y="294"/>
                  </a:lnTo>
                  <a:lnTo>
                    <a:pt x="346" y="294"/>
                  </a:lnTo>
                  <a:lnTo>
                    <a:pt x="348" y="294"/>
                  </a:lnTo>
                  <a:lnTo>
                    <a:pt x="348" y="292"/>
                  </a:lnTo>
                  <a:lnTo>
                    <a:pt x="348" y="292"/>
                  </a:lnTo>
                  <a:lnTo>
                    <a:pt x="348" y="292"/>
                  </a:lnTo>
                  <a:lnTo>
                    <a:pt x="350" y="290"/>
                  </a:lnTo>
                  <a:lnTo>
                    <a:pt x="350" y="290"/>
                  </a:lnTo>
                  <a:lnTo>
                    <a:pt x="350" y="288"/>
                  </a:lnTo>
                  <a:lnTo>
                    <a:pt x="350" y="286"/>
                  </a:lnTo>
                  <a:lnTo>
                    <a:pt x="350" y="284"/>
                  </a:lnTo>
                  <a:lnTo>
                    <a:pt x="350" y="280"/>
                  </a:lnTo>
                  <a:lnTo>
                    <a:pt x="350" y="278"/>
                  </a:lnTo>
                  <a:lnTo>
                    <a:pt x="350" y="278"/>
                  </a:lnTo>
                  <a:lnTo>
                    <a:pt x="350" y="276"/>
                  </a:lnTo>
                  <a:lnTo>
                    <a:pt x="350" y="276"/>
                  </a:lnTo>
                  <a:lnTo>
                    <a:pt x="350" y="274"/>
                  </a:lnTo>
                  <a:lnTo>
                    <a:pt x="352" y="274"/>
                  </a:lnTo>
                  <a:lnTo>
                    <a:pt x="352" y="272"/>
                  </a:lnTo>
                  <a:lnTo>
                    <a:pt x="354" y="272"/>
                  </a:lnTo>
                  <a:lnTo>
                    <a:pt x="356" y="270"/>
                  </a:lnTo>
                  <a:lnTo>
                    <a:pt x="360" y="270"/>
                  </a:lnTo>
                  <a:lnTo>
                    <a:pt x="364" y="268"/>
                  </a:lnTo>
                  <a:lnTo>
                    <a:pt x="368" y="266"/>
                  </a:lnTo>
                  <a:lnTo>
                    <a:pt x="370" y="266"/>
                  </a:lnTo>
                  <a:lnTo>
                    <a:pt x="374" y="264"/>
                  </a:lnTo>
                  <a:lnTo>
                    <a:pt x="376" y="264"/>
                  </a:lnTo>
                  <a:lnTo>
                    <a:pt x="380" y="262"/>
                  </a:lnTo>
                  <a:lnTo>
                    <a:pt x="382" y="262"/>
                  </a:lnTo>
                  <a:lnTo>
                    <a:pt x="384" y="260"/>
                  </a:lnTo>
                  <a:lnTo>
                    <a:pt x="386" y="260"/>
                  </a:lnTo>
                  <a:lnTo>
                    <a:pt x="392" y="256"/>
                  </a:lnTo>
                  <a:lnTo>
                    <a:pt x="398" y="252"/>
                  </a:lnTo>
                  <a:lnTo>
                    <a:pt x="400" y="250"/>
                  </a:lnTo>
                  <a:lnTo>
                    <a:pt x="404" y="248"/>
                  </a:lnTo>
                  <a:lnTo>
                    <a:pt x="406" y="244"/>
                  </a:lnTo>
                  <a:lnTo>
                    <a:pt x="408" y="242"/>
                  </a:lnTo>
                  <a:lnTo>
                    <a:pt x="408" y="240"/>
                  </a:lnTo>
                  <a:lnTo>
                    <a:pt x="408" y="240"/>
                  </a:lnTo>
                  <a:lnTo>
                    <a:pt x="410" y="238"/>
                  </a:lnTo>
                  <a:lnTo>
                    <a:pt x="410" y="238"/>
                  </a:lnTo>
                  <a:lnTo>
                    <a:pt x="410" y="238"/>
                  </a:lnTo>
                  <a:lnTo>
                    <a:pt x="410" y="234"/>
                  </a:lnTo>
                  <a:lnTo>
                    <a:pt x="408" y="232"/>
                  </a:lnTo>
                  <a:lnTo>
                    <a:pt x="408" y="230"/>
                  </a:lnTo>
                  <a:lnTo>
                    <a:pt x="408" y="226"/>
                  </a:lnTo>
                  <a:lnTo>
                    <a:pt x="408" y="224"/>
                  </a:lnTo>
                  <a:lnTo>
                    <a:pt x="408" y="222"/>
                  </a:lnTo>
                  <a:lnTo>
                    <a:pt x="408" y="222"/>
                  </a:lnTo>
                  <a:lnTo>
                    <a:pt x="408" y="220"/>
                  </a:lnTo>
                  <a:lnTo>
                    <a:pt x="408" y="220"/>
                  </a:lnTo>
                  <a:lnTo>
                    <a:pt x="408" y="220"/>
                  </a:lnTo>
                  <a:lnTo>
                    <a:pt x="410" y="220"/>
                  </a:lnTo>
                  <a:lnTo>
                    <a:pt x="412" y="218"/>
                  </a:lnTo>
                  <a:lnTo>
                    <a:pt x="414" y="218"/>
                  </a:lnTo>
                  <a:lnTo>
                    <a:pt x="414" y="216"/>
                  </a:lnTo>
                  <a:lnTo>
                    <a:pt x="414" y="216"/>
                  </a:lnTo>
                  <a:lnTo>
                    <a:pt x="414" y="216"/>
                  </a:lnTo>
                  <a:lnTo>
                    <a:pt x="414" y="214"/>
                  </a:lnTo>
                  <a:lnTo>
                    <a:pt x="414" y="212"/>
                  </a:lnTo>
                  <a:lnTo>
                    <a:pt x="414" y="210"/>
                  </a:lnTo>
                  <a:lnTo>
                    <a:pt x="414" y="208"/>
                  </a:lnTo>
                  <a:lnTo>
                    <a:pt x="414" y="206"/>
                  </a:lnTo>
                  <a:lnTo>
                    <a:pt x="412" y="204"/>
                  </a:lnTo>
                  <a:lnTo>
                    <a:pt x="412" y="202"/>
                  </a:lnTo>
                  <a:lnTo>
                    <a:pt x="412" y="202"/>
                  </a:lnTo>
                  <a:lnTo>
                    <a:pt x="410" y="202"/>
                  </a:lnTo>
                  <a:lnTo>
                    <a:pt x="410" y="200"/>
                  </a:lnTo>
                  <a:lnTo>
                    <a:pt x="408" y="200"/>
                  </a:lnTo>
                  <a:lnTo>
                    <a:pt x="406" y="198"/>
                  </a:lnTo>
                  <a:lnTo>
                    <a:pt x="404" y="198"/>
                  </a:lnTo>
                  <a:lnTo>
                    <a:pt x="402" y="198"/>
                  </a:lnTo>
                  <a:lnTo>
                    <a:pt x="400" y="198"/>
                  </a:lnTo>
                  <a:lnTo>
                    <a:pt x="398" y="198"/>
                  </a:lnTo>
                  <a:lnTo>
                    <a:pt x="396" y="198"/>
                  </a:lnTo>
                  <a:lnTo>
                    <a:pt x="390" y="198"/>
                  </a:lnTo>
                  <a:lnTo>
                    <a:pt x="386" y="198"/>
                  </a:lnTo>
                  <a:lnTo>
                    <a:pt x="382" y="198"/>
                  </a:lnTo>
                  <a:lnTo>
                    <a:pt x="380" y="198"/>
                  </a:lnTo>
                  <a:lnTo>
                    <a:pt x="380" y="198"/>
                  </a:lnTo>
                  <a:lnTo>
                    <a:pt x="378" y="200"/>
                  </a:lnTo>
                  <a:lnTo>
                    <a:pt x="376" y="200"/>
                  </a:lnTo>
                  <a:lnTo>
                    <a:pt x="374" y="202"/>
                  </a:lnTo>
                  <a:lnTo>
                    <a:pt x="372" y="204"/>
                  </a:lnTo>
                  <a:lnTo>
                    <a:pt x="370" y="206"/>
                  </a:lnTo>
                  <a:lnTo>
                    <a:pt x="368" y="206"/>
                  </a:lnTo>
                  <a:lnTo>
                    <a:pt x="366" y="208"/>
                  </a:lnTo>
                  <a:lnTo>
                    <a:pt x="366" y="210"/>
                  </a:lnTo>
                  <a:lnTo>
                    <a:pt x="364" y="212"/>
                  </a:lnTo>
                  <a:lnTo>
                    <a:pt x="364" y="214"/>
                  </a:lnTo>
                  <a:lnTo>
                    <a:pt x="362" y="214"/>
                  </a:lnTo>
                  <a:lnTo>
                    <a:pt x="362" y="216"/>
                  </a:lnTo>
                  <a:lnTo>
                    <a:pt x="360" y="222"/>
                  </a:lnTo>
                  <a:lnTo>
                    <a:pt x="358" y="226"/>
                  </a:lnTo>
                  <a:lnTo>
                    <a:pt x="356" y="230"/>
                  </a:lnTo>
                  <a:lnTo>
                    <a:pt x="354" y="234"/>
                  </a:lnTo>
                  <a:lnTo>
                    <a:pt x="354" y="236"/>
                  </a:lnTo>
                  <a:lnTo>
                    <a:pt x="352" y="238"/>
                  </a:lnTo>
                  <a:lnTo>
                    <a:pt x="352" y="240"/>
                  </a:lnTo>
                  <a:lnTo>
                    <a:pt x="350" y="240"/>
                  </a:lnTo>
                  <a:lnTo>
                    <a:pt x="350" y="240"/>
                  </a:lnTo>
                  <a:lnTo>
                    <a:pt x="348" y="242"/>
                  </a:lnTo>
                  <a:lnTo>
                    <a:pt x="346" y="242"/>
                  </a:lnTo>
                  <a:lnTo>
                    <a:pt x="342" y="244"/>
                  </a:lnTo>
                  <a:lnTo>
                    <a:pt x="340" y="244"/>
                  </a:lnTo>
                  <a:lnTo>
                    <a:pt x="336" y="246"/>
                  </a:lnTo>
                  <a:lnTo>
                    <a:pt x="332" y="246"/>
                  </a:lnTo>
                  <a:lnTo>
                    <a:pt x="328" y="246"/>
                  </a:lnTo>
                  <a:lnTo>
                    <a:pt x="320" y="248"/>
                  </a:lnTo>
                  <a:lnTo>
                    <a:pt x="316" y="248"/>
                  </a:lnTo>
                  <a:lnTo>
                    <a:pt x="312" y="248"/>
                  </a:lnTo>
                  <a:lnTo>
                    <a:pt x="308" y="248"/>
                  </a:lnTo>
                  <a:lnTo>
                    <a:pt x="302" y="248"/>
                  </a:lnTo>
                  <a:lnTo>
                    <a:pt x="300" y="248"/>
                  </a:lnTo>
                  <a:lnTo>
                    <a:pt x="298" y="248"/>
                  </a:lnTo>
                  <a:lnTo>
                    <a:pt x="296" y="248"/>
                  </a:lnTo>
                  <a:lnTo>
                    <a:pt x="292" y="246"/>
                  </a:lnTo>
                  <a:lnTo>
                    <a:pt x="290" y="246"/>
                  </a:lnTo>
                  <a:lnTo>
                    <a:pt x="286" y="244"/>
                  </a:lnTo>
                  <a:lnTo>
                    <a:pt x="282" y="242"/>
                  </a:lnTo>
                  <a:lnTo>
                    <a:pt x="280" y="238"/>
                  </a:lnTo>
                  <a:lnTo>
                    <a:pt x="276" y="236"/>
                  </a:lnTo>
                  <a:lnTo>
                    <a:pt x="274" y="234"/>
                  </a:lnTo>
                  <a:lnTo>
                    <a:pt x="272" y="232"/>
                  </a:lnTo>
                  <a:lnTo>
                    <a:pt x="272" y="232"/>
                  </a:lnTo>
                  <a:lnTo>
                    <a:pt x="270" y="230"/>
                  </a:lnTo>
                  <a:lnTo>
                    <a:pt x="270" y="228"/>
                  </a:lnTo>
                  <a:lnTo>
                    <a:pt x="270" y="226"/>
                  </a:lnTo>
                  <a:lnTo>
                    <a:pt x="268" y="222"/>
                  </a:lnTo>
                  <a:lnTo>
                    <a:pt x="268" y="220"/>
                  </a:lnTo>
                  <a:lnTo>
                    <a:pt x="268" y="218"/>
                  </a:lnTo>
                  <a:lnTo>
                    <a:pt x="266" y="212"/>
                  </a:lnTo>
                  <a:lnTo>
                    <a:pt x="266" y="200"/>
                  </a:lnTo>
                  <a:lnTo>
                    <a:pt x="266" y="194"/>
                  </a:lnTo>
                  <a:lnTo>
                    <a:pt x="264" y="192"/>
                  </a:lnTo>
                  <a:lnTo>
                    <a:pt x="264" y="190"/>
                  </a:lnTo>
                  <a:lnTo>
                    <a:pt x="264" y="186"/>
                  </a:lnTo>
                  <a:lnTo>
                    <a:pt x="262" y="184"/>
                  </a:lnTo>
                  <a:lnTo>
                    <a:pt x="260" y="176"/>
                  </a:lnTo>
                  <a:lnTo>
                    <a:pt x="258" y="172"/>
                  </a:lnTo>
                  <a:lnTo>
                    <a:pt x="258" y="168"/>
                  </a:lnTo>
                  <a:lnTo>
                    <a:pt x="258" y="164"/>
                  </a:lnTo>
                  <a:lnTo>
                    <a:pt x="258" y="162"/>
                  </a:lnTo>
                  <a:lnTo>
                    <a:pt x="256" y="160"/>
                  </a:lnTo>
                  <a:lnTo>
                    <a:pt x="258" y="158"/>
                  </a:lnTo>
                  <a:lnTo>
                    <a:pt x="258" y="156"/>
                  </a:lnTo>
                  <a:lnTo>
                    <a:pt x="258" y="154"/>
                  </a:lnTo>
                  <a:lnTo>
                    <a:pt x="260" y="150"/>
                  </a:lnTo>
                  <a:lnTo>
                    <a:pt x="262" y="144"/>
                  </a:lnTo>
                  <a:lnTo>
                    <a:pt x="262" y="142"/>
                  </a:lnTo>
                  <a:lnTo>
                    <a:pt x="264" y="140"/>
                  </a:lnTo>
                  <a:lnTo>
                    <a:pt x="264" y="134"/>
                  </a:lnTo>
                  <a:lnTo>
                    <a:pt x="266" y="128"/>
                  </a:lnTo>
                  <a:lnTo>
                    <a:pt x="266" y="1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2" name="Freeform 523"/>
            <p:cNvSpPr>
              <a:spLocks/>
            </p:cNvSpPr>
            <p:nvPr/>
          </p:nvSpPr>
          <p:spPr bwMode="auto">
            <a:xfrm>
              <a:off x="1414752" y="3693570"/>
              <a:ext cx="717079" cy="543872"/>
            </a:xfrm>
            <a:custGeom>
              <a:avLst/>
              <a:gdLst>
                <a:gd name="T0" fmla="*/ 246 w 414"/>
                <a:gd name="T1" fmla="*/ 120 h 314"/>
                <a:gd name="T2" fmla="*/ 242 w 414"/>
                <a:gd name="T3" fmla="*/ 100 h 314"/>
                <a:gd name="T4" fmla="*/ 230 w 414"/>
                <a:gd name="T5" fmla="*/ 90 h 314"/>
                <a:gd name="T6" fmla="*/ 220 w 414"/>
                <a:gd name="T7" fmla="*/ 64 h 314"/>
                <a:gd name="T8" fmla="*/ 202 w 414"/>
                <a:gd name="T9" fmla="*/ 50 h 314"/>
                <a:gd name="T10" fmla="*/ 198 w 414"/>
                <a:gd name="T11" fmla="*/ 70 h 314"/>
                <a:gd name="T12" fmla="*/ 180 w 414"/>
                <a:gd name="T13" fmla="*/ 68 h 314"/>
                <a:gd name="T14" fmla="*/ 174 w 414"/>
                <a:gd name="T15" fmla="*/ 46 h 314"/>
                <a:gd name="T16" fmla="*/ 166 w 414"/>
                <a:gd name="T17" fmla="*/ 38 h 314"/>
                <a:gd name="T18" fmla="*/ 160 w 414"/>
                <a:gd name="T19" fmla="*/ 28 h 314"/>
                <a:gd name="T20" fmla="*/ 152 w 414"/>
                <a:gd name="T21" fmla="*/ 16 h 314"/>
                <a:gd name="T22" fmla="*/ 140 w 414"/>
                <a:gd name="T23" fmla="*/ 18 h 314"/>
                <a:gd name="T24" fmla="*/ 126 w 414"/>
                <a:gd name="T25" fmla="*/ 22 h 314"/>
                <a:gd name="T26" fmla="*/ 120 w 414"/>
                <a:gd name="T27" fmla="*/ 32 h 314"/>
                <a:gd name="T28" fmla="*/ 90 w 414"/>
                <a:gd name="T29" fmla="*/ 36 h 314"/>
                <a:gd name="T30" fmla="*/ 62 w 414"/>
                <a:gd name="T31" fmla="*/ 30 h 314"/>
                <a:gd name="T32" fmla="*/ 36 w 414"/>
                <a:gd name="T33" fmla="*/ 12 h 314"/>
                <a:gd name="T34" fmla="*/ 26 w 414"/>
                <a:gd name="T35" fmla="*/ 0 h 314"/>
                <a:gd name="T36" fmla="*/ 0 w 414"/>
                <a:gd name="T37" fmla="*/ 28 h 314"/>
                <a:gd name="T38" fmla="*/ 16 w 414"/>
                <a:gd name="T39" fmla="*/ 54 h 314"/>
                <a:gd name="T40" fmla="*/ 28 w 414"/>
                <a:gd name="T41" fmla="*/ 84 h 314"/>
                <a:gd name="T42" fmla="*/ 18 w 414"/>
                <a:gd name="T43" fmla="*/ 94 h 314"/>
                <a:gd name="T44" fmla="*/ 40 w 414"/>
                <a:gd name="T45" fmla="*/ 110 h 314"/>
                <a:gd name="T46" fmla="*/ 58 w 414"/>
                <a:gd name="T47" fmla="*/ 128 h 314"/>
                <a:gd name="T48" fmla="*/ 64 w 414"/>
                <a:gd name="T49" fmla="*/ 154 h 314"/>
                <a:gd name="T50" fmla="*/ 90 w 414"/>
                <a:gd name="T51" fmla="*/ 180 h 314"/>
                <a:gd name="T52" fmla="*/ 100 w 414"/>
                <a:gd name="T53" fmla="*/ 172 h 314"/>
                <a:gd name="T54" fmla="*/ 78 w 414"/>
                <a:gd name="T55" fmla="*/ 128 h 314"/>
                <a:gd name="T56" fmla="*/ 48 w 414"/>
                <a:gd name="T57" fmla="*/ 80 h 314"/>
                <a:gd name="T58" fmla="*/ 28 w 414"/>
                <a:gd name="T59" fmla="*/ 30 h 314"/>
                <a:gd name="T60" fmla="*/ 36 w 414"/>
                <a:gd name="T61" fmla="*/ 24 h 314"/>
                <a:gd name="T62" fmla="*/ 60 w 414"/>
                <a:gd name="T63" fmla="*/ 46 h 314"/>
                <a:gd name="T64" fmla="*/ 66 w 414"/>
                <a:gd name="T65" fmla="*/ 74 h 314"/>
                <a:gd name="T66" fmla="*/ 80 w 414"/>
                <a:gd name="T67" fmla="*/ 94 h 314"/>
                <a:gd name="T68" fmla="*/ 98 w 414"/>
                <a:gd name="T69" fmla="*/ 112 h 314"/>
                <a:gd name="T70" fmla="*/ 96 w 414"/>
                <a:gd name="T71" fmla="*/ 126 h 314"/>
                <a:gd name="T72" fmla="*/ 110 w 414"/>
                <a:gd name="T73" fmla="*/ 132 h 314"/>
                <a:gd name="T74" fmla="*/ 112 w 414"/>
                <a:gd name="T75" fmla="*/ 150 h 314"/>
                <a:gd name="T76" fmla="*/ 128 w 414"/>
                <a:gd name="T77" fmla="*/ 158 h 314"/>
                <a:gd name="T78" fmla="*/ 130 w 414"/>
                <a:gd name="T79" fmla="*/ 172 h 314"/>
                <a:gd name="T80" fmla="*/ 142 w 414"/>
                <a:gd name="T81" fmla="*/ 174 h 314"/>
                <a:gd name="T82" fmla="*/ 146 w 414"/>
                <a:gd name="T83" fmla="*/ 200 h 314"/>
                <a:gd name="T84" fmla="*/ 144 w 414"/>
                <a:gd name="T85" fmla="*/ 220 h 314"/>
                <a:gd name="T86" fmla="*/ 156 w 414"/>
                <a:gd name="T87" fmla="*/ 232 h 314"/>
                <a:gd name="T88" fmla="*/ 250 w 414"/>
                <a:gd name="T89" fmla="*/ 290 h 314"/>
                <a:gd name="T90" fmla="*/ 282 w 414"/>
                <a:gd name="T91" fmla="*/ 294 h 314"/>
                <a:gd name="T92" fmla="*/ 302 w 414"/>
                <a:gd name="T93" fmla="*/ 292 h 314"/>
                <a:gd name="T94" fmla="*/ 328 w 414"/>
                <a:gd name="T95" fmla="*/ 312 h 314"/>
                <a:gd name="T96" fmla="*/ 340 w 414"/>
                <a:gd name="T97" fmla="*/ 294 h 314"/>
                <a:gd name="T98" fmla="*/ 350 w 414"/>
                <a:gd name="T99" fmla="*/ 284 h 314"/>
                <a:gd name="T100" fmla="*/ 364 w 414"/>
                <a:gd name="T101" fmla="*/ 268 h 314"/>
                <a:gd name="T102" fmla="*/ 404 w 414"/>
                <a:gd name="T103" fmla="*/ 248 h 314"/>
                <a:gd name="T104" fmla="*/ 408 w 414"/>
                <a:gd name="T105" fmla="*/ 224 h 314"/>
                <a:gd name="T106" fmla="*/ 414 w 414"/>
                <a:gd name="T107" fmla="*/ 214 h 314"/>
                <a:gd name="T108" fmla="*/ 404 w 414"/>
                <a:gd name="T109" fmla="*/ 198 h 314"/>
                <a:gd name="T110" fmla="*/ 374 w 414"/>
                <a:gd name="T111" fmla="*/ 202 h 314"/>
                <a:gd name="T112" fmla="*/ 356 w 414"/>
                <a:gd name="T113" fmla="*/ 230 h 314"/>
                <a:gd name="T114" fmla="*/ 332 w 414"/>
                <a:gd name="T115" fmla="*/ 246 h 314"/>
                <a:gd name="T116" fmla="*/ 286 w 414"/>
                <a:gd name="T117" fmla="*/ 244 h 314"/>
                <a:gd name="T118" fmla="*/ 268 w 414"/>
                <a:gd name="T119" fmla="*/ 218 h 314"/>
                <a:gd name="T120" fmla="*/ 258 w 414"/>
                <a:gd name="T121" fmla="*/ 16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14">
                  <a:moveTo>
                    <a:pt x="266" y="120"/>
                  </a:moveTo>
                  <a:lnTo>
                    <a:pt x="266" y="120"/>
                  </a:lnTo>
                  <a:lnTo>
                    <a:pt x="264" y="122"/>
                  </a:lnTo>
                  <a:lnTo>
                    <a:pt x="262" y="122"/>
                  </a:lnTo>
                  <a:lnTo>
                    <a:pt x="258" y="122"/>
                  </a:lnTo>
                  <a:lnTo>
                    <a:pt x="254" y="122"/>
                  </a:lnTo>
                  <a:lnTo>
                    <a:pt x="252" y="122"/>
                  </a:lnTo>
                  <a:lnTo>
                    <a:pt x="250" y="122"/>
                  </a:lnTo>
                  <a:lnTo>
                    <a:pt x="248" y="122"/>
                  </a:lnTo>
                  <a:lnTo>
                    <a:pt x="248" y="122"/>
                  </a:lnTo>
                  <a:lnTo>
                    <a:pt x="246" y="120"/>
                  </a:lnTo>
                  <a:lnTo>
                    <a:pt x="246" y="120"/>
                  </a:lnTo>
                  <a:lnTo>
                    <a:pt x="246" y="118"/>
                  </a:lnTo>
                  <a:lnTo>
                    <a:pt x="246" y="118"/>
                  </a:lnTo>
                  <a:lnTo>
                    <a:pt x="246" y="116"/>
                  </a:lnTo>
                  <a:lnTo>
                    <a:pt x="244" y="114"/>
                  </a:lnTo>
                  <a:lnTo>
                    <a:pt x="244" y="110"/>
                  </a:lnTo>
                  <a:lnTo>
                    <a:pt x="244" y="108"/>
                  </a:lnTo>
                  <a:lnTo>
                    <a:pt x="244" y="104"/>
                  </a:lnTo>
                  <a:lnTo>
                    <a:pt x="244" y="104"/>
                  </a:lnTo>
                  <a:lnTo>
                    <a:pt x="244" y="102"/>
                  </a:lnTo>
                  <a:lnTo>
                    <a:pt x="244" y="102"/>
                  </a:lnTo>
                  <a:lnTo>
                    <a:pt x="242" y="100"/>
                  </a:lnTo>
                  <a:lnTo>
                    <a:pt x="242" y="100"/>
                  </a:lnTo>
                  <a:lnTo>
                    <a:pt x="242" y="100"/>
                  </a:lnTo>
                  <a:lnTo>
                    <a:pt x="240" y="98"/>
                  </a:lnTo>
                  <a:lnTo>
                    <a:pt x="238" y="98"/>
                  </a:lnTo>
                  <a:lnTo>
                    <a:pt x="236" y="98"/>
                  </a:lnTo>
                  <a:lnTo>
                    <a:pt x="234" y="96"/>
                  </a:lnTo>
                  <a:lnTo>
                    <a:pt x="232" y="96"/>
                  </a:lnTo>
                  <a:lnTo>
                    <a:pt x="232" y="94"/>
                  </a:lnTo>
                  <a:lnTo>
                    <a:pt x="230" y="94"/>
                  </a:lnTo>
                  <a:lnTo>
                    <a:pt x="230" y="94"/>
                  </a:lnTo>
                  <a:lnTo>
                    <a:pt x="230" y="94"/>
                  </a:lnTo>
                  <a:lnTo>
                    <a:pt x="230" y="92"/>
                  </a:lnTo>
                  <a:lnTo>
                    <a:pt x="230" y="90"/>
                  </a:lnTo>
                  <a:lnTo>
                    <a:pt x="228" y="90"/>
                  </a:lnTo>
                  <a:lnTo>
                    <a:pt x="228" y="86"/>
                  </a:lnTo>
                  <a:lnTo>
                    <a:pt x="228" y="84"/>
                  </a:lnTo>
                  <a:lnTo>
                    <a:pt x="228" y="80"/>
                  </a:lnTo>
                  <a:lnTo>
                    <a:pt x="228" y="78"/>
                  </a:lnTo>
                  <a:lnTo>
                    <a:pt x="228" y="74"/>
                  </a:lnTo>
                  <a:lnTo>
                    <a:pt x="226" y="74"/>
                  </a:lnTo>
                  <a:lnTo>
                    <a:pt x="226" y="72"/>
                  </a:lnTo>
                  <a:lnTo>
                    <a:pt x="226" y="72"/>
                  </a:lnTo>
                  <a:lnTo>
                    <a:pt x="224" y="70"/>
                  </a:lnTo>
                  <a:lnTo>
                    <a:pt x="222" y="66"/>
                  </a:lnTo>
                  <a:lnTo>
                    <a:pt x="220" y="64"/>
                  </a:lnTo>
                  <a:lnTo>
                    <a:pt x="218" y="62"/>
                  </a:lnTo>
                  <a:lnTo>
                    <a:pt x="214" y="58"/>
                  </a:lnTo>
                  <a:lnTo>
                    <a:pt x="212" y="56"/>
                  </a:lnTo>
                  <a:lnTo>
                    <a:pt x="210" y="54"/>
                  </a:lnTo>
                  <a:lnTo>
                    <a:pt x="208" y="52"/>
                  </a:lnTo>
                  <a:lnTo>
                    <a:pt x="208" y="52"/>
                  </a:lnTo>
                  <a:lnTo>
                    <a:pt x="206" y="50"/>
                  </a:lnTo>
                  <a:lnTo>
                    <a:pt x="206" y="50"/>
                  </a:lnTo>
                  <a:lnTo>
                    <a:pt x="204" y="50"/>
                  </a:lnTo>
                  <a:lnTo>
                    <a:pt x="204" y="50"/>
                  </a:lnTo>
                  <a:lnTo>
                    <a:pt x="202" y="50"/>
                  </a:lnTo>
                  <a:lnTo>
                    <a:pt x="202" y="50"/>
                  </a:lnTo>
                  <a:lnTo>
                    <a:pt x="202" y="52"/>
                  </a:lnTo>
                  <a:lnTo>
                    <a:pt x="200" y="52"/>
                  </a:lnTo>
                  <a:lnTo>
                    <a:pt x="200" y="54"/>
                  </a:lnTo>
                  <a:lnTo>
                    <a:pt x="200" y="54"/>
                  </a:lnTo>
                  <a:lnTo>
                    <a:pt x="200" y="56"/>
                  </a:lnTo>
                  <a:lnTo>
                    <a:pt x="200" y="60"/>
                  </a:lnTo>
                  <a:lnTo>
                    <a:pt x="200" y="62"/>
                  </a:lnTo>
                  <a:lnTo>
                    <a:pt x="200" y="66"/>
                  </a:lnTo>
                  <a:lnTo>
                    <a:pt x="200" y="68"/>
                  </a:lnTo>
                  <a:lnTo>
                    <a:pt x="198" y="68"/>
                  </a:lnTo>
                  <a:lnTo>
                    <a:pt x="198" y="70"/>
                  </a:lnTo>
                  <a:lnTo>
                    <a:pt x="198" y="70"/>
                  </a:lnTo>
                  <a:lnTo>
                    <a:pt x="196" y="70"/>
                  </a:lnTo>
                  <a:lnTo>
                    <a:pt x="196" y="72"/>
                  </a:lnTo>
                  <a:lnTo>
                    <a:pt x="194" y="72"/>
                  </a:lnTo>
                  <a:lnTo>
                    <a:pt x="192" y="72"/>
                  </a:lnTo>
                  <a:lnTo>
                    <a:pt x="190" y="72"/>
                  </a:lnTo>
                  <a:lnTo>
                    <a:pt x="188" y="72"/>
                  </a:lnTo>
                  <a:lnTo>
                    <a:pt x="186" y="72"/>
                  </a:lnTo>
                  <a:lnTo>
                    <a:pt x="184" y="72"/>
                  </a:lnTo>
                  <a:lnTo>
                    <a:pt x="184" y="70"/>
                  </a:lnTo>
                  <a:lnTo>
                    <a:pt x="182" y="70"/>
                  </a:lnTo>
                  <a:lnTo>
                    <a:pt x="182" y="70"/>
                  </a:lnTo>
                  <a:lnTo>
                    <a:pt x="180" y="68"/>
                  </a:lnTo>
                  <a:lnTo>
                    <a:pt x="180" y="66"/>
                  </a:lnTo>
                  <a:lnTo>
                    <a:pt x="180" y="66"/>
                  </a:lnTo>
                  <a:lnTo>
                    <a:pt x="180" y="64"/>
                  </a:lnTo>
                  <a:lnTo>
                    <a:pt x="180" y="62"/>
                  </a:lnTo>
                  <a:lnTo>
                    <a:pt x="178" y="58"/>
                  </a:lnTo>
                  <a:lnTo>
                    <a:pt x="178" y="54"/>
                  </a:lnTo>
                  <a:lnTo>
                    <a:pt x="178" y="52"/>
                  </a:lnTo>
                  <a:lnTo>
                    <a:pt x="176" y="50"/>
                  </a:lnTo>
                  <a:lnTo>
                    <a:pt x="176" y="48"/>
                  </a:lnTo>
                  <a:lnTo>
                    <a:pt x="176" y="48"/>
                  </a:lnTo>
                  <a:lnTo>
                    <a:pt x="174" y="46"/>
                  </a:lnTo>
                  <a:lnTo>
                    <a:pt x="174" y="46"/>
                  </a:lnTo>
                  <a:lnTo>
                    <a:pt x="174" y="46"/>
                  </a:lnTo>
                  <a:lnTo>
                    <a:pt x="170" y="46"/>
                  </a:lnTo>
                  <a:lnTo>
                    <a:pt x="170" y="44"/>
                  </a:lnTo>
                  <a:lnTo>
                    <a:pt x="168" y="44"/>
                  </a:lnTo>
                  <a:lnTo>
                    <a:pt x="166" y="44"/>
                  </a:lnTo>
                  <a:lnTo>
                    <a:pt x="166" y="44"/>
                  </a:lnTo>
                  <a:lnTo>
                    <a:pt x="166" y="44"/>
                  </a:lnTo>
                  <a:lnTo>
                    <a:pt x="166" y="44"/>
                  </a:lnTo>
                  <a:lnTo>
                    <a:pt x="166" y="42"/>
                  </a:lnTo>
                  <a:lnTo>
                    <a:pt x="166" y="42"/>
                  </a:lnTo>
                  <a:lnTo>
                    <a:pt x="166" y="40"/>
                  </a:lnTo>
                  <a:lnTo>
                    <a:pt x="166" y="38"/>
                  </a:lnTo>
                  <a:lnTo>
                    <a:pt x="166" y="36"/>
                  </a:lnTo>
                  <a:lnTo>
                    <a:pt x="166" y="34"/>
                  </a:lnTo>
                  <a:lnTo>
                    <a:pt x="166" y="32"/>
                  </a:lnTo>
                  <a:lnTo>
                    <a:pt x="166" y="32"/>
                  </a:lnTo>
                  <a:lnTo>
                    <a:pt x="166" y="32"/>
                  </a:lnTo>
                  <a:lnTo>
                    <a:pt x="166" y="30"/>
                  </a:lnTo>
                  <a:lnTo>
                    <a:pt x="164" y="30"/>
                  </a:lnTo>
                  <a:lnTo>
                    <a:pt x="164" y="30"/>
                  </a:lnTo>
                  <a:lnTo>
                    <a:pt x="164" y="30"/>
                  </a:lnTo>
                  <a:lnTo>
                    <a:pt x="162" y="28"/>
                  </a:lnTo>
                  <a:lnTo>
                    <a:pt x="162" y="28"/>
                  </a:lnTo>
                  <a:lnTo>
                    <a:pt x="160" y="28"/>
                  </a:lnTo>
                  <a:lnTo>
                    <a:pt x="158" y="28"/>
                  </a:lnTo>
                  <a:lnTo>
                    <a:pt x="156" y="28"/>
                  </a:lnTo>
                  <a:lnTo>
                    <a:pt x="154" y="28"/>
                  </a:lnTo>
                  <a:lnTo>
                    <a:pt x="154" y="28"/>
                  </a:lnTo>
                  <a:lnTo>
                    <a:pt x="154" y="28"/>
                  </a:lnTo>
                  <a:lnTo>
                    <a:pt x="152" y="26"/>
                  </a:lnTo>
                  <a:lnTo>
                    <a:pt x="152" y="26"/>
                  </a:lnTo>
                  <a:lnTo>
                    <a:pt x="152" y="26"/>
                  </a:lnTo>
                  <a:lnTo>
                    <a:pt x="152" y="24"/>
                  </a:lnTo>
                  <a:lnTo>
                    <a:pt x="152" y="22"/>
                  </a:lnTo>
                  <a:lnTo>
                    <a:pt x="152" y="20"/>
                  </a:lnTo>
                  <a:lnTo>
                    <a:pt x="152" y="16"/>
                  </a:lnTo>
                  <a:lnTo>
                    <a:pt x="150" y="14"/>
                  </a:lnTo>
                  <a:lnTo>
                    <a:pt x="150" y="14"/>
                  </a:lnTo>
                  <a:lnTo>
                    <a:pt x="150" y="14"/>
                  </a:lnTo>
                  <a:lnTo>
                    <a:pt x="150" y="12"/>
                  </a:lnTo>
                  <a:lnTo>
                    <a:pt x="148" y="12"/>
                  </a:lnTo>
                  <a:lnTo>
                    <a:pt x="148" y="12"/>
                  </a:lnTo>
                  <a:lnTo>
                    <a:pt x="148" y="12"/>
                  </a:lnTo>
                  <a:lnTo>
                    <a:pt x="146" y="12"/>
                  </a:lnTo>
                  <a:lnTo>
                    <a:pt x="146" y="12"/>
                  </a:lnTo>
                  <a:lnTo>
                    <a:pt x="144" y="14"/>
                  </a:lnTo>
                  <a:lnTo>
                    <a:pt x="144" y="16"/>
                  </a:lnTo>
                  <a:lnTo>
                    <a:pt x="140" y="18"/>
                  </a:lnTo>
                  <a:lnTo>
                    <a:pt x="140" y="20"/>
                  </a:lnTo>
                  <a:lnTo>
                    <a:pt x="140" y="20"/>
                  </a:lnTo>
                  <a:lnTo>
                    <a:pt x="138" y="20"/>
                  </a:lnTo>
                  <a:lnTo>
                    <a:pt x="138" y="20"/>
                  </a:lnTo>
                  <a:lnTo>
                    <a:pt x="136" y="20"/>
                  </a:lnTo>
                  <a:lnTo>
                    <a:pt x="132" y="20"/>
                  </a:lnTo>
                  <a:lnTo>
                    <a:pt x="130" y="20"/>
                  </a:lnTo>
                  <a:lnTo>
                    <a:pt x="128" y="20"/>
                  </a:lnTo>
                  <a:lnTo>
                    <a:pt x="128" y="20"/>
                  </a:lnTo>
                  <a:lnTo>
                    <a:pt x="126" y="20"/>
                  </a:lnTo>
                  <a:lnTo>
                    <a:pt x="126" y="22"/>
                  </a:lnTo>
                  <a:lnTo>
                    <a:pt x="126" y="22"/>
                  </a:lnTo>
                  <a:lnTo>
                    <a:pt x="126" y="22"/>
                  </a:lnTo>
                  <a:lnTo>
                    <a:pt x="124" y="22"/>
                  </a:lnTo>
                  <a:lnTo>
                    <a:pt x="124" y="24"/>
                  </a:lnTo>
                  <a:lnTo>
                    <a:pt x="124" y="26"/>
                  </a:lnTo>
                  <a:lnTo>
                    <a:pt x="124" y="26"/>
                  </a:lnTo>
                  <a:lnTo>
                    <a:pt x="124" y="28"/>
                  </a:lnTo>
                  <a:lnTo>
                    <a:pt x="124" y="30"/>
                  </a:lnTo>
                  <a:lnTo>
                    <a:pt x="124" y="30"/>
                  </a:lnTo>
                  <a:lnTo>
                    <a:pt x="124" y="30"/>
                  </a:lnTo>
                  <a:lnTo>
                    <a:pt x="122" y="30"/>
                  </a:lnTo>
                  <a:lnTo>
                    <a:pt x="122" y="30"/>
                  </a:lnTo>
                  <a:lnTo>
                    <a:pt x="120" y="32"/>
                  </a:lnTo>
                  <a:lnTo>
                    <a:pt x="118" y="32"/>
                  </a:lnTo>
                  <a:lnTo>
                    <a:pt x="116" y="32"/>
                  </a:lnTo>
                  <a:lnTo>
                    <a:pt x="112" y="30"/>
                  </a:lnTo>
                  <a:lnTo>
                    <a:pt x="106" y="30"/>
                  </a:lnTo>
                  <a:lnTo>
                    <a:pt x="104" y="30"/>
                  </a:lnTo>
                  <a:lnTo>
                    <a:pt x="102" y="30"/>
                  </a:lnTo>
                  <a:lnTo>
                    <a:pt x="102" y="30"/>
                  </a:lnTo>
                  <a:lnTo>
                    <a:pt x="100" y="30"/>
                  </a:lnTo>
                  <a:lnTo>
                    <a:pt x="98" y="32"/>
                  </a:lnTo>
                  <a:lnTo>
                    <a:pt x="94" y="34"/>
                  </a:lnTo>
                  <a:lnTo>
                    <a:pt x="92" y="34"/>
                  </a:lnTo>
                  <a:lnTo>
                    <a:pt x="90" y="36"/>
                  </a:lnTo>
                  <a:lnTo>
                    <a:pt x="88" y="36"/>
                  </a:lnTo>
                  <a:lnTo>
                    <a:pt x="86" y="36"/>
                  </a:lnTo>
                  <a:lnTo>
                    <a:pt x="84" y="36"/>
                  </a:lnTo>
                  <a:lnTo>
                    <a:pt x="80" y="36"/>
                  </a:lnTo>
                  <a:lnTo>
                    <a:pt x="78" y="36"/>
                  </a:lnTo>
                  <a:lnTo>
                    <a:pt x="74" y="34"/>
                  </a:lnTo>
                  <a:lnTo>
                    <a:pt x="70" y="34"/>
                  </a:lnTo>
                  <a:lnTo>
                    <a:pt x="68" y="34"/>
                  </a:lnTo>
                  <a:lnTo>
                    <a:pt x="66" y="32"/>
                  </a:lnTo>
                  <a:lnTo>
                    <a:pt x="62" y="32"/>
                  </a:lnTo>
                  <a:lnTo>
                    <a:pt x="62" y="30"/>
                  </a:lnTo>
                  <a:lnTo>
                    <a:pt x="62" y="30"/>
                  </a:lnTo>
                  <a:lnTo>
                    <a:pt x="60" y="28"/>
                  </a:lnTo>
                  <a:lnTo>
                    <a:pt x="58" y="26"/>
                  </a:lnTo>
                  <a:lnTo>
                    <a:pt x="56" y="24"/>
                  </a:lnTo>
                  <a:lnTo>
                    <a:pt x="52" y="20"/>
                  </a:lnTo>
                  <a:lnTo>
                    <a:pt x="50" y="18"/>
                  </a:lnTo>
                  <a:lnTo>
                    <a:pt x="48" y="16"/>
                  </a:lnTo>
                  <a:lnTo>
                    <a:pt x="46" y="16"/>
                  </a:lnTo>
                  <a:lnTo>
                    <a:pt x="44" y="14"/>
                  </a:lnTo>
                  <a:lnTo>
                    <a:pt x="42" y="14"/>
                  </a:lnTo>
                  <a:lnTo>
                    <a:pt x="40" y="14"/>
                  </a:lnTo>
                  <a:lnTo>
                    <a:pt x="38" y="12"/>
                  </a:lnTo>
                  <a:lnTo>
                    <a:pt x="36" y="12"/>
                  </a:lnTo>
                  <a:lnTo>
                    <a:pt x="36" y="12"/>
                  </a:lnTo>
                  <a:lnTo>
                    <a:pt x="34" y="10"/>
                  </a:lnTo>
                  <a:lnTo>
                    <a:pt x="34" y="8"/>
                  </a:lnTo>
                  <a:lnTo>
                    <a:pt x="34" y="6"/>
                  </a:lnTo>
                  <a:lnTo>
                    <a:pt x="32" y="6"/>
                  </a:lnTo>
                  <a:lnTo>
                    <a:pt x="32" y="4"/>
                  </a:lnTo>
                  <a:lnTo>
                    <a:pt x="32" y="2"/>
                  </a:lnTo>
                  <a:lnTo>
                    <a:pt x="32" y="2"/>
                  </a:lnTo>
                  <a:lnTo>
                    <a:pt x="32" y="2"/>
                  </a:lnTo>
                  <a:lnTo>
                    <a:pt x="30" y="2"/>
                  </a:lnTo>
                  <a:lnTo>
                    <a:pt x="28" y="0"/>
                  </a:lnTo>
                  <a:lnTo>
                    <a:pt x="26" y="0"/>
                  </a:lnTo>
                  <a:lnTo>
                    <a:pt x="24" y="0"/>
                  </a:lnTo>
                  <a:lnTo>
                    <a:pt x="22" y="0"/>
                  </a:lnTo>
                  <a:lnTo>
                    <a:pt x="18" y="0"/>
                  </a:lnTo>
                  <a:lnTo>
                    <a:pt x="14" y="0"/>
                  </a:lnTo>
                  <a:lnTo>
                    <a:pt x="8" y="0"/>
                  </a:lnTo>
                  <a:lnTo>
                    <a:pt x="4" y="0"/>
                  </a:lnTo>
                  <a:lnTo>
                    <a:pt x="0" y="0"/>
                  </a:lnTo>
                  <a:lnTo>
                    <a:pt x="0" y="6"/>
                  </a:lnTo>
                  <a:lnTo>
                    <a:pt x="0" y="10"/>
                  </a:lnTo>
                  <a:lnTo>
                    <a:pt x="0" y="16"/>
                  </a:lnTo>
                  <a:lnTo>
                    <a:pt x="0" y="22"/>
                  </a:lnTo>
                  <a:lnTo>
                    <a:pt x="0" y="28"/>
                  </a:lnTo>
                  <a:lnTo>
                    <a:pt x="0" y="30"/>
                  </a:lnTo>
                  <a:lnTo>
                    <a:pt x="2" y="34"/>
                  </a:lnTo>
                  <a:lnTo>
                    <a:pt x="2" y="36"/>
                  </a:lnTo>
                  <a:lnTo>
                    <a:pt x="2" y="38"/>
                  </a:lnTo>
                  <a:lnTo>
                    <a:pt x="2" y="38"/>
                  </a:lnTo>
                  <a:lnTo>
                    <a:pt x="4" y="40"/>
                  </a:lnTo>
                  <a:lnTo>
                    <a:pt x="4" y="42"/>
                  </a:lnTo>
                  <a:lnTo>
                    <a:pt x="6" y="44"/>
                  </a:lnTo>
                  <a:lnTo>
                    <a:pt x="8" y="46"/>
                  </a:lnTo>
                  <a:lnTo>
                    <a:pt x="14" y="50"/>
                  </a:lnTo>
                  <a:lnTo>
                    <a:pt x="14" y="52"/>
                  </a:lnTo>
                  <a:lnTo>
                    <a:pt x="16" y="54"/>
                  </a:lnTo>
                  <a:lnTo>
                    <a:pt x="20" y="58"/>
                  </a:lnTo>
                  <a:lnTo>
                    <a:pt x="24" y="64"/>
                  </a:lnTo>
                  <a:lnTo>
                    <a:pt x="26" y="66"/>
                  </a:lnTo>
                  <a:lnTo>
                    <a:pt x="26" y="68"/>
                  </a:lnTo>
                  <a:lnTo>
                    <a:pt x="28" y="72"/>
                  </a:lnTo>
                  <a:lnTo>
                    <a:pt x="28" y="72"/>
                  </a:lnTo>
                  <a:lnTo>
                    <a:pt x="28" y="74"/>
                  </a:lnTo>
                  <a:lnTo>
                    <a:pt x="28" y="76"/>
                  </a:lnTo>
                  <a:lnTo>
                    <a:pt x="28" y="78"/>
                  </a:lnTo>
                  <a:lnTo>
                    <a:pt x="28" y="80"/>
                  </a:lnTo>
                  <a:lnTo>
                    <a:pt x="28" y="82"/>
                  </a:lnTo>
                  <a:lnTo>
                    <a:pt x="28" y="84"/>
                  </a:lnTo>
                  <a:lnTo>
                    <a:pt x="26" y="84"/>
                  </a:lnTo>
                  <a:lnTo>
                    <a:pt x="26" y="86"/>
                  </a:lnTo>
                  <a:lnTo>
                    <a:pt x="26" y="88"/>
                  </a:lnTo>
                  <a:lnTo>
                    <a:pt x="24" y="88"/>
                  </a:lnTo>
                  <a:lnTo>
                    <a:pt x="24" y="90"/>
                  </a:lnTo>
                  <a:lnTo>
                    <a:pt x="20" y="90"/>
                  </a:lnTo>
                  <a:lnTo>
                    <a:pt x="20" y="90"/>
                  </a:lnTo>
                  <a:lnTo>
                    <a:pt x="18" y="92"/>
                  </a:lnTo>
                  <a:lnTo>
                    <a:pt x="18" y="92"/>
                  </a:lnTo>
                  <a:lnTo>
                    <a:pt x="18" y="92"/>
                  </a:lnTo>
                  <a:lnTo>
                    <a:pt x="18" y="92"/>
                  </a:lnTo>
                  <a:lnTo>
                    <a:pt x="18" y="94"/>
                  </a:lnTo>
                  <a:lnTo>
                    <a:pt x="18" y="94"/>
                  </a:lnTo>
                  <a:lnTo>
                    <a:pt x="18" y="96"/>
                  </a:lnTo>
                  <a:lnTo>
                    <a:pt x="20" y="98"/>
                  </a:lnTo>
                  <a:lnTo>
                    <a:pt x="20" y="98"/>
                  </a:lnTo>
                  <a:lnTo>
                    <a:pt x="22" y="100"/>
                  </a:lnTo>
                  <a:lnTo>
                    <a:pt x="24" y="100"/>
                  </a:lnTo>
                  <a:lnTo>
                    <a:pt x="26" y="102"/>
                  </a:lnTo>
                  <a:lnTo>
                    <a:pt x="28" y="104"/>
                  </a:lnTo>
                  <a:lnTo>
                    <a:pt x="32" y="106"/>
                  </a:lnTo>
                  <a:lnTo>
                    <a:pt x="36" y="108"/>
                  </a:lnTo>
                  <a:lnTo>
                    <a:pt x="38" y="110"/>
                  </a:lnTo>
                  <a:lnTo>
                    <a:pt x="40" y="110"/>
                  </a:lnTo>
                  <a:lnTo>
                    <a:pt x="42" y="112"/>
                  </a:lnTo>
                  <a:lnTo>
                    <a:pt x="44" y="112"/>
                  </a:lnTo>
                  <a:lnTo>
                    <a:pt x="46" y="114"/>
                  </a:lnTo>
                  <a:lnTo>
                    <a:pt x="50" y="118"/>
                  </a:lnTo>
                  <a:lnTo>
                    <a:pt x="52" y="120"/>
                  </a:lnTo>
                  <a:lnTo>
                    <a:pt x="54" y="120"/>
                  </a:lnTo>
                  <a:lnTo>
                    <a:pt x="56" y="122"/>
                  </a:lnTo>
                  <a:lnTo>
                    <a:pt x="58" y="124"/>
                  </a:lnTo>
                  <a:lnTo>
                    <a:pt x="58" y="124"/>
                  </a:lnTo>
                  <a:lnTo>
                    <a:pt x="58" y="126"/>
                  </a:lnTo>
                  <a:lnTo>
                    <a:pt x="58" y="126"/>
                  </a:lnTo>
                  <a:lnTo>
                    <a:pt x="58" y="128"/>
                  </a:lnTo>
                  <a:lnTo>
                    <a:pt x="60" y="130"/>
                  </a:lnTo>
                  <a:lnTo>
                    <a:pt x="60" y="132"/>
                  </a:lnTo>
                  <a:lnTo>
                    <a:pt x="60" y="136"/>
                  </a:lnTo>
                  <a:lnTo>
                    <a:pt x="60" y="140"/>
                  </a:lnTo>
                  <a:lnTo>
                    <a:pt x="60" y="144"/>
                  </a:lnTo>
                  <a:lnTo>
                    <a:pt x="60" y="144"/>
                  </a:lnTo>
                  <a:lnTo>
                    <a:pt x="60" y="146"/>
                  </a:lnTo>
                  <a:lnTo>
                    <a:pt x="60" y="148"/>
                  </a:lnTo>
                  <a:lnTo>
                    <a:pt x="60" y="148"/>
                  </a:lnTo>
                  <a:lnTo>
                    <a:pt x="62" y="150"/>
                  </a:lnTo>
                  <a:lnTo>
                    <a:pt x="62" y="152"/>
                  </a:lnTo>
                  <a:lnTo>
                    <a:pt x="64" y="154"/>
                  </a:lnTo>
                  <a:lnTo>
                    <a:pt x="66" y="156"/>
                  </a:lnTo>
                  <a:lnTo>
                    <a:pt x="68" y="160"/>
                  </a:lnTo>
                  <a:lnTo>
                    <a:pt x="72" y="166"/>
                  </a:lnTo>
                  <a:lnTo>
                    <a:pt x="76" y="170"/>
                  </a:lnTo>
                  <a:lnTo>
                    <a:pt x="78" y="172"/>
                  </a:lnTo>
                  <a:lnTo>
                    <a:pt x="80" y="174"/>
                  </a:lnTo>
                  <a:lnTo>
                    <a:pt x="82" y="174"/>
                  </a:lnTo>
                  <a:lnTo>
                    <a:pt x="84" y="176"/>
                  </a:lnTo>
                  <a:lnTo>
                    <a:pt x="86" y="178"/>
                  </a:lnTo>
                  <a:lnTo>
                    <a:pt x="88" y="178"/>
                  </a:lnTo>
                  <a:lnTo>
                    <a:pt x="90" y="178"/>
                  </a:lnTo>
                  <a:lnTo>
                    <a:pt x="90" y="180"/>
                  </a:lnTo>
                  <a:lnTo>
                    <a:pt x="92" y="180"/>
                  </a:lnTo>
                  <a:lnTo>
                    <a:pt x="94" y="180"/>
                  </a:lnTo>
                  <a:lnTo>
                    <a:pt x="96" y="180"/>
                  </a:lnTo>
                  <a:lnTo>
                    <a:pt x="98" y="180"/>
                  </a:lnTo>
                  <a:lnTo>
                    <a:pt x="98" y="180"/>
                  </a:lnTo>
                  <a:lnTo>
                    <a:pt x="100" y="178"/>
                  </a:lnTo>
                  <a:lnTo>
                    <a:pt x="100" y="178"/>
                  </a:lnTo>
                  <a:lnTo>
                    <a:pt x="100" y="178"/>
                  </a:lnTo>
                  <a:lnTo>
                    <a:pt x="100" y="176"/>
                  </a:lnTo>
                  <a:lnTo>
                    <a:pt x="100" y="176"/>
                  </a:lnTo>
                  <a:lnTo>
                    <a:pt x="100" y="174"/>
                  </a:lnTo>
                  <a:lnTo>
                    <a:pt x="100" y="172"/>
                  </a:lnTo>
                  <a:lnTo>
                    <a:pt x="100" y="170"/>
                  </a:lnTo>
                  <a:lnTo>
                    <a:pt x="98" y="168"/>
                  </a:lnTo>
                  <a:lnTo>
                    <a:pt x="96" y="164"/>
                  </a:lnTo>
                  <a:lnTo>
                    <a:pt x="94" y="160"/>
                  </a:lnTo>
                  <a:lnTo>
                    <a:pt x="94" y="158"/>
                  </a:lnTo>
                  <a:lnTo>
                    <a:pt x="92" y="156"/>
                  </a:lnTo>
                  <a:lnTo>
                    <a:pt x="90" y="154"/>
                  </a:lnTo>
                  <a:lnTo>
                    <a:pt x="90" y="150"/>
                  </a:lnTo>
                  <a:lnTo>
                    <a:pt x="86" y="144"/>
                  </a:lnTo>
                  <a:lnTo>
                    <a:pt x="82" y="136"/>
                  </a:lnTo>
                  <a:lnTo>
                    <a:pt x="80" y="130"/>
                  </a:lnTo>
                  <a:lnTo>
                    <a:pt x="78" y="128"/>
                  </a:lnTo>
                  <a:lnTo>
                    <a:pt x="78" y="124"/>
                  </a:lnTo>
                  <a:lnTo>
                    <a:pt x="74" y="118"/>
                  </a:lnTo>
                  <a:lnTo>
                    <a:pt x="72" y="112"/>
                  </a:lnTo>
                  <a:lnTo>
                    <a:pt x="70" y="108"/>
                  </a:lnTo>
                  <a:lnTo>
                    <a:pt x="70" y="106"/>
                  </a:lnTo>
                  <a:lnTo>
                    <a:pt x="68" y="104"/>
                  </a:lnTo>
                  <a:lnTo>
                    <a:pt x="66" y="100"/>
                  </a:lnTo>
                  <a:lnTo>
                    <a:pt x="60" y="94"/>
                  </a:lnTo>
                  <a:lnTo>
                    <a:pt x="56" y="88"/>
                  </a:lnTo>
                  <a:lnTo>
                    <a:pt x="54" y="86"/>
                  </a:lnTo>
                  <a:lnTo>
                    <a:pt x="52" y="84"/>
                  </a:lnTo>
                  <a:lnTo>
                    <a:pt x="48" y="80"/>
                  </a:lnTo>
                  <a:lnTo>
                    <a:pt x="46" y="74"/>
                  </a:lnTo>
                  <a:lnTo>
                    <a:pt x="40" y="64"/>
                  </a:lnTo>
                  <a:lnTo>
                    <a:pt x="36" y="56"/>
                  </a:lnTo>
                  <a:lnTo>
                    <a:pt x="34" y="52"/>
                  </a:lnTo>
                  <a:lnTo>
                    <a:pt x="32" y="50"/>
                  </a:lnTo>
                  <a:lnTo>
                    <a:pt x="32" y="48"/>
                  </a:lnTo>
                  <a:lnTo>
                    <a:pt x="32" y="46"/>
                  </a:lnTo>
                  <a:lnTo>
                    <a:pt x="30" y="40"/>
                  </a:lnTo>
                  <a:lnTo>
                    <a:pt x="30" y="36"/>
                  </a:lnTo>
                  <a:lnTo>
                    <a:pt x="28" y="34"/>
                  </a:lnTo>
                  <a:lnTo>
                    <a:pt x="28" y="32"/>
                  </a:lnTo>
                  <a:lnTo>
                    <a:pt x="28" y="30"/>
                  </a:lnTo>
                  <a:lnTo>
                    <a:pt x="28" y="28"/>
                  </a:lnTo>
                  <a:lnTo>
                    <a:pt x="30" y="26"/>
                  </a:lnTo>
                  <a:lnTo>
                    <a:pt x="30" y="26"/>
                  </a:lnTo>
                  <a:lnTo>
                    <a:pt x="30" y="24"/>
                  </a:lnTo>
                  <a:lnTo>
                    <a:pt x="30" y="24"/>
                  </a:lnTo>
                  <a:lnTo>
                    <a:pt x="32" y="22"/>
                  </a:lnTo>
                  <a:lnTo>
                    <a:pt x="32" y="22"/>
                  </a:lnTo>
                  <a:lnTo>
                    <a:pt x="32" y="22"/>
                  </a:lnTo>
                  <a:lnTo>
                    <a:pt x="34" y="22"/>
                  </a:lnTo>
                  <a:lnTo>
                    <a:pt x="34" y="22"/>
                  </a:lnTo>
                  <a:lnTo>
                    <a:pt x="36" y="24"/>
                  </a:lnTo>
                  <a:lnTo>
                    <a:pt x="36" y="24"/>
                  </a:lnTo>
                  <a:lnTo>
                    <a:pt x="40" y="26"/>
                  </a:lnTo>
                  <a:lnTo>
                    <a:pt x="42" y="28"/>
                  </a:lnTo>
                  <a:lnTo>
                    <a:pt x="42" y="30"/>
                  </a:lnTo>
                  <a:lnTo>
                    <a:pt x="44" y="32"/>
                  </a:lnTo>
                  <a:lnTo>
                    <a:pt x="48" y="34"/>
                  </a:lnTo>
                  <a:lnTo>
                    <a:pt x="50" y="38"/>
                  </a:lnTo>
                  <a:lnTo>
                    <a:pt x="52" y="40"/>
                  </a:lnTo>
                  <a:lnTo>
                    <a:pt x="52" y="42"/>
                  </a:lnTo>
                  <a:lnTo>
                    <a:pt x="54" y="42"/>
                  </a:lnTo>
                  <a:lnTo>
                    <a:pt x="56" y="44"/>
                  </a:lnTo>
                  <a:lnTo>
                    <a:pt x="58" y="46"/>
                  </a:lnTo>
                  <a:lnTo>
                    <a:pt x="60" y="46"/>
                  </a:lnTo>
                  <a:lnTo>
                    <a:pt x="62" y="48"/>
                  </a:lnTo>
                  <a:lnTo>
                    <a:pt x="64" y="48"/>
                  </a:lnTo>
                  <a:lnTo>
                    <a:pt x="64" y="50"/>
                  </a:lnTo>
                  <a:lnTo>
                    <a:pt x="64" y="52"/>
                  </a:lnTo>
                  <a:lnTo>
                    <a:pt x="66" y="52"/>
                  </a:lnTo>
                  <a:lnTo>
                    <a:pt x="66" y="54"/>
                  </a:lnTo>
                  <a:lnTo>
                    <a:pt x="66" y="56"/>
                  </a:lnTo>
                  <a:lnTo>
                    <a:pt x="66" y="60"/>
                  </a:lnTo>
                  <a:lnTo>
                    <a:pt x="66" y="64"/>
                  </a:lnTo>
                  <a:lnTo>
                    <a:pt x="66" y="68"/>
                  </a:lnTo>
                  <a:lnTo>
                    <a:pt x="66" y="72"/>
                  </a:lnTo>
                  <a:lnTo>
                    <a:pt x="66" y="74"/>
                  </a:lnTo>
                  <a:lnTo>
                    <a:pt x="66" y="74"/>
                  </a:lnTo>
                  <a:lnTo>
                    <a:pt x="66" y="76"/>
                  </a:lnTo>
                  <a:lnTo>
                    <a:pt x="66" y="78"/>
                  </a:lnTo>
                  <a:lnTo>
                    <a:pt x="68" y="80"/>
                  </a:lnTo>
                  <a:lnTo>
                    <a:pt x="68" y="80"/>
                  </a:lnTo>
                  <a:lnTo>
                    <a:pt x="70" y="82"/>
                  </a:lnTo>
                  <a:lnTo>
                    <a:pt x="72" y="84"/>
                  </a:lnTo>
                  <a:lnTo>
                    <a:pt x="76" y="86"/>
                  </a:lnTo>
                  <a:lnTo>
                    <a:pt x="76" y="88"/>
                  </a:lnTo>
                  <a:lnTo>
                    <a:pt x="78" y="90"/>
                  </a:lnTo>
                  <a:lnTo>
                    <a:pt x="80" y="90"/>
                  </a:lnTo>
                  <a:lnTo>
                    <a:pt x="80" y="94"/>
                  </a:lnTo>
                  <a:lnTo>
                    <a:pt x="84" y="98"/>
                  </a:lnTo>
                  <a:lnTo>
                    <a:pt x="84" y="102"/>
                  </a:lnTo>
                  <a:lnTo>
                    <a:pt x="86" y="104"/>
                  </a:lnTo>
                  <a:lnTo>
                    <a:pt x="88" y="106"/>
                  </a:lnTo>
                  <a:lnTo>
                    <a:pt x="88" y="108"/>
                  </a:lnTo>
                  <a:lnTo>
                    <a:pt x="90" y="108"/>
                  </a:lnTo>
                  <a:lnTo>
                    <a:pt x="90" y="108"/>
                  </a:lnTo>
                  <a:lnTo>
                    <a:pt x="92" y="110"/>
                  </a:lnTo>
                  <a:lnTo>
                    <a:pt x="94" y="110"/>
                  </a:lnTo>
                  <a:lnTo>
                    <a:pt x="96" y="112"/>
                  </a:lnTo>
                  <a:lnTo>
                    <a:pt x="96" y="112"/>
                  </a:lnTo>
                  <a:lnTo>
                    <a:pt x="98" y="112"/>
                  </a:lnTo>
                  <a:lnTo>
                    <a:pt x="98" y="112"/>
                  </a:lnTo>
                  <a:lnTo>
                    <a:pt x="98" y="112"/>
                  </a:lnTo>
                  <a:lnTo>
                    <a:pt x="98" y="114"/>
                  </a:lnTo>
                  <a:lnTo>
                    <a:pt x="98" y="114"/>
                  </a:lnTo>
                  <a:lnTo>
                    <a:pt x="98" y="116"/>
                  </a:lnTo>
                  <a:lnTo>
                    <a:pt x="98" y="116"/>
                  </a:lnTo>
                  <a:lnTo>
                    <a:pt x="98" y="118"/>
                  </a:lnTo>
                  <a:lnTo>
                    <a:pt x="98" y="120"/>
                  </a:lnTo>
                  <a:lnTo>
                    <a:pt x="96" y="122"/>
                  </a:lnTo>
                  <a:lnTo>
                    <a:pt x="96" y="124"/>
                  </a:lnTo>
                  <a:lnTo>
                    <a:pt x="96" y="126"/>
                  </a:lnTo>
                  <a:lnTo>
                    <a:pt x="96" y="126"/>
                  </a:lnTo>
                  <a:lnTo>
                    <a:pt x="96" y="128"/>
                  </a:lnTo>
                  <a:lnTo>
                    <a:pt x="96" y="128"/>
                  </a:lnTo>
                  <a:lnTo>
                    <a:pt x="98" y="128"/>
                  </a:lnTo>
                  <a:lnTo>
                    <a:pt x="98" y="130"/>
                  </a:lnTo>
                  <a:lnTo>
                    <a:pt x="98" y="130"/>
                  </a:lnTo>
                  <a:lnTo>
                    <a:pt x="100" y="130"/>
                  </a:lnTo>
                  <a:lnTo>
                    <a:pt x="102" y="130"/>
                  </a:lnTo>
                  <a:lnTo>
                    <a:pt x="104" y="130"/>
                  </a:lnTo>
                  <a:lnTo>
                    <a:pt x="106" y="132"/>
                  </a:lnTo>
                  <a:lnTo>
                    <a:pt x="108" y="132"/>
                  </a:lnTo>
                  <a:lnTo>
                    <a:pt x="108" y="132"/>
                  </a:lnTo>
                  <a:lnTo>
                    <a:pt x="110" y="132"/>
                  </a:lnTo>
                  <a:lnTo>
                    <a:pt x="110" y="132"/>
                  </a:lnTo>
                  <a:lnTo>
                    <a:pt x="110" y="134"/>
                  </a:lnTo>
                  <a:lnTo>
                    <a:pt x="112" y="134"/>
                  </a:lnTo>
                  <a:lnTo>
                    <a:pt x="112" y="134"/>
                  </a:lnTo>
                  <a:lnTo>
                    <a:pt x="112" y="136"/>
                  </a:lnTo>
                  <a:lnTo>
                    <a:pt x="112" y="136"/>
                  </a:lnTo>
                  <a:lnTo>
                    <a:pt x="112" y="140"/>
                  </a:lnTo>
                  <a:lnTo>
                    <a:pt x="112" y="142"/>
                  </a:lnTo>
                  <a:lnTo>
                    <a:pt x="112" y="144"/>
                  </a:lnTo>
                  <a:lnTo>
                    <a:pt x="112" y="146"/>
                  </a:lnTo>
                  <a:lnTo>
                    <a:pt x="112" y="148"/>
                  </a:lnTo>
                  <a:lnTo>
                    <a:pt x="112" y="150"/>
                  </a:lnTo>
                  <a:lnTo>
                    <a:pt x="112" y="150"/>
                  </a:lnTo>
                  <a:lnTo>
                    <a:pt x="112" y="150"/>
                  </a:lnTo>
                  <a:lnTo>
                    <a:pt x="112" y="152"/>
                  </a:lnTo>
                  <a:lnTo>
                    <a:pt x="114" y="152"/>
                  </a:lnTo>
                  <a:lnTo>
                    <a:pt x="114" y="152"/>
                  </a:lnTo>
                  <a:lnTo>
                    <a:pt x="116" y="154"/>
                  </a:lnTo>
                  <a:lnTo>
                    <a:pt x="118" y="154"/>
                  </a:lnTo>
                  <a:lnTo>
                    <a:pt x="120" y="156"/>
                  </a:lnTo>
                  <a:lnTo>
                    <a:pt x="124" y="156"/>
                  </a:lnTo>
                  <a:lnTo>
                    <a:pt x="126" y="156"/>
                  </a:lnTo>
                  <a:lnTo>
                    <a:pt x="128" y="158"/>
                  </a:lnTo>
                  <a:lnTo>
                    <a:pt x="128" y="158"/>
                  </a:lnTo>
                  <a:lnTo>
                    <a:pt x="130" y="158"/>
                  </a:lnTo>
                  <a:lnTo>
                    <a:pt x="130" y="160"/>
                  </a:lnTo>
                  <a:lnTo>
                    <a:pt x="130" y="160"/>
                  </a:lnTo>
                  <a:lnTo>
                    <a:pt x="130" y="160"/>
                  </a:lnTo>
                  <a:lnTo>
                    <a:pt x="130" y="162"/>
                  </a:lnTo>
                  <a:lnTo>
                    <a:pt x="130" y="164"/>
                  </a:lnTo>
                  <a:lnTo>
                    <a:pt x="130" y="166"/>
                  </a:lnTo>
                  <a:lnTo>
                    <a:pt x="130" y="168"/>
                  </a:lnTo>
                  <a:lnTo>
                    <a:pt x="128" y="170"/>
                  </a:lnTo>
                  <a:lnTo>
                    <a:pt x="128" y="170"/>
                  </a:lnTo>
                  <a:lnTo>
                    <a:pt x="130" y="172"/>
                  </a:lnTo>
                  <a:lnTo>
                    <a:pt x="130" y="172"/>
                  </a:lnTo>
                  <a:lnTo>
                    <a:pt x="130" y="172"/>
                  </a:lnTo>
                  <a:lnTo>
                    <a:pt x="130" y="172"/>
                  </a:lnTo>
                  <a:lnTo>
                    <a:pt x="130" y="172"/>
                  </a:lnTo>
                  <a:lnTo>
                    <a:pt x="132" y="174"/>
                  </a:lnTo>
                  <a:lnTo>
                    <a:pt x="134" y="174"/>
                  </a:lnTo>
                  <a:lnTo>
                    <a:pt x="136" y="172"/>
                  </a:lnTo>
                  <a:lnTo>
                    <a:pt x="136" y="172"/>
                  </a:lnTo>
                  <a:lnTo>
                    <a:pt x="138" y="172"/>
                  </a:lnTo>
                  <a:lnTo>
                    <a:pt x="140" y="172"/>
                  </a:lnTo>
                  <a:lnTo>
                    <a:pt x="140" y="174"/>
                  </a:lnTo>
                  <a:lnTo>
                    <a:pt x="140" y="174"/>
                  </a:lnTo>
                  <a:lnTo>
                    <a:pt x="142" y="174"/>
                  </a:lnTo>
                  <a:lnTo>
                    <a:pt x="142" y="176"/>
                  </a:lnTo>
                  <a:lnTo>
                    <a:pt x="142" y="176"/>
                  </a:lnTo>
                  <a:lnTo>
                    <a:pt x="142" y="178"/>
                  </a:lnTo>
                  <a:lnTo>
                    <a:pt x="142" y="180"/>
                  </a:lnTo>
                  <a:lnTo>
                    <a:pt x="142" y="182"/>
                  </a:lnTo>
                  <a:lnTo>
                    <a:pt x="142" y="188"/>
                  </a:lnTo>
                  <a:lnTo>
                    <a:pt x="142" y="190"/>
                  </a:lnTo>
                  <a:lnTo>
                    <a:pt x="142" y="192"/>
                  </a:lnTo>
                  <a:lnTo>
                    <a:pt x="142" y="192"/>
                  </a:lnTo>
                  <a:lnTo>
                    <a:pt x="142" y="194"/>
                  </a:lnTo>
                  <a:lnTo>
                    <a:pt x="144" y="196"/>
                  </a:lnTo>
                  <a:lnTo>
                    <a:pt x="146" y="200"/>
                  </a:lnTo>
                  <a:lnTo>
                    <a:pt x="146" y="202"/>
                  </a:lnTo>
                  <a:lnTo>
                    <a:pt x="148" y="204"/>
                  </a:lnTo>
                  <a:lnTo>
                    <a:pt x="148" y="206"/>
                  </a:lnTo>
                  <a:lnTo>
                    <a:pt x="148" y="208"/>
                  </a:lnTo>
                  <a:lnTo>
                    <a:pt x="148" y="208"/>
                  </a:lnTo>
                  <a:lnTo>
                    <a:pt x="148" y="210"/>
                  </a:lnTo>
                  <a:lnTo>
                    <a:pt x="148" y="210"/>
                  </a:lnTo>
                  <a:lnTo>
                    <a:pt x="148" y="212"/>
                  </a:lnTo>
                  <a:lnTo>
                    <a:pt x="146" y="214"/>
                  </a:lnTo>
                  <a:lnTo>
                    <a:pt x="146" y="216"/>
                  </a:lnTo>
                  <a:lnTo>
                    <a:pt x="144" y="218"/>
                  </a:lnTo>
                  <a:lnTo>
                    <a:pt x="144" y="220"/>
                  </a:lnTo>
                  <a:lnTo>
                    <a:pt x="144" y="222"/>
                  </a:lnTo>
                  <a:lnTo>
                    <a:pt x="144" y="222"/>
                  </a:lnTo>
                  <a:lnTo>
                    <a:pt x="144" y="224"/>
                  </a:lnTo>
                  <a:lnTo>
                    <a:pt x="144" y="224"/>
                  </a:lnTo>
                  <a:lnTo>
                    <a:pt x="144" y="224"/>
                  </a:lnTo>
                  <a:lnTo>
                    <a:pt x="144" y="226"/>
                  </a:lnTo>
                  <a:lnTo>
                    <a:pt x="146" y="226"/>
                  </a:lnTo>
                  <a:lnTo>
                    <a:pt x="146" y="226"/>
                  </a:lnTo>
                  <a:lnTo>
                    <a:pt x="148" y="228"/>
                  </a:lnTo>
                  <a:lnTo>
                    <a:pt x="150" y="228"/>
                  </a:lnTo>
                  <a:lnTo>
                    <a:pt x="154" y="230"/>
                  </a:lnTo>
                  <a:lnTo>
                    <a:pt x="156" y="232"/>
                  </a:lnTo>
                  <a:lnTo>
                    <a:pt x="158" y="232"/>
                  </a:lnTo>
                  <a:lnTo>
                    <a:pt x="166" y="238"/>
                  </a:lnTo>
                  <a:lnTo>
                    <a:pt x="176" y="244"/>
                  </a:lnTo>
                  <a:lnTo>
                    <a:pt x="196" y="260"/>
                  </a:lnTo>
                  <a:lnTo>
                    <a:pt x="208" y="266"/>
                  </a:lnTo>
                  <a:lnTo>
                    <a:pt x="218" y="274"/>
                  </a:lnTo>
                  <a:lnTo>
                    <a:pt x="224" y="276"/>
                  </a:lnTo>
                  <a:lnTo>
                    <a:pt x="228" y="280"/>
                  </a:lnTo>
                  <a:lnTo>
                    <a:pt x="232" y="282"/>
                  </a:lnTo>
                  <a:lnTo>
                    <a:pt x="236" y="284"/>
                  </a:lnTo>
                  <a:lnTo>
                    <a:pt x="246" y="288"/>
                  </a:lnTo>
                  <a:lnTo>
                    <a:pt x="250" y="290"/>
                  </a:lnTo>
                  <a:lnTo>
                    <a:pt x="256" y="292"/>
                  </a:lnTo>
                  <a:lnTo>
                    <a:pt x="262" y="294"/>
                  </a:lnTo>
                  <a:lnTo>
                    <a:pt x="264" y="296"/>
                  </a:lnTo>
                  <a:lnTo>
                    <a:pt x="268" y="296"/>
                  </a:lnTo>
                  <a:lnTo>
                    <a:pt x="270" y="296"/>
                  </a:lnTo>
                  <a:lnTo>
                    <a:pt x="272" y="298"/>
                  </a:lnTo>
                  <a:lnTo>
                    <a:pt x="274" y="298"/>
                  </a:lnTo>
                  <a:lnTo>
                    <a:pt x="276" y="296"/>
                  </a:lnTo>
                  <a:lnTo>
                    <a:pt x="278" y="296"/>
                  </a:lnTo>
                  <a:lnTo>
                    <a:pt x="278" y="296"/>
                  </a:lnTo>
                  <a:lnTo>
                    <a:pt x="280" y="296"/>
                  </a:lnTo>
                  <a:lnTo>
                    <a:pt x="282" y="294"/>
                  </a:lnTo>
                  <a:lnTo>
                    <a:pt x="284" y="292"/>
                  </a:lnTo>
                  <a:lnTo>
                    <a:pt x="286" y="290"/>
                  </a:lnTo>
                  <a:lnTo>
                    <a:pt x="288" y="290"/>
                  </a:lnTo>
                  <a:lnTo>
                    <a:pt x="290" y="288"/>
                  </a:lnTo>
                  <a:lnTo>
                    <a:pt x="290" y="288"/>
                  </a:lnTo>
                  <a:lnTo>
                    <a:pt x="290" y="288"/>
                  </a:lnTo>
                  <a:lnTo>
                    <a:pt x="292" y="288"/>
                  </a:lnTo>
                  <a:lnTo>
                    <a:pt x="294" y="288"/>
                  </a:lnTo>
                  <a:lnTo>
                    <a:pt x="296" y="290"/>
                  </a:lnTo>
                  <a:lnTo>
                    <a:pt x="296" y="290"/>
                  </a:lnTo>
                  <a:lnTo>
                    <a:pt x="300" y="292"/>
                  </a:lnTo>
                  <a:lnTo>
                    <a:pt x="302" y="292"/>
                  </a:lnTo>
                  <a:lnTo>
                    <a:pt x="302" y="294"/>
                  </a:lnTo>
                  <a:lnTo>
                    <a:pt x="306" y="294"/>
                  </a:lnTo>
                  <a:lnTo>
                    <a:pt x="310" y="296"/>
                  </a:lnTo>
                  <a:lnTo>
                    <a:pt x="314" y="296"/>
                  </a:lnTo>
                  <a:lnTo>
                    <a:pt x="316" y="298"/>
                  </a:lnTo>
                  <a:lnTo>
                    <a:pt x="318" y="298"/>
                  </a:lnTo>
                  <a:lnTo>
                    <a:pt x="318" y="300"/>
                  </a:lnTo>
                  <a:lnTo>
                    <a:pt x="320" y="300"/>
                  </a:lnTo>
                  <a:lnTo>
                    <a:pt x="322" y="302"/>
                  </a:lnTo>
                  <a:lnTo>
                    <a:pt x="324" y="306"/>
                  </a:lnTo>
                  <a:lnTo>
                    <a:pt x="326" y="308"/>
                  </a:lnTo>
                  <a:lnTo>
                    <a:pt x="328" y="312"/>
                  </a:lnTo>
                  <a:lnTo>
                    <a:pt x="330" y="314"/>
                  </a:lnTo>
                  <a:lnTo>
                    <a:pt x="330" y="312"/>
                  </a:lnTo>
                  <a:lnTo>
                    <a:pt x="332" y="306"/>
                  </a:lnTo>
                  <a:lnTo>
                    <a:pt x="332" y="304"/>
                  </a:lnTo>
                  <a:lnTo>
                    <a:pt x="334" y="300"/>
                  </a:lnTo>
                  <a:lnTo>
                    <a:pt x="334" y="298"/>
                  </a:lnTo>
                  <a:lnTo>
                    <a:pt x="336" y="296"/>
                  </a:lnTo>
                  <a:lnTo>
                    <a:pt x="336" y="296"/>
                  </a:lnTo>
                  <a:lnTo>
                    <a:pt x="336" y="296"/>
                  </a:lnTo>
                  <a:lnTo>
                    <a:pt x="336" y="296"/>
                  </a:lnTo>
                  <a:lnTo>
                    <a:pt x="338" y="294"/>
                  </a:lnTo>
                  <a:lnTo>
                    <a:pt x="340" y="294"/>
                  </a:lnTo>
                  <a:lnTo>
                    <a:pt x="342" y="294"/>
                  </a:lnTo>
                  <a:lnTo>
                    <a:pt x="344" y="294"/>
                  </a:lnTo>
                  <a:lnTo>
                    <a:pt x="346" y="294"/>
                  </a:lnTo>
                  <a:lnTo>
                    <a:pt x="348" y="294"/>
                  </a:lnTo>
                  <a:lnTo>
                    <a:pt x="348" y="292"/>
                  </a:lnTo>
                  <a:lnTo>
                    <a:pt x="348" y="292"/>
                  </a:lnTo>
                  <a:lnTo>
                    <a:pt x="348" y="292"/>
                  </a:lnTo>
                  <a:lnTo>
                    <a:pt x="350" y="290"/>
                  </a:lnTo>
                  <a:lnTo>
                    <a:pt x="350" y="290"/>
                  </a:lnTo>
                  <a:lnTo>
                    <a:pt x="350" y="288"/>
                  </a:lnTo>
                  <a:lnTo>
                    <a:pt x="350" y="286"/>
                  </a:lnTo>
                  <a:lnTo>
                    <a:pt x="350" y="284"/>
                  </a:lnTo>
                  <a:lnTo>
                    <a:pt x="350" y="280"/>
                  </a:lnTo>
                  <a:lnTo>
                    <a:pt x="350" y="278"/>
                  </a:lnTo>
                  <a:lnTo>
                    <a:pt x="350" y="278"/>
                  </a:lnTo>
                  <a:lnTo>
                    <a:pt x="350" y="276"/>
                  </a:lnTo>
                  <a:lnTo>
                    <a:pt x="350" y="276"/>
                  </a:lnTo>
                  <a:lnTo>
                    <a:pt x="350" y="274"/>
                  </a:lnTo>
                  <a:lnTo>
                    <a:pt x="352" y="274"/>
                  </a:lnTo>
                  <a:lnTo>
                    <a:pt x="352" y="272"/>
                  </a:lnTo>
                  <a:lnTo>
                    <a:pt x="354" y="272"/>
                  </a:lnTo>
                  <a:lnTo>
                    <a:pt x="356" y="270"/>
                  </a:lnTo>
                  <a:lnTo>
                    <a:pt x="360" y="270"/>
                  </a:lnTo>
                  <a:lnTo>
                    <a:pt x="364" y="268"/>
                  </a:lnTo>
                  <a:lnTo>
                    <a:pt x="368" y="266"/>
                  </a:lnTo>
                  <a:lnTo>
                    <a:pt x="370" y="266"/>
                  </a:lnTo>
                  <a:lnTo>
                    <a:pt x="374" y="264"/>
                  </a:lnTo>
                  <a:lnTo>
                    <a:pt x="376" y="264"/>
                  </a:lnTo>
                  <a:lnTo>
                    <a:pt x="380" y="262"/>
                  </a:lnTo>
                  <a:lnTo>
                    <a:pt x="382" y="262"/>
                  </a:lnTo>
                  <a:lnTo>
                    <a:pt x="384" y="260"/>
                  </a:lnTo>
                  <a:lnTo>
                    <a:pt x="386" y="260"/>
                  </a:lnTo>
                  <a:lnTo>
                    <a:pt x="392" y="256"/>
                  </a:lnTo>
                  <a:lnTo>
                    <a:pt x="398" y="252"/>
                  </a:lnTo>
                  <a:lnTo>
                    <a:pt x="400" y="250"/>
                  </a:lnTo>
                  <a:lnTo>
                    <a:pt x="404" y="248"/>
                  </a:lnTo>
                  <a:lnTo>
                    <a:pt x="406" y="244"/>
                  </a:lnTo>
                  <a:lnTo>
                    <a:pt x="408" y="242"/>
                  </a:lnTo>
                  <a:lnTo>
                    <a:pt x="408" y="240"/>
                  </a:lnTo>
                  <a:lnTo>
                    <a:pt x="408" y="240"/>
                  </a:lnTo>
                  <a:lnTo>
                    <a:pt x="410" y="238"/>
                  </a:lnTo>
                  <a:lnTo>
                    <a:pt x="410" y="238"/>
                  </a:lnTo>
                  <a:lnTo>
                    <a:pt x="410" y="238"/>
                  </a:lnTo>
                  <a:lnTo>
                    <a:pt x="410" y="234"/>
                  </a:lnTo>
                  <a:lnTo>
                    <a:pt x="408" y="232"/>
                  </a:lnTo>
                  <a:lnTo>
                    <a:pt x="408" y="230"/>
                  </a:lnTo>
                  <a:lnTo>
                    <a:pt x="408" y="226"/>
                  </a:lnTo>
                  <a:lnTo>
                    <a:pt x="408" y="224"/>
                  </a:lnTo>
                  <a:lnTo>
                    <a:pt x="408" y="222"/>
                  </a:lnTo>
                  <a:lnTo>
                    <a:pt x="408" y="222"/>
                  </a:lnTo>
                  <a:lnTo>
                    <a:pt x="408" y="220"/>
                  </a:lnTo>
                  <a:lnTo>
                    <a:pt x="408" y="220"/>
                  </a:lnTo>
                  <a:lnTo>
                    <a:pt x="408" y="220"/>
                  </a:lnTo>
                  <a:lnTo>
                    <a:pt x="410" y="220"/>
                  </a:lnTo>
                  <a:lnTo>
                    <a:pt x="412" y="218"/>
                  </a:lnTo>
                  <a:lnTo>
                    <a:pt x="414" y="218"/>
                  </a:lnTo>
                  <a:lnTo>
                    <a:pt x="414" y="216"/>
                  </a:lnTo>
                  <a:lnTo>
                    <a:pt x="414" y="216"/>
                  </a:lnTo>
                  <a:lnTo>
                    <a:pt x="414" y="216"/>
                  </a:lnTo>
                  <a:lnTo>
                    <a:pt x="414" y="214"/>
                  </a:lnTo>
                  <a:lnTo>
                    <a:pt x="414" y="212"/>
                  </a:lnTo>
                  <a:lnTo>
                    <a:pt x="414" y="210"/>
                  </a:lnTo>
                  <a:lnTo>
                    <a:pt x="414" y="208"/>
                  </a:lnTo>
                  <a:lnTo>
                    <a:pt x="414" y="206"/>
                  </a:lnTo>
                  <a:lnTo>
                    <a:pt x="412" y="204"/>
                  </a:lnTo>
                  <a:lnTo>
                    <a:pt x="412" y="202"/>
                  </a:lnTo>
                  <a:lnTo>
                    <a:pt x="412" y="202"/>
                  </a:lnTo>
                  <a:lnTo>
                    <a:pt x="410" y="202"/>
                  </a:lnTo>
                  <a:lnTo>
                    <a:pt x="410" y="200"/>
                  </a:lnTo>
                  <a:lnTo>
                    <a:pt x="408" y="200"/>
                  </a:lnTo>
                  <a:lnTo>
                    <a:pt x="406" y="198"/>
                  </a:lnTo>
                  <a:lnTo>
                    <a:pt x="404" y="198"/>
                  </a:lnTo>
                  <a:lnTo>
                    <a:pt x="402" y="198"/>
                  </a:lnTo>
                  <a:lnTo>
                    <a:pt x="400" y="198"/>
                  </a:lnTo>
                  <a:lnTo>
                    <a:pt x="398" y="198"/>
                  </a:lnTo>
                  <a:lnTo>
                    <a:pt x="396" y="198"/>
                  </a:lnTo>
                  <a:lnTo>
                    <a:pt x="390" y="198"/>
                  </a:lnTo>
                  <a:lnTo>
                    <a:pt x="386" y="198"/>
                  </a:lnTo>
                  <a:lnTo>
                    <a:pt x="382" y="198"/>
                  </a:lnTo>
                  <a:lnTo>
                    <a:pt x="380" y="198"/>
                  </a:lnTo>
                  <a:lnTo>
                    <a:pt x="380" y="198"/>
                  </a:lnTo>
                  <a:lnTo>
                    <a:pt x="378" y="200"/>
                  </a:lnTo>
                  <a:lnTo>
                    <a:pt x="376" y="200"/>
                  </a:lnTo>
                  <a:lnTo>
                    <a:pt x="374" y="202"/>
                  </a:lnTo>
                  <a:lnTo>
                    <a:pt x="372" y="204"/>
                  </a:lnTo>
                  <a:lnTo>
                    <a:pt x="370" y="206"/>
                  </a:lnTo>
                  <a:lnTo>
                    <a:pt x="368" y="206"/>
                  </a:lnTo>
                  <a:lnTo>
                    <a:pt x="366" y="208"/>
                  </a:lnTo>
                  <a:lnTo>
                    <a:pt x="366" y="210"/>
                  </a:lnTo>
                  <a:lnTo>
                    <a:pt x="364" y="212"/>
                  </a:lnTo>
                  <a:lnTo>
                    <a:pt x="364" y="214"/>
                  </a:lnTo>
                  <a:lnTo>
                    <a:pt x="362" y="214"/>
                  </a:lnTo>
                  <a:lnTo>
                    <a:pt x="362" y="216"/>
                  </a:lnTo>
                  <a:lnTo>
                    <a:pt x="360" y="222"/>
                  </a:lnTo>
                  <a:lnTo>
                    <a:pt x="358" y="226"/>
                  </a:lnTo>
                  <a:lnTo>
                    <a:pt x="356" y="230"/>
                  </a:lnTo>
                  <a:lnTo>
                    <a:pt x="354" y="234"/>
                  </a:lnTo>
                  <a:lnTo>
                    <a:pt x="354" y="236"/>
                  </a:lnTo>
                  <a:lnTo>
                    <a:pt x="352" y="238"/>
                  </a:lnTo>
                  <a:lnTo>
                    <a:pt x="352" y="240"/>
                  </a:lnTo>
                  <a:lnTo>
                    <a:pt x="350" y="240"/>
                  </a:lnTo>
                  <a:lnTo>
                    <a:pt x="350" y="240"/>
                  </a:lnTo>
                  <a:lnTo>
                    <a:pt x="348" y="242"/>
                  </a:lnTo>
                  <a:lnTo>
                    <a:pt x="346" y="242"/>
                  </a:lnTo>
                  <a:lnTo>
                    <a:pt x="342" y="244"/>
                  </a:lnTo>
                  <a:lnTo>
                    <a:pt x="340" y="244"/>
                  </a:lnTo>
                  <a:lnTo>
                    <a:pt x="336" y="246"/>
                  </a:lnTo>
                  <a:lnTo>
                    <a:pt x="332" y="246"/>
                  </a:lnTo>
                  <a:lnTo>
                    <a:pt x="328" y="246"/>
                  </a:lnTo>
                  <a:lnTo>
                    <a:pt x="320" y="248"/>
                  </a:lnTo>
                  <a:lnTo>
                    <a:pt x="316" y="248"/>
                  </a:lnTo>
                  <a:lnTo>
                    <a:pt x="312" y="248"/>
                  </a:lnTo>
                  <a:lnTo>
                    <a:pt x="308" y="248"/>
                  </a:lnTo>
                  <a:lnTo>
                    <a:pt x="302" y="248"/>
                  </a:lnTo>
                  <a:lnTo>
                    <a:pt x="300" y="248"/>
                  </a:lnTo>
                  <a:lnTo>
                    <a:pt x="298" y="248"/>
                  </a:lnTo>
                  <a:lnTo>
                    <a:pt x="296" y="248"/>
                  </a:lnTo>
                  <a:lnTo>
                    <a:pt x="292" y="246"/>
                  </a:lnTo>
                  <a:lnTo>
                    <a:pt x="290" y="246"/>
                  </a:lnTo>
                  <a:lnTo>
                    <a:pt x="286" y="244"/>
                  </a:lnTo>
                  <a:lnTo>
                    <a:pt x="282" y="242"/>
                  </a:lnTo>
                  <a:lnTo>
                    <a:pt x="280" y="238"/>
                  </a:lnTo>
                  <a:lnTo>
                    <a:pt x="276" y="236"/>
                  </a:lnTo>
                  <a:lnTo>
                    <a:pt x="274" y="234"/>
                  </a:lnTo>
                  <a:lnTo>
                    <a:pt x="272" y="232"/>
                  </a:lnTo>
                  <a:lnTo>
                    <a:pt x="272" y="232"/>
                  </a:lnTo>
                  <a:lnTo>
                    <a:pt x="270" y="230"/>
                  </a:lnTo>
                  <a:lnTo>
                    <a:pt x="270" y="228"/>
                  </a:lnTo>
                  <a:lnTo>
                    <a:pt x="270" y="226"/>
                  </a:lnTo>
                  <a:lnTo>
                    <a:pt x="268" y="222"/>
                  </a:lnTo>
                  <a:lnTo>
                    <a:pt x="268" y="220"/>
                  </a:lnTo>
                  <a:lnTo>
                    <a:pt x="268" y="218"/>
                  </a:lnTo>
                  <a:lnTo>
                    <a:pt x="266" y="212"/>
                  </a:lnTo>
                  <a:lnTo>
                    <a:pt x="266" y="200"/>
                  </a:lnTo>
                  <a:lnTo>
                    <a:pt x="266" y="194"/>
                  </a:lnTo>
                  <a:lnTo>
                    <a:pt x="264" y="192"/>
                  </a:lnTo>
                  <a:lnTo>
                    <a:pt x="264" y="190"/>
                  </a:lnTo>
                  <a:lnTo>
                    <a:pt x="264" y="186"/>
                  </a:lnTo>
                  <a:lnTo>
                    <a:pt x="262" y="184"/>
                  </a:lnTo>
                  <a:lnTo>
                    <a:pt x="260" y="176"/>
                  </a:lnTo>
                  <a:lnTo>
                    <a:pt x="258" y="172"/>
                  </a:lnTo>
                  <a:lnTo>
                    <a:pt x="258" y="168"/>
                  </a:lnTo>
                  <a:lnTo>
                    <a:pt x="258" y="164"/>
                  </a:lnTo>
                  <a:lnTo>
                    <a:pt x="258" y="162"/>
                  </a:lnTo>
                  <a:lnTo>
                    <a:pt x="256" y="160"/>
                  </a:lnTo>
                  <a:lnTo>
                    <a:pt x="258" y="158"/>
                  </a:lnTo>
                  <a:lnTo>
                    <a:pt x="258" y="156"/>
                  </a:lnTo>
                  <a:lnTo>
                    <a:pt x="258" y="154"/>
                  </a:lnTo>
                  <a:lnTo>
                    <a:pt x="260" y="150"/>
                  </a:lnTo>
                  <a:lnTo>
                    <a:pt x="262" y="144"/>
                  </a:lnTo>
                  <a:lnTo>
                    <a:pt x="262" y="142"/>
                  </a:lnTo>
                  <a:lnTo>
                    <a:pt x="264" y="140"/>
                  </a:lnTo>
                  <a:lnTo>
                    <a:pt x="264" y="134"/>
                  </a:lnTo>
                  <a:lnTo>
                    <a:pt x="266" y="128"/>
                  </a:lnTo>
                  <a:lnTo>
                    <a:pt x="266" y="1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3" name="Freeform 524"/>
            <p:cNvSpPr>
              <a:spLocks/>
            </p:cNvSpPr>
            <p:nvPr/>
          </p:nvSpPr>
          <p:spPr bwMode="auto">
            <a:xfrm>
              <a:off x="444790" y="2307910"/>
              <a:ext cx="831396" cy="685902"/>
            </a:xfrm>
            <a:custGeom>
              <a:avLst/>
              <a:gdLst>
                <a:gd name="T0" fmla="*/ 210 w 480"/>
                <a:gd name="T1" fmla="*/ 10 h 396"/>
                <a:gd name="T2" fmla="*/ 192 w 480"/>
                <a:gd name="T3" fmla="*/ 26 h 396"/>
                <a:gd name="T4" fmla="*/ 154 w 480"/>
                <a:gd name="T5" fmla="*/ 34 h 396"/>
                <a:gd name="T6" fmla="*/ 120 w 480"/>
                <a:gd name="T7" fmla="*/ 60 h 396"/>
                <a:gd name="T8" fmla="*/ 90 w 480"/>
                <a:gd name="T9" fmla="*/ 78 h 396"/>
                <a:gd name="T10" fmla="*/ 152 w 480"/>
                <a:gd name="T11" fmla="*/ 106 h 396"/>
                <a:gd name="T12" fmla="*/ 150 w 480"/>
                <a:gd name="T13" fmla="*/ 118 h 396"/>
                <a:gd name="T14" fmla="*/ 106 w 480"/>
                <a:gd name="T15" fmla="*/ 122 h 396"/>
                <a:gd name="T16" fmla="*/ 84 w 480"/>
                <a:gd name="T17" fmla="*/ 118 h 396"/>
                <a:gd name="T18" fmla="*/ 60 w 480"/>
                <a:gd name="T19" fmla="*/ 126 h 396"/>
                <a:gd name="T20" fmla="*/ 64 w 480"/>
                <a:gd name="T21" fmla="*/ 142 h 396"/>
                <a:gd name="T22" fmla="*/ 68 w 480"/>
                <a:gd name="T23" fmla="*/ 162 h 396"/>
                <a:gd name="T24" fmla="*/ 112 w 480"/>
                <a:gd name="T25" fmla="*/ 162 h 396"/>
                <a:gd name="T26" fmla="*/ 132 w 480"/>
                <a:gd name="T27" fmla="*/ 164 h 396"/>
                <a:gd name="T28" fmla="*/ 120 w 480"/>
                <a:gd name="T29" fmla="*/ 188 h 396"/>
                <a:gd name="T30" fmla="*/ 94 w 480"/>
                <a:gd name="T31" fmla="*/ 196 h 396"/>
                <a:gd name="T32" fmla="*/ 78 w 480"/>
                <a:gd name="T33" fmla="*/ 192 h 396"/>
                <a:gd name="T34" fmla="*/ 58 w 480"/>
                <a:gd name="T35" fmla="*/ 216 h 396"/>
                <a:gd name="T36" fmla="*/ 38 w 480"/>
                <a:gd name="T37" fmla="*/ 232 h 396"/>
                <a:gd name="T38" fmla="*/ 56 w 480"/>
                <a:gd name="T39" fmla="*/ 248 h 396"/>
                <a:gd name="T40" fmla="*/ 44 w 480"/>
                <a:gd name="T41" fmla="*/ 264 h 396"/>
                <a:gd name="T42" fmla="*/ 70 w 480"/>
                <a:gd name="T43" fmla="*/ 258 h 396"/>
                <a:gd name="T44" fmla="*/ 70 w 480"/>
                <a:gd name="T45" fmla="*/ 284 h 396"/>
                <a:gd name="T46" fmla="*/ 76 w 480"/>
                <a:gd name="T47" fmla="*/ 302 h 396"/>
                <a:gd name="T48" fmla="*/ 102 w 480"/>
                <a:gd name="T49" fmla="*/ 302 h 396"/>
                <a:gd name="T50" fmla="*/ 122 w 480"/>
                <a:gd name="T51" fmla="*/ 306 h 396"/>
                <a:gd name="T52" fmla="*/ 84 w 480"/>
                <a:gd name="T53" fmla="*/ 346 h 396"/>
                <a:gd name="T54" fmla="*/ 0 w 480"/>
                <a:gd name="T55" fmla="*/ 388 h 396"/>
                <a:gd name="T56" fmla="*/ 44 w 480"/>
                <a:gd name="T57" fmla="*/ 390 h 396"/>
                <a:gd name="T58" fmla="*/ 148 w 480"/>
                <a:gd name="T59" fmla="*/ 326 h 396"/>
                <a:gd name="T60" fmla="*/ 176 w 480"/>
                <a:gd name="T61" fmla="*/ 298 h 396"/>
                <a:gd name="T62" fmla="*/ 204 w 480"/>
                <a:gd name="T63" fmla="*/ 264 h 396"/>
                <a:gd name="T64" fmla="*/ 244 w 480"/>
                <a:gd name="T65" fmla="*/ 240 h 396"/>
                <a:gd name="T66" fmla="*/ 222 w 480"/>
                <a:gd name="T67" fmla="*/ 262 h 396"/>
                <a:gd name="T68" fmla="*/ 218 w 480"/>
                <a:gd name="T69" fmla="*/ 280 h 396"/>
                <a:gd name="T70" fmla="*/ 216 w 480"/>
                <a:gd name="T71" fmla="*/ 294 h 396"/>
                <a:gd name="T72" fmla="*/ 252 w 480"/>
                <a:gd name="T73" fmla="*/ 270 h 396"/>
                <a:gd name="T74" fmla="*/ 270 w 480"/>
                <a:gd name="T75" fmla="*/ 248 h 396"/>
                <a:gd name="T76" fmla="*/ 290 w 480"/>
                <a:gd name="T77" fmla="*/ 246 h 396"/>
                <a:gd name="T78" fmla="*/ 306 w 480"/>
                <a:gd name="T79" fmla="*/ 254 h 396"/>
                <a:gd name="T80" fmla="*/ 334 w 480"/>
                <a:gd name="T81" fmla="*/ 266 h 396"/>
                <a:gd name="T82" fmla="*/ 358 w 480"/>
                <a:gd name="T83" fmla="*/ 280 h 396"/>
                <a:gd name="T84" fmla="*/ 374 w 480"/>
                <a:gd name="T85" fmla="*/ 294 h 396"/>
                <a:gd name="T86" fmla="*/ 390 w 480"/>
                <a:gd name="T87" fmla="*/ 302 h 396"/>
                <a:gd name="T88" fmla="*/ 406 w 480"/>
                <a:gd name="T89" fmla="*/ 300 h 396"/>
                <a:gd name="T90" fmla="*/ 424 w 480"/>
                <a:gd name="T91" fmla="*/ 314 h 396"/>
                <a:gd name="T92" fmla="*/ 432 w 480"/>
                <a:gd name="T93" fmla="*/ 324 h 396"/>
                <a:gd name="T94" fmla="*/ 448 w 480"/>
                <a:gd name="T95" fmla="*/ 340 h 396"/>
                <a:gd name="T96" fmla="*/ 466 w 480"/>
                <a:gd name="T97" fmla="*/ 358 h 396"/>
                <a:gd name="T98" fmla="*/ 464 w 480"/>
                <a:gd name="T99" fmla="*/ 344 h 396"/>
                <a:gd name="T100" fmla="*/ 452 w 480"/>
                <a:gd name="T101" fmla="*/ 316 h 396"/>
                <a:gd name="T102" fmla="*/ 426 w 480"/>
                <a:gd name="T103" fmla="*/ 274 h 396"/>
                <a:gd name="T104" fmla="*/ 410 w 480"/>
                <a:gd name="T105" fmla="*/ 282 h 396"/>
                <a:gd name="T106" fmla="*/ 398 w 480"/>
                <a:gd name="T107" fmla="*/ 290 h 396"/>
                <a:gd name="T108" fmla="*/ 382 w 480"/>
                <a:gd name="T109" fmla="*/ 264 h 396"/>
                <a:gd name="T110" fmla="*/ 416 w 480"/>
                <a:gd name="T111" fmla="*/ 30 h 396"/>
                <a:gd name="T112" fmla="*/ 362 w 480"/>
                <a:gd name="T113" fmla="*/ 32 h 396"/>
                <a:gd name="T114" fmla="*/ 328 w 480"/>
                <a:gd name="T115" fmla="*/ 24 h 396"/>
                <a:gd name="T116" fmla="*/ 294 w 480"/>
                <a:gd name="T117" fmla="*/ 6 h 396"/>
                <a:gd name="T118" fmla="*/ 262 w 480"/>
                <a:gd name="T119" fmla="*/ 20 h 396"/>
                <a:gd name="T120" fmla="*/ 252 w 480"/>
                <a:gd name="T121" fmla="*/ 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396">
                  <a:moveTo>
                    <a:pt x="244" y="0"/>
                  </a:moveTo>
                  <a:lnTo>
                    <a:pt x="244" y="0"/>
                  </a:lnTo>
                  <a:lnTo>
                    <a:pt x="242" y="2"/>
                  </a:lnTo>
                  <a:lnTo>
                    <a:pt x="242" y="2"/>
                  </a:lnTo>
                  <a:lnTo>
                    <a:pt x="240" y="2"/>
                  </a:lnTo>
                  <a:lnTo>
                    <a:pt x="238" y="4"/>
                  </a:lnTo>
                  <a:lnTo>
                    <a:pt x="236" y="6"/>
                  </a:lnTo>
                  <a:lnTo>
                    <a:pt x="236" y="8"/>
                  </a:lnTo>
                  <a:lnTo>
                    <a:pt x="234" y="10"/>
                  </a:lnTo>
                  <a:lnTo>
                    <a:pt x="232" y="10"/>
                  </a:lnTo>
                  <a:lnTo>
                    <a:pt x="232" y="10"/>
                  </a:lnTo>
                  <a:lnTo>
                    <a:pt x="230" y="10"/>
                  </a:lnTo>
                  <a:lnTo>
                    <a:pt x="230" y="12"/>
                  </a:lnTo>
                  <a:lnTo>
                    <a:pt x="228" y="12"/>
                  </a:lnTo>
                  <a:lnTo>
                    <a:pt x="226" y="12"/>
                  </a:lnTo>
                  <a:lnTo>
                    <a:pt x="224" y="12"/>
                  </a:lnTo>
                  <a:lnTo>
                    <a:pt x="220" y="12"/>
                  </a:lnTo>
                  <a:lnTo>
                    <a:pt x="216" y="10"/>
                  </a:lnTo>
                  <a:lnTo>
                    <a:pt x="210" y="10"/>
                  </a:lnTo>
                  <a:lnTo>
                    <a:pt x="208" y="10"/>
                  </a:lnTo>
                  <a:lnTo>
                    <a:pt x="206" y="10"/>
                  </a:lnTo>
                  <a:lnTo>
                    <a:pt x="204" y="10"/>
                  </a:lnTo>
                  <a:lnTo>
                    <a:pt x="204" y="10"/>
                  </a:lnTo>
                  <a:lnTo>
                    <a:pt x="202" y="10"/>
                  </a:lnTo>
                  <a:lnTo>
                    <a:pt x="200" y="10"/>
                  </a:lnTo>
                  <a:lnTo>
                    <a:pt x="200" y="12"/>
                  </a:lnTo>
                  <a:lnTo>
                    <a:pt x="200" y="12"/>
                  </a:lnTo>
                  <a:lnTo>
                    <a:pt x="198" y="14"/>
                  </a:lnTo>
                  <a:lnTo>
                    <a:pt x="198" y="14"/>
                  </a:lnTo>
                  <a:lnTo>
                    <a:pt x="198" y="16"/>
                  </a:lnTo>
                  <a:lnTo>
                    <a:pt x="196" y="18"/>
                  </a:lnTo>
                  <a:lnTo>
                    <a:pt x="196" y="20"/>
                  </a:lnTo>
                  <a:lnTo>
                    <a:pt x="194" y="24"/>
                  </a:lnTo>
                  <a:lnTo>
                    <a:pt x="194" y="24"/>
                  </a:lnTo>
                  <a:lnTo>
                    <a:pt x="194" y="24"/>
                  </a:lnTo>
                  <a:lnTo>
                    <a:pt x="194" y="26"/>
                  </a:lnTo>
                  <a:lnTo>
                    <a:pt x="192" y="26"/>
                  </a:lnTo>
                  <a:lnTo>
                    <a:pt x="192" y="26"/>
                  </a:lnTo>
                  <a:lnTo>
                    <a:pt x="192" y="26"/>
                  </a:lnTo>
                  <a:lnTo>
                    <a:pt x="190" y="28"/>
                  </a:lnTo>
                  <a:lnTo>
                    <a:pt x="188" y="28"/>
                  </a:lnTo>
                  <a:lnTo>
                    <a:pt x="186" y="28"/>
                  </a:lnTo>
                  <a:lnTo>
                    <a:pt x="182" y="28"/>
                  </a:lnTo>
                  <a:lnTo>
                    <a:pt x="180" y="28"/>
                  </a:lnTo>
                  <a:lnTo>
                    <a:pt x="176" y="28"/>
                  </a:lnTo>
                  <a:lnTo>
                    <a:pt x="170" y="26"/>
                  </a:lnTo>
                  <a:lnTo>
                    <a:pt x="168" y="26"/>
                  </a:lnTo>
                  <a:lnTo>
                    <a:pt x="164" y="26"/>
                  </a:lnTo>
                  <a:lnTo>
                    <a:pt x="162" y="28"/>
                  </a:lnTo>
                  <a:lnTo>
                    <a:pt x="160" y="28"/>
                  </a:lnTo>
                  <a:lnTo>
                    <a:pt x="158" y="28"/>
                  </a:lnTo>
                  <a:lnTo>
                    <a:pt x="158" y="28"/>
                  </a:lnTo>
                  <a:lnTo>
                    <a:pt x="158" y="28"/>
                  </a:lnTo>
                  <a:lnTo>
                    <a:pt x="156" y="30"/>
                  </a:lnTo>
                  <a:lnTo>
                    <a:pt x="156" y="30"/>
                  </a:lnTo>
                  <a:lnTo>
                    <a:pt x="154" y="32"/>
                  </a:lnTo>
                  <a:lnTo>
                    <a:pt x="154" y="34"/>
                  </a:lnTo>
                  <a:lnTo>
                    <a:pt x="152" y="36"/>
                  </a:lnTo>
                  <a:lnTo>
                    <a:pt x="152" y="38"/>
                  </a:lnTo>
                  <a:lnTo>
                    <a:pt x="152" y="42"/>
                  </a:lnTo>
                  <a:lnTo>
                    <a:pt x="150" y="46"/>
                  </a:lnTo>
                  <a:lnTo>
                    <a:pt x="150" y="48"/>
                  </a:lnTo>
                  <a:lnTo>
                    <a:pt x="148" y="50"/>
                  </a:lnTo>
                  <a:lnTo>
                    <a:pt x="148" y="52"/>
                  </a:lnTo>
                  <a:lnTo>
                    <a:pt x="146" y="54"/>
                  </a:lnTo>
                  <a:lnTo>
                    <a:pt x="146" y="56"/>
                  </a:lnTo>
                  <a:lnTo>
                    <a:pt x="144" y="56"/>
                  </a:lnTo>
                  <a:lnTo>
                    <a:pt x="144" y="58"/>
                  </a:lnTo>
                  <a:lnTo>
                    <a:pt x="142" y="58"/>
                  </a:lnTo>
                  <a:lnTo>
                    <a:pt x="142" y="58"/>
                  </a:lnTo>
                  <a:lnTo>
                    <a:pt x="140" y="58"/>
                  </a:lnTo>
                  <a:lnTo>
                    <a:pt x="138" y="60"/>
                  </a:lnTo>
                  <a:lnTo>
                    <a:pt x="134" y="60"/>
                  </a:lnTo>
                  <a:lnTo>
                    <a:pt x="130" y="60"/>
                  </a:lnTo>
                  <a:lnTo>
                    <a:pt x="128" y="60"/>
                  </a:lnTo>
                  <a:lnTo>
                    <a:pt x="120" y="60"/>
                  </a:lnTo>
                  <a:lnTo>
                    <a:pt x="112" y="60"/>
                  </a:lnTo>
                  <a:lnTo>
                    <a:pt x="108" y="60"/>
                  </a:lnTo>
                  <a:lnTo>
                    <a:pt x="106" y="60"/>
                  </a:lnTo>
                  <a:lnTo>
                    <a:pt x="102" y="60"/>
                  </a:lnTo>
                  <a:lnTo>
                    <a:pt x="100" y="62"/>
                  </a:lnTo>
                  <a:lnTo>
                    <a:pt x="98" y="62"/>
                  </a:lnTo>
                  <a:lnTo>
                    <a:pt x="96" y="62"/>
                  </a:lnTo>
                  <a:lnTo>
                    <a:pt x="96" y="64"/>
                  </a:lnTo>
                  <a:lnTo>
                    <a:pt x="94" y="64"/>
                  </a:lnTo>
                  <a:lnTo>
                    <a:pt x="94" y="64"/>
                  </a:lnTo>
                  <a:lnTo>
                    <a:pt x="92" y="66"/>
                  </a:lnTo>
                  <a:lnTo>
                    <a:pt x="92" y="68"/>
                  </a:lnTo>
                  <a:lnTo>
                    <a:pt x="90" y="70"/>
                  </a:lnTo>
                  <a:lnTo>
                    <a:pt x="90" y="72"/>
                  </a:lnTo>
                  <a:lnTo>
                    <a:pt x="90" y="74"/>
                  </a:lnTo>
                  <a:lnTo>
                    <a:pt x="90" y="76"/>
                  </a:lnTo>
                  <a:lnTo>
                    <a:pt x="90" y="76"/>
                  </a:lnTo>
                  <a:lnTo>
                    <a:pt x="90" y="76"/>
                  </a:lnTo>
                  <a:lnTo>
                    <a:pt x="90" y="78"/>
                  </a:lnTo>
                  <a:lnTo>
                    <a:pt x="90" y="80"/>
                  </a:lnTo>
                  <a:lnTo>
                    <a:pt x="92" y="82"/>
                  </a:lnTo>
                  <a:lnTo>
                    <a:pt x="94" y="82"/>
                  </a:lnTo>
                  <a:lnTo>
                    <a:pt x="96" y="84"/>
                  </a:lnTo>
                  <a:lnTo>
                    <a:pt x="98" y="86"/>
                  </a:lnTo>
                  <a:lnTo>
                    <a:pt x="100" y="86"/>
                  </a:lnTo>
                  <a:lnTo>
                    <a:pt x="102" y="88"/>
                  </a:lnTo>
                  <a:lnTo>
                    <a:pt x="106" y="90"/>
                  </a:lnTo>
                  <a:lnTo>
                    <a:pt x="110" y="92"/>
                  </a:lnTo>
                  <a:lnTo>
                    <a:pt x="118" y="96"/>
                  </a:lnTo>
                  <a:lnTo>
                    <a:pt x="120" y="98"/>
                  </a:lnTo>
                  <a:lnTo>
                    <a:pt x="122" y="98"/>
                  </a:lnTo>
                  <a:lnTo>
                    <a:pt x="124" y="100"/>
                  </a:lnTo>
                  <a:lnTo>
                    <a:pt x="128" y="100"/>
                  </a:lnTo>
                  <a:lnTo>
                    <a:pt x="136" y="102"/>
                  </a:lnTo>
                  <a:lnTo>
                    <a:pt x="142" y="104"/>
                  </a:lnTo>
                  <a:lnTo>
                    <a:pt x="146" y="104"/>
                  </a:lnTo>
                  <a:lnTo>
                    <a:pt x="150" y="106"/>
                  </a:lnTo>
                  <a:lnTo>
                    <a:pt x="152" y="106"/>
                  </a:lnTo>
                  <a:lnTo>
                    <a:pt x="156" y="108"/>
                  </a:lnTo>
                  <a:lnTo>
                    <a:pt x="156" y="108"/>
                  </a:lnTo>
                  <a:lnTo>
                    <a:pt x="158" y="108"/>
                  </a:lnTo>
                  <a:lnTo>
                    <a:pt x="158" y="110"/>
                  </a:lnTo>
                  <a:lnTo>
                    <a:pt x="158" y="110"/>
                  </a:lnTo>
                  <a:lnTo>
                    <a:pt x="160" y="112"/>
                  </a:lnTo>
                  <a:lnTo>
                    <a:pt x="160" y="112"/>
                  </a:lnTo>
                  <a:lnTo>
                    <a:pt x="160" y="114"/>
                  </a:lnTo>
                  <a:lnTo>
                    <a:pt x="160" y="114"/>
                  </a:lnTo>
                  <a:lnTo>
                    <a:pt x="160" y="114"/>
                  </a:lnTo>
                  <a:lnTo>
                    <a:pt x="160" y="116"/>
                  </a:lnTo>
                  <a:lnTo>
                    <a:pt x="160" y="116"/>
                  </a:lnTo>
                  <a:lnTo>
                    <a:pt x="158" y="116"/>
                  </a:lnTo>
                  <a:lnTo>
                    <a:pt x="158" y="118"/>
                  </a:lnTo>
                  <a:lnTo>
                    <a:pt x="158" y="118"/>
                  </a:lnTo>
                  <a:lnTo>
                    <a:pt x="156" y="118"/>
                  </a:lnTo>
                  <a:lnTo>
                    <a:pt x="154" y="118"/>
                  </a:lnTo>
                  <a:lnTo>
                    <a:pt x="152" y="118"/>
                  </a:lnTo>
                  <a:lnTo>
                    <a:pt x="150" y="118"/>
                  </a:lnTo>
                  <a:lnTo>
                    <a:pt x="148" y="118"/>
                  </a:lnTo>
                  <a:lnTo>
                    <a:pt x="142" y="118"/>
                  </a:lnTo>
                  <a:lnTo>
                    <a:pt x="138" y="118"/>
                  </a:lnTo>
                  <a:lnTo>
                    <a:pt x="134" y="118"/>
                  </a:lnTo>
                  <a:lnTo>
                    <a:pt x="132" y="118"/>
                  </a:lnTo>
                  <a:lnTo>
                    <a:pt x="130" y="120"/>
                  </a:lnTo>
                  <a:lnTo>
                    <a:pt x="128" y="120"/>
                  </a:lnTo>
                  <a:lnTo>
                    <a:pt x="124" y="120"/>
                  </a:lnTo>
                  <a:lnTo>
                    <a:pt x="120" y="122"/>
                  </a:lnTo>
                  <a:lnTo>
                    <a:pt x="116" y="124"/>
                  </a:lnTo>
                  <a:lnTo>
                    <a:pt x="114" y="124"/>
                  </a:lnTo>
                  <a:lnTo>
                    <a:pt x="112" y="124"/>
                  </a:lnTo>
                  <a:lnTo>
                    <a:pt x="112" y="124"/>
                  </a:lnTo>
                  <a:lnTo>
                    <a:pt x="110" y="124"/>
                  </a:lnTo>
                  <a:lnTo>
                    <a:pt x="110" y="124"/>
                  </a:lnTo>
                  <a:lnTo>
                    <a:pt x="108" y="124"/>
                  </a:lnTo>
                  <a:lnTo>
                    <a:pt x="108" y="124"/>
                  </a:lnTo>
                  <a:lnTo>
                    <a:pt x="108" y="122"/>
                  </a:lnTo>
                  <a:lnTo>
                    <a:pt x="106" y="122"/>
                  </a:lnTo>
                  <a:lnTo>
                    <a:pt x="106" y="120"/>
                  </a:lnTo>
                  <a:lnTo>
                    <a:pt x="104" y="118"/>
                  </a:lnTo>
                  <a:lnTo>
                    <a:pt x="104" y="116"/>
                  </a:lnTo>
                  <a:lnTo>
                    <a:pt x="102" y="114"/>
                  </a:lnTo>
                  <a:lnTo>
                    <a:pt x="102" y="114"/>
                  </a:lnTo>
                  <a:lnTo>
                    <a:pt x="100" y="112"/>
                  </a:lnTo>
                  <a:lnTo>
                    <a:pt x="100" y="112"/>
                  </a:lnTo>
                  <a:lnTo>
                    <a:pt x="100" y="112"/>
                  </a:lnTo>
                  <a:lnTo>
                    <a:pt x="98" y="112"/>
                  </a:lnTo>
                  <a:lnTo>
                    <a:pt x="98" y="112"/>
                  </a:lnTo>
                  <a:lnTo>
                    <a:pt x="96" y="112"/>
                  </a:lnTo>
                  <a:lnTo>
                    <a:pt x="94" y="112"/>
                  </a:lnTo>
                  <a:lnTo>
                    <a:pt x="92" y="112"/>
                  </a:lnTo>
                  <a:lnTo>
                    <a:pt x="90" y="114"/>
                  </a:lnTo>
                  <a:lnTo>
                    <a:pt x="88" y="114"/>
                  </a:lnTo>
                  <a:lnTo>
                    <a:pt x="86" y="116"/>
                  </a:lnTo>
                  <a:lnTo>
                    <a:pt x="84" y="116"/>
                  </a:lnTo>
                  <a:lnTo>
                    <a:pt x="84" y="116"/>
                  </a:lnTo>
                  <a:lnTo>
                    <a:pt x="84" y="118"/>
                  </a:lnTo>
                  <a:lnTo>
                    <a:pt x="84" y="118"/>
                  </a:lnTo>
                  <a:lnTo>
                    <a:pt x="84" y="120"/>
                  </a:lnTo>
                  <a:lnTo>
                    <a:pt x="84" y="122"/>
                  </a:lnTo>
                  <a:lnTo>
                    <a:pt x="84" y="122"/>
                  </a:lnTo>
                  <a:lnTo>
                    <a:pt x="84" y="124"/>
                  </a:lnTo>
                  <a:lnTo>
                    <a:pt x="84" y="124"/>
                  </a:lnTo>
                  <a:lnTo>
                    <a:pt x="84" y="124"/>
                  </a:lnTo>
                  <a:lnTo>
                    <a:pt x="84" y="126"/>
                  </a:lnTo>
                  <a:lnTo>
                    <a:pt x="82" y="126"/>
                  </a:lnTo>
                  <a:lnTo>
                    <a:pt x="80" y="126"/>
                  </a:lnTo>
                  <a:lnTo>
                    <a:pt x="80" y="126"/>
                  </a:lnTo>
                  <a:lnTo>
                    <a:pt x="78" y="126"/>
                  </a:lnTo>
                  <a:lnTo>
                    <a:pt x="76" y="126"/>
                  </a:lnTo>
                  <a:lnTo>
                    <a:pt x="72" y="126"/>
                  </a:lnTo>
                  <a:lnTo>
                    <a:pt x="68" y="126"/>
                  </a:lnTo>
                  <a:lnTo>
                    <a:pt x="64" y="126"/>
                  </a:lnTo>
                  <a:lnTo>
                    <a:pt x="64" y="126"/>
                  </a:lnTo>
                  <a:lnTo>
                    <a:pt x="62" y="126"/>
                  </a:lnTo>
                  <a:lnTo>
                    <a:pt x="60" y="126"/>
                  </a:lnTo>
                  <a:lnTo>
                    <a:pt x="58" y="126"/>
                  </a:lnTo>
                  <a:lnTo>
                    <a:pt x="58" y="128"/>
                  </a:lnTo>
                  <a:lnTo>
                    <a:pt x="56" y="128"/>
                  </a:lnTo>
                  <a:lnTo>
                    <a:pt x="56" y="130"/>
                  </a:lnTo>
                  <a:lnTo>
                    <a:pt x="54" y="132"/>
                  </a:lnTo>
                  <a:lnTo>
                    <a:pt x="52" y="132"/>
                  </a:lnTo>
                  <a:lnTo>
                    <a:pt x="52" y="134"/>
                  </a:lnTo>
                  <a:lnTo>
                    <a:pt x="52" y="134"/>
                  </a:lnTo>
                  <a:lnTo>
                    <a:pt x="52" y="136"/>
                  </a:lnTo>
                  <a:lnTo>
                    <a:pt x="52" y="136"/>
                  </a:lnTo>
                  <a:lnTo>
                    <a:pt x="52" y="136"/>
                  </a:lnTo>
                  <a:lnTo>
                    <a:pt x="52" y="138"/>
                  </a:lnTo>
                  <a:lnTo>
                    <a:pt x="52" y="138"/>
                  </a:lnTo>
                  <a:lnTo>
                    <a:pt x="54" y="138"/>
                  </a:lnTo>
                  <a:lnTo>
                    <a:pt x="54" y="140"/>
                  </a:lnTo>
                  <a:lnTo>
                    <a:pt x="56" y="140"/>
                  </a:lnTo>
                  <a:lnTo>
                    <a:pt x="58" y="140"/>
                  </a:lnTo>
                  <a:lnTo>
                    <a:pt x="62" y="142"/>
                  </a:lnTo>
                  <a:lnTo>
                    <a:pt x="64" y="142"/>
                  </a:lnTo>
                  <a:lnTo>
                    <a:pt x="64" y="142"/>
                  </a:lnTo>
                  <a:lnTo>
                    <a:pt x="66" y="144"/>
                  </a:lnTo>
                  <a:lnTo>
                    <a:pt x="66" y="144"/>
                  </a:lnTo>
                  <a:lnTo>
                    <a:pt x="66" y="144"/>
                  </a:lnTo>
                  <a:lnTo>
                    <a:pt x="66" y="146"/>
                  </a:lnTo>
                  <a:lnTo>
                    <a:pt x="66" y="146"/>
                  </a:lnTo>
                  <a:lnTo>
                    <a:pt x="66" y="146"/>
                  </a:lnTo>
                  <a:lnTo>
                    <a:pt x="66" y="148"/>
                  </a:lnTo>
                  <a:lnTo>
                    <a:pt x="66" y="150"/>
                  </a:lnTo>
                  <a:lnTo>
                    <a:pt x="66" y="152"/>
                  </a:lnTo>
                  <a:lnTo>
                    <a:pt x="64" y="154"/>
                  </a:lnTo>
                  <a:lnTo>
                    <a:pt x="64" y="156"/>
                  </a:lnTo>
                  <a:lnTo>
                    <a:pt x="64" y="158"/>
                  </a:lnTo>
                  <a:lnTo>
                    <a:pt x="64" y="158"/>
                  </a:lnTo>
                  <a:lnTo>
                    <a:pt x="64" y="158"/>
                  </a:lnTo>
                  <a:lnTo>
                    <a:pt x="64" y="160"/>
                  </a:lnTo>
                  <a:lnTo>
                    <a:pt x="64" y="160"/>
                  </a:lnTo>
                  <a:lnTo>
                    <a:pt x="66" y="162"/>
                  </a:lnTo>
                  <a:lnTo>
                    <a:pt x="68" y="162"/>
                  </a:lnTo>
                  <a:lnTo>
                    <a:pt x="68" y="164"/>
                  </a:lnTo>
                  <a:lnTo>
                    <a:pt x="70" y="164"/>
                  </a:lnTo>
                  <a:lnTo>
                    <a:pt x="72" y="166"/>
                  </a:lnTo>
                  <a:lnTo>
                    <a:pt x="72" y="166"/>
                  </a:lnTo>
                  <a:lnTo>
                    <a:pt x="74" y="168"/>
                  </a:lnTo>
                  <a:lnTo>
                    <a:pt x="76" y="168"/>
                  </a:lnTo>
                  <a:lnTo>
                    <a:pt x="78" y="168"/>
                  </a:lnTo>
                  <a:lnTo>
                    <a:pt x="80" y="168"/>
                  </a:lnTo>
                  <a:lnTo>
                    <a:pt x="86" y="168"/>
                  </a:lnTo>
                  <a:lnTo>
                    <a:pt x="90" y="168"/>
                  </a:lnTo>
                  <a:lnTo>
                    <a:pt x="94" y="168"/>
                  </a:lnTo>
                  <a:lnTo>
                    <a:pt x="98" y="168"/>
                  </a:lnTo>
                  <a:lnTo>
                    <a:pt x="102" y="168"/>
                  </a:lnTo>
                  <a:lnTo>
                    <a:pt x="104" y="168"/>
                  </a:lnTo>
                  <a:lnTo>
                    <a:pt x="106" y="166"/>
                  </a:lnTo>
                  <a:lnTo>
                    <a:pt x="106" y="166"/>
                  </a:lnTo>
                  <a:lnTo>
                    <a:pt x="108" y="166"/>
                  </a:lnTo>
                  <a:lnTo>
                    <a:pt x="110" y="164"/>
                  </a:lnTo>
                  <a:lnTo>
                    <a:pt x="112" y="162"/>
                  </a:lnTo>
                  <a:lnTo>
                    <a:pt x="114" y="160"/>
                  </a:lnTo>
                  <a:lnTo>
                    <a:pt x="118" y="158"/>
                  </a:lnTo>
                  <a:lnTo>
                    <a:pt x="118" y="156"/>
                  </a:lnTo>
                  <a:lnTo>
                    <a:pt x="120" y="156"/>
                  </a:lnTo>
                  <a:lnTo>
                    <a:pt x="122" y="156"/>
                  </a:lnTo>
                  <a:lnTo>
                    <a:pt x="122" y="154"/>
                  </a:lnTo>
                  <a:lnTo>
                    <a:pt x="124" y="154"/>
                  </a:lnTo>
                  <a:lnTo>
                    <a:pt x="124" y="154"/>
                  </a:lnTo>
                  <a:lnTo>
                    <a:pt x="126" y="154"/>
                  </a:lnTo>
                  <a:lnTo>
                    <a:pt x="126" y="156"/>
                  </a:lnTo>
                  <a:lnTo>
                    <a:pt x="128" y="156"/>
                  </a:lnTo>
                  <a:lnTo>
                    <a:pt x="130" y="158"/>
                  </a:lnTo>
                  <a:lnTo>
                    <a:pt x="130" y="158"/>
                  </a:lnTo>
                  <a:lnTo>
                    <a:pt x="132" y="160"/>
                  </a:lnTo>
                  <a:lnTo>
                    <a:pt x="132" y="160"/>
                  </a:lnTo>
                  <a:lnTo>
                    <a:pt x="132" y="162"/>
                  </a:lnTo>
                  <a:lnTo>
                    <a:pt x="132" y="162"/>
                  </a:lnTo>
                  <a:lnTo>
                    <a:pt x="132" y="162"/>
                  </a:lnTo>
                  <a:lnTo>
                    <a:pt x="132" y="164"/>
                  </a:lnTo>
                  <a:lnTo>
                    <a:pt x="132" y="164"/>
                  </a:lnTo>
                  <a:lnTo>
                    <a:pt x="130" y="164"/>
                  </a:lnTo>
                  <a:lnTo>
                    <a:pt x="130" y="166"/>
                  </a:lnTo>
                  <a:lnTo>
                    <a:pt x="128" y="166"/>
                  </a:lnTo>
                  <a:lnTo>
                    <a:pt x="124" y="168"/>
                  </a:lnTo>
                  <a:lnTo>
                    <a:pt x="124" y="168"/>
                  </a:lnTo>
                  <a:lnTo>
                    <a:pt x="122" y="170"/>
                  </a:lnTo>
                  <a:lnTo>
                    <a:pt x="122" y="170"/>
                  </a:lnTo>
                  <a:lnTo>
                    <a:pt x="122" y="170"/>
                  </a:lnTo>
                  <a:lnTo>
                    <a:pt x="122" y="172"/>
                  </a:lnTo>
                  <a:lnTo>
                    <a:pt x="122" y="174"/>
                  </a:lnTo>
                  <a:lnTo>
                    <a:pt x="122" y="176"/>
                  </a:lnTo>
                  <a:lnTo>
                    <a:pt x="122" y="178"/>
                  </a:lnTo>
                  <a:lnTo>
                    <a:pt x="122" y="182"/>
                  </a:lnTo>
                  <a:lnTo>
                    <a:pt x="122" y="184"/>
                  </a:lnTo>
                  <a:lnTo>
                    <a:pt x="120" y="184"/>
                  </a:lnTo>
                  <a:lnTo>
                    <a:pt x="120" y="186"/>
                  </a:lnTo>
                  <a:lnTo>
                    <a:pt x="120" y="186"/>
                  </a:lnTo>
                  <a:lnTo>
                    <a:pt x="120" y="188"/>
                  </a:lnTo>
                  <a:lnTo>
                    <a:pt x="118" y="188"/>
                  </a:lnTo>
                  <a:lnTo>
                    <a:pt x="118" y="188"/>
                  </a:lnTo>
                  <a:lnTo>
                    <a:pt x="116" y="188"/>
                  </a:lnTo>
                  <a:lnTo>
                    <a:pt x="114" y="188"/>
                  </a:lnTo>
                  <a:lnTo>
                    <a:pt x="114" y="188"/>
                  </a:lnTo>
                  <a:lnTo>
                    <a:pt x="112" y="188"/>
                  </a:lnTo>
                  <a:lnTo>
                    <a:pt x="108" y="188"/>
                  </a:lnTo>
                  <a:lnTo>
                    <a:pt x="106" y="186"/>
                  </a:lnTo>
                  <a:lnTo>
                    <a:pt x="102" y="186"/>
                  </a:lnTo>
                  <a:lnTo>
                    <a:pt x="100" y="186"/>
                  </a:lnTo>
                  <a:lnTo>
                    <a:pt x="100" y="186"/>
                  </a:lnTo>
                  <a:lnTo>
                    <a:pt x="98" y="186"/>
                  </a:lnTo>
                  <a:lnTo>
                    <a:pt x="96" y="188"/>
                  </a:lnTo>
                  <a:lnTo>
                    <a:pt x="96" y="188"/>
                  </a:lnTo>
                  <a:lnTo>
                    <a:pt x="96" y="188"/>
                  </a:lnTo>
                  <a:lnTo>
                    <a:pt x="96" y="190"/>
                  </a:lnTo>
                  <a:lnTo>
                    <a:pt x="96" y="190"/>
                  </a:lnTo>
                  <a:lnTo>
                    <a:pt x="94" y="192"/>
                  </a:lnTo>
                  <a:lnTo>
                    <a:pt x="94" y="196"/>
                  </a:lnTo>
                  <a:lnTo>
                    <a:pt x="94" y="198"/>
                  </a:lnTo>
                  <a:lnTo>
                    <a:pt x="94" y="200"/>
                  </a:lnTo>
                  <a:lnTo>
                    <a:pt x="94" y="200"/>
                  </a:lnTo>
                  <a:lnTo>
                    <a:pt x="94" y="202"/>
                  </a:lnTo>
                  <a:lnTo>
                    <a:pt x="92" y="202"/>
                  </a:lnTo>
                  <a:lnTo>
                    <a:pt x="92" y="202"/>
                  </a:lnTo>
                  <a:lnTo>
                    <a:pt x="92" y="202"/>
                  </a:lnTo>
                  <a:lnTo>
                    <a:pt x="90" y="202"/>
                  </a:lnTo>
                  <a:lnTo>
                    <a:pt x="90" y="202"/>
                  </a:lnTo>
                  <a:lnTo>
                    <a:pt x="88" y="202"/>
                  </a:lnTo>
                  <a:lnTo>
                    <a:pt x="88" y="200"/>
                  </a:lnTo>
                  <a:lnTo>
                    <a:pt x="86" y="198"/>
                  </a:lnTo>
                  <a:lnTo>
                    <a:pt x="84" y="196"/>
                  </a:lnTo>
                  <a:lnTo>
                    <a:pt x="82" y="194"/>
                  </a:lnTo>
                  <a:lnTo>
                    <a:pt x="82" y="194"/>
                  </a:lnTo>
                  <a:lnTo>
                    <a:pt x="80" y="192"/>
                  </a:lnTo>
                  <a:lnTo>
                    <a:pt x="80" y="192"/>
                  </a:lnTo>
                  <a:lnTo>
                    <a:pt x="80" y="192"/>
                  </a:lnTo>
                  <a:lnTo>
                    <a:pt x="78" y="192"/>
                  </a:lnTo>
                  <a:lnTo>
                    <a:pt x="76" y="192"/>
                  </a:lnTo>
                  <a:lnTo>
                    <a:pt x="76" y="192"/>
                  </a:lnTo>
                  <a:lnTo>
                    <a:pt x="74" y="192"/>
                  </a:lnTo>
                  <a:lnTo>
                    <a:pt x="72" y="194"/>
                  </a:lnTo>
                  <a:lnTo>
                    <a:pt x="68" y="196"/>
                  </a:lnTo>
                  <a:lnTo>
                    <a:pt x="66" y="198"/>
                  </a:lnTo>
                  <a:lnTo>
                    <a:pt x="62" y="198"/>
                  </a:lnTo>
                  <a:lnTo>
                    <a:pt x="60" y="200"/>
                  </a:lnTo>
                  <a:lnTo>
                    <a:pt x="60" y="202"/>
                  </a:lnTo>
                  <a:lnTo>
                    <a:pt x="58" y="202"/>
                  </a:lnTo>
                  <a:lnTo>
                    <a:pt x="58" y="204"/>
                  </a:lnTo>
                  <a:lnTo>
                    <a:pt x="58" y="204"/>
                  </a:lnTo>
                  <a:lnTo>
                    <a:pt x="58" y="206"/>
                  </a:lnTo>
                  <a:lnTo>
                    <a:pt x="58" y="208"/>
                  </a:lnTo>
                  <a:lnTo>
                    <a:pt x="58" y="210"/>
                  </a:lnTo>
                  <a:lnTo>
                    <a:pt x="58" y="212"/>
                  </a:lnTo>
                  <a:lnTo>
                    <a:pt x="58" y="214"/>
                  </a:lnTo>
                  <a:lnTo>
                    <a:pt x="58" y="216"/>
                  </a:lnTo>
                  <a:lnTo>
                    <a:pt x="58" y="216"/>
                  </a:lnTo>
                  <a:lnTo>
                    <a:pt x="56" y="218"/>
                  </a:lnTo>
                  <a:lnTo>
                    <a:pt x="56" y="218"/>
                  </a:lnTo>
                  <a:lnTo>
                    <a:pt x="54" y="218"/>
                  </a:lnTo>
                  <a:lnTo>
                    <a:pt x="54" y="220"/>
                  </a:lnTo>
                  <a:lnTo>
                    <a:pt x="52" y="220"/>
                  </a:lnTo>
                  <a:lnTo>
                    <a:pt x="50" y="222"/>
                  </a:lnTo>
                  <a:lnTo>
                    <a:pt x="46" y="222"/>
                  </a:lnTo>
                  <a:lnTo>
                    <a:pt x="42" y="224"/>
                  </a:lnTo>
                  <a:lnTo>
                    <a:pt x="42" y="224"/>
                  </a:lnTo>
                  <a:lnTo>
                    <a:pt x="40" y="224"/>
                  </a:lnTo>
                  <a:lnTo>
                    <a:pt x="38" y="224"/>
                  </a:lnTo>
                  <a:lnTo>
                    <a:pt x="38" y="226"/>
                  </a:lnTo>
                  <a:lnTo>
                    <a:pt x="36" y="226"/>
                  </a:lnTo>
                  <a:lnTo>
                    <a:pt x="36" y="228"/>
                  </a:lnTo>
                  <a:lnTo>
                    <a:pt x="36" y="228"/>
                  </a:lnTo>
                  <a:lnTo>
                    <a:pt x="36" y="228"/>
                  </a:lnTo>
                  <a:lnTo>
                    <a:pt x="36" y="230"/>
                  </a:lnTo>
                  <a:lnTo>
                    <a:pt x="36" y="230"/>
                  </a:lnTo>
                  <a:lnTo>
                    <a:pt x="38" y="232"/>
                  </a:lnTo>
                  <a:lnTo>
                    <a:pt x="38" y="234"/>
                  </a:lnTo>
                  <a:lnTo>
                    <a:pt x="40" y="236"/>
                  </a:lnTo>
                  <a:lnTo>
                    <a:pt x="42" y="238"/>
                  </a:lnTo>
                  <a:lnTo>
                    <a:pt x="42" y="240"/>
                  </a:lnTo>
                  <a:lnTo>
                    <a:pt x="44" y="240"/>
                  </a:lnTo>
                  <a:lnTo>
                    <a:pt x="44" y="240"/>
                  </a:lnTo>
                  <a:lnTo>
                    <a:pt x="46" y="240"/>
                  </a:lnTo>
                  <a:lnTo>
                    <a:pt x="46" y="242"/>
                  </a:lnTo>
                  <a:lnTo>
                    <a:pt x="52" y="242"/>
                  </a:lnTo>
                  <a:lnTo>
                    <a:pt x="54" y="242"/>
                  </a:lnTo>
                  <a:lnTo>
                    <a:pt x="54" y="244"/>
                  </a:lnTo>
                  <a:lnTo>
                    <a:pt x="56" y="244"/>
                  </a:lnTo>
                  <a:lnTo>
                    <a:pt x="56" y="244"/>
                  </a:lnTo>
                  <a:lnTo>
                    <a:pt x="56" y="244"/>
                  </a:lnTo>
                  <a:lnTo>
                    <a:pt x="56" y="246"/>
                  </a:lnTo>
                  <a:lnTo>
                    <a:pt x="56" y="246"/>
                  </a:lnTo>
                  <a:lnTo>
                    <a:pt x="56" y="246"/>
                  </a:lnTo>
                  <a:lnTo>
                    <a:pt x="56" y="246"/>
                  </a:lnTo>
                  <a:lnTo>
                    <a:pt x="56" y="248"/>
                  </a:lnTo>
                  <a:lnTo>
                    <a:pt x="54" y="248"/>
                  </a:lnTo>
                  <a:lnTo>
                    <a:pt x="52" y="248"/>
                  </a:lnTo>
                  <a:lnTo>
                    <a:pt x="52" y="250"/>
                  </a:lnTo>
                  <a:lnTo>
                    <a:pt x="48" y="250"/>
                  </a:lnTo>
                  <a:lnTo>
                    <a:pt x="46" y="252"/>
                  </a:lnTo>
                  <a:lnTo>
                    <a:pt x="44" y="252"/>
                  </a:lnTo>
                  <a:lnTo>
                    <a:pt x="42" y="252"/>
                  </a:lnTo>
                  <a:lnTo>
                    <a:pt x="40" y="252"/>
                  </a:lnTo>
                  <a:lnTo>
                    <a:pt x="40" y="254"/>
                  </a:lnTo>
                  <a:lnTo>
                    <a:pt x="40" y="254"/>
                  </a:lnTo>
                  <a:lnTo>
                    <a:pt x="40" y="254"/>
                  </a:lnTo>
                  <a:lnTo>
                    <a:pt x="38" y="256"/>
                  </a:lnTo>
                  <a:lnTo>
                    <a:pt x="38" y="256"/>
                  </a:lnTo>
                  <a:lnTo>
                    <a:pt x="40" y="258"/>
                  </a:lnTo>
                  <a:lnTo>
                    <a:pt x="40" y="258"/>
                  </a:lnTo>
                  <a:lnTo>
                    <a:pt x="40" y="260"/>
                  </a:lnTo>
                  <a:lnTo>
                    <a:pt x="40" y="260"/>
                  </a:lnTo>
                  <a:lnTo>
                    <a:pt x="42" y="262"/>
                  </a:lnTo>
                  <a:lnTo>
                    <a:pt x="44" y="264"/>
                  </a:lnTo>
                  <a:lnTo>
                    <a:pt x="46" y="266"/>
                  </a:lnTo>
                  <a:lnTo>
                    <a:pt x="48" y="268"/>
                  </a:lnTo>
                  <a:lnTo>
                    <a:pt x="50" y="270"/>
                  </a:lnTo>
                  <a:lnTo>
                    <a:pt x="50" y="270"/>
                  </a:lnTo>
                  <a:lnTo>
                    <a:pt x="52" y="270"/>
                  </a:lnTo>
                  <a:lnTo>
                    <a:pt x="54" y="270"/>
                  </a:lnTo>
                  <a:lnTo>
                    <a:pt x="54" y="270"/>
                  </a:lnTo>
                  <a:lnTo>
                    <a:pt x="58" y="270"/>
                  </a:lnTo>
                  <a:lnTo>
                    <a:pt x="60" y="270"/>
                  </a:lnTo>
                  <a:lnTo>
                    <a:pt x="62" y="270"/>
                  </a:lnTo>
                  <a:lnTo>
                    <a:pt x="64" y="270"/>
                  </a:lnTo>
                  <a:lnTo>
                    <a:pt x="66" y="268"/>
                  </a:lnTo>
                  <a:lnTo>
                    <a:pt x="66" y="268"/>
                  </a:lnTo>
                  <a:lnTo>
                    <a:pt x="68" y="268"/>
                  </a:lnTo>
                  <a:lnTo>
                    <a:pt x="68" y="266"/>
                  </a:lnTo>
                  <a:lnTo>
                    <a:pt x="68" y="264"/>
                  </a:lnTo>
                  <a:lnTo>
                    <a:pt x="70" y="262"/>
                  </a:lnTo>
                  <a:lnTo>
                    <a:pt x="70" y="260"/>
                  </a:lnTo>
                  <a:lnTo>
                    <a:pt x="70" y="258"/>
                  </a:lnTo>
                  <a:lnTo>
                    <a:pt x="72" y="256"/>
                  </a:lnTo>
                  <a:lnTo>
                    <a:pt x="72" y="256"/>
                  </a:lnTo>
                  <a:lnTo>
                    <a:pt x="74" y="256"/>
                  </a:lnTo>
                  <a:lnTo>
                    <a:pt x="74" y="256"/>
                  </a:lnTo>
                  <a:lnTo>
                    <a:pt x="74" y="256"/>
                  </a:lnTo>
                  <a:lnTo>
                    <a:pt x="74" y="256"/>
                  </a:lnTo>
                  <a:lnTo>
                    <a:pt x="76" y="256"/>
                  </a:lnTo>
                  <a:lnTo>
                    <a:pt x="76" y="258"/>
                  </a:lnTo>
                  <a:lnTo>
                    <a:pt x="76" y="258"/>
                  </a:lnTo>
                  <a:lnTo>
                    <a:pt x="76" y="260"/>
                  </a:lnTo>
                  <a:lnTo>
                    <a:pt x="76" y="260"/>
                  </a:lnTo>
                  <a:lnTo>
                    <a:pt x="76" y="264"/>
                  </a:lnTo>
                  <a:lnTo>
                    <a:pt x="76" y="268"/>
                  </a:lnTo>
                  <a:lnTo>
                    <a:pt x="76" y="270"/>
                  </a:lnTo>
                  <a:lnTo>
                    <a:pt x="74" y="276"/>
                  </a:lnTo>
                  <a:lnTo>
                    <a:pt x="74" y="276"/>
                  </a:lnTo>
                  <a:lnTo>
                    <a:pt x="72" y="278"/>
                  </a:lnTo>
                  <a:lnTo>
                    <a:pt x="70" y="282"/>
                  </a:lnTo>
                  <a:lnTo>
                    <a:pt x="70" y="284"/>
                  </a:lnTo>
                  <a:lnTo>
                    <a:pt x="68" y="284"/>
                  </a:lnTo>
                  <a:lnTo>
                    <a:pt x="68" y="286"/>
                  </a:lnTo>
                  <a:lnTo>
                    <a:pt x="66" y="288"/>
                  </a:lnTo>
                  <a:lnTo>
                    <a:pt x="66" y="290"/>
                  </a:lnTo>
                  <a:lnTo>
                    <a:pt x="66" y="292"/>
                  </a:lnTo>
                  <a:lnTo>
                    <a:pt x="66" y="294"/>
                  </a:lnTo>
                  <a:lnTo>
                    <a:pt x="66" y="296"/>
                  </a:lnTo>
                  <a:lnTo>
                    <a:pt x="66" y="298"/>
                  </a:lnTo>
                  <a:lnTo>
                    <a:pt x="68" y="300"/>
                  </a:lnTo>
                  <a:lnTo>
                    <a:pt x="68" y="302"/>
                  </a:lnTo>
                  <a:lnTo>
                    <a:pt x="68" y="302"/>
                  </a:lnTo>
                  <a:lnTo>
                    <a:pt x="68" y="302"/>
                  </a:lnTo>
                  <a:lnTo>
                    <a:pt x="70" y="302"/>
                  </a:lnTo>
                  <a:lnTo>
                    <a:pt x="70" y="304"/>
                  </a:lnTo>
                  <a:lnTo>
                    <a:pt x="72" y="304"/>
                  </a:lnTo>
                  <a:lnTo>
                    <a:pt x="72" y="304"/>
                  </a:lnTo>
                  <a:lnTo>
                    <a:pt x="74" y="302"/>
                  </a:lnTo>
                  <a:lnTo>
                    <a:pt x="76" y="302"/>
                  </a:lnTo>
                  <a:lnTo>
                    <a:pt x="76" y="302"/>
                  </a:lnTo>
                  <a:lnTo>
                    <a:pt x="80" y="300"/>
                  </a:lnTo>
                  <a:lnTo>
                    <a:pt x="84" y="298"/>
                  </a:lnTo>
                  <a:lnTo>
                    <a:pt x="86" y="296"/>
                  </a:lnTo>
                  <a:lnTo>
                    <a:pt x="88" y="296"/>
                  </a:lnTo>
                  <a:lnTo>
                    <a:pt x="90" y="296"/>
                  </a:lnTo>
                  <a:lnTo>
                    <a:pt x="90" y="296"/>
                  </a:lnTo>
                  <a:lnTo>
                    <a:pt x="92" y="296"/>
                  </a:lnTo>
                  <a:lnTo>
                    <a:pt x="92" y="296"/>
                  </a:lnTo>
                  <a:lnTo>
                    <a:pt x="92" y="296"/>
                  </a:lnTo>
                  <a:lnTo>
                    <a:pt x="94" y="296"/>
                  </a:lnTo>
                  <a:lnTo>
                    <a:pt x="94" y="298"/>
                  </a:lnTo>
                  <a:lnTo>
                    <a:pt x="96" y="298"/>
                  </a:lnTo>
                  <a:lnTo>
                    <a:pt x="96" y="300"/>
                  </a:lnTo>
                  <a:lnTo>
                    <a:pt x="98" y="300"/>
                  </a:lnTo>
                  <a:lnTo>
                    <a:pt x="98" y="302"/>
                  </a:lnTo>
                  <a:lnTo>
                    <a:pt x="98" y="302"/>
                  </a:lnTo>
                  <a:lnTo>
                    <a:pt x="100" y="302"/>
                  </a:lnTo>
                  <a:lnTo>
                    <a:pt x="100" y="302"/>
                  </a:lnTo>
                  <a:lnTo>
                    <a:pt x="102" y="302"/>
                  </a:lnTo>
                  <a:lnTo>
                    <a:pt x="102" y="302"/>
                  </a:lnTo>
                  <a:lnTo>
                    <a:pt x="104" y="300"/>
                  </a:lnTo>
                  <a:lnTo>
                    <a:pt x="106" y="300"/>
                  </a:lnTo>
                  <a:lnTo>
                    <a:pt x="108" y="298"/>
                  </a:lnTo>
                  <a:lnTo>
                    <a:pt x="112" y="296"/>
                  </a:lnTo>
                  <a:lnTo>
                    <a:pt x="112" y="296"/>
                  </a:lnTo>
                  <a:lnTo>
                    <a:pt x="114" y="296"/>
                  </a:lnTo>
                  <a:lnTo>
                    <a:pt x="114" y="296"/>
                  </a:lnTo>
                  <a:lnTo>
                    <a:pt x="116" y="294"/>
                  </a:lnTo>
                  <a:lnTo>
                    <a:pt x="116" y="296"/>
                  </a:lnTo>
                  <a:lnTo>
                    <a:pt x="118" y="296"/>
                  </a:lnTo>
                  <a:lnTo>
                    <a:pt x="118" y="296"/>
                  </a:lnTo>
                  <a:lnTo>
                    <a:pt x="118" y="298"/>
                  </a:lnTo>
                  <a:lnTo>
                    <a:pt x="120" y="298"/>
                  </a:lnTo>
                  <a:lnTo>
                    <a:pt x="120" y="300"/>
                  </a:lnTo>
                  <a:lnTo>
                    <a:pt x="120" y="302"/>
                  </a:lnTo>
                  <a:lnTo>
                    <a:pt x="120" y="302"/>
                  </a:lnTo>
                  <a:lnTo>
                    <a:pt x="122" y="304"/>
                  </a:lnTo>
                  <a:lnTo>
                    <a:pt x="122" y="306"/>
                  </a:lnTo>
                  <a:lnTo>
                    <a:pt x="122" y="310"/>
                  </a:lnTo>
                  <a:lnTo>
                    <a:pt x="120" y="314"/>
                  </a:lnTo>
                  <a:lnTo>
                    <a:pt x="120" y="316"/>
                  </a:lnTo>
                  <a:lnTo>
                    <a:pt x="120" y="316"/>
                  </a:lnTo>
                  <a:lnTo>
                    <a:pt x="120" y="318"/>
                  </a:lnTo>
                  <a:lnTo>
                    <a:pt x="120" y="320"/>
                  </a:lnTo>
                  <a:lnTo>
                    <a:pt x="118" y="320"/>
                  </a:lnTo>
                  <a:lnTo>
                    <a:pt x="118" y="322"/>
                  </a:lnTo>
                  <a:lnTo>
                    <a:pt x="116" y="324"/>
                  </a:lnTo>
                  <a:lnTo>
                    <a:pt x="116" y="326"/>
                  </a:lnTo>
                  <a:lnTo>
                    <a:pt x="114" y="326"/>
                  </a:lnTo>
                  <a:lnTo>
                    <a:pt x="112" y="328"/>
                  </a:lnTo>
                  <a:lnTo>
                    <a:pt x="110" y="330"/>
                  </a:lnTo>
                  <a:lnTo>
                    <a:pt x="106" y="334"/>
                  </a:lnTo>
                  <a:lnTo>
                    <a:pt x="102" y="336"/>
                  </a:lnTo>
                  <a:lnTo>
                    <a:pt x="98" y="338"/>
                  </a:lnTo>
                  <a:lnTo>
                    <a:pt x="94" y="340"/>
                  </a:lnTo>
                  <a:lnTo>
                    <a:pt x="90" y="344"/>
                  </a:lnTo>
                  <a:lnTo>
                    <a:pt x="84" y="346"/>
                  </a:lnTo>
                  <a:lnTo>
                    <a:pt x="76" y="350"/>
                  </a:lnTo>
                  <a:lnTo>
                    <a:pt x="68" y="354"/>
                  </a:lnTo>
                  <a:lnTo>
                    <a:pt x="62" y="358"/>
                  </a:lnTo>
                  <a:lnTo>
                    <a:pt x="58" y="360"/>
                  </a:lnTo>
                  <a:lnTo>
                    <a:pt x="52" y="362"/>
                  </a:lnTo>
                  <a:lnTo>
                    <a:pt x="40" y="366"/>
                  </a:lnTo>
                  <a:lnTo>
                    <a:pt x="20" y="376"/>
                  </a:lnTo>
                  <a:lnTo>
                    <a:pt x="18" y="376"/>
                  </a:lnTo>
                  <a:lnTo>
                    <a:pt x="16" y="378"/>
                  </a:lnTo>
                  <a:lnTo>
                    <a:pt x="8" y="380"/>
                  </a:lnTo>
                  <a:lnTo>
                    <a:pt x="6" y="380"/>
                  </a:lnTo>
                  <a:lnTo>
                    <a:pt x="4" y="382"/>
                  </a:lnTo>
                  <a:lnTo>
                    <a:pt x="2" y="382"/>
                  </a:lnTo>
                  <a:lnTo>
                    <a:pt x="2" y="384"/>
                  </a:lnTo>
                  <a:lnTo>
                    <a:pt x="0" y="384"/>
                  </a:lnTo>
                  <a:lnTo>
                    <a:pt x="0" y="384"/>
                  </a:lnTo>
                  <a:lnTo>
                    <a:pt x="0" y="386"/>
                  </a:lnTo>
                  <a:lnTo>
                    <a:pt x="0" y="386"/>
                  </a:lnTo>
                  <a:lnTo>
                    <a:pt x="0" y="388"/>
                  </a:lnTo>
                  <a:lnTo>
                    <a:pt x="0" y="390"/>
                  </a:lnTo>
                  <a:lnTo>
                    <a:pt x="0" y="390"/>
                  </a:lnTo>
                  <a:lnTo>
                    <a:pt x="0" y="392"/>
                  </a:lnTo>
                  <a:lnTo>
                    <a:pt x="0" y="392"/>
                  </a:lnTo>
                  <a:lnTo>
                    <a:pt x="2" y="394"/>
                  </a:lnTo>
                  <a:lnTo>
                    <a:pt x="2" y="394"/>
                  </a:lnTo>
                  <a:lnTo>
                    <a:pt x="4" y="396"/>
                  </a:lnTo>
                  <a:lnTo>
                    <a:pt x="6" y="396"/>
                  </a:lnTo>
                  <a:lnTo>
                    <a:pt x="8" y="396"/>
                  </a:lnTo>
                  <a:lnTo>
                    <a:pt x="10" y="396"/>
                  </a:lnTo>
                  <a:lnTo>
                    <a:pt x="12" y="396"/>
                  </a:lnTo>
                  <a:lnTo>
                    <a:pt x="12" y="396"/>
                  </a:lnTo>
                  <a:lnTo>
                    <a:pt x="16" y="396"/>
                  </a:lnTo>
                  <a:lnTo>
                    <a:pt x="20" y="396"/>
                  </a:lnTo>
                  <a:lnTo>
                    <a:pt x="24" y="396"/>
                  </a:lnTo>
                  <a:lnTo>
                    <a:pt x="30" y="394"/>
                  </a:lnTo>
                  <a:lnTo>
                    <a:pt x="34" y="394"/>
                  </a:lnTo>
                  <a:lnTo>
                    <a:pt x="38" y="392"/>
                  </a:lnTo>
                  <a:lnTo>
                    <a:pt x="44" y="390"/>
                  </a:lnTo>
                  <a:lnTo>
                    <a:pt x="48" y="388"/>
                  </a:lnTo>
                  <a:lnTo>
                    <a:pt x="52" y="388"/>
                  </a:lnTo>
                  <a:lnTo>
                    <a:pt x="62" y="384"/>
                  </a:lnTo>
                  <a:lnTo>
                    <a:pt x="68" y="382"/>
                  </a:lnTo>
                  <a:lnTo>
                    <a:pt x="72" y="380"/>
                  </a:lnTo>
                  <a:lnTo>
                    <a:pt x="76" y="378"/>
                  </a:lnTo>
                  <a:lnTo>
                    <a:pt x="80" y="374"/>
                  </a:lnTo>
                  <a:lnTo>
                    <a:pt x="86" y="372"/>
                  </a:lnTo>
                  <a:lnTo>
                    <a:pt x="90" y="370"/>
                  </a:lnTo>
                  <a:lnTo>
                    <a:pt x="94" y="366"/>
                  </a:lnTo>
                  <a:lnTo>
                    <a:pt x="106" y="360"/>
                  </a:lnTo>
                  <a:lnTo>
                    <a:pt x="114" y="352"/>
                  </a:lnTo>
                  <a:lnTo>
                    <a:pt x="124" y="346"/>
                  </a:lnTo>
                  <a:lnTo>
                    <a:pt x="132" y="338"/>
                  </a:lnTo>
                  <a:lnTo>
                    <a:pt x="140" y="334"/>
                  </a:lnTo>
                  <a:lnTo>
                    <a:pt x="142" y="332"/>
                  </a:lnTo>
                  <a:lnTo>
                    <a:pt x="144" y="330"/>
                  </a:lnTo>
                  <a:lnTo>
                    <a:pt x="146" y="328"/>
                  </a:lnTo>
                  <a:lnTo>
                    <a:pt x="148" y="326"/>
                  </a:lnTo>
                  <a:lnTo>
                    <a:pt x="150" y="324"/>
                  </a:lnTo>
                  <a:lnTo>
                    <a:pt x="152" y="322"/>
                  </a:lnTo>
                  <a:lnTo>
                    <a:pt x="158" y="318"/>
                  </a:lnTo>
                  <a:lnTo>
                    <a:pt x="160" y="316"/>
                  </a:lnTo>
                  <a:lnTo>
                    <a:pt x="164" y="316"/>
                  </a:lnTo>
                  <a:lnTo>
                    <a:pt x="170" y="312"/>
                  </a:lnTo>
                  <a:lnTo>
                    <a:pt x="172" y="312"/>
                  </a:lnTo>
                  <a:lnTo>
                    <a:pt x="174" y="310"/>
                  </a:lnTo>
                  <a:lnTo>
                    <a:pt x="176" y="310"/>
                  </a:lnTo>
                  <a:lnTo>
                    <a:pt x="176" y="308"/>
                  </a:lnTo>
                  <a:lnTo>
                    <a:pt x="178" y="308"/>
                  </a:lnTo>
                  <a:lnTo>
                    <a:pt x="178" y="306"/>
                  </a:lnTo>
                  <a:lnTo>
                    <a:pt x="178" y="306"/>
                  </a:lnTo>
                  <a:lnTo>
                    <a:pt x="180" y="304"/>
                  </a:lnTo>
                  <a:lnTo>
                    <a:pt x="180" y="304"/>
                  </a:lnTo>
                  <a:lnTo>
                    <a:pt x="178" y="304"/>
                  </a:lnTo>
                  <a:lnTo>
                    <a:pt x="178" y="302"/>
                  </a:lnTo>
                  <a:lnTo>
                    <a:pt x="178" y="300"/>
                  </a:lnTo>
                  <a:lnTo>
                    <a:pt x="176" y="298"/>
                  </a:lnTo>
                  <a:lnTo>
                    <a:pt x="176" y="296"/>
                  </a:lnTo>
                  <a:lnTo>
                    <a:pt x="176" y="294"/>
                  </a:lnTo>
                  <a:lnTo>
                    <a:pt x="174" y="294"/>
                  </a:lnTo>
                  <a:lnTo>
                    <a:pt x="174" y="292"/>
                  </a:lnTo>
                  <a:lnTo>
                    <a:pt x="176" y="292"/>
                  </a:lnTo>
                  <a:lnTo>
                    <a:pt x="176" y="290"/>
                  </a:lnTo>
                  <a:lnTo>
                    <a:pt x="176" y="288"/>
                  </a:lnTo>
                  <a:lnTo>
                    <a:pt x="178" y="288"/>
                  </a:lnTo>
                  <a:lnTo>
                    <a:pt x="178" y="286"/>
                  </a:lnTo>
                  <a:lnTo>
                    <a:pt x="180" y="284"/>
                  </a:lnTo>
                  <a:lnTo>
                    <a:pt x="182" y="284"/>
                  </a:lnTo>
                  <a:lnTo>
                    <a:pt x="186" y="280"/>
                  </a:lnTo>
                  <a:lnTo>
                    <a:pt x="192" y="276"/>
                  </a:lnTo>
                  <a:lnTo>
                    <a:pt x="196" y="274"/>
                  </a:lnTo>
                  <a:lnTo>
                    <a:pt x="196" y="272"/>
                  </a:lnTo>
                  <a:lnTo>
                    <a:pt x="198" y="272"/>
                  </a:lnTo>
                  <a:lnTo>
                    <a:pt x="200" y="270"/>
                  </a:lnTo>
                  <a:lnTo>
                    <a:pt x="200" y="268"/>
                  </a:lnTo>
                  <a:lnTo>
                    <a:pt x="204" y="264"/>
                  </a:lnTo>
                  <a:lnTo>
                    <a:pt x="210" y="252"/>
                  </a:lnTo>
                  <a:lnTo>
                    <a:pt x="214" y="248"/>
                  </a:lnTo>
                  <a:lnTo>
                    <a:pt x="216" y="246"/>
                  </a:lnTo>
                  <a:lnTo>
                    <a:pt x="218" y="244"/>
                  </a:lnTo>
                  <a:lnTo>
                    <a:pt x="220" y="242"/>
                  </a:lnTo>
                  <a:lnTo>
                    <a:pt x="222" y="240"/>
                  </a:lnTo>
                  <a:lnTo>
                    <a:pt x="224" y="238"/>
                  </a:lnTo>
                  <a:lnTo>
                    <a:pt x="224" y="238"/>
                  </a:lnTo>
                  <a:lnTo>
                    <a:pt x="226" y="238"/>
                  </a:lnTo>
                  <a:lnTo>
                    <a:pt x="226" y="238"/>
                  </a:lnTo>
                  <a:lnTo>
                    <a:pt x="228" y="236"/>
                  </a:lnTo>
                  <a:lnTo>
                    <a:pt x="230" y="236"/>
                  </a:lnTo>
                  <a:lnTo>
                    <a:pt x="232" y="236"/>
                  </a:lnTo>
                  <a:lnTo>
                    <a:pt x="236" y="238"/>
                  </a:lnTo>
                  <a:lnTo>
                    <a:pt x="238" y="238"/>
                  </a:lnTo>
                  <a:lnTo>
                    <a:pt x="240" y="238"/>
                  </a:lnTo>
                  <a:lnTo>
                    <a:pt x="242" y="238"/>
                  </a:lnTo>
                  <a:lnTo>
                    <a:pt x="242" y="238"/>
                  </a:lnTo>
                  <a:lnTo>
                    <a:pt x="244" y="240"/>
                  </a:lnTo>
                  <a:lnTo>
                    <a:pt x="246" y="240"/>
                  </a:lnTo>
                  <a:lnTo>
                    <a:pt x="248" y="240"/>
                  </a:lnTo>
                  <a:lnTo>
                    <a:pt x="248" y="242"/>
                  </a:lnTo>
                  <a:lnTo>
                    <a:pt x="250" y="242"/>
                  </a:lnTo>
                  <a:lnTo>
                    <a:pt x="250" y="244"/>
                  </a:lnTo>
                  <a:lnTo>
                    <a:pt x="250" y="244"/>
                  </a:lnTo>
                  <a:lnTo>
                    <a:pt x="250" y="246"/>
                  </a:lnTo>
                  <a:lnTo>
                    <a:pt x="250" y="246"/>
                  </a:lnTo>
                  <a:lnTo>
                    <a:pt x="248" y="248"/>
                  </a:lnTo>
                  <a:lnTo>
                    <a:pt x="248" y="248"/>
                  </a:lnTo>
                  <a:lnTo>
                    <a:pt x="246" y="250"/>
                  </a:lnTo>
                  <a:lnTo>
                    <a:pt x="246" y="250"/>
                  </a:lnTo>
                  <a:lnTo>
                    <a:pt x="244" y="252"/>
                  </a:lnTo>
                  <a:lnTo>
                    <a:pt x="242" y="252"/>
                  </a:lnTo>
                  <a:lnTo>
                    <a:pt x="238" y="254"/>
                  </a:lnTo>
                  <a:lnTo>
                    <a:pt x="236" y="256"/>
                  </a:lnTo>
                  <a:lnTo>
                    <a:pt x="232" y="258"/>
                  </a:lnTo>
                  <a:lnTo>
                    <a:pt x="224" y="260"/>
                  </a:lnTo>
                  <a:lnTo>
                    <a:pt x="222" y="262"/>
                  </a:lnTo>
                  <a:lnTo>
                    <a:pt x="218" y="264"/>
                  </a:lnTo>
                  <a:lnTo>
                    <a:pt x="216" y="266"/>
                  </a:lnTo>
                  <a:lnTo>
                    <a:pt x="214" y="266"/>
                  </a:lnTo>
                  <a:lnTo>
                    <a:pt x="214" y="268"/>
                  </a:lnTo>
                  <a:lnTo>
                    <a:pt x="214" y="268"/>
                  </a:lnTo>
                  <a:lnTo>
                    <a:pt x="212" y="270"/>
                  </a:lnTo>
                  <a:lnTo>
                    <a:pt x="212" y="270"/>
                  </a:lnTo>
                  <a:lnTo>
                    <a:pt x="212" y="272"/>
                  </a:lnTo>
                  <a:lnTo>
                    <a:pt x="212" y="272"/>
                  </a:lnTo>
                  <a:lnTo>
                    <a:pt x="212" y="272"/>
                  </a:lnTo>
                  <a:lnTo>
                    <a:pt x="212" y="274"/>
                  </a:lnTo>
                  <a:lnTo>
                    <a:pt x="214" y="274"/>
                  </a:lnTo>
                  <a:lnTo>
                    <a:pt x="214" y="276"/>
                  </a:lnTo>
                  <a:lnTo>
                    <a:pt x="216" y="278"/>
                  </a:lnTo>
                  <a:lnTo>
                    <a:pt x="218" y="278"/>
                  </a:lnTo>
                  <a:lnTo>
                    <a:pt x="218" y="280"/>
                  </a:lnTo>
                  <a:lnTo>
                    <a:pt x="218" y="280"/>
                  </a:lnTo>
                  <a:lnTo>
                    <a:pt x="218" y="280"/>
                  </a:lnTo>
                  <a:lnTo>
                    <a:pt x="218" y="280"/>
                  </a:lnTo>
                  <a:lnTo>
                    <a:pt x="218" y="282"/>
                  </a:lnTo>
                  <a:lnTo>
                    <a:pt x="216" y="282"/>
                  </a:lnTo>
                  <a:lnTo>
                    <a:pt x="216" y="282"/>
                  </a:lnTo>
                  <a:lnTo>
                    <a:pt x="214" y="284"/>
                  </a:lnTo>
                  <a:lnTo>
                    <a:pt x="212" y="284"/>
                  </a:lnTo>
                  <a:lnTo>
                    <a:pt x="210" y="284"/>
                  </a:lnTo>
                  <a:lnTo>
                    <a:pt x="210" y="286"/>
                  </a:lnTo>
                  <a:lnTo>
                    <a:pt x="208" y="286"/>
                  </a:lnTo>
                  <a:lnTo>
                    <a:pt x="208" y="286"/>
                  </a:lnTo>
                  <a:lnTo>
                    <a:pt x="208" y="288"/>
                  </a:lnTo>
                  <a:lnTo>
                    <a:pt x="208" y="288"/>
                  </a:lnTo>
                  <a:lnTo>
                    <a:pt x="208" y="288"/>
                  </a:lnTo>
                  <a:lnTo>
                    <a:pt x="208" y="290"/>
                  </a:lnTo>
                  <a:lnTo>
                    <a:pt x="208" y="290"/>
                  </a:lnTo>
                  <a:lnTo>
                    <a:pt x="210" y="290"/>
                  </a:lnTo>
                  <a:lnTo>
                    <a:pt x="210" y="292"/>
                  </a:lnTo>
                  <a:lnTo>
                    <a:pt x="212" y="292"/>
                  </a:lnTo>
                  <a:lnTo>
                    <a:pt x="214" y="294"/>
                  </a:lnTo>
                  <a:lnTo>
                    <a:pt x="216" y="294"/>
                  </a:lnTo>
                  <a:lnTo>
                    <a:pt x="220" y="296"/>
                  </a:lnTo>
                  <a:lnTo>
                    <a:pt x="220" y="296"/>
                  </a:lnTo>
                  <a:lnTo>
                    <a:pt x="222" y="296"/>
                  </a:lnTo>
                  <a:lnTo>
                    <a:pt x="224" y="296"/>
                  </a:lnTo>
                  <a:lnTo>
                    <a:pt x="224" y="296"/>
                  </a:lnTo>
                  <a:lnTo>
                    <a:pt x="226" y="296"/>
                  </a:lnTo>
                  <a:lnTo>
                    <a:pt x="228" y="296"/>
                  </a:lnTo>
                  <a:lnTo>
                    <a:pt x="228" y="296"/>
                  </a:lnTo>
                  <a:lnTo>
                    <a:pt x="230" y="294"/>
                  </a:lnTo>
                  <a:lnTo>
                    <a:pt x="230" y="294"/>
                  </a:lnTo>
                  <a:lnTo>
                    <a:pt x="232" y="294"/>
                  </a:lnTo>
                  <a:lnTo>
                    <a:pt x="234" y="292"/>
                  </a:lnTo>
                  <a:lnTo>
                    <a:pt x="236" y="290"/>
                  </a:lnTo>
                  <a:lnTo>
                    <a:pt x="240" y="288"/>
                  </a:lnTo>
                  <a:lnTo>
                    <a:pt x="242" y="284"/>
                  </a:lnTo>
                  <a:lnTo>
                    <a:pt x="244" y="282"/>
                  </a:lnTo>
                  <a:lnTo>
                    <a:pt x="248" y="278"/>
                  </a:lnTo>
                  <a:lnTo>
                    <a:pt x="252" y="272"/>
                  </a:lnTo>
                  <a:lnTo>
                    <a:pt x="252" y="270"/>
                  </a:lnTo>
                  <a:lnTo>
                    <a:pt x="254" y="270"/>
                  </a:lnTo>
                  <a:lnTo>
                    <a:pt x="256" y="268"/>
                  </a:lnTo>
                  <a:lnTo>
                    <a:pt x="258" y="268"/>
                  </a:lnTo>
                  <a:lnTo>
                    <a:pt x="262" y="266"/>
                  </a:lnTo>
                  <a:lnTo>
                    <a:pt x="264" y="266"/>
                  </a:lnTo>
                  <a:lnTo>
                    <a:pt x="264" y="264"/>
                  </a:lnTo>
                  <a:lnTo>
                    <a:pt x="266" y="264"/>
                  </a:lnTo>
                  <a:lnTo>
                    <a:pt x="266" y="264"/>
                  </a:lnTo>
                  <a:lnTo>
                    <a:pt x="268" y="262"/>
                  </a:lnTo>
                  <a:lnTo>
                    <a:pt x="268" y="262"/>
                  </a:lnTo>
                  <a:lnTo>
                    <a:pt x="268" y="262"/>
                  </a:lnTo>
                  <a:lnTo>
                    <a:pt x="268" y="260"/>
                  </a:lnTo>
                  <a:lnTo>
                    <a:pt x="268" y="256"/>
                  </a:lnTo>
                  <a:lnTo>
                    <a:pt x="268" y="254"/>
                  </a:lnTo>
                  <a:lnTo>
                    <a:pt x="268" y="252"/>
                  </a:lnTo>
                  <a:lnTo>
                    <a:pt x="268" y="250"/>
                  </a:lnTo>
                  <a:lnTo>
                    <a:pt x="268" y="248"/>
                  </a:lnTo>
                  <a:lnTo>
                    <a:pt x="268" y="248"/>
                  </a:lnTo>
                  <a:lnTo>
                    <a:pt x="270" y="248"/>
                  </a:lnTo>
                  <a:lnTo>
                    <a:pt x="270" y="246"/>
                  </a:lnTo>
                  <a:lnTo>
                    <a:pt x="270" y="246"/>
                  </a:lnTo>
                  <a:lnTo>
                    <a:pt x="272" y="244"/>
                  </a:lnTo>
                  <a:lnTo>
                    <a:pt x="274" y="244"/>
                  </a:lnTo>
                  <a:lnTo>
                    <a:pt x="276" y="242"/>
                  </a:lnTo>
                  <a:lnTo>
                    <a:pt x="278" y="242"/>
                  </a:lnTo>
                  <a:lnTo>
                    <a:pt x="282" y="240"/>
                  </a:lnTo>
                  <a:lnTo>
                    <a:pt x="282" y="240"/>
                  </a:lnTo>
                  <a:lnTo>
                    <a:pt x="284" y="240"/>
                  </a:lnTo>
                  <a:lnTo>
                    <a:pt x="286" y="240"/>
                  </a:lnTo>
                  <a:lnTo>
                    <a:pt x="286" y="240"/>
                  </a:lnTo>
                  <a:lnTo>
                    <a:pt x="288" y="240"/>
                  </a:lnTo>
                  <a:lnTo>
                    <a:pt x="288" y="240"/>
                  </a:lnTo>
                  <a:lnTo>
                    <a:pt x="288" y="240"/>
                  </a:lnTo>
                  <a:lnTo>
                    <a:pt x="290" y="240"/>
                  </a:lnTo>
                  <a:lnTo>
                    <a:pt x="290" y="242"/>
                  </a:lnTo>
                  <a:lnTo>
                    <a:pt x="290" y="244"/>
                  </a:lnTo>
                  <a:lnTo>
                    <a:pt x="290" y="244"/>
                  </a:lnTo>
                  <a:lnTo>
                    <a:pt x="290" y="246"/>
                  </a:lnTo>
                  <a:lnTo>
                    <a:pt x="292" y="248"/>
                  </a:lnTo>
                  <a:lnTo>
                    <a:pt x="292" y="250"/>
                  </a:lnTo>
                  <a:lnTo>
                    <a:pt x="292" y="250"/>
                  </a:lnTo>
                  <a:lnTo>
                    <a:pt x="292" y="250"/>
                  </a:lnTo>
                  <a:lnTo>
                    <a:pt x="292" y="250"/>
                  </a:lnTo>
                  <a:lnTo>
                    <a:pt x="294" y="250"/>
                  </a:lnTo>
                  <a:lnTo>
                    <a:pt x="296" y="250"/>
                  </a:lnTo>
                  <a:lnTo>
                    <a:pt x="298" y="250"/>
                  </a:lnTo>
                  <a:lnTo>
                    <a:pt x="300" y="250"/>
                  </a:lnTo>
                  <a:lnTo>
                    <a:pt x="302" y="250"/>
                  </a:lnTo>
                  <a:lnTo>
                    <a:pt x="304" y="250"/>
                  </a:lnTo>
                  <a:lnTo>
                    <a:pt x="304" y="250"/>
                  </a:lnTo>
                  <a:lnTo>
                    <a:pt x="304" y="250"/>
                  </a:lnTo>
                  <a:lnTo>
                    <a:pt x="306" y="250"/>
                  </a:lnTo>
                  <a:lnTo>
                    <a:pt x="306" y="252"/>
                  </a:lnTo>
                  <a:lnTo>
                    <a:pt x="306" y="252"/>
                  </a:lnTo>
                  <a:lnTo>
                    <a:pt x="306" y="252"/>
                  </a:lnTo>
                  <a:lnTo>
                    <a:pt x="306" y="254"/>
                  </a:lnTo>
                  <a:lnTo>
                    <a:pt x="306" y="254"/>
                  </a:lnTo>
                  <a:lnTo>
                    <a:pt x="306" y="256"/>
                  </a:lnTo>
                  <a:lnTo>
                    <a:pt x="306" y="258"/>
                  </a:lnTo>
                  <a:lnTo>
                    <a:pt x="306" y="260"/>
                  </a:lnTo>
                  <a:lnTo>
                    <a:pt x="306" y="262"/>
                  </a:lnTo>
                  <a:lnTo>
                    <a:pt x="306" y="262"/>
                  </a:lnTo>
                  <a:lnTo>
                    <a:pt x="306" y="262"/>
                  </a:lnTo>
                  <a:lnTo>
                    <a:pt x="306" y="264"/>
                  </a:lnTo>
                  <a:lnTo>
                    <a:pt x="306" y="264"/>
                  </a:lnTo>
                  <a:lnTo>
                    <a:pt x="306" y="264"/>
                  </a:lnTo>
                  <a:lnTo>
                    <a:pt x="308" y="266"/>
                  </a:lnTo>
                  <a:lnTo>
                    <a:pt x="308" y="266"/>
                  </a:lnTo>
                  <a:lnTo>
                    <a:pt x="310" y="266"/>
                  </a:lnTo>
                  <a:lnTo>
                    <a:pt x="312" y="266"/>
                  </a:lnTo>
                  <a:lnTo>
                    <a:pt x="314" y="268"/>
                  </a:lnTo>
                  <a:lnTo>
                    <a:pt x="318" y="268"/>
                  </a:lnTo>
                  <a:lnTo>
                    <a:pt x="320" y="268"/>
                  </a:lnTo>
                  <a:lnTo>
                    <a:pt x="324" y="268"/>
                  </a:lnTo>
                  <a:lnTo>
                    <a:pt x="328" y="266"/>
                  </a:lnTo>
                  <a:lnTo>
                    <a:pt x="334" y="266"/>
                  </a:lnTo>
                  <a:lnTo>
                    <a:pt x="340" y="266"/>
                  </a:lnTo>
                  <a:lnTo>
                    <a:pt x="344" y="266"/>
                  </a:lnTo>
                  <a:lnTo>
                    <a:pt x="346" y="266"/>
                  </a:lnTo>
                  <a:lnTo>
                    <a:pt x="348" y="266"/>
                  </a:lnTo>
                  <a:lnTo>
                    <a:pt x="350" y="266"/>
                  </a:lnTo>
                  <a:lnTo>
                    <a:pt x="352" y="268"/>
                  </a:lnTo>
                  <a:lnTo>
                    <a:pt x="354" y="268"/>
                  </a:lnTo>
                  <a:lnTo>
                    <a:pt x="354" y="270"/>
                  </a:lnTo>
                  <a:lnTo>
                    <a:pt x="354" y="270"/>
                  </a:lnTo>
                  <a:lnTo>
                    <a:pt x="356" y="270"/>
                  </a:lnTo>
                  <a:lnTo>
                    <a:pt x="356" y="272"/>
                  </a:lnTo>
                  <a:lnTo>
                    <a:pt x="356" y="272"/>
                  </a:lnTo>
                  <a:lnTo>
                    <a:pt x="356" y="274"/>
                  </a:lnTo>
                  <a:lnTo>
                    <a:pt x="356" y="276"/>
                  </a:lnTo>
                  <a:lnTo>
                    <a:pt x="356" y="278"/>
                  </a:lnTo>
                  <a:lnTo>
                    <a:pt x="356" y="278"/>
                  </a:lnTo>
                  <a:lnTo>
                    <a:pt x="356" y="280"/>
                  </a:lnTo>
                  <a:lnTo>
                    <a:pt x="358" y="280"/>
                  </a:lnTo>
                  <a:lnTo>
                    <a:pt x="358" y="280"/>
                  </a:lnTo>
                  <a:lnTo>
                    <a:pt x="358" y="280"/>
                  </a:lnTo>
                  <a:lnTo>
                    <a:pt x="360" y="280"/>
                  </a:lnTo>
                  <a:lnTo>
                    <a:pt x="362" y="280"/>
                  </a:lnTo>
                  <a:lnTo>
                    <a:pt x="364" y="280"/>
                  </a:lnTo>
                  <a:lnTo>
                    <a:pt x="366" y="282"/>
                  </a:lnTo>
                  <a:lnTo>
                    <a:pt x="368" y="282"/>
                  </a:lnTo>
                  <a:lnTo>
                    <a:pt x="370" y="282"/>
                  </a:lnTo>
                  <a:lnTo>
                    <a:pt x="370" y="282"/>
                  </a:lnTo>
                  <a:lnTo>
                    <a:pt x="372" y="282"/>
                  </a:lnTo>
                  <a:lnTo>
                    <a:pt x="372" y="282"/>
                  </a:lnTo>
                  <a:lnTo>
                    <a:pt x="372" y="284"/>
                  </a:lnTo>
                  <a:lnTo>
                    <a:pt x="372" y="284"/>
                  </a:lnTo>
                  <a:lnTo>
                    <a:pt x="372" y="286"/>
                  </a:lnTo>
                  <a:lnTo>
                    <a:pt x="372" y="286"/>
                  </a:lnTo>
                  <a:lnTo>
                    <a:pt x="372" y="288"/>
                  </a:lnTo>
                  <a:lnTo>
                    <a:pt x="374" y="290"/>
                  </a:lnTo>
                  <a:lnTo>
                    <a:pt x="374" y="292"/>
                  </a:lnTo>
                  <a:lnTo>
                    <a:pt x="374" y="294"/>
                  </a:lnTo>
                  <a:lnTo>
                    <a:pt x="374" y="294"/>
                  </a:lnTo>
                  <a:lnTo>
                    <a:pt x="374" y="294"/>
                  </a:lnTo>
                  <a:lnTo>
                    <a:pt x="374" y="294"/>
                  </a:lnTo>
                  <a:lnTo>
                    <a:pt x="376" y="294"/>
                  </a:lnTo>
                  <a:lnTo>
                    <a:pt x="376" y="294"/>
                  </a:lnTo>
                  <a:lnTo>
                    <a:pt x="378" y="294"/>
                  </a:lnTo>
                  <a:lnTo>
                    <a:pt x="380" y="294"/>
                  </a:lnTo>
                  <a:lnTo>
                    <a:pt x="382" y="294"/>
                  </a:lnTo>
                  <a:lnTo>
                    <a:pt x="384" y="292"/>
                  </a:lnTo>
                  <a:lnTo>
                    <a:pt x="384" y="292"/>
                  </a:lnTo>
                  <a:lnTo>
                    <a:pt x="386" y="292"/>
                  </a:lnTo>
                  <a:lnTo>
                    <a:pt x="386" y="292"/>
                  </a:lnTo>
                  <a:lnTo>
                    <a:pt x="386" y="294"/>
                  </a:lnTo>
                  <a:lnTo>
                    <a:pt x="386" y="294"/>
                  </a:lnTo>
                  <a:lnTo>
                    <a:pt x="386" y="294"/>
                  </a:lnTo>
                  <a:lnTo>
                    <a:pt x="388" y="296"/>
                  </a:lnTo>
                  <a:lnTo>
                    <a:pt x="388" y="298"/>
                  </a:lnTo>
                  <a:lnTo>
                    <a:pt x="388" y="300"/>
                  </a:lnTo>
                  <a:lnTo>
                    <a:pt x="388" y="302"/>
                  </a:lnTo>
                  <a:lnTo>
                    <a:pt x="390" y="302"/>
                  </a:lnTo>
                  <a:lnTo>
                    <a:pt x="390" y="304"/>
                  </a:lnTo>
                  <a:lnTo>
                    <a:pt x="392" y="306"/>
                  </a:lnTo>
                  <a:lnTo>
                    <a:pt x="392" y="306"/>
                  </a:lnTo>
                  <a:lnTo>
                    <a:pt x="394" y="308"/>
                  </a:lnTo>
                  <a:lnTo>
                    <a:pt x="396" y="308"/>
                  </a:lnTo>
                  <a:lnTo>
                    <a:pt x="398" y="308"/>
                  </a:lnTo>
                  <a:lnTo>
                    <a:pt x="400" y="310"/>
                  </a:lnTo>
                  <a:lnTo>
                    <a:pt x="400" y="310"/>
                  </a:lnTo>
                  <a:lnTo>
                    <a:pt x="400" y="310"/>
                  </a:lnTo>
                  <a:lnTo>
                    <a:pt x="402" y="310"/>
                  </a:lnTo>
                  <a:lnTo>
                    <a:pt x="402" y="308"/>
                  </a:lnTo>
                  <a:lnTo>
                    <a:pt x="402" y="308"/>
                  </a:lnTo>
                  <a:lnTo>
                    <a:pt x="402" y="308"/>
                  </a:lnTo>
                  <a:lnTo>
                    <a:pt x="404" y="306"/>
                  </a:lnTo>
                  <a:lnTo>
                    <a:pt x="404" y="304"/>
                  </a:lnTo>
                  <a:lnTo>
                    <a:pt x="404" y="302"/>
                  </a:lnTo>
                  <a:lnTo>
                    <a:pt x="406" y="300"/>
                  </a:lnTo>
                  <a:lnTo>
                    <a:pt x="406" y="300"/>
                  </a:lnTo>
                  <a:lnTo>
                    <a:pt x="406" y="300"/>
                  </a:lnTo>
                  <a:lnTo>
                    <a:pt x="406" y="300"/>
                  </a:lnTo>
                  <a:lnTo>
                    <a:pt x="408" y="300"/>
                  </a:lnTo>
                  <a:lnTo>
                    <a:pt x="408" y="300"/>
                  </a:lnTo>
                  <a:lnTo>
                    <a:pt x="408" y="300"/>
                  </a:lnTo>
                  <a:lnTo>
                    <a:pt x="408" y="300"/>
                  </a:lnTo>
                  <a:lnTo>
                    <a:pt x="408" y="300"/>
                  </a:lnTo>
                  <a:lnTo>
                    <a:pt x="410" y="302"/>
                  </a:lnTo>
                  <a:lnTo>
                    <a:pt x="410" y="304"/>
                  </a:lnTo>
                  <a:lnTo>
                    <a:pt x="412" y="306"/>
                  </a:lnTo>
                  <a:lnTo>
                    <a:pt x="412" y="308"/>
                  </a:lnTo>
                  <a:lnTo>
                    <a:pt x="414" y="310"/>
                  </a:lnTo>
                  <a:lnTo>
                    <a:pt x="416" y="310"/>
                  </a:lnTo>
                  <a:lnTo>
                    <a:pt x="418" y="312"/>
                  </a:lnTo>
                  <a:lnTo>
                    <a:pt x="418" y="314"/>
                  </a:lnTo>
                  <a:lnTo>
                    <a:pt x="420" y="314"/>
                  </a:lnTo>
                  <a:lnTo>
                    <a:pt x="422" y="314"/>
                  </a:lnTo>
                  <a:lnTo>
                    <a:pt x="422" y="314"/>
                  </a:lnTo>
                  <a:lnTo>
                    <a:pt x="422" y="314"/>
                  </a:lnTo>
                  <a:lnTo>
                    <a:pt x="424" y="314"/>
                  </a:lnTo>
                  <a:lnTo>
                    <a:pt x="424" y="312"/>
                  </a:lnTo>
                  <a:lnTo>
                    <a:pt x="426" y="310"/>
                  </a:lnTo>
                  <a:lnTo>
                    <a:pt x="426" y="310"/>
                  </a:lnTo>
                  <a:lnTo>
                    <a:pt x="428" y="310"/>
                  </a:lnTo>
                  <a:lnTo>
                    <a:pt x="428" y="310"/>
                  </a:lnTo>
                  <a:lnTo>
                    <a:pt x="428" y="310"/>
                  </a:lnTo>
                  <a:lnTo>
                    <a:pt x="430" y="310"/>
                  </a:lnTo>
                  <a:lnTo>
                    <a:pt x="430" y="310"/>
                  </a:lnTo>
                  <a:lnTo>
                    <a:pt x="432" y="310"/>
                  </a:lnTo>
                  <a:lnTo>
                    <a:pt x="432" y="310"/>
                  </a:lnTo>
                  <a:lnTo>
                    <a:pt x="434" y="312"/>
                  </a:lnTo>
                  <a:lnTo>
                    <a:pt x="434" y="312"/>
                  </a:lnTo>
                  <a:lnTo>
                    <a:pt x="434" y="312"/>
                  </a:lnTo>
                  <a:lnTo>
                    <a:pt x="434" y="314"/>
                  </a:lnTo>
                  <a:lnTo>
                    <a:pt x="434" y="314"/>
                  </a:lnTo>
                  <a:lnTo>
                    <a:pt x="432" y="316"/>
                  </a:lnTo>
                  <a:lnTo>
                    <a:pt x="432" y="318"/>
                  </a:lnTo>
                  <a:lnTo>
                    <a:pt x="432" y="322"/>
                  </a:lnTo>
                  <a:lnTo>
                    <a:pt x="432" y="324"/>
                  </a:lnTo>
                  <a:lnTo>
                    <a:pt x="432" y="326"/>
                  </a:lnTo>
                  <a:lnTo>
                    <a:pt x="432" y="328"/>
                  </a:lnTo>
                  <a:lnTo>
                    <a:pt x="432" y="330"/>
                  </a:lnTo>
                  <a:lnTo>
                    <a:pt x="432" y="330"/>
                  </a:lnTo>
                  <a:lnTo>
                    <a:pt x="432" y="332"/>
                  </a:lnTo>
                  <a:lnTo>
                    <a:pt x="434" y="332"/>
                  </a:lnTo>
                  <a:lnTo>
                    <a:pt x="434" y="334"/>
                  </a:lnTo>
                  <a:lnTo>
                    <a:pt x="436" y="336"/>
                  </a:lnTo>
                  <a:lnTo>
                    <a:pt x="438" y="338"/>
                  </a:lnTo>
                  <a:lnTo>
                    <a:pt x="438" y="338"/>
                  </a:lnTo>
                  <a:lnTo>
                    <a:pt x="440" y="338"/>
                  </a:lnTo>
                  <a:lnTo>
                    <a:pt x="440" y="338"/>
                  </a:lnTo>
                  <a:lnTo>
                    <a:pt x="444" y="338"/>
                  </a:lnTo>
                  <a:lnTo>
                    <a:pt x="444" y="338"/>
                  </a:lnTo>
                  <a:lnTo>
                    <a:pt x="446" y="338"/>
                  </a:lnTo>
                  <a:lnTo>
                    <a:pt x="446" y="338"/>
                  </a:lnTo>
                  <a:lnTo>
                    <a:pt x="448" y="340"/>
                  </a:lnTo>
                  <a:lnTo>
                    <a:pt x="448" y="340"/>
                  </a:lnTo>
                  <a:lnTo>
                    <a:pt x="448" y="340"/>
                  </a:lnTo>
                  <a:lnTo>
                    <a:pt x="448" y="340"/>
                  </a:lnTo>
                  <a:lnTo>
                    <a:pt x="448" y="342"/>
                  </a:lnTo>
                  <a:lnTo>
                    <a:pt x="448" y="344"/>
                  </a:lnTo>
                  <a:lnTo>
                    <a:pt x="448" y="346"/>
                  </a:lnTo>
                  <a:lnTo>
                    <a:pt x="448" y="346"/>
                  </a:lnTo>
                  <a:lnTo>
                    <a:pt x="448" y="348"/>
                  </a:lnTo>
                  <a:lnTo>
                    <a:pt x="448" y="350"/>
                  </a:lnTo>
                  <a:lnTo>
                    <a:pt x="448" y="350"/>
                  </a:lnTo>
                  <a:lnTo>
                    <a:pt x="448" y="350"/>
                  </a:lnTo>
                  <a:lnTo>
                    <a:pt x="448" y="352"/>
                  </a:lnTo>
                  <a:lnTo>
                    <a:pt x="450" y="352"/>
                  </a:lnTo>
                  <a:lnTo>
                    <a:pt x="450" y="354"/>
                  </a:lnTo>
                  <a:lnTo>
                    <a:pt x="452" y="354"/>
                  </a:lnTo>
                  <a:lnTo>
                    <a:pt x="454" y="356"/>
                  </a:lnTo>
                  <a:lnTo>
                    <a:pt x="456" y="356"/>
                  </a:lnTo>
                  <a:lnTo>
                    <a:pt x="458" y="358"/>
                  </a:lnTo>
                  <a:lnTo>
                    <a:pt x="460" y="358"/>
                  </a:lnTo>
                  <a:lnTo>
                    <a:pt x="462" y="358"/>
                  </a:lnTo>
                  <a:lnTo>
                    <a:pt x="466" y="358"/>
                  </a:lnTo>
                  <a:lnTo>
                    <a:pt x="470" y="358"/>
                  </a:lnTo>
                  <a:lnTo>
                    <a:pt x="472" y="356"/>
                  </a:lnTo>
                  <a:lnTo>
                    <a:pt x="474" y="354"/>
                  </a:lnTo>
                  <a:lnTo>
                    <a:pt x="476" y="354"/>
                  </a:lnTo>
                  <a:lnTo>
                    <a:pt x="478" y="352"/>
                  </a:lnTo>
                  <a:lnTo>
                    <a:pt x="480" y="350"/>
                  </a:lnTo>
                  <a:lnTo>
                    <a:pt x="480" y="350"/>
                  </a:lnTo>
                  <a:lnTo>
                    <a:pt x="480" y="348"/>
                  </a:lnTo>
                  <a:lnTo>
                    <a:pt x="480" y="348"/>
                  </a:lnTo>
                  <a:lnTo>
                    <a:pt x="480" y="346"/>
                  </a:lnTo>
                  <a:lnTo>
                    <a:pt x="480" y="346"/>
                  </a:lnTo>
                  <a:lnTo>
                    <a:pt x="480" y="346"/>
                  </a:lnTo>
                  <a:lnTo>
                    <a:pt x="478" y="346"/>
                  </a:lnTo>
                  <a:lnTo>
                    <a:pt x="476" y="344"/>
                  </a:lnTo>
                  <a:lnTo>
                    <a:pt x="476" y="344"/>
                  </a:lnTo>
                  <a:lnTo>
                    <a:pt x="474" y="344"/>
                  </a:lnTo>
                  <a:lnTo>
                    <a:pt x="470" y="344"/>
                  </a:lnTo>
                  <a:lnTo>
                    <a:pt x="468" y="344"/>
                  </a:lnTo>
                  <a:lnTo>
                    <a:pt x="464" y="344"/>
                  </a:lnTo>
                  <a:lnTo>
                    <a:pt x="464" y="344"/>
                  </a:lnTo>
                  <a:lnTo>
                    <a:pt x="462" y="344"/>
                  </a:lnTo>
                  <a:lnTo>
                    <a:pt x="460" y="342"/>
                  </a:lnTo>
                  <a:lnTo>
                    <a:pt x="460" y="342"/>
                  </a:lnTo>
                  <a:lnTo>
                    <a:pt x="460" y="340"/>
                  </a:lnTo>
                  <a:lnTo>
                    <a:pt x="458" y="340"/>
                  </a:lnTo>
                  <a:lnTo>
                    <a:pt x="458" y="338"/>
                  </a:lnTo>
                  <a:lnTo>
                    <a:pt x="458" y="338"/>
                  </a:lnTo>
                  <a:lnTo>
                    <a:pt x="458" y="334"/>
                  </a:lnTo>
                  <a:lnTo>
                    <a:pt x="458" y="330"/>
                  </a:lnTo>
                  <a:lnTo>
                    <a:pt x="458" y="326"/>
                  </a:lnTo>
                  <a:lnTo>
                    <a:pt x="456" y="324"/>
                  </a:lnTo>
                  <a:lnTo>
                    <a:pt x="456" y="322"/>
                  </a:lnTo>
                  <a:lnTo>
                    <a:pt x="456" y="320"/>
                  </a:lnTo>
                  <a:lnTo>
                    <a:pt x="456" y="320"/>
                  </a:lnTo>
                  <a:lnTo>
                    <a:pt x="454" y="318"/>
                  </a:lnTo>
                  <a:lnTo>
                    <a:pt x="454" y="318"/>
                  </a:lnTo>
                  <a:lnTo>
                    <a:pt x="454" y="316"/>
                  </a:lnTo>
                  <a:lnTo>
                    <a:pt x="452" y="316"/>
                  </a:lnTo>
                  <a:lnTo>
                    <a:pt x="448" y="316"/>
                  </a:lnTo>
                  <a:lnTo>
                    <a:pt x="448" y="314"/>
                  </a:lnTo>
                  <a:lnTo>
                    <a:pt x="448" y="314"/>
                  </a:lnTo>
                  <a:lnTo>
                    <a:pt x="446" y="314"/>
                  </a:lnTo>
                  <a:lnTo>
                    <a:pt x="446" y="312"/>
                  </a:lnTo>
                  <a:lnTo>
                    <a:pt x="446" y="310"/>
                  </a:lnTo>
                  <a:lnTo>
                    <a:pt x="446" y="308"/>
                  </a:lnTo>
                  <a:lnTo>
                    <a:pt x="446" y="306"/>
                  </a:lnTo>
                  <a:lnTo>
                    <a:pt x="444" y="300"/>
                  </a:lnTo>
                  <a:lnTo>
                    <a:pt x="444" y="298"/>
                  </a:lnTo>
                  <a:lnTo>
                    <a:pt x="444" y="298"/>
                  </a:lnTo>
                  <a:lnTo>
                    <a:pt x="444" y="296"/>
                  </a:lnTo>
                  <a:lnTo>
                    <a:pt x="442" y="294"/>
                  </a:lnTo>
                  <a:lnTo>
                    <a:pt x="440" y="290"/>
                  </a:lnTo>
                  <a:lnTo>
                    <a:pt x="438" y="286"/>
                  </a:lnTo>
                  <a:lnTo>
                    <a:pt x="434" y="284"/>
                  </a:lnTo>
                  <a:lnTo>
                    <a:pt x="432" y="280"/>
                  </a:lnTo>
                  <a:lnTo>
                    <a:pt x="428" y="278"/>
                  </a:lnTo>
                  <a:lnTo>
                    <a:pt x="426" y="274"/>
                  </a:lnTo>
                  <a:lnTo>
                    <a:pt x="424" y="274"/>
                  </a:lnTo>
                  <a:lnTo>
                    <a:pt x="422" y="272"/>
                  </a:lnTo>
                  <a:lnTo>
                    <a:pt x="420" y="272"/>
                  </a:lnTo>
                  <a:lnTo>
                    <a:pt x="418" y="272"/>
                  </a:lnTo>
                  <a:lnTo>
                    <a:pt x="416" y="272"/>
                  </a:lnTo>
                  <a:lnTo>
                    <a:pt x="416" y="272"/>
                  </a:lnTo>
                  <a:lnTo>
                    <a:pt x="414" y="272"/>
                  </a:lnTo>
                  <a:lnTo>
                    <a:pt x="414" y="272"/>
                  </a:lnTo>
                  <a:lnTo>
                    <a:pt x="414" y="272"/>
                  </a:lnTo>
                  <a:lnTo>
                    <a:pt x="412" y="272"/>
                  </a:lnTo>
                  <a:lnTo>
                    <a:pt x="412" y="274"/>
                  </a:lnTo>
                  <a:lnTo>
                    <a:pt x="412" y="274"/>
                  </a:lnTo>
                  <a:lnTo>
                    <a:pt x="412" y="276"/>
                  </a:lnTo>
                  <a:lnTo>
                    <a:pt x="412" y="278"/>
                  </a:lnTo>
                  <a:lnTo>
                    <a:pt x="412" y="280"/>
                  </a:lnTo>
                  <a:lnTo>
                    <a:pt x="412" y="280"/>
                  </a:lnTo>
                  <a:lnTo>
                    <a:pt x="412" y="282"/>
                  </a:lnTo>
                  <a:lnTo>
                    <a:pt x="410" y="282"/>
                  </a:lnTo>
                  <a:lnTo>
                    <a:pt x="410" y="282"/>
                  </a:lnTo>
                  <a:lnTo>
                    <a:pt x="410" y="282"/>
                  </a:lnTo>
                  <a:lnTo>
                    <a:pt x="408" y="282"/>
                  </a:lnTo>
                  <a:lnTo>
                    <a:pt x="408" y="282"/>
                  </a:lnTo>
                  <a:lnTo>
                    <a:pt x="406" y="282"/>
                  </a:lnTo>
                  <a:lnTo>
                    <a:pt x="406" y="282"/>
                  </a:lnTo>
                  <a:lnTo>
                    <a:pt x="404" y="282"/>
                  </a:lnTo>
                  <a:lnTo>
                    <a:pt x="402" y="282"/>
                  </a:lnTo>
                  <a:lnTo>
                    <a:pt x="402" y="282"/>
                  </a:lnTo>
                  <a:lnTo>
                    <a:pt x="402" y="282"/>
                  </a:lnTo>
                  <a:lnTo>
                    <a:pt x="402" y="282"/>
                  </a:lnTo>
                  <a:lnTo>
                    <a:pt x="402" y="282"/>
                  </a:lnTo>
                  <a:lnTo>
                    <a:pt x="400" y="284"/>
                  </a:lnTo>
                  <a:lnTo>
                    <a:pt x="400" y="284"/>
                  </a:lnTo>
                  <a:lnTo>
                    <a:pt x="400" y="286"/>
                  </a:lnTo>
                  <a:lnTo>
                    <a:pt x="400" y="288"/>
                  </a:lnTo>
                  <a:lnTo>
                    <a:pt x="400" y="288"/>
                  </a:lnTo>
                  <a:lnTo>
                    <a:pt x="398" y="290"/>
                  </a:lnTo>
                  <a:lnTo>
                    <a:pt x="398" y="290"/>
                  </a:lnTo>
                  <a:lnTo>
                    <a:pt x="398" y="290"/>
                  </a:lnTo>
                  <a:lnTo>
                    <a:pt x="398" y="290"/>
                  </a:lnTo>
                  <a:lnTo>
                    <a:pt x="396" y="290"/>
                  </a:lnTo>
                  <a:lnTo>
                    <a:pt x="396" y="290"/>
                  </a:lnTo>
                  <a:lnTo>
                    <a:pt x="394" y="290"/>
                  </a:lnTo>
                  <a:lnTo>
                    <a:pt x="394" y="288"/>
                  </a:lnTo>
                  <a:lnTo>
                    <a:pt x="392" y="288"/>
                  </a:lnTo>
                  <a:lnTo>
                    <a:pt x="390" y="286"/>
                  </a:lnTo>
                  <a:lnTo>
                    <a:pt x="388" y="284"/>
                  </a:lnTo>
                  <a:lnTo>
                    <a:pt x="386" y="284"/>
                  </a:lnTo>
                  <a:lnTo>
                    <a:pt x="386" y="282"/>
                  </a:lnTo>
                  <a:lnTo>
                    <a:pt x="386" y="280"/>
                  </a:lnTo>
                  <a:lnTo>
                    <a:pt x="384" y="280"/>
                  </a:lnTo>
                  <a:lnTo>
                    <a:pt x="384" y="278"/>
                  </a:lnTo>
                  <a:lnTo>
                    <a:pt x="384" y="274"/>
                  </a:lnTo>
                  <a:lnTo>
                    <a:pt x="384" y="272"/>
                  </a:lnTo>
                  <a:lnTo>
                    <a:pt x="384" y="270"/>
                  </a:lnTo>
                  <a:lnTo>
                    <a:pt x="384" y="266"/>
                  </a:lnTo>
                  <a:lnTo>
                    <a:pt x="382" y="264"/>
                  </a:lnTo>
                  <a:lnTo>
                    <a:pt x="382" y="264"/>
                  </a:lnTo>
                  <a:lnTo>
                    <a:pt x="382" y="262"/>
                  </a:lnTo>
                  <a:lnTo>
                    <a:pt x="380" y="262"/>
                  </a:lnTo>
                  <a:lnTo>
                    <a:pt x="380" y="260"/>
                  </a:lnTo>
                  <a:lnTo>
                    <a:pt x="378" y="258"/>
                  </a:lnTo>
                  <a:lnTo>
                    <a:pt x="378" y="258"/>
                  </a:lnTo>
                  <a:lnTo>
                    <a:pt x="376" y="258"/>
                  </a:lnTo>
                  <a:lnTo>
                    <a:pt x="376" y="258"/>
                  </a:lnTo>
                  <a:lnTo>
                    <a:pt x="374" y="258"/>
                  </a:lnTo>
                  <a:lnTo>
                    <a:pt x="374" y="258"/>
                  </a:lnTo>
                  <a:lnTo>
                    <a:pt x="372" y="258"/>
                  </a:lnTo>
                  <a:lnTo>
                    <a:pt x="370" y="260"/>
                  </a:lnTo>
                  <a:lnTo>
                    <a:pt x="368" y="260"/>
                  </a:lnTo>
                  <a:lnTo>
                    <a:pt x="364" y="262"/>
                  </a:lnTo>
                  <a:lnTo>
                    <a:pt x="364" y="262"/>
                  </a:lnTo>
                  <a:lnTo>
                    <a:pt x="428" y="42"/>
                  </a:lnTo>
                  <a:lnTo>
                    <a:pt x="426" y="40"/>
                  </a:lnTo>
                  <a:lnTo>
                    <a:pt x="422" y="34"/>
                  </a:lnTo>
                  <a:lnTo>
                    <a:pt x="420" y="32"/>
                  </a:lnTo>
                  <a:lnTo>
                    <a:pt x="416" y="30"/>
                  </a:lnTo>
                  <a:lnTo>
                    <a:pt x="414" y="28"/>
                  </a:lnTo>
                  <a:lnTo>
                    <a:pt x="414" y="28"/>
                  </a:lnTo>
                  <a:lnTo>
                    <a:pt x="412" y="28"/>
                  </a:lnTo>
                  <a:lnTo>
                    <a:pt x="410" y="28"/>
                  </a:lnTo>
                  <a:lnTo>
                    <a:pt x="408" y="26"/>
                  </a:lnTo>
                  <a:lnTo>
                    <a:pt x="406" y="26"/>
                  </a:lnTo>
                  <a:lnTo>
                    <a:pt x="404" y="26"/>
                  </a:lnTo>
                  <a:lnTo>
                    <a:pt x="402" y="26"/>
                  </a:lnTo>
                  <a:lnTo>
                    <a:pt x="400" y="28"/>
                  </a:lnTo>
                  <a:lnTo>
                    <a:pt x="394" y="28"/>
                  </a:lnTo>
                  <a:lnTo>
                    <a:pt x="384" y="30"/>
                  </a:lnTo>
                  <a:lnTo>
                    <a:pt x="380" y="30"/>
                  </a:lnTo>
                  <a:lnTo>
                    <a:pt x="376" y="32"/>
                  </a:lnTo>
                  <a:lnTo>
                    <a:pt x="374" y="32"/>
                  </a:lnTo>
                  <a:lnTo>
                    <a:pt x="370" y="32"/>
                  </a:lnTo>
                  <a:lnTo>
                    <a:pt x="368" y="32"/>
                  </a:lnTo>
                  <a:lnTo>
                    <a:pt x="364" y="32"/>
                  </a:lnTo>
                  <a:lnTo>
                    <a:pt x="364" y="32"/>
                  </a:lnTo>
                  <a:lnTo>
                    <a:pt x="362" y="32"/>
                  </a:lnTo>
                  <a:lnTo>
                    <a:pt x="362" y="32"/>
                  </a:lnTo>
                  <a:lnTo>
                    <a:pt x="362" y="32"/>
                  </a:lnTo>
                  <a:lnTo>
                    <a:pt x="360" y="32"/>
                  </a:lnTo>
                  <a:lnTo>
                    <a:pt x="360" y="30"/>
                  </a:lnTo>
                  <a:lnTo>
                    <a:pt x="358" y="30"/>
                  </a:lnTo>
                  <a:lnTo>
                    <a:pt x="356" y="28"/>
                  </a:lnTo>
                  <a:lnTo>
                    <a:pt x="356" y="26"/>
                  </a:lnTo>
                  <a:lnTo>
                    <a:pt x="354" y="24"/>
                  </a:lnTo>
                  <a:lnTo>
                    <a:pt x="352" y="24"/>
                  </a:lnTo>
                  <a:lnTo>
                    <a:pt x="352" y="22"/>
                  </a:lnTo>
                  <a:lnTo>
                    <a:pt x="352" y="22"/>
                  </a:lnTo>
                  <a:lnTo>
                    <a:pt x="350" y="22"/>
                  </a:lnTo>
                  <a:lnTo>
                    <a:pt x="350" y="22"/>
                  </a:lnTo>
                  <a:lnTo>
                    <a:pt x="348" y="22"/>
                  </a:lnTo>
                  <a:lnTo>
                    <a:pt x="344" y="22"/>
                  </a:lnTo>
                  <a:lnTo>
                    <a:pt x="342" y="22"/>
                  </a:lnTo>
                  <a:lnTo>
                    <a:pt x="338" y="22"/>
                  </a:lnTo>
                  <a:lnTo>
                    <a:pt x="336" y="24"/>
                  </a:lnTo>
                  <a:lnTo>
                    <a:pt x="328" y="24"/>
                  </a:lnTo>
                  <a:lnTo>
                    <a:pt x="322" y="26"/>
                  </a:lnTo>
                  <a:lnTo>
                    <a:pt x="320" y="26"/>
                  </a:lnTo>
                  <a:lnTo>
                    <a:pt x="316" y="28"/>
                  </a:lnTo>
                  <a:lnTo>
                    <a:pt x="314" y="28"/>
                  </a:lnTo>
                  <a:lnTo>
                    <a:pt x="310" y="28"/>
                  </a:lnTo>
                  <a:lnTo>
                    <a:pt x="308" y="26"/>
                  </a:lnTo>
                  <a:lnTo>
                    <a:pt x="308" y="26"/>
                  </a:lnTo>
                  <a:lnTo>
                    <a:pt x="306" y="26"/>
                  </a:lnTo>
                  <a:lnTo>
                    <a:pt x="306" y="26"/>
                  </a:lnTo>
                  <a:lnTo>
                    <a:pt x="304" y="24"/>
                  </a:lnTo>
                  <a:lnTo>
                    <a:pt x="304" y="24"/>
                  </a:lnTo>
                  <a:lnTo>
                    <a:pt x="302" y="22"/>
                  </a:lnTo>
                  <a:lnTo>
                    <a:pt x="300" y="18"/>
                  </a:lnTo>
                  <a:lnTo>
                    <a:pt x="298" y="16"/>
                  </a:lnTo>
                  <a:lnTo>
                    <a:pt x="298" y="12"/>
                  </a:lnTo>
                  <a:lnTo>
                    <a:pt x="296" y="10"/>
                  </a:lnTo>
                  <a:lnTo>
                    <a:pt x="296" y="10"/>
                  </a:lnTo>
                  <a:lnTo>
                    <a:pt x="294" y="8"/>
                  </a:lnTo>
                  <a:lnTo>
                    <a:pt x="294" y="6"/>
                  </a:lnTo>
                  <a:lnTo>
                    <a:pt x="292" y="6"/>
                  </a:lnTo>
                  <a:lnTo>
                    <a:pt x="292" y="6"/>
                  </a:lnTo>
                  <a:lnTo>
                    <a:pt x="290" y="6"/>
                  </a:lnTo>
                  <a:lnTo>
                    <a:pt x="290" y="6"/>
                  </a:lnTo>
                  <a:lnTo>
                    <a:pt x="288" y="6"/>
                  </a:lnTo>
                  <a:lnTo>
                    <a:pt x="288" y="8"/>
                  </a:lnTo>
                  <a:lnTo>
                    <a:pt x="286" y="10"/>
                  </a:lnTo>
                  <a:lnTo>
                    <a:pt x="284" y="12"/>
                  </a:lnTo>
                  <a:lnTo>
                    <a:pt x="282" y="14"/>
                  </a:lnTo>
                  <a:lnTo>
                    <a:pt x="280" y="16"/>
                  </a:lnTo>
                  <a:lnTo>
                    <a:pt x="278" y="16"/>
                  </a:lnTo>
                  <a:lnTo>
                    <a:pt x="278" y="18"/>
                  </a:lnTo>
                  <a:lnTo>
                    <a:pt x="276" y="18"/>
                  </a:lnTo>
                  <a:lnTo>
                    <a:pt x="276" y="18"/>
                  </a:lnTo>
                  <a:lnTo>
                    <a:pt x="274" y="20"/>
                  </a:lnTo>
                  <a:lnTo>
                    <a:pt x="270" y="20"/>
                  </a:lnTo>
                  <a:lnTo>
                    <a:pt x="268" y="20"/>
                  </a:lnTo>
                  <a:lnTo>
                    <a:pt x="264" y="20"/>
                  </a:lnTo>
                  <a:lnTo>
                    <a:pt x="262" y="20"/>
                  </a:lnTo>
                  <a:lnTo>
                    <a:pt x="258" y="18"/>
                  </a:lnTo>
                  <a:lnTo>
                    <a:pt x="258" y="18"/>
                  </a:lnTo>
                  <a:lnTo>
                    <a:pt x="256" y="18"/>
                  </a:lnTo>
                  <a:lnTo>
                    <a:pt x="256" y="16"/>
                  </a:lnTo>
                  <a:lnTo>
                    <a:pt x="254" y="16"/>
                  </a:lnTo>
                  <a:lnTo>
                    <a:pt x="254" y="16"/>
                  </a:lnTo>
                  <a:lnTo>
                    <a:pt x="254" y="14"/>
                  </a:lnTo>
                  <a:lnTo>
                    <a:pt x="254" y="14"/>
                  </a:lnTo>
                  <a:lnTo>
                    <a:pt x="254" y="14"/>
                  </a:lnTo>
                  <a:lnTo>
                    <a:pt x="254" y="12"/>
                  </a:lnTo>
                  <a:lnTo>
                    <a:pt x="254" y="10"/>
                  </a:lnTo>
                  <a:lnTo>
                    <a:pt x="254" y="8"/>
                  </a:lnTo>
                  <a:lnTo>
                    <a:pt x="254" y="6"/>
                  </a:lnTo>
                  <a:lnTo>
                    <a:pt x="254" y="4"/>
                  </a:lnTo>
                  <a:lnTo>
                    <a:pt x="254" y="4"/>
                  </a:lnTo>
                  <a:lnTo>
                    <a:pt x="254" y="2"/>
                  </a:lnTo>
                  <a:lnTo>
                    <a:pt x="254" y="2"/>
                  </a:lnTo>
                  <a:lnTo>
                    <a:pt x="252" y="2"/>
                  </a:lnTo>
                  <a:lnTo>
                    <a:pt x="252" y="2"/>
                  </a:lnTo>
                  <a:lnTo>
                    <a:pt x="250" y="0"/>
                  </a:lnTo>
                  <a:lnTo>
                    <a:pt x="248" y="0"/>
                  </a:lnTo>
                  <a:lnTo>
                    <a:pt x="246" y="0"/>
                  </a:lnTo>
                  <a:lnTo>
                    <a:pt x="246" y="0"/>
                  </a:lnTo>
                  <a:lnTo>
                    <a:pt x="244" y="0"/>
                  </a:lnTo>
                  <a:lnTo>
                    <a:pt x="24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4" name="Freeform 525"/>
            <p:cNvSpPr>
              <a:spLocks/>
            </p:cNvSpPr>
            <p:nvPr/>
          </p:nvSpPr>
          <p:spPr bwMode="auto">
            <a:xfrm>
              <a:off x="444790" y="2307910"/>
              <a:ext cx="831396" cy="685902"/>
            </a:xfrm>
            <a:custGeom>
              <a:avLst/>
              <a:gdLst>
                <a:gd name="T0" fmla="*/ 210 w 480"/>
                <a:gd name="T1" fmla="*/ 10 h 396"/>
                <a:gd name="T2" fmla="*/ 192 w 480"/>
                <a:gd name="T3" fmla="*/ 26 h 396"/>
                <a:gd name="T4" fmla="*/ 154 w 480"/>
                <a:gd name="T5" fmla="*/ 34 h 396"/>
                <a:gd name="T6" fmla="*/ 120 w 480"/>
                <a:gd name="T7" fmla="*/ 60 h 396"/>
                <a:gd name="T8" fmla="*/ 90 w 480"/>
                <a:gd name="T9" fmla="*/ 78 h 396"/>
                <a:gd name="T10" fmla="*/ 152 w 480"/>
                <a:gd name="T11" fmla="*/ 106 h 396"/>
                <a:gd name="T12" fmla="*/ 150 w 480"/>
                <a:gd name="T13" fmla="*/ 118 h 396"/>
                <a:gd name="T14" fmla="*/ 106 w 480"/>
                <a:gd name="T15" fmla="*/ 122 h 396"/>
                <a:gd name="T16" fmla="*/ 84 w 480"/>
                <a:gd name="T17" fmla="*/ 118 h 396"/>
                <a:gd name="T18" fmla="*/ 60 w 480"/>
                <a:gd name="T19" fmla="*/ 126 h 396"/>
                <a:gd name="T20" fmla="*/ 64 w 480"/>
                <a:gd name="T21" fmla="*/ 142 h 396"/>
                <a:gd name="T22" fmla="*/ 68 w 480"/>
                <a:gd name="T23" fmla="*/ 162 h 396"/>
                <a:gd name="T24" fmla="*/ 112 w 480"/>
                <a:gd name="T25" fmla="*/ 162 h 396"/>
                <a:gd name="T26" fmla="*/ 132 w 480"/>
                <a:gd name="T27" fmla="*/ 164 h 396"/>
                <a:gd name="T28" fmla="*/ 120 w 480"/>
                <a:gd name="T29" fmla="*/ 188 h 396"/>
                <a:gd name="T30" fmla="*/ 94 w 480"/>
                <a:gd name="T31" fmla="*/ 196 h 396"/>
                <a:gd name="T32" fmla="*/ 78 w 480"/>
                <a:gd name="T33" fmla="*/ 192 h 396"/>
                <a:gd name="T34" fmla="*/ 58 w 480"/>
                <a:gd name="T35" fmla="*/ 216 h 396"/>
                <a:gd name="T36" fmla="*/ 38 w 480"/>
                <a:gd name="T37" fmla="*/ 232 h 396"/>
                <a:gd name="T38" fmla="*/ 56 w 480"/>
                <a:gd name="T39" fmla="*/ 248 h 396"/>
                <a:gd name="T40" fmla="*/ 44 w 480"/>
                <a:gd name="T41" fmla="*/ 264 h 396"/>
                <a:gd name="T42" fmla="*/ 70 w 480"/>
                <a:gd name="T43" fmla="*/ 258 h 396"/>
                <a:gd name="T44" fmla="*/ 70 w 480"/>
                <a:gd name="T45" fmla="*/ 284 h 396"/>
                <a:gd name="T46" fmla="*/ 76 w 480"/>
                <a:gd name="T47" fmla="*/ 302 h 396"/>
                <a:gd name="T48" fmla="*/ 102 w 480"/>
                <a:gd name="T49" fmla="*/ 302 h 396"/>
                <a:gd name="T50" fmla="*/ 122 w 480"/>
                <a:gd name="T51" fmla="*/ 306 h 396"/>
                <a:gd name="T52" fmla="*/ 84 w 480"/>
                <a:gd name="T53" fmla="*/ 346 h 396"/>
                <a:gd name="T54" fmla="*/ 0 w 480"/>
                <a:gd name="T55" fmla="*/ 388 h 396"/>
                <a:gd name="T56" fmla="*/ 44 w 480"/>
                <a:gd name="T57" fmla="*/ 390 h 396"/>
                <a:gd name="T58" fmla="*/ 148 w 480"/>
                <a:gd name="T59" fmla="*/ 326 h 396"/>
                <a:gd name="T60" fmla="*/ 176 w 480"/>
                <a:gd name="T61" fmla="*/ 298 h 396"/>
                <a:gd name="T62" fmla="*/ 204 w 480"/>
                <a:gd name="T63" fmla="*/ 264 h 396"/>
                <a:gd name="T64" fmla="*/ 244 w 480"/>
                <a:gd name="T65" fmla="*/ 240 h 396"/>
                <a:gd name="T66" fmla="*/ 222 w 480"/>
                <a:gd name="T67" fmla="*/ 262 h 396"/>
                <a:gd name="T68" fmla="*/ 218 w 480"/>
                <a:gd name="T69" fmla="*/ 280 h 396"/>
                <a:gd name="T70" fmla="*/ 216 w 480"/>
                <a:gd name="T71" fmla="*/ 294 h 396"/>
                <a:gd name="T72" fmla="*/ 252 w 480"/>
                <a:gd name="T73" fmla="*/ 270 h 396"/>
                <a:gd name="T74" fmla="*/ 270 w 480"/>
                <a:gd name="T75" fmla="*/ 248 h 396"/>
                <a:gd name="T76" fmla="*/ 290 w 480"/>
                <a:gd name="T77" fmla="*/ 246 h 396"/>
                <a:gd name="T78" fmla="*/ 306 w 480"/>
                <a:gd name="T79" fmla="*/ 254 h 396"/>
                <a:gd name="T80" fmla="*/ 334 w 480"/>
                <a:gd name="T81" fmla="*/ 266 h 396"/>
                <a:gd name="T82" fmla="*/ 358 w 480"/>
                <a:gd name="T83" fmla="*/ 280 h 396"/>
                <a:gd name="T84" fmla="*/ 374 w 480"/>
                <a:gd name="T85" fmla="*/ 294 h 396"/>
                <a:gd name="T86" fmla="*/ 390 w 480"/>
                <a:gd name="T87" fmla="*/ 302 h 396"/>
                <a:gd name="T88" fmla="*/ 406 w 480"/>
                <a:gd name="T89" fmla="*/ 300 h 396"/>
                <a:gd name="T90" fmla="*/ 424 w 480"/>
                <a:gd name="T91" fmla="*/ 314 h 396"/>
                <a:gd name="T92" fmla="*/ 432 w 480"/>
                <a:gd name="T93" fmla="*/ 324 h 396"/>
                <a:gd name="T94" fmla="*/ 448 w 480"/>
                <a:gd name="T95" fmla="*/ 340 h 396"/>
                <a:gd name="T96" fmla="*/ 466 w 480"/>
                <a:gd name="T97" fmla="*/ 358 h 396"/>
                <a:gd name="T98" fmla="*/ 464 w 480"/>
                <a:gd name="T99" fmla="*/ 344 h 396"/>
                <a:gd name="T100" fmla="*/ 452 w 480"/>
                <a:gd name="T101" fmla="*/ 316 h 396"/>
                <a:gd name="T102" fmla="*/ 426 w 480"/>
                <a:gd name="T103" fmla="*/ 274 h 396"/>
                <a:gd name="T104" fmla="*/ 410 w 480"/>
                <a:gd name="T105" fmla="*/ 282 h 396"/>
                <a:gd name="T106" fmla="*/ 398 w 480"/>
                <a:gd name="T107" fmla="*/ 290 h 396"/>
                <a:gd name="T108" fmla="*/ 382 w 480"/>
                <a:gd name="T109" fmla="*/ 264 h 396"/>
                <a:gd name="T110" fmla="*/ 416 w 480"/>
                <a:gd name="T111" fmla="*/ 30 h 396"/>
                <a:gd name="T112" fmla="*/ 362 w 480"/>
                <a:gd name="T113" fmla="*/ 32 h 396"/>
                <a:gd name="T114" fmla="*/ 328 w 480"/>
                <a:gd name="T115" fmla="*/ 24 h 396"/>
                <a:gd name="T116" fmla="*/ 294 w 480"/>
                <a:gd name="T117" fmla="*/ 6 h 396"/>
                <a:gd name="T118" fmla="*/ 262 w 480"/>
                <a:gd name="T119" fmla="*/ 20 h 396"/>
                <a:gd name="T120" fmla="*/ 252 w 480"/>
                <a:gd name="T121" fmla="*/ 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396">
                  <a:moveTo>
                    <a:pt x="244" y="0"/>
                  </a:moveTo>
                  <a:lnTo>
                    <a:pt x="244" y="0"/>
                  </a:lnTo>
                  <a:lnTo>
                    <a:pt x="242" y="2"/>
                  </a:lnTo>
                  <a:lnTo>
                    <a:pt x="242" y="2"/>
                  </a:lnTo>
                  <a:lnTo>
                    <a:pt x="240" y="2"/>
                  </a:lnTo>
                  <a:lnTo>
                    <a:pt x="238" y="4"/>
                  </a:lnTo>
                  <a:lnTo>
                    <a:pt x="236" y="6"/>
                  </a:lnTo>
                  <a:lnTo>
                    <a:pt x="236" y="8"/>
                  </a:lnTo>
                  <a:lnTo>
                    <a:pt x="234" y="10"/>
                  </a:lnTo>
                  <a:lnTo>
                    <a:pt x="232" y="10"/>
                  </a:lnTo>
                  <a:lnTo>
                    <a:pt x="232" y="10"/>
                  </a:lnTo>
                  <a:lnTo>
                    <a:pt x="230" y="10"/>
                  </a:lnTo>
                  <a:lnTo>
                    <a:pt x="230" y="12"/>
                  </a:lnTo>
                  <a:lnTo>
                    <a:pt x="228" y="12"/>
                  </a:lnTo>
                  <a:lnTo>
                    <a:pt x="226" y="12"/>
                  </a:lnTo>
                  <a:lnTo>
                    <a:pt x="224" y="12"/>
                  </a:lnTo>
                  <a:lnTo>
                    <a:pt x="220" y="12"/>
                  </a:lnTo>
                  <a:lnTo>
                    <a:pt x="216" y="10"/>
                  </a:lnTo>
                  <a:lnTo>
                    <a:pt x="210" y="10"/>
                  </a:lnTo>
                  <a:lnTo>
                    <a:pt x="208" y="10"/>
                  </a:lnTo>
                  <a:lnTo>
                    <a:pt x="206" y="10"/>
                  </a:lnTo>
                  <a:lnTo>
                    <a:pt x="204" y="10"/>
                  </a:lnTo>
                  <a:lnTo>
                    <a:pt x="204" y="10"/>
                  </a:lnTo>
                  <a:lnTo>
                    <a:pt x="202" y="10"/>
                  </a:lnTo>
                  <a:lnTo>
                    <a:pt x="200" y="10"/>
                  </a:lnTo>
                  <a:lnTo>
                    <a:pt x="200" y="12"/>
                  </a:lnTo>
                  <a:lnTo>
                    <a:pt x="200" y="12"/>
                  </a:lnTo>
                  <a:lnTo>
                    <a:pt x="198" y="14"/>
                  </a:lnTo>
                  <a:lnTo>
                    <a:pt x="198" y="14"/>
                  </a:lnTo>
                  <a:lnTo>
                    <a:pt x="198" y="16"/>
                  </a:lnTo>
                  <a:lnTo>
                    <a:pt x="196" y="18"/>
                  </a:lnTo>
                  <a:lnTo>
                    <a:pt x="196" y="20"/>
                  </a:lnTo>
                  <a:lnTo>
                    <a:pt x="194" y="24"/>
                  </a:lnTo>
                  <a:lnTo>
                    <a:pt x="194" y="24"/>
                  </a:lnTo>
                  <a:lnTo>
                    <a:pt x="194" y="24"/>
                  </a:lnTo>
                  <a:lnTo>
                    <a:pt x="194" y="26"/>
                  </a:lnTo>
                  <a:lnTo>
                    <a:pt x="192" y="26"/>
                  </a:lnTo>
                  <a:lnTo>
                    <a:pt x="192" y="26"/>
                  </a:lnTo>
                  <a:lnTo>
                    <a:pt x="192" y="26"/>
                  </a:lnTo>
                  <a:lnTo>
                    <a:pt x="190" y="28"/>
                  </a:lnTo>
                  <a:lnTo>
                    <a:pt x="188" y="28"/>
                  </a:lnTo>
                  <a:lnTo>
                    <a:pt x="186" y="28"/>
                  </a:lnTo>
                  <a:lnTo>
                    <a:pt x="182" y="28"/>
                  </a:lnTo>
                  <a:lnTo>
                    <a:pt x="180" y="28"/>
                  </a:lnTo>
                  <a:lnTo>
                    <a:pt x="176" y="28"/>
                  </a:lnTo>
                  <a:lnTo>
                    <a:pt x="170" y="26"/>
                  </a:lnTo>
                  <a:lnTo>
                    <a:pt x="168" y="26"/>
                  </a:lnTo>
                  <a:lnTo>
                    <a:pt x="164" y="26"/>
                  </a:lnTo>
                  <a:lnTo>
                    <a:pt x="162" y="28"/>
                  </a:lnTo>
                  <a:lnTo>
                    <a:pt x="160" y="28"/>
                  </a:lnTo>
                  <a:lnTo>
                    <a:pt x="158" y="28"/>
                  </a:lnTo>
                  <a:lnTo>
                    <a:pt x="158" y="28"/>
                  </a:lnTo>
                  <a:lnTo>
                    <a:pt x="158" y="28"/>
                  </a:lnTo>
                  <a:lnTo>
                    <a:pt x="156" y="30"/>
                  </a:lnTo>
                  <a:lnTo>
                    <a:pt x="156" y="30"/>
                  </a:lnTo>
                  <a:lnTo>
                    <a:pt x="154" y="32"/>
                  </a:lnTo>
                  <a:lnTo>
                    <a:pt x="154" y="34"/>
                  </a:lnTo>
                  <a:lnTo>
                    <a:pt x="152" y="36"/>
                  </a:lnTo>
                  <a:lnTo>
                    <a:pt x="152" y="38"/>
                  </a:lnTo>
                  <a:lnTo>
                    <a:pt x="152" y="42"/>
                  </a:lnTo>
                  <a:lnTo>
                    <a:pt x="150" y="46"/>
                  </a:lnTo>
                  <a:lnTo>
                    <a:pt x="150" y="48"/>
                  </a:lnTo>
                  <a:lnTo>
                    <a:pt x="148" y="50"/>
                  </a:lnTo>
                  <a:lnTo>
                    <a:pt x="148" y="52"/>
                  </a:lnTo>
                  <a:lnTo>
                    <a:pt x="146" y="54"/>
                  </a:lnTo>
                  <a:lnTo>
                    <a:pt x="146" y="56"/>
                  </a:lnTo>
                  <a:lnTo>
                    <a:pt x="144" y="56"/>
                  </a:lnTo>
                  <a:lnTo>
                    <a:pt x="144" y="58"/>
                  </a:lnTo>
                  <a:lnTo>
                    <a:pt x="142" y="58"/>
                  </a:lnTo>
                  <a:lnTo>
                    <a:pt x="142" y="58"/>
                  </a:lnTo>
                  <a:lnTo>
                    <a:pt x="140" y="58"/>
                  </a:lnTo>
                  <a:lnTo>
                    <a:pt x="138" y="60"/>
                  </a:lnTo>
                  <a:lnTo>
                    <a:pt x="134" y="60"/>
                  </a:lnTo>
                  <a:lnTo>
                    <a:pt x="130" y="60"/>
                  </a:lnTo>
                  <a:lnTo>
                    <a:pt x="128" y="60"/>
                  </a:lnTo>
                  <a:lnTo>
                    <a:pt x="120" y="60"/>
                  </a:lnTo>
                  <a:lnTo>
                    <a:pt x="112" y="60"/>
                  </a:lnTo>
                  <a:lnTo>
                    <a:pt x="108" y="60"/>
                  </a:lnTo>
                  <a:lnTo>
                    <a:pt x="106" y="60"/>
                  </a:lnTo>
                  <a:lnTo>
                    <a:pt x="102" y="60"/>
                  </a:lnTo>
                  <a:lnTo>
                    <a:pt x="100" y="62"/>
                  </a:lnTo>
                  <a:lnTo>
                    <a:pt x="98" y="62"/>
                  </a:lnTo>
                  <a:lnTo>
                    <a:pt x="96" y="62"/>
                  </a:lnTo>
                  <a:lnTo>
                    <a:pt x="96" y="64"/>
                  </a:lnTo>
                  <a:lnTo>
                    <a:pt x="94" y="64"/>
                  </a:lnTo>
                  <a:lnTo>
                    <a:pt x="94" y="64"/>
                  </a:lnTo>
                  <a:lnTo>
                    <a:pt x="92" y="66"/>
                  </a:lnTo>
                  <a:lnTo>
                    <a:pt x="92" y="68"/>
                  </a:lnTo>
                  <a:lnTo>
                    <a:pt x="90" y="70"/>
                  </a:lnTo>
                  <a:lnTo>
                    <a:pt x="90" y="72"/>
                  </a:lnTo>
                  <a:lnTo>
                    <a:pt x="90" y="74"/>
                  </a:lnTo>
                  <a:lnTo>
                    <a:pt x="90" y="76"/>
                  </a:lnTo>
                  <a:lnTo>
                    <a:pt x="90" y="76"/>
                  </a:lnTo>
                  <a:lnTo>
                    <a:pt x="90" y="76"/>
                  </a:lnTo>
                  <a:lnTo>
                    <a:pt x="90" y="78"/>
                  </a:lnTo>
                  <a:lnTo>
                    <a:pt x="90" y="80"/>
                  </a:lnTo>
                  <a:lnTo>
                    <a:pt x="92" y="82"/>
                  </a:lnTo>
                  <a:lnTo>
                    <a:pt x="94" y="82"/>
                  </a:lnTo>
                  <a:lnTo>
                    <a:pt x="96" y="84"/>
                  </a:lnTo>
                  <a:lnTo>
                    <a:pt x="98" y="86"/>
                  </a:lnTo>
                  <a:lnTo>
                    <a:pt x="100" y="86"/>
                  </a:lnTo>
                  <a:lnTo>
                    <a:pt x="102" y="88"/>
                  </a:lnTo>
                  <a:lnTo>
                    <a:pt x="106" y="90"/>
                  </a:lnTo>
                  <a:lnTo>
                    <a:pt x="110" y="92"/>
                  </a:lnTo>
                  <a:lnTo>
                    <a:pt x="118" y="96"/>
                  </a:lnTo>
                  <a:lnTo>
                    <a:pt x="120" y="98"/>
                  </a:lnTo>
                  <a:lnTo>
                    <a:pt x="122" y="98"/>
                  </a:lnTo>
                  <a:lnTo>
                    <a:pt x="124" y="100"/>
                  </a:lnTo>
                  <a:lnTo>
                    <a:pt x="128" y="100"/>
                  </a:lnTo>
                  <a:lnTo>
                    <a:pt x="136" y="102"/>
                  </a:lnTo>
                  <a:lnTo>
                    <a:pt x="142" y="104"/>
                  </a:lnTo>
                  <a:lnTo>
                    <a:pt x="146" y="104"/>
                  </a:lnTo>
                  <a:lnTo>
                    <a:pt x="150" y="106"/>
                  </a:lnTo>
                  <a:lnTo>
                    <a:pt x="152" y="106"/>
                  </a:lnTo>
                  <a:lnTo>
                    <a:pt x="156" y="108"/>
                  </a:lnTo>
                  <a:lnTo>
                    <a:pt x="156" y="108"/>
                  </a:lnTo>
                  <a:lnTo>
                    <a:pt x="158" y="108"/>
                  </a:lnTo>
                  <a:lnTo>
                    <a:pt x="158" y="110"/>
                  </a:lnTo>
                  <a:lnTo>
                    <a:pt x="158" y="110"/>
                  </a:lnTo>
                  <a:lnTo>
                    <a:pt x="160" y="112"/>
                  </a:lnTo>
                  <a:lnTo>
                    <a:pt x="160" y="112"/>
                  </a:lnTo>
                  <a:lnTo>
                    <a:pt x="160" y="114"/>
                  </a:lnTo>
                  <a:lnTo>
                    <a:pt x="160" y="114"/>
                  </a:lnTo>
                  <a:lnTo>
                    <a:pt x="160" y="114"/>
                  </a:lnTo>
                  <a:lnTo>
                    <a:pt x="160" y="116"/>
                  </a:lnTo>
                  <a:lnTo>
                    <a:pt x="160" y="116"/>
                  </a:lnTo>
                  <a:lnTo>
                    <a:pt x="158" y="116"/>
                  </a:lnTo>
                  <a:lnTo>
                    <a:pt x="158" y="118"/>
                  </a:lnTo>
                  <a:lnTo>
                    <a:pt x="158" y="118"/>
                  </a:lnTo>
                  <a:lnTo>
                    <a:pt x="156" y="118"/>
                  </a:lnTo>
                  <a:lnTo>
                    <a:pt x="154" y="118"/>
                  </a:lnTo>
                  <a:lnTo>
                    <a:pt x="152" y="118"/>
                  </a:lnTo>
                  <a:lnTo>
                    <a:pt x="150" y="118"/>
                  </a:lnTo>
                  <a:lnTo>
                    <a:pt x="148" y="118"/>
                  </a:lnTo>
                  <a:lnTo>
                    <a:pt x="142" y="118"/>
                  </a:lnTo>
                  <a:lnTo>
                    <a:pt x="138" y="118"/>
                  </a:lnTo>
                  <a:lnTo>
                    <a:pt x="134" y="118"/>
                  </a:lnTo>
                  <a:lnTo>
                    <a:pt x="132" y="118"/>
                  </a:lnTo>
                  <a:lnTo>
                    <a:pt x="130" y="120"/>
                  </a:lnTo>
                  <a:lnTo>
                    <a:pt x="128" y="120"/>
                  </a:lnTo>
                  <a:lnTo>
                    <a:pt x="124" y="120"/>
                  </a:lnTo>
                  <a:lnTo>
                    <a:pt x="120" y="122"/>
                  </a:lnTo>
                  <a:lnTo>
                    <a:pt x="116" y="124"/>
                  </a:lnTo>
                  <a:lnTo>
                    <a:pt x="114" y="124"/>
                  </a:lnTo>
                  <a:lnTo>
                    <a:pt x="112" y="124"/>
                  </a:lnTo>
                  <a:lnTo>
                    <a:pt x="112" y="124"/>
                  </a:lnTo>
                  <a:lnTo>
                    <a:pt x="110" y="124"/>
                  </a:lnTo>
                  <a:lnTo>
                    <a:pt x="110" y="124"/>
                  </a:lnTo>
                  <a:lnTo>
                    <a:pt x="108" y="124"/>
                  </a:lnTo>
                  <a:lnTo>
                    <a:pt x="108" y="124"/>
                  </a:lnTo>
                  <a:lnTo>
                    <a:pt x="108" y="122"/>
                  </a:lnTo>
                  <a:lnTo>
                    <a:pt x="106" y="122"/>
                  </a:lnTo>
                  <a:lnTo>
                    <a:pt x="106" y="120"/>
                  </a:lnTo>
                  <a:lnTo>
                    <a:pt x="104" y="118"/>
                  </a:lnTo>
                  <a:lnTo>
                    <a:pt x="104" y="116"/>
                  </a:lnTo>
                  <a:lnTo>
                    <a:pt x="102" y="114"/>
                  </a:lnTo>
                  <a:lnTo>
                    <a:pt x="102" y="114"/>
                  </a:lnTo>
                  <a:lnTo>
                    <a:pt x="100" y="112"/>
                  </a:lnTo>
                  <a:lnTo>
                    <a:pt x="100" y="112"/>
                  </a:lnTo>
                  <a:lnTo>
                    <a:pt x="100" y="112"/>
                  </a:lnTo>
                  <a:lnTo>
                    <a:pt x="98" y="112"/>
                  </a:lnTo>
                  <a:lnTo>
                    <a:pt x="98" y="112"/>
                  </a:lnTo>
                  <a:lnTo>
                    <a:pt x="96" y="112"/>
                  </a:lnTo>
                  <a:lnTo>
                    <a:pt x="94" y="112"/>
                  </a:lnTo>
                  <a:lnTo>
                    <a:pt x="92" y="112"/>
                  </a:lnTo>
                  <a:lnTo>
                    <a:pt x="90" y="114"/>
                  </a:lnTo>
                  <a:lnTo>
                    <a:pt x="88" y="114"/>
                  </a:lnTo>
                  <a:lnTo>
                    <a:pt x="86" y="116"/>
                  </a:lnTo>
                  <a:lnTo>
                    <a:pt x="84" y="116"/>
                  </a:lnTo>
                  <a:lnTo>
                    <a:pt x="84" y="116"/>
                  </a:lnTo>
                  <a:lnTo>
                    <a:pt x="84" y="118"/>
                  </a:lnTo>
                  <a:lnTo>
                    <a:pt x="84" y="118"/>
                  </a:lnTo>
                  <a:lnTo>
                    <a:pt x="84" y="120"/>
                  </a:lnTo>
                  <a:lnTo>
                    <a:pt x="84" y="122"/>
                  </a:lnTo>
                  <a:lnTo>
                    <a:pt x="84" y="122"/>
                  </a:lnTo>
                  <a:lnTo>
                    <a:pt x="84" y="124"/>
                  </a:lnTo>
                  <a:lnTo>
                    <a:pt x="84" y="124"/>
                  </a:lnTo>
                  <a:lnTo>
                    <a:pt x="84" y="124"/>
                  </a:lnTo>
                  <a:lnTo>
                    <a:pt x="84" y="126"/>
                  </a:lnTo>
                  <a:lnTo>
                    <a:pt x="82" y="126"/>
                  </a:lnTo>
                  <a:lnTo>
                    <a:pt x="80" y="126"/>
                  </a:lnTo>
                  <a:lnTo>
                    <a:pt x="80" y="126"/>
                  </a:lnTo>
                  <a:lnTo>
                    <a:pt x="78" y="126"/>
                  </a:lnTo>
                  <a:lnTo>
                    <a:pt x="76" y="126"/>
                  </a:lnTo>
                  <a:lnTo>
                    <a:pt x="72" y="126"/>
                  </a:lnTo>
                  <a:lnTo>
                    <a:pt x="68" y="126"/>
                  </a:lnTo>
                  <a:lnTo>
                    <a:pt x="64" y="126"/>
                  </a:lnTo>
                  <a:lnTo>
                    <a:pt x="64" y="126"/>
                  </a:lnTo>
                  <a:lnTo>
                    <a:pt x="62" y="126"/>
                  </a:lnTo>
                  <a:lnTo>
                    <a:pt x="60" y="126"/>
                  </a:lnTo>
                  <a:lnTo>
                    <a:pt x="58" y="126"/>
                  </a:lnTo>
                  <a:lnTo>
                    <a:pt x="58" y="128"/>
                  </a:lnTo>
                  <a:lnTo>
                    <a:pt x="56" y="128"/>
                  </a:lnTo>
                  <a:lnTo>
                    <a:pt x="56" y="130"/>
                  </a:lnTo>
                  <a:lnTo>
                    <a:pt x="54" y="132"/>
                  </a:lnTo>
                  <a:lnTo>
                    <a:pt x="52" y="132"/>
                  </a:lnTo>
                  <a:lnTo>
                    <a:pt x="52" y="134"/>
                  </a:lnTo>
                  <a:lnTo>
                    <a:pt x="52" y="134"/>
                  </a:lnTo>
                  <a:lnTo>
                    <a:pt x="52" y="136"/>
                  </a:lnTo>
                  <a:lnTo>
                    <a:pt x="52" y="136"/>
                  </a:lnTo>
                  <a:lnTo>
                    <a:pt x="52" y="136"/>
                  </a:lnTo>
                  <a:lnTo>
                    <a:pt x="52" y="138"/>
                  </a:lnTo>
                  <a:lnTo>
                    <a:pt x="52" y="138"/>
                  </a:lnTo>
                  <a:lnTo>
                    <a:pt x="54" y="138"/>
                  </a:lnTo>
                  <a:lnTo>
                    <a:pt x="54" y="140"/>
                  </a:lnTo>
                  <a:lnTo>
                    <a:pt x="56" y="140"/>
                  </a:lnTo>
                  <a:lnTo>
                    <a:pt x="58" y="140"/>
                  </a:lnTo>
                  <a:lnTo>
                    <a:pt x="62" y="142"/>
                  </a:lnTo>
                  <a:lnTo>
                    <a:pt x="64" y="142"/>
                  </a:lnTo>
                  <a:lnTo>
                    <a:pt x="64" y="142"/>
                  </a:lnTo>
                  <a:lnTo>
                    <a:pt x="66" y="144"/>
                  </a:lnTo>
                  <a:lnTo>
                    <a:pt x="66" y="144"/>
                  </a:lnTo>
                  <a:lnTo>
                    <a:pt x="66" y="144"/>
                  </a:lnTo>
                  <a:lnTo>
                    <a:pt x="66" y="146"/>
                  </a:lnTo>
                  <a:lnTo>
                    <a:pt x="66" y="146"/>
                  </a:lnTo>
                  <a:lnTo>
                    <a:pt x="66" y="146"/>
                  </a:lnTo>
                  <a:lnTo>
                    <a:pt x="66" y="148"/>
                  </a:lnTo>
                  <a:lnTo>
                    <a:pt x="66" y="150"/>
                  </a:lnTo>
                  <a:lnTo>
                    <a:pt x="66" y="152"/>
                  </a:lnTo>
                  <a:lnTo>
                    <a:pt x="64" y="154"/>
                  </a:lnTo>
                  <a:lnTo>
                    <a:pt x="64" y="156"/>
                  </a:lnTo>
                  <a:lnTo>
                    <a:pt x="64" y="158"/>
                  </a:lnTo>
                  <a:lnTo>
                    <a:pt x="64" y="158"/>
                  </a:lnTo>
                  <a:lnTo>
                    <a:pt x="64" y="158"/>
                  </a:lnTo>
                  <a:lnTo>
                    <a:pt x="64" y="160"/>
                  </a:lnTo>
                  <a:lnTo>
                    <a:pt x="64" y="160"/>
                  </a:lnTo>
                  <a:lnTo>
                    <a:pt x="66" y="162"/>
                  </a:lnTo>
                  <a:lnTo>
                    <a:pt x="68" y="162"/>
                  </a:lnTo>
                  <a:lnTo>
                    <a:pt x="68" y="164"/>
                  </a:lnTo>
                  <a:lnTo>
                    <a:pt x="70" y="164"/>
                  </a:lnTo>
                  <a:lnTo>
                    <a:pt x="72" y="166"/>
                  </a:lnTo>
                  <a:lnTo>
                    <a:pt x="72" y="166"/>
                  </a:lnTo>
                  <a:lnTo>
                    <a:pt x="74" y="168"/>
                  </a:lnTo>
                  <a:lnTo>
                    <a:pt x="76" y="168"/>
                  </a:lnTo>
                  <a:lnTo>
                    <a:pt x="78" y="168"/>
                  </a:lnTo>
                  <a:lnTo>
                    <a:pt x="80" y="168"/>
                  </a:lnTo>
                  <a:lnTo>
                    <a:pt x="86" y="168"/>
                  </a:lnTo>
                  <a:lnTo>
                    <a:pt x="90" y="168"/>
                  </a:lnTo>
                  <a:lnTo>
                    <a:pt x="94" y="168"/>
                  </a:lnTo>
                  <a:lnTo>
                    <a:pt x="98" y="168"/>
                  </a:lnTo>
                  <a:lnTo>
                    <a:pt x="102" y="168"/>
                  </a:lnTo>
                  <a:lnTo>
                    <a:pt x="104" y="168"/>
                  </a:lnTo>
                  <a:lnTo>
                    <a:pt x="106" y="166"/>
                  </a:lnTo>
                  <a:lnTo>
                    <a:pt x="106" y="166"/>
                  </a:lnTo>
                  <a:lnTo>
                    <a:pt x="108" y="166"/>
                  </a:lnTo>
                  <a:lnTo>
                    <a:pt x="110" y="164"/>
                  </a:lnTo>
                  <a:lnTo>
                    <a:pt x="112" y="162"/>
                  </a:lnTo>
                  <a:lnTo>
                    <a:pt x="114" y="160"/>
                  </a:lnTo>
                  <a:lnTo>
                    <a:pt x="118" y="158"/>
                  </a:lnTo>
                  <a:lnTo>
                    <a:pt x="118" y="156"/>
                  </a:lnTo>
                  <a:lnTo>
                    <a:pt x="120" y="156"/>
                  </a:lnTo>
                  <a:lnTo>
                    <a:pt x="122" y="156"/>
                  </a:lnTo>
                  <a:lnTo>
                    <a:pt x="122" y="154"/>
                  </a:lnTo>
                  <a:lnTo>
                    <a:pt x="124" y="154"/>
                  </a:lnTo>
                  <a:lnTo>
                    <a:pt x="124" y="154"/>
                  </a:lnTo>
                  <a:lnTo>
                    <a:pt x="126" y="154"/>
                  </a:lnTo>
                  <a:lnTo>
                    <a:pt x="126" y="156"/>
                  </a:lnTo>
                  <a:lnTo>
                    <a:pt x="128" y="156"/>
                  </a:lnTo>
                  <a:lnTo>
                    <a:pt x="130" y="158"/>
                  </a:lnTo>
                  <a:lnTo>
                    <a:pt x="130" y="158"/>
                  </a:lnTo>
                  <a:lnTo>
                    <a:pt x="132" y="160"/>
                  </a:lnTo>
                  <a:lnTo>
                    <a:pt x="132" y="160"/>
                  </a:lnTo>
                  <a:lnTo>
                    <a:pt x="132" y="162"/>
                  </a:lnTo>
                  <a:lnTo>
                    <a:pt x="132" y="162"/>
                  </a:lnTo>
                  <a:lnTo>
                    <a:pt x="132" y="162"/>
                  </a:lnTo>
                  <a:lnTo>
                    <a:pt x="132" y="164"/>
                  </a:lnTo>
                  <a:lnTo>
                    <a:pt x="132" y="164"/>
                  </a:lnTo>
                  <a:lnTo>
                    <a:pt x="130" y="164"/>
                  </a:lnTo>
                  <a:lnTo>
                    <a:pt x="130" y="166"/>
                  </a:lnTo>
                  <a:lnTo>
                    <a:pt x="128" y="166"/>
                  </a:lnTo>
                  <a:lnTo>
                    <a:pt x="124" y="168"/>
                  </a:lnTo>
                  <a:lnTo>
                    <a:pt x="124" y="168"/>
                  </a:lnTo>
                  <a:lnTo>
                    <a:pt x="122" y="170"/>
                  </a:lnTo>
                  <a:lnTo>
                    <a:pt x="122" y="170"/>
                  </a:lnTo>
                  <a:lnTo>
                    <a:pt x="122" y="170"/>
                  </a:lnTo>
                  <a:lnTo>
                    <a:pt x="122" y="172"/>
                  </a:lnTo>
                  <a:lnTo>
                    <a:pt x="122" y="174"/>
                  </a:lnTo>
                  <a:lnTo>
                    <a:pt x="122" y="176"/>
                  </a:lnTo>
                  <a:lnTo>
                    <a:pt x="122" y="178"/>
                  </a:lnTo>
                  <a:lnTo>
                    <a:pt x="122" y="182"/>
                  </a:lnTo>
                  <a:lnTo>
                    <a:pt x="122" y="184"/>
                  </a:lnTo>
                  <a:lnTo>
                    <a:pt x="120" y="184"/>
                  </a:lnTo>
                  <a:lnTo>
                    <a:pt x="120" y="186"/>
                  </a:lnTo>
                  <a:lnTo>
                    <a:pt x="120" y="186"/>
                  </a:lnTo>
                  <a:lnTo>
                    <a:pt x="120" y="188"/>
                  </a:lnTo>
                  <a:lnTo>
                    <a:pt x="118" y="188"/>
                  </a:lnTo>
                  <a:lnTo>
                    <a:pt x="118" y="188"/>
                  </a:lnTo>
                  <a:lnTo>
                    <a:pt x="116" y="188"/>
                  </a:lnTo>
                  <a:lnTo>
                    <a:pt x="114" y="188"/>
                  </a:lnTo>
                  <a:lnTo>
                    <a:pt x="114" y="188"/>
                  </a:lnTo>
                  <a:lnTo>
                    <a:pt x="112" y="188"/>
                  </a:lnTo>
                  <a:lnTo>
                    <a:pt x="108" y="188"/>
                  </a:lnTo>
                  <a:lnTo>
                    <a:pt x="106" y="186"/>
                  </a:lnTo>
                  <a:lnTo>
                    <a:pt x="102" y="186"/>
                  </a:lnTo>
                  <a:lnTo>
                    <a:pt x="100" y="186"/>
                  </a:lnTo>
                  <a:lnTo>
                    <a:pt x="100" y="186"/>
                  </a:lnTo>
                  <a:lnTo>
                    <a:pt x="98" y="186"/>
                  </a:lnTo>
                  <a:lnTo>
                    <a:pt x="96" y="188"/>
                  </a:lnTo>
                  <a:lnTo>
                    <a:pt x="96" y="188"/>
                  </a:lnTo>
                  <a:lnTo>
                    <a:pt x="96" y="188"/>
                  </a:lnTo>
                  <a:lnTo>
                    <a:pt x="96" y="190"/>
                  </a:lnTo>
                  <a:lnTo>
                    <a:pt x="96" y="190"/>
                  </a:lnTo>
                  <a:lnTo>
                    <a:pt x="94" y="192"/>
                  </a:lnTo>
                  <a:lnTo>
                    <a:pt x="94" y="196"/>
                  </a:lnTo>
                  <a:lnTo>
                    <a:pt x="94" y="198"/>
                  </a:lnTo>
                  <a:lnTo>
                    <a:pt x="94" y="200"/>
                  </a:lnTo>
                  <a:lnTo>
                    <a:pt x="94" y="200"/>
                  </a:lnTo>
                  <a:lnTo>
                    <a:pt x="94" y="202"/>
                  </a:lnTo>
                  <a:lnTo>
                    <a:pt x="92" y="202"/>
                  </a:lnTo>
                  <a:lnTo>
                    <a:pt x="92" y="202"/>
                  </a:lnTo>
                  <a:lnTo>
                    <a:pt x="92" y="202"/>
                  </a:lnTo>
                  <a:lnTo>
                    <a:pt x="90" y="202"/>
                  </a:lnTo>
                  <a:lnTo>
                    <a:pt x="90" y="202"/>
                  </a:lnTo>
                  <a:lnTo>
                    <a:pt x="88" y="202"/>
                  </a:lnTo>
                  <a:lnTo>
                    <a:pt x="88" y="200"/>
                  </a:lnTo>
                  <a:lnTo>
                    <a:pt x="86" y="198"/>
                  </a:lnTo>
                  <a:lnTo>
                    <a:pt x="84" y="196"/>
                  </a:lnTo>
                  <a:lnTo>
                    <a:pt x="82" y="194"/>
                  </a:lnTo>
                  <a:lnTo>
                    <a:pt x="82" y="194"/>
                  </a:lnTo>
                  <a:lnTo>
                    <a:pt x="80" y="192"/>
                  </a:lnTo>
                  <a:lnTo>
                    <a:pt x="80" y="192"/>
                  </a:lnTo>
                  <a:lnTo>
                    <a:pt x="80" y="192"/>
                  </a:lnTo>
                  <a:lnTo>
                    <a:pt x="78" y="192"/>
                  </a:lnTo>
                  <a:lnTo>
                    <a:pt x="76" y="192"/>
                  </a:lnTo>
                  <a:lnTo>
                    <a:pt x="76" y="192"/>
                  </a:lnTo>
                  <a:lnTo>
                    <a:pt x="74" y="192"/>
                  </a:lnTo>
                  <a:lnTo>
                    <a:pt x="72" y="194"/>
                  </a:lnTo>
                  <a:lnTo>
                    <a:pt x="68" y="196"/>
                  </a:lnTo>
                  <a:lnTo>
                    <a:pt x="66" y="198"/>
                  </a:lnTo>
                  <a:lnTo>
                    <a:pt x="62" y="198"/>
                  </a:lnTo>
                  <a:lnTo>
                    <a:pt x="60" y="200"/>
                  </a:lnTo>
                  <a:lnTo>
                    <a:pt x="60" y="202"/>
                  </a:lnTo>
                  <a:lnTo>
                    <a:pt x="58" y="202"/>
                  </a:lnTo>
                  <a:lnTo>
                    <a:pt x="58" y="204"/>
                  </a:lnTo>
                  <a:lnTo>
                    <a:pt x="58" y="204"/>
                  </a:lnTo>
                  <a:lnTo>
                    <a:pt x="58" y="206"/>
                  </a:lnTo>
                  <a:lnTo>
                    <a:pt x="58" y="208"/>
                  </a:lnTo>
                  <a:lnTo>
                    <a:pt x="58" y="210"/>
                  </a:lnTo>
                  <a:lnTo>
                    <a:pt x="58" y="212"/>
                  </a:lnTo>
                  <a:lnTo>
                    <a:pt x="58" y="214"/>
                  </a:lnTo>
                  <a:lnTo>
                    <a:pt x="58" y="216"/>
                  </a:lnTo>
                  <a:lnTo>
                    <a:pt x="58" y="216"/>
                  </a:lnTo>
                  <a:lnTo>
                    <a:pt x="56" y="218"/>
                  </a:lnTo>
                  <a:lnTo>
                    <a:pt x="56" y="218"/>
                  </a:lnTo>
                  <a:lnTo>
                    <a:pt x="54" y="218"/>
                  </a:lnTo>
                  <a:lnTo>
                    <a:pt x="54" y="220"/>
                  </a:lnTo>
                  <a:lnTo>
                    <a:pt x="52" y="220"/>
                  </a:lnTo>
                  <a:lnTo>
                    <a:pt x="50" y="222"/>
                  </a:lnTo>
                  <a:lnTo>
                    <a:pt x="46" y="222"/>
                  </a:lnTo>
                  <a:lnTo>
                    <a:pt x="42" y="224"/>
                  </a:lnTo>
                  <a:lnTo>
                    <a:pt x="42" y="224"/>
                  </a:lnTo>
                  <a:lnTo>
                    <a:pt x="40" y="224"/>
                  </a:lnTo>
                  <a:lnTo>
                    <a:pt x="38" y="224"/>
                  </a:lnTo>
                  <a:lnTo>
                    <a:pt x="38" y="226"/>
                  </a:lnTo>
                  <a:lnTo>
                    <a:pt x="36" y="226"/>
                  </a:lnTo>
                  <a:lnTo>
                    <a:pt x="36" y="228"/>
                  </a:lnTo>
                  <a:lnTo>
                    <a:pt x="36" y="228"/>
                  </a:lnTo>
                  <a:lnTo>
                    <a:pt x="36" y="228"/>
                  </a:lnTo>
                  <a:lnTo>
                    <a:pt x="36" y="230"/>
                  </a:lnTo>
                  <a:lnTo>
                    <a:pt x="36" y="230"/>
                  </a:lnTo>
                  <a:lnTo>
                    <a:pt x="38" y="232"/>
                  </a:lnTo>
                  <a:lnTo>
                    <a:pt x="38" y="234"/>
                  </a:lnTo>
                  <a:lnTo>
                    <a:pt x="40" y="236"/>
                  </a:lnTo>
                  <a:lnTo>
                    <a:pt x="42" y="238"/>
                  </a:lnTo>
                  <a:lnTo>
                    <a:pt x="42" y="240"/>
                  </a:lnTo>
                  <a:lnTo>
                    <a:pt x="44" y="240"/>
                  </a:lnTo>
                  <a:lnTo>
                    <a:pt x="44" y="240"/>
                  </a:lnTo>
                  <a:lnTo>
                    <a:pt x="46" y="240"/>
                  </a:lnTo>
                  <a:lnTo>
                    <a:pt x="46" y="242"/>
                  </a:lnTo>
                  <a:lnTo>
                    <a:pt x="52" y="242"/>
                  </a:lnTo>
                  <a:lnTo>
                    <a:pt x="54" y="242"/>
                  </a:lnTo>
                  <a:lnTo>
                    <a:pt x="54" y="244"/>
                  </a:lnTo>
                  <a:lnTo>
                    <a:pt x="56" y="244"/>
                  </a:lnTo>
                  <a:lnTo>
                    <a:pt x="56" y="244"/>
                  </a:lnTo>
                  <a:lnTo>
                    <a:pt x="56" y="244"/>
                  </a:lnTo>
                  <a:lnTo>
                    <a:pt x="56" y="246"/>
                  </a:lnTo>
                  <a:lnTo>
                    <a:pt x="56" y="246"/>
                  </a:lnTo>
                  <a:lnTo>
                    <a:pt x="56" y="246"/>
                  </a:lnTo>
                  <a:lnTo>
                    <a:pt x="56" y="246"/>
                  </a:lnTo>
                  <a:lnTo>
                    <a:pt x="56" y="248"/>
                  </a:lnTo>
                  <a:lnTo>
                    <a:pt x="54" y="248"/>
                  </a:lnTo>
                  <a:lnTo>
                    <a:pt x="52" y="248"/>
                  </a:lnTo>
                  <a:lnTo>
                    <a:pt x="52" y="250"/>
                  </a:lnTo>
                  <a:lnTo>
                    <a:pt x="48" y="250"/>
                  </a:lnTo>
                  <a:lnTo>
                    <a:pt x="46" y="252"/>
                  </a:lnTo>
                  <a:lnTo>
                    <a:pt x="44" y="252"/>
                  </a:lnTo>
                  <a:lnTo>
                    <a:pt x="42" y="252"/>
                  </a:lnTo>
                  <a:lnTo>
                    <a:pt x="40" y="252"/>
                  </a:lnTo>
                  <a:lnTo>
                    <a:pt x="40" y="254"/>
                  </a:lnTo>
                  <a:lnTo>
                    <a:pt x="40" y="254"/>
                  </a:lnTo>
                  <a:lnTo>
                    <a:pt x="40" y="254"/>
                  </a:lnTo>
                  <a:lnTo>
                    <a:pt x="38" y="256"/>
                  </a:lnTo>
                  <a:lnTo>
                    <a:pt x="38" y="256"/>
                  </a:lnTo>
                  <a:lnTo>
                    <a:pt x="40" y="258"/>
                  </a:lnTo>
                  <a:lnTo>
                    <a:pt x="40" y="258"/>
                  </a:lnTo>
                  <a:lnTo>
                    <a:pt x="40" y="260"/>
                  </a:lnTo>
                  <a:lnTo>
                    <a:pt x="40" y="260"/>
                  </a:lnTo>
                  <a:lnTo>
                    <a:pt x="42" y="262"/>
                  </a:lnTo>
                  <a:lnTo>
                    <a:pt x="44" y="264"/>
                  </a:lnTo>
                  <a:lnTo>
                    <a:pt x="46" y="266"/>
                  </a:lnTo>
                  <a:lnTo>
                    <a:pt x="48" y="268"/>
                  </a:lnTo>
                  <a:lnTo>
                    <a:pt x="50" y="270"/>
                  </a:lnTo>
                  <a:lnTo>
                    <a:pt x="50" y="270"/>
                  </a:lnTo>
                  <a:lnTo>
                    <a:pt x="52" y="270"/>
                  </a:lnTo>
                  <a:lnTo>
                    <a:pt x="54" y="270"/>
                  </a:lnTo>
                  <a:lnTo>
                    <a:pt x="54" y="270"/>
                  </a:lnTo>
                  <a:lnTo>
                    <a:pt x="58" y="270"/>
                  </a:lnTo>
                  <a:lnTo>
                    <a:pt x="60" y="270"/>
                  </a:lnTo>
                  <a:lnTo>
                    <a:pt x="62" y="270"/>
                  </a:lnTo>
                  <a:lnTo>
                    <a:pt x="64" y="270"/>
                  </a:lnTo>
                  <a:lnTo>
                    <a:pt x="66" y="268"/>
                  </a:lnTo>
                  <a:lnTo>
                    <a:pt x="66" y="268"/>
                  </a:lnTo>
                  <a:lnTo>
                    <a:pt x="68" y="268"/>
                  </a:lnTo>
                  <a:lnTo>
                    <a:pt x="68" y="266"/>
                  </a:lnTo>
                  <a:lnTo>
                    <a:pt x="68" y="264"/>
                  </a:lnTo>
                  <a:lnTo>
                    <a:pt x="70" y="262"/>
                  </a:lnTo>
                  <a:lnTo>
                    <a:pt x="70" y="260"/>
                  </a:lnTo>
                  <a:lnTo>
                    <a:pt x="70" y="258"/>
                  </a:lnTo>
                  <a:lnTo>
                    <a:pt x="72" y="256"/>
                  </a:lnTo>
                  <a:lnTo>
                    <a:pt x="72" y="256"/>
                  </a:lnTo>
                  <a:lnTo>
                    <a:pt x="74" y="256"/>
                  </a:lnTo>
                  <a:lnTo>
                    <a:pt x="74" y="256"/>
                  </a:lnTo>
                  <a:lnTo>
                    <a:pt x="74" y="256"/>
                  </a:lnTo>
                  <a:lnTo>
                    <a:pt x="74" y="256"/>
                  </a:lnTo>
                  <a:lnTo>
                    <a:pt x="76" y="256"/>
                  </a:lnTo>
                  <a:lnTo>
                    <a:pt x="76" y="258"/>
                  </a:lnTo>
                  <a:lnTo>
                    <a:pt x="76" y="258"/>
                  </a:lnTo>
                  <a:lnTo>
                    <a:pt x="76" y="260"/>
                  </a:lnTo>
                  <a:lnTo>
                    <a:pt x="76" y="260"/>
                  </a:lnTo>
                  <a:lnTo>
                    <a:pt x="76" y="264"/>
                  </a:lnTo>
                  <a:lnTo>
                    <a:pt x="76" y="268"/>
                  </a:lnTo>
                  <a:lnTo>
                    <a:pt x="76" y="270"/>
                  </a:lnTo>
                  <a:lnTo>
                    <a:pt x="74" y="276"/>
                  </a:lnTo>
                  <a:lnTo>
                    <a:pt x="74" y="276"/>
                  </a:lnTo>
                  <a:lnTo>
                    <a:pt x="72" y="278"/>
                  </a:lnTo>
                  <a:lnTo>
                    <a:pt x="70" y="282"/>
                  </a:lnTo>
                  <a:lnTo>
                    <a:pt x="70" y="284"/>
                  </a:lnTo>
                  <a:lnTo>
                    <a:pt x="68" y="284"/>
                  </a:lnTo>
                  <a:lnTo>
                    <a:pt x="68" y="286"/>
                  </a:lnTo>
                  <a:lnTo>
                    <a:pt x="66" y="288"/>
                  </a:lnTo>
                  <a:lnTo>
                    <a:pt x="66" y="290"/>
                  </a:lnTo>
                  <a:lnTo>
                    <a:pt x="66" y="292"/>
                  </a:lnTo>
                  <a:lnTo>
                    <a:pt x="66" y="294"/>
                  </a:lnTo>
                  <a:lnTo>
                    <a:pt x="66" y="296"/>
                  </a:lnTo>
                  <a:lnTo>
                    <a:pt x="66" y="298"/>
                  </a:lnTo>
                  <a:lnTo>
                    <a:pt x="68" y="300"/>
                  </a:lnTo>
                  <a:lnTo>
                    <a:pt x="68" y="302"/>
                  </a:lnTo>
                  <a:lnTo>
                    <a:pt x="68" y="302"/>
                  </a:lnTo>
                  <a:lnTo>
                    <a:pt x="68" y="302"/>
                  </a:lnTo>
                  <a:lnTo>
                    <a:pt x="70" y="302"/>
                  </a:lnTo>
                  <a:lnTo>
                    <a:pt x="70" y="304"/>
                  </a:lnTo>
                  <a:lnTo>
                    <a:pt x="72" y="304"/>
                  </a:lnTo>
                  <a:lnTo>
                    <a:pt x="72" y="304"/>
                  </a:lnTo>
                  <a:lnTo>
                    <a:pt x="74" y="302"/>
                  </a:lnTo>
                  <a:lnTo>
                    <a:pt x="76" y="302"/>
                  </a:lnTo>
                  <a:lnTo>
                    <a:pt x="76" y="302"/>
                  </a:lnTo>
                  <a:lnTo>
                    <a:pt x="80" y="300"/>
                  </a:lnTo>
                  <a:lnTo>
                    <a:pt x="84" y="298"/>
                  </a:lnTo>
                  <a:lnTo>
                    <a:pt x="86" y="296"/>
                  </a:lnTo>
                  <a:lnTo>
                    <a:pt x="88" y="296"/>
                  </a:lnTo>
                  <a:lnTo>
                    <a:pt x="90" y="296"/>
                  </a:lnTo>
                  <a:lnTo>
                    <a:pt x="90" y="296"/>
                  </a:lnTo>
                  <a:lnTo>
                    <a:pt x="92" y="296"/>
                  </a:lnTo>
                  <a:lnTo>
                    <a:pt x="92" y="296"/>
                  </a:lnTo>
                  <a:lnTo>
                    <a:pt x="92" y="296"/>
                  </a:lnTo>
                  <a:lnTo>
                    <a:pt x="94" y="296"/>
                  </a:lnTo>
                  <a:lnTo>
                    <a:pt x="94" y="298"/>
                  </a:lnTo>
                  <a:lnTo>
                    <a:pt x="96" y="298"/>
                  </a:lnTo>
                  <a:lnTo>
                    <a:pt x="96" y="300"/>
                  </a:lnTo>
                  <a:lnTo>
                    <a:pt x="98" y="300"/>
                  </a:lnTo>
                  <a:lnTo>
                    <a:pt x="98" y="302"/>
                  </a:lnTo>
                  <a:lnTo>
                    <a:pt x="98" y="302"/>
                  </a:lnTo>
                  <a:lnTo>
                    <a:pt x="100" y="302"/>
                  </a:lnTo>
                  <a:lnTo>
                    <a:pt x="100" y="302"/>
                  </a:lnTo>
                  <a:lnTo>
                    <a:pt x="102" y="302"/>
                  </a:lnTo>
                  <a:lnTo>
                    <a:pt x="102" y="302"/>
                  </a:lnTo>
                  <a:lnTo>
                    <a:pt x="104" y="300"/>
                  </a:lnTo>
                  <a:lnTo>
                    <a:pt x="106" y="300"/>
                  </a:lnTo>
                  <a:lnTo>
                    <a:pt x="108" y="298"/>
                  </a:lnTo>
                  <a:lnTo>
                    <a:pt x="112" y="296"/>
                  </a:lnTo>
                  <a:lnTo>
                    <a:pt x="112" y="296"/>
                  </a:lnTo>
                  <a:lnTo>
                    <a:pt x="114" y="296"/>
                  </a:lnTo>
                  <a:lnTo>
                    <a:pt x="114" y="296"/>
                  </a:lnTo>
                  <a:lnTo>
                    <a:pt x="116" y="294"/>
                  </a:lnTo>
                  <a:lnTo>
                    <a:pt x="116" y="296"/>
                  </a:lnTo>
                  <a:lnTo>
                    <a:pt x="118" y="296"/>
                  </a:lnTo>
                  <a:lnTo>
                    <a:pt x="118" y="296"/>
                  </a:lnTo>
                  <a:lnTo>
                    <a:pt x="118" y="298"/>
                  </a:lnTo>
                  <a:lnTo>
                    <a:pt x="120" y="298"/>
                  </a:lnTo>
                  <a:lnTo>
                    <a:pt x="120" y="300"/>
                  </a:lnTo>
                  <a:lnTo>
                    <a:pt x="120" y="302"/>
                  </a:lnTo>
                  <a:lnTo>
                    <a:pt x="120" y="302"/>
                  </a:lnTo>
                  <a:lnTo>
                    <a:pt x="122" y="304"/>
                  </a:lnTo>
                  <a:lnTo>
                    <a:pt x="122" y="306"/>
                  </a:lnTo>
                  <a:lnTo>
                    <a:pt x="122" y="310"/>
                  </a:lnTo>
                  <a:lnTo>
                    <a:pt x="120" y="314"/>
                  </a:lnTo>
                  <a:lnTo>
                    <a:pt x="120" y="316"/>
                  </a:lnTo>
                  <a:lnTo>
                    <a:pt x="120" y="316"/>
                  </a:lnTo>
                  <a:lnTo>
                    <a:pt x="120" y="318"/>
                  </a:lnTo>
                  <a:lnTo>
                    <a:pt x="120" y="320"/>
                  </a:lnTo>
                  <a:lnTo>
                    <a:pt x="118" y="320"/>
                  </a:lnTo>
                  <a:lnTo>
                    <a:pt x="118" y="322"/>
                  </a:lnTo>
                  <a:lnTo>
                    <a:pt x="116" y="324"/>
                  </a:lnTo>
                  <a:lnTo>
                    <a:pt x="116" y="326"/>
                  </a:lnTo>
                  <a:lnTo>
                    <a:pt x="114" y="326"/>
                  </a:lnTo>
                  <a:lnTo>
                    <a:pt x="112" y="328"/>
                  </a:lnTo>
                  <a:lnTo>
                    <a:pt x="110" y="330"/>
                  </a:lnTo>
                  <a:lnTo>
                    <a:pt x="106" y="334"/>
                  </a:lnTo>
                  <a:lnTo>
                    <a:pt x="102" y="336"/>
                  </a:lnTo>
                  <a:lnTo>
                    <a:pt x="98" y="338"/>
                  </a:lnTo>
                  <a:lnTo>
                    <a:pt x="94" y="340"/>
                  </a:lnTo>
                  <a:lnTo>
                    <a:pt x="90" y="344"/>
                  </a:lnTo>
                  <a:lnTo>
                    <a:pt x="84" y="346"/>
                  </a:lnTo>
                  <a:lnTo>
                    <a:pt x="76" y="350"/>
                  </a:lnTo>
                  <a:lnTo>
                    <a:pt x="68" y="354"/>
                  </a:lnTo>
                  <a:lnTo>
                    <a:pt x="62" y="358"/>
                  </a:lnTo>
                  <a:lnTo>
                    <a:pt x="58" y="360"/>
                  </a:lnTo>
                  <a:lnTo>
                    <a:pt x="52" y="362"/>
                  </a:lnTo>
                  <a:lnTo>
                    <a:pt x="40" y="366"/>
                  </a:lnTo>
                  <a:lnTo>
                    <a:pt x="20" y="376"/>
                  </a:lnTo>
                  <a:lnTo>
                    <a:pt x="18" y="376"/>
                  </a:lnTo>
                  <a:lnTo>
                    <a:pt x="16" y="378"/>
                  </a:lnTo>
                  <a:lnTo>
                    <a:pt x="8" y="380"/>
                  </a:lnTo>
                  <a:lnTo>
                    <a:pt x="6" y="380"/>
                  </a:lnTo>
                  <a:lnTo>
                    <a:pt x="4" y="382"/>
                  </a:lnTo>
                  <a:lnTo>
                    <a:pt x="2" y="382"/>
                  </a:lnTo>
                  <a:lnTo>
                    <a:pt x="2" y="384"/>
                  </a:lnTo>
                  <a:lnTo>
                    <a:pt x="0" y="384"/>
                  </a:lnTo>
                  <a:lnTo>
                    <a:pt x="0" y="384"/>
                  </a:lnTo>
                  <a:lnTo>
                    <a:pt x="0" y="386"/>
                  </a:lnTo>
                  <a:lnTo>
                    <a:pt x="0" y="386"/>
                  </a:lnTo>
                  <a:lnTo>
                    <a:pt x="0" y="388"/>
                  </a:lnTo>
                  <a:lnTo>
                    <a:pt x="0" y="390"/>
                  </a:lnTo>
                  <a:lnTo>
                    <a:pt x="0" y="390"/>
                  </a:lnTo>
                  <a:lnTo>
                    <a:pt x="0" y="392"/>
                  </a:lnTo>
                  <a:lnTo>
                    <a:pt x="0" y="392"/>
                  </a:lnTo>
                  <a:lnTo>
                    <a:pt x="2" y="394"/>
                  </a:lnTo>
                  <a:lnTo>
                    <a:pt x="2" y="394"/>
                  </a:lnTo>
                  <a:lnTo>
                    <a:pt x="4" y="396"/>
                  </a:lnTo>
                  <a:lnTo>
                    <a:pt x="6" y="396"/>
                  </a:lnTo>
                  <a:lnTo>
                    <a:pt x="8" y="396"/>
                  </a:lnTo>
                  <a:lnTo>
                    <a:pt x="10" y="396"/>
                  </a:lnTo>
                  <a:lnTo>
                    <a:pt x="12" y="396"/>
                  </a:lnTo>
                  <a:lnTo>
                    <a:pt x="12" y="396"/>
                  </a:lnTo>
                  <a:lnTo>
                    <a:pt x="16" y="396"/>
                  </a:lnTo>
                  <a:lnTo>
                    <a:pt x="20" y="396"/>
                  </a:lnTo>
                  <a:lnTo>
                    <a:pt x="24" y="396"/>
                  </a:lnTo>
                  <a:lnTo>
                    <a:pt x="30" y="394"/>
                  </a:lnTo>
                  <a:lnTo>
                    <a:pt x="34" y="394"/>
                  </a:lnTo>
                  <a:lnTo>
                    <a:pt x="38" y="392"/>
                  </a:lnTo>
                  <a:lnTo>
                    <a:pt x="44" y="390"/>
                  </a:lnTo>
                  <a:lnTo>
                    <a:pt x="48" y="388"/>
                  </a:lnTo>
                  <a:lnTo>
                    <a:pt x="52" y="388"/>
                  </a:lnTo>
                  <a:lnTo>
                    <a:pt x="62" y="384"/>
                  </a:lnTo>
                  <a:lnTo>
                    <a:pt x="68" y="382"/>
                  </a:lnTo>
                  <a:lnTo>
                    <a:pt x="72" y="380"/>
                  </a:lnTo>
                  <a:lnTo>
                    <a:pt x="76" y="378"/>
                  </a:lnTo>
                  <a:lnTo>
                    <a:pt x="80" y="374"/>
                  </a:lnTo>
                  <a:lnTo>
                    <a:pt x="86" y="372"/>
                  </a:lnTo>
                  <a:lnTo>
                    <a:pt x="90" y="370"/>
                  </a:lnTo>
                  <a:lnTo>
                    <a:pt x="94" y="366"/>
                  </a:lnTo>
                  <a:lnTo>
                    <a:pt x="106" y="360"/>
                  </a:lnTo>
                  <a:lnTo>
                    <a:pt x="114" y="352"/>
                  </a:lnTo>
                  <a:lnTo>
                    <a:pt x="124" y="346"/>
                  </a:lnTo>
                  <a:lnTo>
                    <a:pt x="132" y="338"/>
                  </a:lnTo>
                  <a:lnTo>
                    <a:pt x="140" y="334"/>
                  </a:lnTo>
                  <a:lnTo>
                    <a:pt x="142" y="332"/>
                  </a:lnTo>
                  <a:lnTo>
                    <a:pt x="144" y="330"/>
                  </a:lnTo>
                  <a:lnTo>
                    <a:pt x="146" y="328"/>
                  </a:lnTo>
                  <a:lnTo>
                    <a:pt x="148" y="326"/>
                  </a:lnTo>
                  <a:lnTo>
                    <a:pt x="150" y="324"/>
                  </a:lnTo>
                  <a:lnTo>
                    <a:pt x="152" y="322"/>
                  </a:lnTo>
                  <a:lnTo>
                    <a:pt x="158" y="318"/>
                  </a:lnTo>
                  <a:lnTo>
                    <a:pt x="160" y="316"/>
                  </a:lnTo>
                  <a:lnTo>
                    <a:pt x="164" y="316"/>
                  </a:lnTo>
                  <a:lnTo>
                    <a:pt x="170" y="312"/>
                  </a:lnTo>
                  <a:lnTo>
                    <a:pt x="172" y="312"/>
                  </a:lnTo>
                  <a:lnTo>
                    <a:pt x="174" y="310"/>
                  </a:lnTo>
                  <a:lnTo>
                    <a:pt x="176" y="310"/>
                  </a:lnTo>
                  <a:lnTo>
                    <a:pt x="176" y="308"/>
                  </a:lnTo>
                  <a:lnTo>
                    <a:pt x="178" y="308"/>
                  </a:lnTo>
                  <a:lnTo>
                    <a:pt x="178" y="306"/>
                  </a:lnTo>
                  <a:lnTo>
                    <a:pt x="178" y="306"/>
                  </a:lnTo>
                  <a:lnTo>
                    <a:pt x="180" y="304"/>
                  </a:lnTo>
                  <a:lnTo>
                    <a:pt x="180" y="304"/>
                  </a:lnTo>
                  <a:lnTo>
                    <a:pt x="178" y="304"/>
                  </a:lnTo>
                  <a:lnTo>
                    <a:pt x="178" y="302"/>
                  </a:lnTo>
                  <a:lnTo>
                    <a:pt x="178" y="300"/>
                  </a:lnTo>
                  <a:lnTo>
                    <a:pt x="176" y="298"/>
                  </a:lnTo>
                  <a:lnTo>
                    <a:pt x="176" y="296"/>
                  </a:lnTo>
                  <a:lnTo>
                    <a:pt x="176" y="294"/>
                  </a:lnTo>
                  <a:lnTo>
                    <a:pt x="174" y="294"/>
                  </a:lnTo>
                  <a:lnTo>
                    <a:pt x="174" y="292"/>
                  </a:lnTo>
                  <a:lnTo>
                    <a:pt x="176" y="292"/>
                  </a:lnTo>
                  <a:lnTo>
                    <a:pt x="176" y="290"/>
                  </a:lnTo>
                  <a:lnTo>
                    <a:pt x="176" y="288"/>
                  </a:lnTo>
                  <a:lnTo>
                    <a:pt x="178" y="288"/>
                  </a:lnTo>
                  <a:lnTo>
                    <a:pt x="178" y="286"/>
                  </a:lnTo>
                  <a:lnTo>
                    <a:pt x="180" y="284"/>
                  </a:lnTo>
                  <a:lnTo>
                    <a:pt x="182" y="284"/>
                  </a:lnTo>
                  <a:lnTo>
                    <a:pt x="186" y="280"/>
                  </a:lnTo>
                  <a:lnTo>
                    <a:pt x="192" y="276"/>
                  </a:lnTo>
                  <a:lnTo>
                    <a:pt x="196" y="274"/>
                  </a:lnTo>
                  <a:lnTo>
                    <a:pt x="196" y="272"/>
                  </a:lnTo>
                  <a:lnTo>
                    <a:pt x="198" y="272"/>
                  </a:lnTo>
                  <a:lnTo>
                    <a:pt x="200" y="270"/>
                  </a:lnTo>
                  <a:lnTo>
                    <a:pt x="200" y="268"/>
                  </a:lnTo>
                  <a:lnTo>
                    <a:pt x="204" y="264"/>
                  </a:lnTo>
                  <a:lnTo>
                    <a:pt x="210" y="252"/>
                  </a:lnTo>
                  <a:lnTo>
                    <a:pt x="214" y="248"/>
                  </a:lnTo>
                  <a:lnTo>
                    <a:pt x="216" y="246"/>
                  </a:lnTo>
                  <a:lnTo>
                    <a:pt x="218" y="244"/>
                  </a:lnTo>
                  <a:lnTo>
                    <a:pt x="220" y="242"/>
                  </a:lnTo>
                  <a:lnTo>
                    <a:pt x="222" y="240"/>
                  </a:lnTo>
                  <a:lnTo>
                    <a:pt x="224" y="238"/>
                  </a:lnTo>
                  <a:lnTo>
                    <a:pt x="224" y="238"/>
                  </a:lnTo>
                  <a:lnTo>
                    <a:pt x="226" y="238"/>
                  </a:lnTo>
                  <a:lnTo>
                    <a:pt x="226" y="238"/>
                  </a:lnTo>
                  <a:lnTo>
                    <a:pt x="228" y="236"/>
                  </a:lnTo>
                  <a:lnTo>
                    <a:pt x="230" y="236"/>
                  </a:lnTo>
                  <a:lnTo>
                    <a:pt x="232" y="236"/>
                  </a:lnTo>
                  <a:lnTo>
                    <a:pt x="236" y="238"/>
                  </a:lnTo>
                  <a:lnTo>
                    <a:pt x="238" y="238"/>
                  </a:lnTo>
                  <a:lnTo>
                    <a:pt x="240" y="238"/>
                  </a:lnTo>
                  <a:lnTo>
                    <a:pt x="242" y="238"/>
                  </a:lnTo>
                  <a:lnTo>
                    <a:pt x="242" y="238"/>
                  </a:lnTo>
                  <a:lnTo>
                    <a:pt x="244" y="240"/>
                  </a:lnTo>
                  <a:lnTo>
                    <a:pt x="246" y="240"/>
                  </a:lnTo>
                  <a:lnTo>
                    <a:pt x="248" y="240"/>
                  </a:lnTo>
                  <a:lnTo>
                    <a:pt x="248" y="242"/>
                  </a:lnTo>
                  <a:lnTo>
                    <a:pt x="250" y="242"/>
                  </a:lnTo>
                  <a:lnTo>
                    <a:pt x="250" y="244"/>
                  </a:lnTo>
                  <a:lnTo>
                    <a:pt x="250" y="244"/>
                  </a:lnTo>
                  <a:lnTo>
                    <a:pt x="250" y="246"/>
                  </a:lnTo>
                  <a:lnTo>
                    <a:pt x="250" y="246"/>
                  </a:lnTo>
                  <a:lnTo>
                    <a:pt x="248" y="248"/>
                  </a:lnTo>
                  <a:lnTo>
                    <a:pt x="248" y="248"/>
                  </a:lnTo>
                  <a:lnTo>
                    <a:pt x="246" y="250"/>
                  </a:lnTo>
                  <a:lnTo>
                    <a:pt x="246" y="250"/>
                  </a:lnTo>
                  <a:lnTo>
                    <a:pt x="244" y="252"/>
                  </a:lnTo>
                  <a:lnTo>
                    <a:pt x="242" y="252"/>
                  </a:lnTo>
                  <a:lnTo>
                    <a:pt x="238" y="254"/>
                  </a:lnTo>
                  <a:lnTo>
                    <a:pt x="236" y="256"/>
                  </a:lnTo>
                  <a:lnTo>
                    <a:pt x="232" y="258"/>
                  </a:lnTo>
                  <a:lnTo>
                    <a:pt x="224" y="260"/>
                  </a:lnTo>
                  <a:lnTo>
                    <a:pt x="222" y="262"/>
                  </a:lnTo>
                  <a:lnTo>
                    <a:pt x="218" y="264"/>
                  </a:lnTo>
                  <a:lnTo>
                    <a:pt x="216" y="266"/>
                  </a:lnTo>
                  <a:lnTo>
                    <a:pt x="214" y="266"/>
                  </a:lnTo>
                  <a:lnTo>
                    <a:pt x="214" y="268"/>
                  </a:lnTo>
                  <a:lnTo>
                    <a:pt x="214" y="268"/>
                  </a:lnTo>
                  <a:lnTo>
                    <a:pt x="212" y="270"/>
                  </a:lnTo>
                  <a:lnTo>
                    <a:pt x="212" y="270"/>
                  </a:lnTo>
                  <a:lnTo>
                    <a:pt x="212" y="272"/>
                  </a:lnTo>
                  <a:lnTo>
                    <a:pt x="212" y="272"/>
                  </a:lnTo>
                  <a:lnTo>
                    <a:pt x="212" y="272"/>
                  </a:lnTo>
                  <a:lnTo>
                    <a:pt x="212" y="274"/>
                  </a:lnTo>
                  <a:lnTo>
                    <a:pt x="214" y="274"/>
                  </a:lnTo>
                  <a:lnTo>
                    <a:pt x="214" y="276"/>
                  </a:lnTo>
                  <a:lnTo>
                    <a:pt x="216" y="278"/>
                  </a:lnTo>
                  <a:lnTo>
                    <a:pt x="218" y="278"/>
                  </a:lnTo>
                  <a:lnTo>
                    <a:pt x="218" y="280"/>
                  </a:lnTo>
                  <a:lnTo>
                    <a:pt x="218" y="280"/>
                  </a:lnTo>
                  <a:lnTo>
                    <a:pt x="218" y="280"/>
                  </a:lnTo>
                  <a:lnTo>
                    <a:pt x="218" y="280"/>
                  </a:lnTo>
                  <a:lnTo>
                    <a:pt x="218" y="282"/>
                  </a:lnTo>
                  <a:lnTo>
                    <a:pt x="216" y="282"/>
                  </a:lnTo>
                  <a:lnTo>
                    <a:pt x="216" y="282"/>
                  </a:lnTo>
                  <a:lnTo>
                    <a:pt x="214" y="284"/>
                  </a:lnTo>
                  <a:lnTo>
                    <a:pt x="212" y="284"/>
                  </a:lnTo>
                  <a:lnTo>
                    <a:pt x="210" y="284"/>
                  </a:lnTo>
                  <a:lnTo>
                    <a:pt x="210" y="286"/>
                  </a:lnTo>
                  <a:lnTo>
                    <a:pt x="208" y="286"/>
                  </a:lnTo>
                  <a:lnTo>
                    <a:pt x="208" y="286"/>
                  </a:lnTo>
                  <a:lnTo>
                    <a:pt x="208" y="288"/>
                  </a:lnTo>
                  <a:lnTo>
                    <a:pt x="208" y="288"/>
                  </a:lnTo>
                  <a:lnTo>
                    <a:pt x="208" y="288"/>
                  </a:lnTo>
                  <a:lnTo>
                    <a:pt x="208" y="290"/>
                  </a:lnTo>
                  <a:lnTo>
                    <a:pt x="208" y="290"/>
                  </a:lnTo>
                  <a:lnTo>
                    <a:pt x="210" y="290"/>
                  </a:lnTo>
                  <a:lnTo>
                    <a:pt x="210" y="292"/>
                  </a:lnTo>
                  <a:lnTo>
                    <a:pt x="212" y="292"/>
                  </a:lnTo>
                  <a:lnTo>
                    <a:pt x="214" y="294"/>
                  </a:lnTo>
                  <a:lnTo>
                    <a:pt x="216" y="294"/>
                  </a:lnTo>
                  <a:lnTo>
                    <a:pt x="220" y="296"/>
                  </a:lnTo>
                  <a:lnTo>
                    <a:pt x="220" y="296"/>
                  </a:lnTo>
                  <a:lnTo>
                    <a:pt x="222" y="296"/>
                  </a:lnTo>
                  <a:lnTo>
                    <a:pt x="224" y="296"/>
                  </a:lnTo>
                  <a:lnTo>
                    <a:pt x="224" y="296"/>
                  </a:lnTo>
                  <a:lnTo>
                    <a:pt x="226" y="296"/>
                  </a:lnTo>
                  <a:lnTo>
                    <a:pt x="228" y="296"/>
                  </a:lnTo>
                  <a:lnTo>
                    <a:pt x="228" y="296"/>
                  </a:lnTo>
                  <a:lnTo>
                    <a:pt x="230" y="294"/>
                  </a:lnTo>
                  <a:lnTo>
                    <a:pt x="230" y="294"/>
                  </a:lnTo>
                  <a:lnTo>
                    <a:pt x="232" y="294"/>
                  </a:lnTo>
                  <a:lnTo>
                    <a:pt x="234" y="292"/>
                  </a:lnTo>
                  <a:lnTo>
                    <a:pt x="236" y="290"/>
                  </a:lnTo>
                  <a:lnTo>
                    <a:pt x="240" y="288"/>
                  </a:lnTo>
                  <a:lnTo>
                    <a:pt x="242" y="284"/>
                  </a:lnTo>
                  <a:lnTo>
                    <a:pt x="244" y="282"/>
                  </a:lnTo>
                  <a:lnTo>
                    <a:pt x="248" y="278"/>
                  </a:lnTo>
                  <a:lnTo>
                    <a:pt x="252" y="272"/>
                  </a:lnTo>
                  <a:lnTo>
                    <a:pt x="252" y="270"/>
                  </a:lnTo>
                  <a:lnTo>
                    <a:pt x="254" y="270"/>
                  </a:lnTo>
                  <a:lnTo>
                    <a:pt x="256" y="268"/>
                  </a:lnTo>
                  <a:lnTo>
                    <a:pt x="258" y="268"/>
                  </a:lnTo>
                  <a:lnTo>
                    <a:pt x="262" y="266"/>
                  </a:lnTo>
                  <a:lnTo>
                    <a:pt x="264" y="266"/>
                  </a:lnTo>
                  <a:lnTo>
                    <a:pt x="264" y="264"/>
                  </a:lnTo>
                  <a:lnTo>
                    <a:pt x="266" y="264"/>
                  </a:lnTo>
                  <a:lnTo>
                    <a:pt x="266" y="264"/>
                  </a:lnTo>
                  <a:lnTo>
                    <a:pt x="268" y="262"/>
                  </a:lnTo>
                  <a:lnTo>
                    <a:pt x="268" y="262"/>
                  </a:lnTo>
                  <a:lnTo>
                    <a:pt x="268" y="262"/>
                  </a:lnTo>
                  <a:lnTo>
                    <a:pt x="268" y="260"/>
                  </a:lnTo>
                  <a:lnTo>
                    <a:pt x="268" y="256"/>
                  </a:lnTo>
                  <a:lnTo>
                    <a:pt x="268" y="254"/>
                  </a:lnTo>
                  <a:lnTo>
                    <a:pt x="268" y="252"/>
                  </a:lnTo>
                  <a:lnTo>
                    <a:pt x="268" y="250"/>
                  </a:lnTo>
                  <a:lnTo>
                    <a:pt x="268" y="248"/>
                  </a:lnTo>
                  <a:lnTo>
                    <a:pt x="268" y="248"/>
                  </a:lnTo>
                  <a:lnTo>
                    <a:pt x="270" y="248"/>
                  </a:lnTo>
                  <a:lnTo>
                    <a:pt x="270" y="246"/>
                  </a:lnTo>
                  <a:lnTo>
                    <a:pt x="270" y="246"/>
                  </a:lnTo>
                  <a:lnTo>
                    <a:pt x="272" y="244"/>
                  </a:lnTo>
                  <a:lnTo>
                    <a:pt x="274" y="244"/>
                  </a:lnTo>
                  <a:lnTo>
                    <a:pt x="276" y="242"/>
                  </a:lnTo>
                  <a:lnTo>
                    <a:pt x="278" y="242"/>
                  </a:lnTo>
                  <a:lnTo>
                    <a:pt x="282" y="240"/>
                  </a:lnTo>
                  <a:lnTo>
                    <a:pt x="282" y="240"/>
                  </a:lnTo>
                  <a:lnTo>
                    <a:pt x="284" y="240"/>
                  </a:lnTo>
                  <a:lnTo>
                    <a:pt x="286" y="240"/>
                  </a:lnTo>
                  <a:lnTo>
                    <a:pt x="286" y="240"/>
                  </a:lnTo>
                  <a:lnTo>
                    <a:pt x="288" y="240"/>
                  </a:lnTo>
                  <a:lnTo>
                    <a:pt x="288" y="240"/>
                  </a:lnTo>
                  <a:lnTo>
                    <a:pt x="288" y="240"/>
                  </a:lnTo>
                  <a:lnTo>
                    <a:pt x="290" y="240"/>
                  </a:lnTo>
                  <a:lnTo>
                    <a:pt x="290" y="242"/>
                  </a:lnTo>
                  <a:lnTo>
                    <a:pt x="290" y="244"/>
                  </a:lnTo>
                  <a:lnTo>
                    <a:pt x="290" y="244"/>
                  </a:lnTo>
                  <a:lnTo>
                    <a:pt x="290" y="246"/>
                  </a:lnTo>
                  <a:lnTo>
                    <a:pt x="292" y="248"/>
                  </a:lnTo>
                  <a:lnTo>
                    <a:pt x="292" y="250"/>
                  </a:lnTo>
                  <a:lnTo>
                    <a:pt x="292" y="250"/>
                  </a:lnTo>
                  <a:lnTo>
                    <a:pt x="292" y="250"/>
                  </a:lnTo>
                  <a:lnTo>
                    <a:pt x="292" y="250"/>
                  </a:lnTo>
                  <a:lnTo>
                    <a:pt x="294" y="250"/>
                  </a:lnTo>
                  <a:lnTo>
                    <a:pt x="296" y="250"/>
                  </a:lnTo>
                  <a:lnTo>
                    <a:pt x="298" y="250"/>
                  </a:lnTo>
                  <a:lnTo>
                    <a:pt x="300" y="250"/>
                  </a:lnTo>
                  <a:lnTo>
                    <a:pt x="302" y="250"/>
                  </a:lnTo>
                  <a:lnTo>
                    <a:pt x="304" y="250"/>
                  </a:lnTo>
                  <a:lnTo>
                    <a:pt x="304" y="250"/>
                  </a:lnTo>
                  <a:lnTo>
                    <a:pt x="304" y="250"/>
                  </a:lnTo>
                  <a:lnTo>
                    <a:pt x="306" y="250"/>
                  </a:lnTo>
                  <a:lnTo>
                    <a:pt x="306" y="252"/>
                  </a:lnTo>
                  <a:lnTo>
                    <a:pt x="306" y="252"/>
                  </a:lnTo>
                  <a:lnTo>
                    <a:pt x="306" y="252"/>
                  </a:lnTo>
                  <a:lnTo>
                    <a:pt x="306" y="254"/>
                  </a:lnTo>
                  <a:lnTo>
                    <a:pt x="306" y="254"/>
                  </a:lnTo>
                  <a:lnTo>
                    <a:pt x="306" y="256"/>
                  </a:lnTo>
                  <a:lnTo>
                    <a:pt x="306" y="258"/>
                  </a:lnTo>
                  <a:lnTo>
                    <a:pt x="306" y="260"/>
                  </a:lnTo>
                  <a:lnTo>
                    <a:pt x="306" y="262"/>
                  </a:lnTo>
                  <a:lnTo>
                    <a:pt x="306" y="262"/>
                  </a:lnTo>
                  <a:lnTo>
                    <a:pt x="306" y="262"/>
                  </a:lnTo>
                  <a:lnTo>
                    <a:pt x="306" y="264"/>
                  </a:lnTo>
                  <a:lnTo>
                    <a:pt x="306" y="264"/>
                  </a:lnTo>
                  <a:lnTo>
                    <a:pt x="306" y="264"/>
                  </a:lnTo>
                  <a:lnTo>
                    <a:pt x="308" y="266"/>
                  </a:lnTo>
                  <a:lnTo>
                    <a:pt x="308" y="266"/>
                  </a:lnTo>
                  <a:lnTo>
                    <a:pt x="310" y="266"/>
                  </a:lnTo>
                  <a:lnTo>
                    <a:pt x="312" y="266"/>
                  </a:lnTo>
                  <a:lnTo>
                    <a:pt x="314" y="268"/>
                  </a:lnTo>
                  <a:lnTo>
                    <a:pt x="318" y="268"/>
                  </a:lnTo>
                  <a:lnTo>
                    <a:pt x="320" y="268"/>
                  </a:lnTo>
                  <a:lnTo>
                    <a:pt x="324" y="268"/>
                  </a:lnTo>
                  <a:lnTo>
                    <a:pt x="328" y="266"/>
                  </a:lnTo>
                  <a:lnTo>
                    <a:pt x="334" y="266"/>
                  </a:lnTo>
                  <a:lnTo>
                    <a:pt x="340" y="266"/>
                  </a:lnTo>
                  <a:lnTo>
                    <a:pt x="344" y="266"/>
                  </a:lnTo>
                  <a:lnTo>
                    <a:pt x="346" y="266"/>
                  </a:lnTo>
                  <a:lnTo>
                    <a:pt x="348" y="266"/>
                  </a:lnTo>
                  <a:lnTo>
                    <a:pt x="350" y="266"/>
                  </a:lnTo>
                  <a:lnTo>
                    <a:pt x="352" y="268"/>
                  </a:lnTo>
                  <a:lnTo>
                    <a:pt x="354" y="268"/>
                  </a:lnTo>
                  <a:lnTo>
                    <a:pt x="354" y="270"/>
                  </a:lnTo>
                  <a:lnTo>
                    <a:pt x="354" y="270"/>
                  </a:lnTo>
                  <a:lnTo>
                    <a:pt x="356" y="270"/>
                  </a:lnTo>
                  <a:lnTo>
                    <a:pt x="356" y="272"/>
                  </a:lnTo>
                  <a:lnTo>
                    <a:pt x="356" y="272"/>
                  </a:lnTo>
                  <a:lnTo>
                    <a:pt x="356" y="274"/>
                  </a:lnTo>
                  <a:lnTo>
                    <a:pt x="356" y="276"/>
                  </a:lnTo>
                  <a:lnTo>
                    <a:pt x="356" y="278"/>
                  </a:lnTo>
                  <a:lnTo>
                    <a:pt x="356" y="278"/>
                  </a:lnTo>
                  <a:lnTo>
                    <a:pt x="356" y="280"/>
                  </a:lnTo>
                  <a:lnTo>
                    <a:pt x="358" y="280"/>
                  </a:lnTo>
                  <a:lnTo>
                    <a:pt x="358" y="280"/>
                  </a:lnTo>
                  <a:lnTo>
                    <a:pt x="358" y="280"/>
                  </a:lnTo>
                  <a:lnTo>
                    <a:pt x="360" y="280"/>
                  </a:lnTo>
                  <a:lnTo>
                    <a:pt x="362" y="280"/>
                  </a:lnTo>
                  <a:lnTo>
                    <a:pt x="364" y="280"/>
                  </a:lnTo>
                  <a:lnTo>
                    <a:pt x="366" y="282"/>
                  </a:lnTo>
                  <a:lnTo>
                    <a:pt x="368" y="282"/>
                  </a:lnTo>
                  <a:lnTo>
                    <a:pt x="370" y="282"/>
                  </a:lnTo>
                  <a:lnTo>
                    <a:pt x="370" y="282"/>
                  </a:lnTo>
                  <a:lnTo>
                    <a:pt x="372" y="282"/>
                  </a:lnTo>
                  <a:lnTo>
                    <a:pt x="372" y="282"/>
                  </a:lnTo>
                  <a:lnTo>
                    <a:pt x="372" y="284"/>
                  </a:lnTo>
                  <a:lnTo>
                    <a:pt x="372" y="284"/>
                  </a:lnTo>
                  <a:lnTo>
                    <a:pt x="372" y="286"/>
                  </a:lnTo>
                  <a:lnTo>
                    <a:pt x="372" y="286"/>
                  </a:lnTo>
                  <a:lnTo>
                    <a:pt x="372" y="288"/>
                  </a:lnTo>
                  <a:lnTo>
                    <a:pt x="374" y="290"/>
                  </a:lnTo>
                  <a:lnTo>
                    <a:pt x="374" y="292"/>
                  </a:lnTo>
                  <a:lnTo>
                    <a:pt x="374" y="294"/>
                  </a:lnTo>
                  <a:lnTo>
                    <a:pt x="374" y="294"/>
                  </a:lnTo>
                  <a:lnTo>
                    <a:pt x="374" y="294"/>
                  </a:lnTo>
                  <a:lnTo>
                    <a:pt x="374" y="294"/>
                  </a:lnTo>
                  <a:lnTo>
                    <a:pt x="376" y="294"/>
                  </a:lnTo>
                  <a:lnTo>
                    <a:pt x="376" y="294"/>
                  </a:lnTo>
                  <a:lnTo>
                    <a:pt x="378" y="294"/>
                  </a:lnTo>
                  <a:lnTo>
                    <a:pt x="380" y="294"/>
                  </a:lnTo>
                  <a:lnTo>
                    <a:pt x="382" y="294"/>
                  </a:lnTo>
                  <a:lnTo>
                    <a:pt x="384" y="292"/>
                  </a:lnTo>
                  <a:lnTo>
                    <a:pt x="384" y="292"/>
                  </a:lnTo>
                  <a:lnTo>
                    <a:pt x="386" y="292"/>
                  </a:lnTo>
                  <a:lnTo>
                    <a:pt x="386" y="292"/>
                  </a:lnTo>
                  <a:lnTo>
                    <a:pt x="386" y="294"/>
                  </a:lnTo>
                  <a:lnTo>
                    <a:pt x="386" y="294"/>
                  </a:lnTo>
                  <a:lnTo>
                    <a:pt x="386" y="294"/>
                  </a:lnTo>
                  <a:lnTo>
                    <a:pt x="388" y="296"/>
                  </a:lnTo>
                  <a:lnTo>
                    <a:pt x="388" y="298"/>
                  </a:lnTo>
                  <a:lnTo>
                    <a:pt x="388" y="300"/>
                  </a:lnTo>
                  <a:lnTo>
                    <a:pt x="388" y="302"/>
                  </a:lnTo>
                  <a:lnTo>
                    <a:pt x="390" y="302"/>
                  </a:lnTo>
                  <a:lnTo>
                    <a:pt x="390" y="304"/>
                  </a:lnTo>
                  <a:lnTo>
                    <a:pt x="392" y="306"/>
                  </a:lnTo>
                  <a:lnTo>
                    <a:pt x="392" y="306"/>
                  </a:lnTo>
                  <a:lnTo>
                    <a:pt x="394" y="308"/>
                  </a:lnTo>
                  <a:lnTo>
                    <a:pt x="396" y="308"/>
                  </a:lnTo>
                  <a:lnTo>
                    <a:pt x="398" y="308"/>
                  </a:lnTo>
                  <a:lnTo>
                    <a:pt x="400" y="310"/>
                  </a:lnTo>
                  <a:lnTo>
                    <a:pt x="400" y="310"/>
                  </a:lnTo>
                  <a:lnTo>
                    <a:pt x="400" y="310"/>
                  </a:lnTo>
                  <a:lnTo>
                    <a:pt x="402" y="310"/>
                  </a:lnTo>
                  <a:lnTo>
                    <a:pt x="402" y="308"/>
                  </a:lnTo>
                  <a:lnTo>
                    <a:pt x="402" y="308"/>
                  </a:lnTo>
                  <a:lnTo>
                    <a:pt x="402" y="308"/>
                  </a:lnTo>
                  <a:lnTo>
                    <a:pt x="404" y="306"/>
                  </a:lnTo>
                  <a:lnTo>
                    <a:pt x="404" y="304"/>
                  </a:lnTo>
                  <a:lnTo>
                    <a:pt x="404" y="302"/>
                  </a:lnTo>
                  <a:lnTo>
                    <a:pt x="406" y="300"/>
                  </a:lnTo>
                  <a:lnTo>
                    <a:pt x="406" y="300"/>
                  </a:lnTo>
                  <a:lnTo>
                    <a:pt x="406" y="300"/>
                  </a:lnTo>
                  <a:lnTo>
                    <a:pt x="406" y="300"/>
                  </a:lnTo>
                  <a:lnTo>
                    <a:pt x="408" y="300"/>
                  </a:lnTo>
                  <a:lnTo>
                    <a:pt x="408" y="300"/>
                  </a:lnTo>
                  <a:lnTo>
                    <a:pt x="408" y="300"/>
                  </a:lnTo>
                  <a:lnTo>
                    <a:pt x="408" y="300"/>
                  </a:lnTo>
                  <a:lnTo>
                    <a:pt x="408" y="300"/>
                  </a:lnTo>
                  <a:lnTo>
                    <a:pt x="410" y="302"/>
                  </a:lnTo>
                  <a:lnTo>
                    <a:pt x="410" y="304"/>
                  </a:lnTo>
                  <a:lnTo>
                    <a:pt x="412" y="306"/>
                  </a:lnTo>
                  <a:lnTo>
                    <a:pt x="412" y="308"/>
                  </a:lnTo>
                  <a:lnTo>
                    <a:pt x="414" y="310"/>
                  </a:lnTo>
                  <a:lnTo>
                    <a:pt x="416" y="310"/>
                  </a:lnTo>
                  <a:lnTo>
                    <a:pt x="418" y="312"/>
                  </a:lnTo>
                  <a:lnTo>
                    <a:pt x="418" y="314"/>
                  </a:lnTo>
                  <a:lnTo>
                    <a:pt x="420" y="314"/>
                  </a:lnTo>
                  <a:lnTo>
                    <a:pt x="422" y="314"/>
                  </a:lnTo>
                  <a:lnTo>
                    <a:pt x="422" y="314"/>
                  </a:lnTo>
                  <a:lnTo>
                    <a:pt x="422" y="314"/>
                  </a:lnTo>
                  <a:lnTo>
                    <a:pt x="424" y="314"/>
                  </a:lnTo>
                  <a:lnTo>
                    <a:pt x="424" y="312"/>
                  </a:lnTo>
                  <a:lnTo>
                    <a:pt x="426" y="310"/>
                  </a:lnTo>
                  <a:lnTo>
                    <a:pt x="426" y="310"/>
                  </a:lnTo>
                  <a:lnTo>
                    <a:pt x="428" y="310"/>
                  </a:lnTo>
                  <a:lnTo>
                    <a:pt x="428" y="310"/>
                  </a:lnTo>
                  <a:lnTo>
                    <a:pt x="428" y="310"/>
                  </a:lnTo>
                  <a:lnTo>
                    <a:pt x="430" y="310"/>
                  </a:lnTo>
                  <a:lnTo>
                    <a:pt x="430" y="310"/>
                  </a:lnTo>
                  <a:lnTo>
                    <a:pt x="432" y="310"/>
                  </a:lnTo>
                  <a:lnTo>
                    <a:pt x="432" y="310"/>
                  </a:lnTo>
                  <a:lnTo>
                    <a:pt x="434" y="312"/>
                  </a:lnTo>
                  <a:lnTo>
                    <a:pt x="434" y="312"/>
                  </a:lnTo>
                  <a:lnTo>
                    <a:pt x="434" y="312"/>
                  </a:lnTo>
                  <a:lnTo>
                    <a:pt x="434" y="314"/>
                  </a:lnTo>
                  <a:lnTo>
                    <a:pt x="434" y="314"/>
                  </a:lnTo>
                  <a:lnTo>
                    <a:pt x="432" y="316"/>
                  </a:lnTo>
                  <a:lnTo>
                    <a:pt x="432" y="318"/>
                  </a:lnTo>
                  <a:lnTo>
                    <a:pt x="432" y="322"/>
                  </a:lnTo>
                  <a:lnTo>
                    <a:pt x="432" y="324"/>
                  </a:lnTo>
                  <a:lnTo>
                    <a:pt x="432" y="326"/>
                  </a:lnTo>
                  <a:lnTo>
                    <a:pt x="432" y="328"/>
                  </a:lnTo>
                  <a:lnTo>
                    <a:pt x="432" y="330"/>
                  </a:lnTo>
                  <a:lnTo>
                    <a:pt x="432" y="330"/>
                  </a:lnTo>
                  <a:lnTo>
                    <a:pt x="432" y="332"/>
                  </a:lnTo>
                  <a:lnTo>
                    <a:pt x="434" y="332"/>
                  </a:lnTo>
                  <a:lnTo>
                    <a:pt x="434" y="334"/>
                  </a:lnTo>
                  <a:lnTo>
                    <a:pt x="436" y="336"/>
                  </a:lnTo>
                  <a:lnTo>
                    <a:pt x="438" y="338"/>
                  </a:lnTo>
                  <a:lnTo>
                    <a:pt x="438" y="338"/>
                  </a:lnTo>
                  <a:lnTo>
                    <a:pt x="440" y="338"/>
                  </a:lnTo>
                  <a:lnTo>
                    <a:pt x="440" y="338"/>
                  </a:lnTo>
                  <a:lnTo>
                    <a:pt x="444" y="338"/>
                  </a:lnTo>
                  <a:lnTo>
                    <a:pt x="444" y="338"/>
                  </a:lnTo>
                  <a:lnTo>
                    <a:pt x="446" y="338"/>
                  </a:lnTo>
                  <a:lnTo>
                    <a:pt x="446" y="338"/>
                  </a:lnTo>
                  <a:lnTo>
                    <a:pt x="448" y="340"/>
                  </a:lnTo>
                  <a:lnTo>
                    <a:pt x="448" y="340"/>
                  </a:lnTo>
                  <a:lnTo>
                    <a:pt x="448" y="340"/>
                  </a:lnTo>
                  <a:lnTo>
                    <a:pt x="448" y="340"/>
                  </a:lnTo>
                  <a:lnTo>
                    <a:pt x="448" y="342"/>
                  </a:lnTo>
                  <a:lnTo>
                    <a:pt x="448" y="344"/>
                  </a:lnTo>
                  <a:lnTo>
                    <a:pt x="448" y="346"/>
                  </a:lnTo>
                  <a:lnTo>
                    <a:pt x="448" y="346"/>
                  </a:lnTo>
                  <a:lnTo>
                    <a:pt x="448" y="348"/>
                  </a:lnTo>
                  <a:lnTo>
                    <a:pt x="448" y="350"/>
                  </a:lnTo>
                  <a:lnTo>
                    <a:pt x="448" y="350"/>
                  </a:lnTo>
                  <a:lnTo>
                    <a:pt x="448" y="350"/>
                  </a:lnTo>
                  <a:lnTo>
                    <a:pt x="448" y="352"/>
                  </a:lnTo>
                  <a:lnTo>
                    <a:pt x="450" y="352"/>
                  </a:lnTo>
                  <a:lnTo>
                    <a:pt x="450" y="354"/>
                  </a:lnTo>
                  <a:lnTo>
                    <a:pt x="452" y="354"/>
                  </a:lnTo>
                  <a:lnTo>
                    <a:pt x="454" y="356"/>
                  </a:lnTo>
                  <a:lnTo>
                    <a:pt x="456" y="356"/>
                  </a:lnTo>
                  <a:lnTo>
                    <a:pt x="458" y="358"/>
                  </a:lnTo>
                  <a:lnTo>
                    <a:pt x="460" y="358"/>
                  </a:lnTo>
                  <a:lnTo>
                    <a:pt x="462" y="358"/>
                  </a:lnTo>
                  <a:lnTo>
                    <a:pt x="466" y="358"/>
                  </a:lnTo>
                  <a:lnTo>
                    <a:pt x="470" y="358"/>
                  </a:lnTo>
                  <a:lnTo>
                    <a:pt x="472" y="356"/>
                  </a:lnTo>
                  <a:lnTo>
                    <a:pt x="474" y="354"/>
                  </a:lnTo>
                  <a:lnTo>
                    <a:pt x="476" y="354"/>
                  </a:lnTo>
                  <a:lnTo>
                    <a:pt x="478" y="352"/>
                  </a:lnTo>
                  <a:lnTo>
                    <a:pt x="480" y="350"/>
                  </a:lnTo>
                  <a:lnTo>
                    <a:pt x="480" y="350"/>
                  </a:lnTo>
                  <a:lnTo>
                    <a:pt x="480" y="348"/>
                  </a:lnTo>
                  <a:lnTo>
                    <a:pt x="480" y="348"/>
                  </a:lnTo>
                  <a:lnTo>
                    <a:pt x="480" y="346"/>
                  </a:lnTo>
                  <a:lnTo>
                    <a:pt x="480" y="346"/>
                  </a:lnTo>
                  <a:lnTo>
                    <a:pt x="480" y="346"/>
                  </a:lnTo>
                  <a:lnTo>
                    <a:pt x="478" y="346"/>
                  </a:lnTo>
                  <a:lnTo>
                    <a:pt x="476" y="344"/>
                  </a:lnTo>
                  <a:lnTo>
                    <a:pt x="476" y="344"/>
                  </a:lnTo>
                  <a:lnTo>
                    <a:pt x="474" y="344"/>
                  </a:lnTo>
                  <a:lnTo>
                    <a:pt x="470" y="344"/>
                  </a:lnTo>
                  <a:lnTo>
                    <a:pt x="468" y="344"/>
                  </a:lnTo>
                  <a:lnTo>
                    <a:pt x="464" y="344"/>
                  </a:lnTo>
                  <a:lnTo>
                    <a:pt x="464" y="344"/>
                  </a:lnTo>
                  <a:lnTo>
                    <a:pt x="462" y="344"/>
                  </a:lnTo>
                  <a:lnTo>
                    <a:pt x="460" y="342"/>
                  </a:lnTo>
                  <a:lnTo>
                    <a:pt x="460" y="342"/>
                  </a:lnTo>
                  <a:lnTo>
                    <a:pt x="460" y="340"/>
                  </a:lnTo>
                  <a:lnTo>
                    <a:pt x="458" y="340"/>
                  </a:lnTo>
                  <a:lnTo>
                    <a:pt x="458" y="338"/>
                  </a:lnTo>
                  <a:lnTo>
                    <a:pt x="458" y="338"/>
                  </a:lnTo>
                  <a:lnTo>
                    <a:pt x="458" y="334"/>
                  </a:lnTo>
                  <a:lnTo>
                    <a:pt x="458" y="330"/>
                  </a:lnTo>
                  <a:lnTo>
                    <a:pt x="458" y="326"/>
                  </a:lnTo>
                  <a:lnTo>
                    <a:pt x="456" y="324"/>
                  </a:lnTo>
                  <a:lnTo>
                    <a:pt x="456" y="322"/>
                  </a:lnTo>
                  <a:lnTo>
                    <a:pt x="456" y="320"/>
                  </a:lnTo>
                  <a:lnTo>
                    <a:pt x="456" y="320"/>
                  </a:lnTo>
                  <a:lnTo>
                    <a:pt x="454" y="318"/>
                  </a:lnTo>
                  <a:lnTo>
                    <a:pt x="454" y="318"/>
                  </a:lnTo>
                  <a:lnTo>
                    <a:pt x="454" y="316"/>
                  </a:lnTo>
                  <a:lnTo>
                    <a:pt x="452" y="316"/>
                  </a:lnTo>
                  <a:lnTo>
                    <a:pt x="448" y="316"/>
                  </a:lnTo>
                  <a:lnTo>
                    <a:pt x="448" y="314"/>
                  </a:lnTo>
                  <a:lnTo>
                    <a:pt x="448" y="314"/>
                  </a:lnTo>
                  <a:lnTo>
                    <a:pt x="446" y="314"/>
                  </a:lnTo>
                  <a:lnTo>
                    <a:pt x="446" y="312"/>
                  </a:lnTo>
                  <a:lnTo>
                    <a:pt x="446" y="310"/>
                  </a:lnTo>
                  <a:lnTo>
                    <a:pt x="446" y="308"/>
                  </a:lnTo>
                  <a:lnTo>
                    <a:pt x="446" y="306"/>
                  </a:lnTo>
                  <a:lnTo>
                    <a:pt x="444" y="300"/>
                  </a:lnTo>
                  <a:lnTo>
                    <a:pt x="444" y="298"/>
                  </a:lnTo>
                  <a:lnTo>
                    <a:pt x="444" y="298"/>
                  </a:lnTo>
                  <a:lnTo>
                    <a:pt x="444" y="296"/>
                  </a:lnTo>
                  <a:lnTo>
                    <a:pt x="442" y="294"/>
                  </a:lnTo>
                  <a:lnTo>
                    <a:pt x="440" y="290"/>
                  </a:lnTo>
                  <a:lnTo>
                    <a:pt x="438" y="286"/>
                  </a:lnTo>
                  <a:lnTo>
                    <a:pt x="434" y="284"/>
                  </a:lnTo>
                  <a:lnTo>
                    <a:pt x="432" y="280"/>
                  </a:lnTo>
                  <a:lnTo>
                    <a:pt x="428" y="278"/>
                  </a:lnTo>
                  <a:lnTo>
                    <a:pt x="426" y="274"/>
                  </a:lnTo>
                  <a:lnTo>
                    <a:pt x="424" y="274"/>
                  </a:lnTo>
                  <a:lnTo>
                    <a:pt x="422" y="272"/>
                  </a:lnTo>
                  <a:lnTo>
                    <a:pt x="420" y="272"/>
                  </a:lnTo>
                  <a:lnTo>
                    <a:pt x="418" y="272"/>
                  </a:lnTo>
                  <a:lnTo>
                    <a:pt x="416" y="272"/>
                  </a:lnTo>
                  <a:lnTo>
                    <a:pt x="416" y="272"/>
                  </a:lnTo>
                  <a:lnTo>
                    <a:pt x="414" y="272"/>
                  </a:lnTo>
                  <a:lnTo>
                    <a:pt x="414" y="272"/>
                  </a:lnTo>
                  <a:lnTo>
                    <a:pt x="414" y="272"/>
                  </a:lnTo>
                  <a:lnTo>
                    <a:pt x="412" y="272"/>
                  </a:lnTo>
                  <a:lnTo>
                    <a:pt x="412" y="274"/>
                  </a:lnTo>
                  <a:lnTo>
                    <a:pt x="412" y="274"/>
                  </a:lnTo>
                  <a:lnTo>
                    <a:pt x="412" y="276"/>
                  </a:lnTo>
                  <a:lnTo>
                    <a:pt x="412" y="278"/>
                  </a:lnTo>
                  <a:lnTo>
                    <a:pt x="412" y="280"/>
                  </a:lnTo>
                  <a:lnTo>
                    <a:pt x="412" y="280"/>
                  </a:lnTo>
                  <a:lnTo>
                    <a:pt x="412" y="282"/>
                  </a:lnTo>
                  <a:lnTo>
                    <a:pt x="410" y="282"/>
                  </a:lnTo>
                  <a:lnTo>
                    <a:pt x="410" y="282"/>
                  </a:lnTo>
                  <a:lnTo>
                    <a:pt x="410" y="282"/>
                  </a:lnTo>
                  <a:lnTo>
                    <a:pt x="408" y="282"/>
                  </a:lnTo>
                  <a:lnTo>
                    <a:pt x="408" y="282"/>
                  </a:lnTo>
                  <a:lnTo>
                    <a:pt x="406" y="282"/>
                  </a:lnTo>
                  <a:lnTo>
                    <a:pt x="406" y="282"/>
                  </a:lnTo>
                  <a:lnTo>
                    <a:pt x="404" y="282"/>
                  </a:lnTo>
                  <a:lnTo>
                    <a:pt x="402" y="282"/>
                  </a:lnTo>
                  <a:lnTo>
                    <a:pt x="402" y="282"/>
                  </a:lnTo>
                  <a:lnTo>
                    <a:pt x="402" y="282"/>
                  </a:lnTo>
                  <a:lnTo>
                    <a:pt x="402" y="282"/>
                  </a:lnTo>
                  <a:lnTo>
                    <a:pt x="402" y="282"/>
                  </a:lnTo>
                  <a:lnTo>
                    <a:pt x="400" y="284"/>
                  </a:lnTo>
                  <a:lnTo>
                    <a:pt x="400" y="284"/>
                  </a:lnTo>
                  <a:lnTo>
                    <a:pt x="400" y="286"/>
                  </a:lnTo>
                  <a:lnTo>
                    <a:pt x="400" y="288"/>
                  </a:lnTo>
                  <a:lnTo>
                    <a:pt x="400" y="288"/>
                  </a:lnTo>
                  <a:lnTo>
                    <a:pt x="398" y="290"/>
                  </a:lnTo>
                  <a:lnTo>
                    <a:pt x="398" y="290"/>
                  </a:lnTo>
                  <a:lnTo>
                    <a:pt x="398" y="290"/>
                  </a:lnTo>
                  <a:lnTo>
                    <a:pt x="398" y="290"/>
                  </a:lnTo>
                  <a:lnTo>
                    <a:pt x="396" y="290"/>
                  </a:lnTo>
                  <a:lnTo>
                    <a:pt x="396" y="290"/>
                  </a:lnTo>
                  <a:lnTo>
                    <a:pt x="394" y="290"/>
                  </a:lnTo>
                  <a:lnTo>
                    <a:pt x="394" y="288"/>
                  </a:lnTo>
                  <a:lnTo>
                    <a:pt x="392" y="288"/>
                  </a:lnTo>
                  <a:lnTo>
                    <a:pt x="390" y="286"/>
                  </a:lnTo>
                  <a:lnTo>
                    <a:pt x="388" y="284"/>
                  </a:lnTo>
                  <a:lnTo>
                    <a:pt x="386" y="284"/>
                  </a:lnTo>
                  <a:lnTo>
                    <a:pt x="386" y="282"/>
                  </a:lnTo>
                  <a:lnTo>
                    <a:pt x="386" y="280"/>
                  </a:lnTo>
                  <a:lnTo>
                    <a:pt x="384" y="280"/>
                  </a:lnTo>
                  <a:lnTo>
                    <a:pt x="384" y="278"/>
                  </a:lnTo>
                  <a:lnTo>
                    <a:pt x="384" y="274"/>
                  </a:lnTo>
                  <a:lnTo>
                    <a:pt x="384" y="272"/>
                  </a:lnTo>
                  <a:lnTo>
                    <a:pt x="384" y="270"/>
                  </a:lnTo>
                  <a:lnTo>
                    <a:pt x="384" y="266"/>
                  </a:lnTo>
                  <a:lnTo>
                    <a:pt x="382" y="264"/>
                  </a:lnTo>
                  <a:lnTo>
                    <a:pt x="382" y="264"/>
                  </a:lnTo>
                  <a:lnTo>
                    <a:pt x="382" y="262"/>
                  </a:lnTo>
                  <a:lnTo>
                    <a:pt x="380" y="262"/>
                  </a:lnTo>
                  <a:lnTo>
                    <a:pt x="380" y="260"/>
                  </a:lnTo>
                  <a:lnTo>
                    <a:pt x="378" y="258"/>
                  </a:lnTo>
                  <a:lnTo>
                    <a:pt x="378" y="258"/>
                  </a:lnTo>
                  <a:lnTo>
                    <a:pt x="376" y="258"/>
                  </a:lnTo>
                  <a:lnTo>
                    <a:pt x="376" y="258"/>
                  </a:lnTo>
                  <a:lnTo>
                    <a:pt x="374" y="258"/>
                  </a:lnTo>
                  <a:lnTo>
                    <a:pt x="374" y="258"/>
                  </a:lnTo>
                  <a:lnTo>
                    <a:pt x="372" y="258"/>
                  </a:lnTo>
                  <a:lnTo>
                    <a:pt x="370" y="260"/>
                  </a:lnTo>
                  <a:lnTo>
                    <a:pt x="368" y="260"/>
                  </a:lnTo>
                  <a:lnTo>
                    <a:pt x="364" y="262"/>
                  </a:lnTo>
                  <a:lnTo>
                    <a:pt x="364" y="262"/>
                  </a:lnTo>
                  <a:lnTo>
                    <a:pt x="428" y="42"/>
                  </a:lnTo>
                  <a:lnTo>
                    <a:pt x="426" y="40"/>
                  </a:lnTo>
                  <a:lnTo>
                    <a:pt x="422" y="34"/>
                  </a:lnTo>
                  <a:lnTo>
                    <a:pt x="420" y="32"/>
                  </a:lnTo>
                  <a:lnTo>
                    <a:pt x="416" y="30"/>
                  </a:lnTo>
                  <a:lnTo>
                    <a:pt x="414" y="28"/>
                  </a:lnTo>
                  <a:lnTo>
                    <a:pt x="414" y="28"/>
                  </a:lnTo>
                  <a:lnTo>
                    <a:pt x="412" y="28"/>
                  </a:lnTo>
                  <a:lnTo>
                    <a:pt x="410" y="28"/>
                  </a:lnTo>
                  <a:lnTo>
                    <a:pt x="408" y="26"/>
                  </a:lnTo>
                  <a:lnTo>
                    <a:pt x="406" y="26"/>
                  </a:lnTo>
                  <a:lnTo>
                    <a:pt x="404" y="26"/>
                  </a:lnTo>
                  <a:lnTo>
                    <a:pt x="402" y="26"/>
                  </a:lnTo>
                  <a:lnTo>
                    <a:pt x="400" y="28"/>
                  </a:lnTo>
                  <a:lnTo>
                    <a:pt x="394" y="28"/>
                  </a:lnTo>
                  <a:lnTo>
                    <a:pt x="384" y="30"/>
                  </a:lnTo>
                  <a:lnTo>
                    <a:pt x="380" y="30"/>
                  </a:lnTo>
                  <a:lnTo>
                    <a:pt x="376" y="32"/>
                  </a:lnTo>
                  <a:lnTo>
                    <a:pt x="374" y="32"/>
                  </a:lnTo>
                  <a:lnTo>
                    <a:pt x="370" y="32"/>
                  </a:lnTo>
                  <a:lnTo>
                    <a:pt x="368" y="32"/>
                  </a:lnTo>
                  <a:lnTo>
                    <a:pt x="364" y="32"/>
                  </a:lnTo>
                  <a:lnTo>
                    <a:pt x="364" y="32"/>
                  </a:lnTo>
                  <a:lnTo>
                    <a:pt x="362" y="32"/>
                  </a:lnTo>
                  <a:lnTo>
                    <a:pt x="362" y="32"/>
                  </a:lnTo>
                  <a:lnTo>
                    <a:pt x="362" y="32"/>
                  </a:lnTo>
                  <a:lnTo>
                    <a:pt x="360" y="32"/>
                  </a:lnTo>
                  <a:lnTo>
                    <a:pt x="360" y="30"/>
                  </a:lnTo>
                  <a:lnTo>
                    <a:pt x="358" y="30"/>
                  </a:lnTo>
                  <a:lnTo>
                    <a:pt x="356" y="28"/>
                  </a:lnTo>
                  <a:lnTo>
                    <a:pt x="356" y="26"/>
                  </a:lnTo>
                  <a:lnTo>
                    <a:pt x="354" y="24"/>
                  </a:lnTo>
                  <a:lnTo>
                    <a:pt x="352" y="24"/>
                  </a:lnTo>
                  <a:lnTo>
                    <a:pt x="352" y="22"/>
                  </a:lnTo>
                  <a:lnTo>
                    <a:pt x="352" y="22"/>
                  </a:lnTo>
                  <a:lnTo>
                    <a:pt x="350" y="22"/>
                  </a:lnTo>
                  <a:lnTo>
                    <a:pt x="350" y="22"/>
                  </a:lnTo>
                  <a:lnTo>
                    <a:pt x="348" y="22"/>
                  </a:lnTo>
                  <a:lnTo>
                    <a:pt x="344" y="22"/>
                  </a:lnTo>
                  <a:lnTo>
                    <a:pt x="342" y="22"/>
                  </a:lnTo>
                  <a:lnTo>
                    <a:pt x="338" y="22"/>
                  </a:lnTo>
                  <a:lnTo>
                    <a:pt x="336" y="24"/>
                  </a:lnTo>
                  <a:lnTo>
                    <a:pt x="328" y="24"/>
                  </a:lnTo>
                  <a:lnTo>
                    <a:pt x="322" y="26"/>
                  </a:lnTo>
                  <a:lnTo>
                    <a:pt x="320" y="26"/>
                  </a:lnTo>
                  <a:lnTo>
                    <a:pt x="316" y="28"/>
                  </a:lnTo>
                  <a:lnTo>
                    <a:pt x="314" y="28"/>
                  </a:lnTo>
                  <a:lnTo>
                    <a:pt x="310" y="28"/>
                  </a:lnTo>
                  <a:lnTo>
                    <a:pt x="308" y="26"/>
                  </a:lnTo>
                  <a:lnTo>
                    <a:pt x="308" y="26"/>
                  </a:lnTo>
                  <a:lnTo>
                    <a:pt x="306" y="26"/>
                  </a:lnTo>
                  <a:lnTo>
                    <a:pt x="306" y="26"/>
                  </a:lnTo>
                  <a:lnTo>
                    <a:pt x="304" y="24"/>
                  </a:lnTo>
                  <a:lnTo>
                    <a:pt x="304" y="24"/>
                  </a:lnTo>
                  <a:lnTo>
                    <a:pt x="302" y="22"/>
                  </a:lnTo>
                  <a:lnTo>
                    <a:pt x="300" y="18"/>
                  </a:lnTo>
                  <a:lnTo>
                    <a:pt x="298" y="16"/>
                  </a:lnTo>
                  <a:lnTo>
                    <a:pt x="298" y="12"/>
                  </a:lnTo>
                  <a:lnTo>
                    <a:pt x="296" y="10"/>
                  </a:lnTo>
                  <a:lnTo>
                    <a:pt x="296" y="10"/>
                  </a:lnTo>
                  <a:lnTo>
                    <a:pt x="294" y="8"/>
                  </a:lnTo>
                  <a:lnTo>
                    <a:pt x="294" y="6"/>
                  </a:lnTo>
                  <a:lnTo>
                    <a:pt x="292" y="6"/>
                  </a:lnTo>
                  <a:lnTo>
                    <a:pt x="292" y="6"/>
                  </a:lnTo>
                  <a:lnTo>
                    <a:pt x="290" y="6"/>
                  </a:lnTo>
                  <a:lnTo>
                    <a:pt x="290" y="6"/>
                  </a:lnTo>
                  <a:lnTo>
                    <a:pt x="288" y="6"/>
                  </a:lnTo>
                  <a:lnTo>
                    <a:pt x="288" y="8"/>
                  </a:lnTo>
                  <a:lnTo>
                    <a:pt x="286" y="10"/>
                  </a:lnTo>
                  <a:lnTo>
                    <a:pt x="284" y="12"/>
                  </a:lnTo>
                  <a:lnTo>
                    <a:pt x="282" y="14"/>
                  </a:lnTo>
                  <a:lnTo>
                    <a:pt x="280" y="16"/>
                  </a:lnTo>
                  <a:lnTo>
                    <a:pt x="278" y="16"/>
                  </a:lnTo>
                  <a:lnTo>
                    <a:pt x="278" y="18"/>
                  </a:lnTo>
                  <a:lnTo>
                    <a:pt x="276" y="18"/>
                  </a:lnTo>
                  <a:lnTo>
                    <a:pt x="276" y="18"/>
                  </a:lnTo>
                  <a:lnTo>
                    <a:pt x="274" y="20"/>
                  </a:lnTo>
                  <a:lnTo>
                    <a:pt x="270" y="20"/>
                  </a:lnTo>
                  <a:lnTo>
                    <a:pt x="268" y="20"/>
                  </a:lnTo>
                  <a:lnTo>
                    <a:pt x="264" y="20"/>
                  </a:lnTo>
                  <a:lnTo>
                    <a:pt x="262" y="20"/>
                  </a:lnTo>
                  <a:lnTo>
                    <a:pt x="258" y="18"/>
                  </a:lnTo>
                  <a:lnTo>
                    <a:pt x="258" y="18"/>
                  </a:lnTo>
                  <a:lnTo>
                    <a:pt x="256" y="18"/>
                  </a:lnTo>
                  <a:lnTo>
                    <a:pt x="256" y="16"/>
                  </a:lnTo>
                  <a:lnTo>
                    <a:pt x="254" y="16"/>
                  </a:lnTo>
                  <a:lnTo>
                    <a:pt x="254" y="16"/>
                  </a:lnTo>
                  <a:lnTo>
                    <a:pt x="254" y="14"/>
                  </a:lnTo>
                  <a:lnTo>
                    <a:pt x="254" y="14"/>
                  </a:lnTo>
                  <a:lnTo>
                    <a:pt x="254" y="14"/>
                  </a:lnTo>
                  <a:lnTo>
                    <a:pt x="254" y="12"/>
                  </a:lnTo>
                  <a:lnTo>
                    <a:pt x="254" y="10"/>
                  </a:lnTo>
                  <a:lnTo>
                    <a:pt x="254" y="8"/>
                  </a:lnTo>
                  <a:lnTo>
                    <a:pt x="254" y="6"/>
                  </a:lnTo>
                  <a:lnTo>
                    <a:pt x="254" y="4"/>
                  </a:lnTo>
                  <a:lnTo>
                    <a:pt x="254" y="4"/>
                  </a:lnTo>
                  <a:lnTo>
                    <a:pt x="254" y="2"/>
                  </a:lnTo>
                  <a:lnTo>
                    <a:pt x="254" y="2"/>
                  </a:lnTo>
                  <a:lnTo>
                    <a:pt x="252" y="2"/>
                  </a:lnTo>
                  <a:lnTo>
                    <a:pt x="252" y="2"/>
                  </a:lnTo>
                  <a:lnTo>
                    <a:pt x="250" y="0"/>
                  </a:lnTo>
                  <a:lnTo>
                    <a:pt x="248" y="0"/>
                  </a:lnTo>
                  <a:lnTo>
                    <a:pt x="246" y="0"/>
                  </a:lnTo>
                  <a:lnTo>
                    <a:pt x="246" y="0"/>
                  </a:lnTo>
                  <a:lnTo>
                    <a:pt x="244" y="0"/>
                  </a:lnTo>
                  <a:lnTo>
                    <a:pt x="24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5" name="Freeform 526"/>
            <p:cNvSpPr>
              <a:spLocks/>
            </p:cNvSpPr>
            <p:nvPr/>
          </p:nvSpPr>
          <p:spPr bwMode="auto">
            <a:xfrm>
              <a:off x="1279650" y="3170483"/>
              <a:ext cx="1409909" cy="789826"/>
            </a:xfrm>
            <a:custGeom>
              <a:avLst/>
              <a:gdLst>
                <a:gd name="T0" fmla="*/ 464 w 814"/>
                <a:gd name="T1" fmla="*/ 10 h 456"/>
                <a:gd name="T2" fmla="*/ 542 w 814"/>
                <a:gd name="T3" fmla="*/ 20 h 456"/>
                <a:gd name="T4" fmla="*/ 590 w 814"/>
                <a:gd name="T5" fmla="*/ 70 h 456"/>
                <a:gd name="T6" fmla="*/ 588 w 814"/>
                <a:gd name="T7" fmla="*/ 122 h 456"/>
                <a:gd name="T8" fmla="*/ 596 w 814"/>
                <a:gd name="T9" fmla="*/ 144 h 456"/>
                <a:gd name="T10" fmla="*/ 642 w 814"/>
                <a:gd name="T11" fmla="*/ 108 h 456"/>
                <a:gd name="T12" fmla="*/ 680 w 814"/>
                <a:gd name="T13" fmla="*/ 104 h 456"/>
                <a:gd name="T14" fmla="*/ 702 w 814"/>
                <a:gd name="T15" fmla="*/ 74 h 456"/>
                <a:gd name="T16" fmla="*/ 762 w 814"/>
                <a:gd name="T17" fmla="*/ 68 h 456"/>
                <a:gd name="T18" fmla="*/ 786 w 814"/>
                <a:gd name="T19" fmla="*/ 26 h 456"/>
                <a:gd name="T20" fmla="*/ 802 w 814"/>
                <a:gd name="T21" fmla="*/ 62 h 456"/>
                <a:gd name="T22" fmla="*/ 802 w 814"/>
                <a:gd name="T23" fmla="*/ 86 h 456"/>
                <a:gd name="T24" fmla="*/ 780 w 814"/>
                <a:gd name="T25" fmla="*/ 94 h 456"/>
                <a:gd name="T26" fmla="*/ 766 w 814"/>
                <a:gd name="T27" fmla="*/ 102 h 456"/>
                <a:gd name="T28" fmla="*/ 756 w 814"/>
                <a:gd name="T29" fmla="*/ 128 h 456"/>
                <a:gd name="T30" fmla="*/ 746 w 814"/>
                <a:gd name="T31" fmla="*/ 144 h 456"/>
                <a:gd name="T32" fmla="*/ 716 w 814"/>
                <a:gd name="T33" fmla="*/ 164 h 456"/>
                <a:gd name="T34" fmla="*/ 692 w 814"/>
                <a:gd name="T35" fmla="*/ 184 h 456"/>
                <a:gd name="T36" fmla="*/ 672 w 814"/>
                <a:gd name="T37" fmla="*/ 214 h 456"/>
                <a:gd name="T38" fmla="*/ 676 w 814"/>
                <a:gd name="T39" fmla="*/ 234 h 456"/>
                <a:gd name="T40" fmla="*/ 662 w 814"/>
                <a:gd name="T41" fmla="*/ 264 h 456"/>
                <a:gd name="T42" fmla="*/ 646 w 814"/>
                <a:gd name="T43" fmla="*/ 272 h 456"/>
                <a:gd name="T44" fmla="*/ 620 w 814"/>
                <a:gd name="T45" fmla="*/ 288 h 456"/>
                <a:gd name="T46" fmla="*/ 602 w 814"/>
                <a:gd name="T47" fmla="*/ 308 h 456"/>
                <a:gd name="T48" fmla="*/ 586 w 814"/>
                <a:gd name="T49" fmla="*/ 362 h 456"/>
                <a:gd name="T50" fmla="*/ 594 w 814"/>
                <a:gd name="T51" fmla="*/ 396 h 456"/>
                <a:gd name="T52" fmla="*/ 602 w 814"/>
                <a:gd name="T53" fmla="*/ 452 h 456"/>
                <a:gd name="T54" fmla="*/ 576 w 814"/>
                <a:gd name="T55" fmla="*/ 438 h 456"/>
                <a:gd name="T56" fmla="*/ 564 w 814"/>
                <a:gd name="T57" fmla="*/ 380 h 456"/>
                <a:gd name="T58" fmla="*/ 538 w 814"/>
                <a:gd name="T59" fmla="*/ 350 h 456"/>
                <a:gd name="T60" fmla="*/ 500 w 814"/>
                <a:gd name="T61" fmla="*/ 346 h 456"/>
                <a:gd name="T62" fmla="*/ 466 w 814"/>
                <a:gd name="T63" fmla="*/ 362 h 456"/>
                <a:gd name="T64" fmla="*/ 446 w 814"/>
                <a:gd name="T65" fmla="*/ 372 h 456"/>
                <a:gd name="T66" fmla="*/ 434 w 814"/>
                <a:gd name="T67" fmla="*/ 348 h 456"/>
                <a:gd name="T68" fmla="*/ 420 w 814"/>
                <a:gd name="T69" fmla="*/ 368 h 456"/>
                <a:gd name="T70" fmla="*/ 400 w 814"/>
                <a:gd name="T71" fmla="*/ 354 h 456"/>
                <a:gd name="T72" fmla="*/ 360 w 814"/>
                <a:gd name="T73" fmla="*/ 396 h 456"/>
                <a:gd name="T74" fmla="*/ 328 w 814"/>
                <a:gd name="T75" fmla="*/ 424 h 456"/>
                <a:gd name="T76" fmla="*/ 316 w 814"/>
                <a:gd name="T77" fmla="*/ 400 h 456"/>
                <a:gd name="T78" fmla="*/ 298 w 814"/>
                <a:gd name="T79" fmla="*/ 366 h 456"/>
                <a:gd name="T80" fmla="*/ 278 w 814"/>
                <a:gd name="T81" fmla="*/ 368 h 456"/>
                <a:gd name="T82" fmla="*/ 258 w 814"/>
                <a:gd name="T83" fmla="*/ 364 h 456"/>
                <a:gd name="T84" fmla="*/ 244 w 814"/>
                <a:gd name="T85" fmla="*/ 342 h 456"/>
                <a:gd name="T86" fmla="*/ 230 w 814"/>
                <a:gd name="T87" fmla="*/ 328 h 456"/>
                <a:gd name="T88" fmla="*/ 216 w 814"/>
                <a:gd name="T89" fmla="*/ 322 h 456"/>
                <a:gd name="T90" fmla="*/ 198 w 814"/>
                <a:gd name="T91" fmla="*/ 334 h 456"/>
                <a:gd name="T92" fmla="*/ 146 w 814"/>
                <a:gd name="T93" fmla="*/ 336 h 456"/>
                <a:gd name="T94" fmla="*/ 112 w 814"/>
                <a:gd name="T95" fmla="*/ 310 h 456"/>
                <a:gd name="T96" fmla="*/ 80 w 814"/>
                <a:gd name="T97" fmla="*/ 292 h 456"/>
                <a:gd name="T98" fmla="*/ 46 w 814"/>
                <a:gd name="T99" fmla="*/ 274 h 456"/>
                <a:gd name="T100" fmla="*/ 36 w 814"/>
                <a:gd name="T101" fmla="*/ 248 h 456"/>
                <a:gd name="T102" fmla="*/ 22 w 814"/>
                <a:gd name="T103" fmla="*/ 230 h 456"/>
                <a:gd name="T104" fmla="*/ 4 w 814"/>
                <a:gd name="T105" fmla="*/ 196 h 456"/>
                <a:gd name="T106" fmla="*/ 4 w 814"/>
                <a:gd name="T107" fmla="*/ 150 h 456"/>
                <a:gd name="T108" fmla="*/ 4 w 814"/>
                <a:gd name="T109" fmla="*/ 130 h 456"/>
                <a:gd name="T110" fmla="*/ 16 w 814"/>
                <a:gd name="T111" fmla="*/ 102 h 456"/>
                <a:gd name="T112" fmla="*/ 26 w 814"/>
                <a:gd name="T113" fmla="*/ 68 h 456"/>
                <a:gd name="T114" fmla="*/ 38 w 814"/>
                <a:gd name="T115" fmla="*/ 38 h 456"/>
                <a:gd name="T116" fmla="*/ 28 w 814"/>
                <a:gd name="T117" fmla="*/ 14 h 456"/>
                <a:gd name="T118" fmla="*/ 54 w 814"/>
                <a:gd name="T119" fmla="*/ 3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456">
                  <a:moveTo>
                    <a:pt x="58" y="2"/>
                  </a:moveTo>
                  <a:lnTo>
                    <a:pt x="442" y="0"/>
                  </a:lnTo>
                  <a:lnTo>
                    <a:pt x="440" y="2"/>
                  </a:lnTo>
                  <a:lnTo>
                    <a:pt x="440" y="4"/>
                  </a:lnTo>
                  <a:lnTo>
                    <a:pt x="440" y="6"/>
                  </a:lnTo>
                  <a:lnTo>
                    <a:pt x="440" y="8"/>
                  </a:lnTo>
                  <a:lnTo>
                    <a:pt x="440" y="10"/>
                  </a:lnTo>
                  <a:lnTo>
                    <a:pt x="440" y="10"/>
                  </a:lnTo>
                  <a:lnTo>
                    <a:pt x="440" y="10"/>
                  </a:lnTo>
                  <a:lnTo>
                    <a:pt x="440" y="10"/>
                  </a:lnTo>
                  <a:lnTo>
                    <a:pt x="442" y="12"/>
                  </a:lnTo>
                  <a:lnTo>
                    <a:pt x="444" y="12"/>
                  </a:lnTo>
                  <a:lnTo>
                    <a:pt x="444" y="12"/>
                  </a:lnTo>
                  <a:lnTo>
                    <a:pt x="446" y="12"/>
                  </a:lnTo>
                  <a:lnTo>
                    <a:pt x="448" y="12"/>
                  </a:lnTo>
                  <a:lnTo>
                    <a:pt x="452" y="12"/>
                  </a:lnTo>
                  <a:lnTo>
                    <a:pt x="456" y="12"/>
                  </a:lnTo>
                  <a:lnTo>
                    <a:pt x="460" y="10"/>
                  </a:lnTo>
                  <a:lnTo>
                    <a:pt x="464" y="10"/>
                  </a:lnTo>
                  <a:lnTo>
                    <a:pt x="464" y="10"/>
                  </a:lnTo>
                  <a:lnTo>
                    <a:pt x="466" y="10"/>
                  </a:lnTo>
                  <a:lnTo>
                    <a:pt x="470" y="10"/>
                  </a:lnTo>
                  <a:lnTo>
                    <a:pt x="476" y="10"/>
                  </a:lnTo>
                  <a:lnTo>
                    <a:pt x="486" y="12"/>
                  </a:lnTo>
                  <a:lnTo>
                    <a:pt x="498" y="14"/>
                  </a:lnTo>
                  <a:lnTo>
                    <a:pt x="502" y="14"/>
                  </a:lnTo>
                  <a:lnTo>
                    <a:pt x="506" y="14"/>
                  </a:lnTo>
                  <a:lnTo>
                    <a:pt x="508" y="14"/>
                  </a:lnTo>
                  <a:lnTo>
                    <a:pt x="512" y="14"/>
                  </a:lnTo>
                  <a:lnTo>
                    <a:pt x="520" y="14"/>
                  </a:lnTo>
                  <a:lnTo>
                    <a:pt x="522" y="12"/>
                  </a:lnTo>
                  <a:lnTo>
                    <a:pt x="526" y="12"/>
                  </a:lnTo>
                  <a:lnTo>
                    <a:pt x="530" y="14"/>
                  </a:lnTo>
                  <a:lnTo>
                    <a:pt x="530" y="14"/>
                  </a:lnTo>
                  <a:lnTo>
                    <a:pt x="532" y="14"/>
                  </a:lnTo>
                  <a:lnTo>
                    <a:pt x="532" y="14"/>
                  </a:lnTo>
                  <a:lnTo>
                    <a:pt x="534" y="14"/>
                  </a:lnTo>
                  <a:lnTo>
                    <a:pt x="536" y="16"/>
                  </a:lnTo>
                  <a:lnTo>
                    <a:pt x="540" y="18"/>
                  </a:lnTo>
                  <a:lnTo>
                    <a:pt x="542" y="20"/>
                  </a:lnTo>
                  <a:lnTo>
                    <a:pt x="548" y="26"/>
                  </a:lnTo>
                  <a:lnTo>
                    <a:pt x="550" y="28"/>
                  </a:lnTo>
                  <a:lnTo>
                    <a:pt x="552" y="28"/>
                  </a:lnTo>
                  <a:lnTo>
                    <a:pt x="554" y="30"/>
                  </a:lnTo>
                  <a:lnTo>
                    <a:pt x="558" y="32"/>
                  </a:lnTo>
                  <a:lnTo>
                    <a:pt x="564" y="34"/>
                  </a:lnTo>
                  <a:lnTo>
                    <a:pt x="568" y="36"/>
                  </a:lnTo>
                  <a:lnTo>
                    <a:pt x="570" y="38"/>
                  </a:lnTo>
                  <a:lnTo>
                    <a:pt x="574" y="40"/>
                  </a:lnTo>
                  <a:lnTo>
                    <a:pt x="574" y="40"/>
                  </a:lnTo>
                  <a:lnTo>
                    <a:pt x="576" y="42"/>
                  </a:lnTo>
                  <a:lnTo>
                    <a:pt x="576" y="42"/>
                  </a:lnTo>
                  <a:lnTo>
                    <a:pt x="578" y="44"/>
                  </a:lnTo>
                  <a:lnTo>
                    <a:pt x="578" y="46"/>
                  </a:lnTo>
                  <a:lnTo>
                    <a:pt x="580" y="48"/>
                  </a:lnTo>
                  <a:lnTo>
                    <a:pt x="582" y="52"/>
                  </a:lnTo>
                  <a:lnTo>
                    <a:pt x="584" y="56"/>
                  </a:lnTo>
                  <a:lnTo>
                    <a:pt x="588" y="64"/>
                  </a:lnTo>
                  <a:lnTo>
                    <a:pt x="590" y="68"/>
                  </a:lnTo>
                  <a:lnTo>
                    <a:pt x="590" y="70"/>
                  </a:lnTo>
                  <a:lnTo>
                    <a:pt x="592" y="74"/>
                  </a:lnTo>
                  <a:lnTo>
                    <a:pt x="594" y="78"/>
                  </a:lnTo>
                  <a:lnTo>
                    <a:pt x="596" y="80"/>
                  </a:lnTo>
                  <a:lnTo>
                    <a:pt x="600" y="84"/>
                  </a:lnTo>
                  <a:lnTo>
                    <a:pt x="602" y="88"/>
                  </a:lnTo>
                  <a:lnTo>
                    <a:pt x="602" y="90"/>
                  </a:lnTo>
                  <a:lnTo>
                    <a:pt x="604" y="92"/>
                  </a:lnTo>
                  <a:lnTo>
                    <a:pt x="604" y="94"/>
                  </a:lnTo>
                  <a:lnTo>
                    <a:pt x="604" y="96"/>
                  </a:lnTo>
                  <a:lnTo>
                    <a:pt x="604" y="98"/>
                  </a:lnTo>
                  <a:lnTo>
                    <a:pt x="604" y="100"/>
                  </a:lnTo>
                  <a:lnTo>
                    <a:pt x="604" y="100"/>
                  </a:lnTo>
                  <a:lnTo>
                    <a:pt x="604" y="102"/>
                  </a:lnTo>
                  <a:lnTo>
                    <a:pt x="604" y="104"/>
                  </a:lnTo>
                  <a:lnTo>
                    <a:pt x="602" y="106"/>
                  </a:lnTo>
                  <a:lnTo>
                    <a:pt x="602" y="108"/>
                  </a:lnTo>
                  <a:lnTo>
                    <a:pt x="600" y="110"/>
                  </a:lnTo>
                  <a:lnTo>
                    <a:pt x="598" y="112"/>
                  </a:lnTo>
                  <a:lnTo>
                    <a:pt x="592" y="120"/>
                  </a:lnTo>
                  <a:lnTo>
                    <a:pt x="588" y="122"/>
                  </a:lnTo>
                  <a:lnTo>
                    <a:pt x="588" y="124"/>
                  </a:lnTo>
                  <a:lnTo>
                    <a:pt x="586" y="126"/>
                  </a:lnTo>
                  <a:lnTo>
                    <a:pt x="584" y="128"/>
                  </a:lnTo>
                  <a:lnTo>
                    <a:pt x="582" y="130"/>
                  </a:lnTo>
                  <a:lnTo>
                    <a:pt x="580" y="132"/>
                  </a:lnTo>
                  <a:lnTo>
                    <a:pt x="580" y="134"/>
                  </a:lnTo>
                  <a:lnTo>
                    <a:pt x="580" y="134"/>
                  </a:lnTo>
                  <a:lnTo>
                    <a:pt x="580" y="134"/>
                  </a:lnTo>
                  <a:lnTo>
                    <a:pt x="580" y="136"/>
                  </a:lnTo>
                  <a:lnTo>
                    <a:pt x="580" y="136"/>
                  </a:lnTo>
                  <a:lnTo>
                    <a:pt x="580" y="138"/>
                  </a:lnTo>
                  <a:lnTo>
                    <a:pt x="580" y="138"/>
                  </a:lnTo>
                  <a:lnTo>
                    <a:pt x="582" y="138"/>
                  </a:lnTo>
                  <a:lnTo>
                    <a:pt x="582" y="140"/>
                  </a:lnTo>
                  <a:lnTo>
                    <a:pt x="584" y="140"/>
                  </a:lnTo>
                  <a:lnTo>
                    <a:pt x="586" y="142"/>
                  </a:lnTo>
                  <a:lnTo>
                    <a:pt x="588" y="142"/>
                  </a:lnTo>
                  <a:lnTo>
                    <a:pt x="588" y="142"/>
                  </a:lnTo>
                  <a:lnTo>
                    <a:pt x="592" y="144"/>
                  </a:lnTo>
                  <a:lnTo>
                    <a:pt x="596" y="144"/>
                  </a:lnTo>
                  <a:lnTo>
                    <a:pt x="598" y="144"/>
                  </a:lnTo>
                  <a:lnTo>
                    <a:pt x="600" y="144"/>
                  </a:lnTo>
                  <a:lnTo>
                    <a:pt x="600" y="144"/>
                  </a:lnTo>
                  <a:lnTo>
                    <a:pt x="602" y="144"/>
                  </a:lnTo>
                  <a:lnTo>
                    <a:pt x="604" y="144"/>
                  </a:lnTo>
                  <a:lnTo>
                    <a:pt x="606" y="142"/>
                  </a:lnTo>
                  <a:lnTo>
                    <a:pt x="610" y="140"/>
                  </a:lnTo>
                  <a:lnTo>
                    <a:pt x="612" y="140"/>
                  </a:lnTo>
                  <a:lnTo>
                    <a:pt x="614" y="138"/>
                  </a:lnTo>
                  <a:lnTo>
                    <a:pt x="618" y="132"/>
                  </a:lnTo>
                  <a:lnTo>
                    <a:pt x="622" y="128"/>
                  </a:lnTo>
                  <a:lnTo>
                    <a:pt x="626" y="124"/>
                  </a:lnTo>
                  <a:lnTo>
                    <a:pt x="630" y="120"/>
                  </a:lnTo>
                  <a:lnTo>
                    <a:pt x="630" y="118"/>
                  </a:lnTo>
                  <a:lnTo>
                    <a:pt x="632" y="118"/>
                  </a:lnTo>
                  <a:lnTo>
                    <a:pt x="634" y="116"/>
                  </a:lnTo>
                  <a:lnTo>
                    <a:pt x="634" y="114"/>
                  </a:lnTo>
                  <a:lnTo>
                    <a:pt x="638" y="110"/>
                  </a:lnTo>
                  <a:lnTo>
                    <a:pt x="640" y="110"/>
                  </a:lnTo>
                  <a:lnTo>
                    <a:pt x="642" y="108"/>
                  </a:lnTo>
                  <a:lnTo>
                    <a:pt x="644" y="106"/>
                  </a:lnTo>
                  <a:lnTo>
                    <a:pt x="644" y="106"/>
                  </a:lnTo>
                  <a:lnTo>
                    <a:pt x="644" y="106"/>
                  </a:lnTo>
                  <a:lnTo>
                    <a:pt x="646" y="106"/>
                  </a:lnTo>
                  <a:lnTo>
                    <a:pt x="648" y="106"/>
                  </a:lnTo>
                  <a:lnTo>
                    <a:pt x="650" y="106"/>
                  </a:lnTo>
                  <a:lnTo>
                    <a:pt x="652" y="106"/>
                  </a:lnTo>
                  <a:lnTo>
                    <a:pt x="656" y="106"/>
                  </a:lnTo>
                  <a:lnTo>
                    <a:pt x="662" y="108"/>
                  </a:lnTo>
                  <a:lnTo>
                    <a:pt x="666" y="108"/>
                  </a:lnTo>
                  <a:lnTo>
                    <a:pt x="668" y="108"/>
                  </a:lnTo>
                  <a:lnTo>
                    <a:pt x="670" y="108"/>
                  </a:lnTo>
                  <a:lnTo>
                    <a:pt x="672" y="108"/>
                  </a:lnTo>
                  <a:lnTo>
                    <a:pt x="674" y="108"/>
                  </a:lnTo>
                  <a:lnTo>
                    <a:pt x="676" y="108"/>
                  </a:lnTo>
                  <a:lnTo>
                    <a:pt x="676" y="108"/>
                  </a:lnTo>
                  <a:lnTo>
                    <a:pt x="678" y="106"/>
                  </a:lnTo>
                  <a:lnTo>
                    <a:pt x="678" y="106"/>
                  </a:lnTo>
                  <a:lnTo>
                    <a:pt x="678" y="106"/>
                  </a:lnTo>
                  <a:lnTo>
                    <a:pt x="680" y="104"/>
                  </a:lnTo>
                  <a:lnTo>
                    <a:pt x="680" y="102"/>
                  </a:lnTo>
                  <a:lnTo>
                    <a:pt x="680" y="100"/>
                  </a:lnTo>
                  <a:lnTo>
                    <a:pt x="682" y="96"/>
                  </a:lnTo>
                  <a:lnTo>
                    <a:pt x="682" y="94"/>
                  </a:lnTo>
                  <a:lnTo>
                    <a:pt x="682" y="90"/>
                  </a:lnTo>
                  <a:lnTo>
                    <a:pt x="682" y="88"/>
                  </a:lnTo>
                  <a:lnTo>
                    <a:pt x="684" y="86"/>
                  </a:lnTo>
                  <a:lnTo>
                    <a:pt x="684" y="86"/>
                  </a:lnTo>
                  <a:lnTo>
                    <a:pt x="684" y="84"/>
                  </a:lnTo>
                  <a:lnTo>
                    <a:pt x="686" y="82"/>
                  </a:lnTo>
                  <a:lnTo>
                    <a:pt x="688" y="80"/>
                  </a:lnTo>
                  <a:lnTo>
                    <a:pt x="688" y="80"/>
                  </a:lnTo>
                  <a:lnTo>
                    <a:pt x="690" y="78"/>
                  </a:lnTo>
                  <a:lnTo>
                    <a:pt x="692" y="76"/>
                  </a:lnTo>
                  <a:lnTo>
                    <a:pt x="694" y="76"/>
                  </a:lnTo>
                  <a:lnTo>
                    <a:pt x="696" y="74"/>
                  </a:lnTo>
                  <a:lnTo>
                    <a:pt x="696" y="74"/>
                  </a:lnTo>
                  <a:lnTo>
                    <a:pt x="698" y="74"/>
                  </a:lnTo>
                  <a:lnTo>
                    <a:pt x="700" y="74"/>
                  </a:lnTo>
                  <a:lnTo>
                    <a:pt x="702" y="74"/>
                  </a:lnTo>
                  <a:lnTo>
                    <a:pt x="704" y="74"/>
                  </a:lnTo>
                  <a:lnTo>
                    <a:pt x="708" y="74"/>
                  </a:lnTo>
                  <a:lnTo>
                    <a:pt x="712" y="74"/>
                  </a:lnTo>
                  <a:lnTo>
                    <a:pt x="716" y="74"/>
                  </a:lnTo>
                  <a:lnTo>
                    <a:pt x="724" y="76"/>
                  </a:lnTo>
                  <a:lnTo>
                    <a:pt x="734" y="78"/>
                  </a:lnTo>
                  <a:lnTo>
                    <a:pt x="738" y="78"/>
                  </a:lnTo>
                  <a:lnTo>
                    <a:pt x="742" y="80"/>
                  </a:lnTo>
                  <a:lnTo>
                    <a:pt x="746" y="80"/>
                  </a:lnTo>
                  <a:lnTo>
                    <a:pt x="748" y="80"/>
                  </a:lnTo>
                  <a:lnTo>
                    <a:pt x="750" y="80"/>
                  </a:lnTo>
                  <a:lnTo>
                    <a:pt x="752" y="78"/>
                  </a:lnTo>
                  <a:lnTo>
                    <a:pt x="754" y="78"/>
                  </a:lnTo>
                  <a:lnTo>
                    <a:pt x="754" y="78"/>
                  </a:lnTo>
                  <a:lnTo>
                    <a:pt x="754" y="78"/>
                  </a:lnTo>
                  <a:lnTo>
                    <a:pt x="756" y="78"/>
                  </a:lnTo>
                  <a:lnTo>
                    <a:pt x="758" y="76"/>
                  </a:lnTo>
                  <a:lnTo>
                    <a:pt x="758" y="74"/>
                  </a:lnTo>
                  <a:lnTo>
                    <a:pt x="760" y="72"/>
                  </a:lnTo>
                  <a:lnTo>
                    <a:pt x="762" y="68"/>
                  </a:lnTo>
                  <a:lnTo>
                    <a:pt x="764" y="64"/>
                  </a:lnTo>
                  <a:lnTo>
                    <a:pt x="766" y="62"/>
                  </a:lnTo>
                  <a:lnTo>
                    <a:pt x="768" y="58"/>
                  </a:lnTo>
                  <a:lnTo>
                    <a:pt x="770" y="54"/>
                  </a:lnTo>
                  <a:lnTo>
                    <a:pt x="772" y="50"/>
                  </a:lnTo>
                  <a:lnTo>
                    <a:pt x="772" y="50"/>
                  </a:lnTo>
                  <a:lnTo>
                    <a:pt x="772" y="48"/>
                  </a:lnTo>
                  <a:lnTo>
                    <a:pt x="774" y="44"/>
                  </a:lnTo>
                  <a:lnTo>
                    <a:pt x="776" y="38"/>
                  </a:lnTo>
                  <a:lnTo>
                    <a:pt x="776" y="34"/>
                  </a:lnTo>
                  <a:lnTo>
                    <a:pt x="776" y="32"/>
                  </a:lnTo>
                  <a:lnTo>
                    <a:pt x="778" y="30"/>
                  </a:lnTo>
                  <a:lnTo>
                    <a:pt x="778" y="30"/>
                  </a:lnTo>
                  <a:lnTo>
                    <a:pt x="778" y="28"/>
                  </a:lnTo>
                  <a:lnTo>
                    <a:pt x="780" y="28"/>
                  </a:lnTo>
                  <a:lnTo>
                    <a:pt x="780" y="26"/>
                  </a:lnTo>
                  <a:lnTo>
                    <a:pt x="782" y="26"/>
                  </a:lnTo>
                  <a:lnTo>
                    <a:pt x="782" y="26"/>
                  </a:lnTo>
                  <a:lnTo>
                    <a:pt x="784" y="26"/>
                  </a:lnTo>
                  <a:lnTo>
                    <a:pt x="786" y="26"/>
                  </a:lnTo>
                  <a:lnTo>
                    <a:pt x="788" y="26"/>
                  </a:lnTo>
                  <a:lnTo>
                    <a:pt x="792" y="26"/>
                  </a:lnTo>
                  <a:lnTo>
                    <a:pt x="794" y="26"/>
                  </a:lnTo>
                  <a:lnTo>
                    <a:pt x="796" y="28"/>
                  </a:lnTo>
                  <a:lnTo>
                    <a:pt x="798" y="28"/>
                  </a:lnTo>
                  <a:lnTo>
                    <a:pt x="800" y="28"/>
                  </a:lnTo>
                  <a:lnTo>
                    <a:pt x="800" y="30"/>
                  </a:lnTo>
                  <a:lnTo>
                    <a:pt x="800" y="30"/>
                  </a:lnTo>
                  <a:lnTo>
                    <a:pt x="802" y="30"/>
                  </a:lnTo>
                  <a:lnTo>
                    <a:pt x="802" y="32"/>
                  </a:lnTo>
                  <a:lnTo>
                    <a:pt x="802" y="32"/>
                  </a:lnTo>
                  <a:lnTo>
                    <a:pt x="802" y="34"/>
                  </a:lnTo>
                  <a:lnTo>
                    <a:pt x="804" y="36"/>
                  </a:lnTo>
                  <a:lnTo>
                    <a:pt x="804" y="38"/>
                  </a:lnTo>
                  <a:lnTo>
                    <a:pt x="804" y="42"/>
                  </a:lnTo>
                  <a:lnTo>
                    <a:pt x="804" y="44"/>
                  </a:lnTo>
                  <a:lnTo>
                    <a:pt x="802" y="50"/>
                  </a:lnTo>
                  <a:lnTo>
                    <a:pt x="802" y="56"/>
                  </a:lnTo>
                  <a:lnTo>
                    <a:pt x="802" y="58"/>
                  </a:lnTo>
                  <a:lnTo>
                    <a:pt x="802" y="62"/>
                  </a:lnTo>
                  <a:lnTo>
                    <a:pt x="802" y="64"/>
                  </a:lnTo>
                  <a:lnTo>
                    <a:pt x="802" y="66"/>
                  </a:lnTo>
                  <a:lnTo>
                    <a:pt x="802" y="68"/>
                  </a:lnTo>
                  <a:lnTo>
                    <a:pt x="802" y="70"/>
                  </a:lnTo>
                  <a:lnTo>
                    <a:pt x="804" y="70"/>
                  </a:lnTo>
                  <a:lnTo>
                    <a:pt x="804" y="72"/>
                  </a:lnTo>
                  <a:lnTo>
                    <a:pt x="804" y="72"/>
                  </a:lnTo>
                  <a:lnTo>
                    <a:pt x="806" y="72"/>
                  </a:lnTo>
                  <a:lnTo>
                    <a:pt x="808" y="74"/>
                  </a:lnTo>
                  <a:lnTo>
                    <a:pt x="808" y="74"/>
                  </a:lnTo>
                  <a:lnTo>
                    <a:pt x="812" y="76"/>
                  </a:lnTo>
                  <a:lnTo>
                    <a:pt x="814" y="76"/>
                  </a:lnTo>
                  <a:lnTo>
                    <a:pt x="812" y="78"/>
                  </a:lnTo>
                  <a:lnTo>
                    <a:pt x="810" y="80"/>
                  </a:lnTo>
                  <a:lnTo>
                    <a:pt x="808" y="82"/>
                  </a:lnTo>
                  <a:lnTo>
                    <a:pt x="808" y="84"/>
                  </a:lnTo>
                  <a:lnTo>
                    <a:pt x="806" y="84"/>
                  </a:lnTo>
                  <a:lnTo>
                    <a:pt x="804" y="86"/>
                  </a:lnTo>
                  <a:lnTo>
                    <a:pt x="804" y="86"/>
                  </a:lnTo>
                  <a:lnTo>
                    <a:pt x="802" y="86"/>
                  </a:lnTo>
                  <a:lnTo>
                    <a:pt x="800" y="86"/>
                  </a:lnTo>
                  <a:lnTo>
                    <a:pt x="798" y="86"/>
                  </a:lnTo>
                  <a:lnTo>
                    <a:pt x="796" y="86"/>
                  </a:lnTo>
                  <a:lnTo>
                    <a:pt x="794" y="86"/>
                  </a:lnTo>
                  <a:lnTo>
                    <a:pt x="794" y="86"/>
                  </a:lnTo>
                  <a:lnTo>
                    <a:pt x="792" y="86"/>
                  </a:lnTo>
                  <a:lnTo>
                    <a:pt x="792" y="86"/>
                  </a:lnTo>
                  <a:lnTo>
                    <a:pt x="792" y="88"/>
                  </a:lnTo>
                  <a:lnTo>
                    <a:pt x="790" y="88"/>
                  </a:lnTo>
                  <a:lnTo>
                    <a:pt x="788" y="92"/>
                  </a:lnTo>
                  <a:lnTo>
                    <a:pt x="788" y="92"/>
                  </a:lnTo>
                  <a:lnTo>
                    <a:pt x="788" y="94"/>
                  </a:lnTo>
                  <a:lnTo>
                    <a:pt x="786" y="96"/>
                  </a:lnTo>
                  <a:lnTo>
                    <a:pt x="786" y="96"/>
                  </a:lnTo>
                  <a:lnTo>
                    <a:pt x="786" y="96"/>
                  </a:lnTo>
                  <a:lnTo>
                    <a:pt x="786" y="96"/>
                  </a:lnTo>
                  <a:lnTo>
                    <a:pt x="784" y="96"/>
                  </a:lnTo>
                  <a:lnTo>
                    <a:pt x="784" y="96"/>
                  </a:lnTo>
                  <a:lnTo>
                    <a:pt x="782" y="96"/>
                  </a:lnTo>
                  <a:lnTo>
                    <a:pt x="780" y="94"/>
                  </a:lnTo>
                  <a:lnTo>
                    <a:pt x="780" y="94"/>
                  </a:lnTo>
                  <a:lnTo>
                    <a:pt x="778" y="94"/>
                  </a:lnTo>
                  <a:lnTo>
                    <a:pt x="776" y="94"/>
                  </a:lnTo>
                  <a:lnTo>
                    <a:pt x="776" y="94"/>
                  </a:lnTo>
                  <a:lnTo>
                    <a:pt x="776" y="94"/>
                  </a:lnTo>
                  <a:lnTo>
                    <a:pt x="776" y="94"/>
                  </a:lnTo>
                  <a:lnTo>
                    <a:pt x="776" y="96"/>
                  </a:lnTo>
                  <a:lnTo>
                    <a:pt x="774" y="96"/>
                  </a:lnTo>
                  <a:lnTo>
                    <a:pt x="774" y="96"/>
                  </a:lnTo>
                  <a:lnTo>
                    <a:pt x="774" y="98"/>
                  </a:lnTo>
                  <a:lnTo>
                    <a:pt x="774" y="100"/>
                  </a:lnTo>
                  <a:lnTo>
                    <a:pt x="774" y="102"/>
                  </a:lnTo>
                  <a:lnTo>
                    <a:pt x="774" y="102"/>
                  </a:lnTo>
                  <a:lnTo>
                    <a:pt x="774" y="102"/>
                  </a:lnTo>
                  <a:lnTo>
                    <a:pt x="772" y="102"/>
                  </a:lnTo>
                  <a:lnTo>
                    <a:pt x="772" y="102"/>
                  </a:lnTo>
                  <a:lnTo>
                    <a:pt x="770" y="102"/>
                  </a:lnTo>
                  <a:lnTo>
                    <a:pt x="770" y="102"/>
                  </a:lnTo>
                  <a:lnTo>
                    <a:pt x="768" y="102"/>
                  </a:lnTo>
                  <a:lnTo>
                    <a:pt x="766" y="102"/>
                  </a:lnTo>
                  <a:lnTo>
                    <a:pt x="764" y="102"/>
                  </a:lnTo>
                  <a:lnTo>
                    <a:pt x="762" y="102"/>
                  </a:lnTo>
                  <a:lnTo>
                    <a:pt x="762" y="102"/>
                  </a:lnTo>
                  <a:lnTo>
                    <a:pt x="762" y="102"/>
                  </a:lnTo>
                  <a:lnTo>
                    <a:pt x="762" y="102"/>
                  </a:lnTo>
                  <a:lnTo>
                    <a:pt x="760" y="102"/>
                  </a:lnTo>
                  <a:lnTo>
                    <a:pt x="760" y="104"/>
                  </a:lnTo>
                  <a:lnTo>
                    <a:pt x="760" y="106"/>
                  </a:lnTo>
                  <a:lnTo>
                    <a:pt x="758" y="108"/>
                  </a:lnTo>
                  <a:lnTo>
                    <a:pt x="758" y="112"/>
                  </a:lnTo>
                  <a:lnTo>
                    <a:pt x="756" y="114"/>
                  </a:lnTo>
                  <a:lnTo>
                    <a:pt x="756" y="118"/>
                  </a:lnTo>
                  <a:lnTo>
                    <a:pt x="754" y="120"/>
                  </a:lnTo>
                  <a:lnTo>
                    <a:pt x="754" y="122"/>
                  </a:lnTo>
                  <a:lnTo>
                    <a:pt x="754" y="124"/>
                  </a:lnTo>
                  <a:lnTo>
                    <a:pt x="754" y="124"/>
                  </a:lnTo>
                  <a:lnTo>
                    <a:pt x="754" y="126"/>
                  </a:lnTo>
                  <a:lnTo>
                    <a:pt x="754" y="126"/>
                  </a:lnTo>
                  <a:lnTo>
                    <a:pt x="754" y="128"/>
                  </a:lnTo>
                  <a:lnTo>
                    <a:pt x="756" y="128"/>
                  </a:lnTo>
                  <a:lnTo>
                    <a:pt x="758" y="130"/>
                  </a:lnTo>
                  <a:lnTo>
                    <a:pt x="760" y="130"/>
                  </a:lnTo>
                  <a:lnTo>
                    <a:pt x="762" y="132"/>
                  </a:lnTo>
                  <a:lnTo>
                    <a:pt x="764" y="134"/>
                  </a:lnTo>
                  <a:lnTo>
                    <a:pt x="764" y="134"/>
                  </a:lnTo>
                  <a:lnTo>
                    <a:pt x="764" y="134"/>
                  </a:lnTo>
                  <a:lnTo>
                    <a:pt x="764" y="136"/>
                  </a:lnTo>
                  <a:lnTo>
                    <a:pt x="764" y="136"/>
                  </a:lnTo>
                  <a:lnTo>
                    <a:pt x="764" y="136"/>
                  </a:lnTo>
                  <a:lnTo>
                    <a:pt x="764" y="138"/>
                  </a:lnTo>
                  <a:lnTo>
                    <a:pt x="764" y="138"/>
                  </a:lnTo>
                  <a:lnTo>
                    <a:pt x="762" y="138"/>
                  </a:lnTo>
                  <a:lnTo>
                    <a:pt x="762" y="140"/>
                  </a:lnTo>
                  <a:lnTo>
                    <a:pt x="760" y="140"/>
                  </a:lnTo>
                  <a:lnTo>
                    <a:pt x="758" y="142"/>
                  </a:lnTo>
                  <a:lnTo>
                    <a:pt x="756" y="142"/>
                  </a:lnTo>
                  <a:lnTo>
                    <a:pt x="752" y="144"/>
                  </a:lnTo>
                  <a:lnTo>
                    <a:pt x="750" y="144"/>
                  </a:lnTo>
                  <a:lnTo>
                    <a:pt x="750" y="144"/>
                  </a:lnTo>
                  <a:lnTo>
                    <a:pt x="746" y="144"/>
                  </a:lnTo>
                  <a:lnTo>
                    <a:pt x="742" y="144"/>
                  </a:lnTo>
                  <a:lnTo>
                    <a:pt x="738" y="144"/>
                  </a:lnTo>
                  <a:lnTo>
                    <a:pt x="734" y="144"/>
                  </a:lnTo>
                  <a:lnTo>
                    <a:pt x="730" y="144"/>
                  </a:lnTo>
                  <a:lnTo>
                    <a:pt x="730" y="144"/>
                  </a:lnTo>
                  <a:lnTo>
                    <a:pt x="728" y="144"/>
                  </a:lnTo>
                  <a:lnTo>
                    <a:pt x="726" y="146"/>
                  </a:lnTo>
                  <a:lnTo>
                    <a:pt x="726" y="146"/>
                  </a:lnTo>
                  <a:lnTo>
                    <a:pt x="724" y="146"/>
                  </a:lnTo>
                  <a:lnTo>
                    <a:pt x="724" y="146"/>
                  </a:lnTo>
                  <a:lnTo>
                    <a:pt x="724" y="148"/>
                  </a:lnTo>
                  <a:lnTo>
                    <a:pt x="724" y="150"/>
                  </a:lnTo>
                  <a:lnTo>
                    <a:pt x="722" y="152"/>
                  </a:lnTo>
                  <a:lnTo>
                    <a:pt x="722" y="154"/>
                  </a:lnTo>
                  <a:lnTo>
                    <a:pt x="720" y="156"/>
                  </a:lnTo>
                  <a:lnTo>
                    <a:pt x="720" y="158"/>
                  </a:lnTo>
                  <a:lnTo>
                    <a:pt x="720" y="160"/>
                  </a:lnTo>
                  <a:lnTo>
                    <a:pt x="718" y="162"/>
                  </a:lnTo>
                  <a:lnTo>
                    <a:pt x="716" y="164"/>
                  </a:lnTo>
                  <a:lnTo>
                    <a:pt x="716" y="164"/>
                  </a:lnTo>
                  <a:lnTo>
                    <a:pt x="716" y="164"/>
                  </a:lnTo>
                  <a:lnTo>
                    <a:pt x="714" y="166"/>
                  </a:lnTo>
                  <a:lnTo>
                    <a:pt x="714" y="166"/>
                  </a:lnTo>
                  <a:lnTo>
                    <a:pt x="712" y="166"/>
                  </a:lnTo>
                  <a:lnTo>
                    <a:pt x="710" y="166"/>
                  </a:lnTo>
                  <a:lnTo>
                    <a:pt x="708" y="166"/>
                  </a:lnTo>
                  <a:lnTo>
                    <a:pt x="706" y="166"/>
                  </a:lnTo>
                  <a:lnTo>
                    <a:pt x="704" y="166"/>
                  </a:lnTo>
                  <a:lnTo>
                    <a:pt x="702" y="166"/>
                  </a:lnTo>
                  <a:lnTo>
                    <a:pt x="700" y="168"/>
                  </a:lnTo>
                  <a:lnTo>
                    <a:pt x="700" y="168"/>
                  </a:lnTo>
                  <a:lnTo>
                    <a:pt x="700" y="168"/>
                  </a:lnTo>
                  <a:lnTo>
                    <a:pt x="698" y="170"/>
                  </a:lnTo>
                  <a:lnTo>
                    <a:pt x="696" y="170"/>
                  </a:lnTo>
                  <a:lnTo>
                    <a:pt x="696" y="172"/>
                  </a:lnTo>
                  <a:lnTo>
                    <a:pt x="694" y="176"/>
                  </a:lnTo>
                  <a:lnTo>
                    <a:pt x="692" y="178"/>
                  </a:lnTo>
                  <a:lnTo>
                    <a:pt x="692" y="178"/>
                  </a:lnTo>
                  <a:lnTo>
                    <a:pt x="692" y="180"/>
                  </a:lnTo>
                  <a:lnTo>
                    <a:pt x="692" y="184"/>
                  </a:lnTo>
                  <a:lnTo>
                    <a:pt x="692" y="186"/>
                  </a:lnTo>
                  <a:lnTo>
                    <a:pt x="692" y="190"/>
                  </a:lnTo>
                  <a:lnTo>
                    <a:pt x="692" y="194"/>
                  </a:lnTo>
                  <a:lnTo>
                    <a:pt x="690" y="198"/>
                  </a:lnTo>
                  <a:lnTo>
                    <a:pt x="690" y="198"/>
                  </a:lnTo>
                  <a:lnTo>
                    <a:pt x="690" y="200"/>
                  </a:lnTo>
                  <a:lnTo>
                    <a:pt x="690" y="202"/>
                  </a:lnTo>
                  <a:lnTo>
                    <a:pt x="688" y="202"/>
                  </a:lnTo>
                  <a:lnTo>
                    <a:pt x="688" y="204"/>
                  </a:lnTo>
                  <a:lnTo>
                    <a:pt x="688" y="204"/>
                  </a:lnTo>
                  <a:lnTo>
                    <a:pt x="688" y="204"/>
                  </a:lnTo>
                  <a:lnTo>
                    <a:pt x="686" y="204"/>
                  </a:lnTo>
                  <a:lnTo>
                    <a:pt x="684" y="204"/>
                  </a:lnTo>
                  <a:lnTo>
                    <a:pt x="682" y="206"/>
                  </a:lnTo>
                  <a:lnTo>
                    <a:pt x="680" y="206"/>
                  </a:lnTo>
                  <a:lnTo>
                    <a:pt x="678" y="206"/>
                  </a:lnTo>
                  <a:lnTo>
                    <a:pt x="678" y="208"/>
                  </a:lnTo>
                  <a:lnTo>
                    <a:pt x="678" y="208"/>
                  </a:lnTo>
                  <a:lnTo>
                    <a:pt x="676" y="210"/>
                  </a:lnTo>
                  <a:lnTo>
                    <a:pt x="672" y="214"/>
                  </a:lnTo>
                  <a:lnTo>
                    <a:pt x="670" y="216"/>
                  </a:lnTo>
                  <a:lnTo>
                    <a:pt x="668" y="218"/>
                  </a:lnTo>
                  <a:lnTo>
                    <a:pt x="668" y="220"/>
                  </a:lnTo>
                  <a:lnTo>
                    <a:pt x="666" y="220"/>
                  </a:lnTo>
                  <a:lnTo>
                    <a:pt x="666" y="222"/>
                  </a:lnTo>
                  <a:lnTo>
                    <a:pt x="666" y="222"/>
                  </a:lnTo>
                  <a:lnTo>
                    <a:pt x="666" y="222"/>
                  </a:lnTo>
                  <a:lnTo>
                    <a:pt x="666" y="224"/>
                  </a:lnTo>
                  <a:lnTo>
                    <a:pt x="666" y="224"/>
                  </a:lnTo>
                  <a:lnTo>
                    <a:pt x="668" y="224"/>
                  </a:lnTo>
                  <a:lnTo>
                    <a:pt x="668" y="226"/>
                  </a:lnTo>
                  <a:lnTo>
                    <a:pt x="670" y="226"/>
                  </a:lnTo>
                  <a:lnTo>
                    <a:pt x="672" y="226"/>
                  </a:lnTo>
                  <a:lnTo>
                    <a:pt x="674" y="228"/>
                  </a:lnTo>
                  <a:lnTo>
                    <a:pt x="674" y="228"/>
                  </a:lnTo>
                  <a:lnTo>
                    <a:pt x="674" y="228"/>
                  </a:lnTo>
                  <a:lnTo>
                    <a:pt x="674" y="230"/>
                  </a:lnTo>
                  <a:lnTo>
                    <a:pt x="674" y="230"/>
                  </a:lnTo>
                  <a:lnTo>
                    <a:pt x="676" y="232"/>
                  </a:lnTo>
                  <a:lnTo>
                    <a:pt x="676" y="234"/>
                  </a:lnTo>
                  <a:lnTo>
                    <a:pt x="676" y="236"/>
                  </a:lnTo>
                  <a:lnTo>
                    <a:pt x="676" y="238"/>
                  </a:lnTo>
                  <a:lnTo>
                    <a:pt x="676" y="244"/>
                  </a:lnTo>
                  <a:lnTo>
                    <a:pt x="676" y="248"/>
                  </a:lnTo>
                  <a:lnTo>
                    <a:pt x="676" y="250"/>
                  </a:lnTo>
                  <a:lnTo>
                    <a:pt x="674" y="252"/>
                  </a:lnTo>
                  <a:lnTo>
                    <a:pt x="674" y="254"/>
                  </a:lnTo>
                  <a:lnTo>
                    <a:pt x="674" y="256"/>
                  </a:lnTo>
                  <a:lnTo>
                    <a:pt x="674" y="256"/>
                  </a:lnTo>
                  <a:lnTo>
                    <a:pt x="672" y="258"/>
                  </a:lnTo>
                  <a:lnTo>
                    <a:pt x="672" y="258"/>
                  </a:lnTo>
                  <a:lnTo>
                    <a:pt x="672" y="258"/>
                  </a:lnTo>
                  <a:lnTo>
                    <a:pt x="670" y="260"/>
                  </a:lnTo>
                  <a:lnTo>
                    <a:pt x="670" y="260"/>
                  </a:lnTo>
                  <a:lnTo>
                    <a:pt x="668" y="260"/>
                  </a:lnTo>
                  <a:lnTo>
                    <a:pt x="666" y="262"/>
                  </a:lnTo>
                  <a:lnTo>
                    <a:pt x="664" y="262"/>
                  </a:lnTo>
                  <a:lnTo>
                    <a:pt x="664" y="262"/>
                  </a:lnTo>
                  <a:lnTo>
                    <a:pt x="662" y="262"/>
                  </a:lnTo>
                  <a:lnTo>
                    <a:pt x="662" y="264"/>
                  </a:lnTo>
                  <a:lnTo>
                    <a:pt x="662" y="264"/>
                  </a:lnTo>
                  <a:lnTo>
                    <a:pt x="662" y="264"/>
                  </a:lnTo>
                  <a:lnTo>
                    <a:pt x="662" y="266"/>
                  </a:lnTo>
                  <a:lnTo>
                    <a:pt x="662" y="268"/>
                  </a:lnTo>
                  <a:lnTo>
                    <a:pt x="662" y="270"/>
                  </a:lnTo>
                  <a:lnTo>
                    <a:pt x="662" y="270"/>
                  </a:lnTo>
                  <a:lnTo>
                    <a:pt x="660" y="272"/>
                  </a:lnTo>
                  <a:lnTo>
                    <a:pt x="660" y="274"/>
                  </a:lnTo>
                  <a:lnTo>
                    <a:pt x="660" y="274"/>
                  </a:lnTo>
                  <a:lnTo>
                    <a:pt x="660" y="274"/>
                  </a:lnTo>
                  <a:lnTo>
                    <a:pt x="660" y="274"/>
                  </a:lnTo>
                  <a:lnTo>
                    <a:pt x="658" y="276"/>
                  </a:lnTo>
                  <a:lnTo>
                    <a:pt x="658" y="276"/>
                  </a:lnTo>
                  <a:lnTo>
                    <a:pt x="656" y="276"/>
                  </a:lnTo>
                  <a:lnTo>
                    <a:pt x="654" y="274"/>
                  </a:lnTo>
                  <a:lnTo>
                    <a:pt x="652" y="274"/>
                  </a:lnTo>
                  <a:lnTo>
                    <a:pt x="650" y="274"/>
                  </a:lnTo>
                  <a:lnTo>
                    <a:pt x="648" y="274"/>
                  </a:lnTo>
                  <a:lnTo>
                    <a:pt x="646" y="272"/>
                  </a:lnTo>
                  <a:lnTo>
                    <a:pt x="646" y="272"/>
                  </a:lnTo>
                  <a:lnTo>
                    <a:pt x="644" y="274"/>
                  </a:lnTo>
                  <a:lnTo>
                    <a:pt x="644" y="274"/>
                  </a:lnTo>
                  <a:lnTo>
                    <a:pt x="644" y="274"/>
                  </a:lnTo>
                  <a:lnTo>
                    <a:pt x="642" y="274"/>
                  </a:lnTo>
                  <a:lnTo>
                    <a:pt x="642" y="276"/>
                  </a:lnTo>
                  <a:lnTo>
                    <a:pt x="640" y="276"/>
                  </a:lnTo>
                  <a:lnTo>
                    <a:pt x="640" y="278"/>
                  </a:lnTo>
                  <a:lnTo>
                    <a:pt x="638" y="282"/>
                  </a:lnTo>
                  <a:lnTo>
                    <a:pt x="638" y="282"/>
                  </a:lnTo>
                  <a:lnTo>
                    <a:pt x="636" y="284"/>
                  </a:lnTo>
                  <a:lnTo>
                    <a:pt x="636" y="284"/>
                  </a:lnTo>
                  <a:lnTo>
                    <a:pt x="634" y="284"/>
                  </a:lnTo>
                  <a:lnTo>
                    <a:pt x="632" y="284"/>
                  </a:lnTo>
                  <a:lnTo>
                    <a:pt x="630" y="286"/>
                  </a:lnTo>
                  <a:lnTo>
                    <a:pt x="628" y="286"/>
                  </a:lnTo>
                  <a:lnTo>
                    <a:pt x="626" y="286"/>
                  </a:lnTo>
                  <a:lnTo>
                    <a:pt x="624" y="286"/>
                  </a:lnTo>
                  <a:lnTo>
                    <a:pt x="622" y="288"/>
                  </a:lnTo>
                  <a:lnTo>
                    <a:pt x="622" y="288"/>
                  </a:lnTo>
                  <a:lnTo>
                    <a:pt x="620" y="288"/>
                  </a:lnTo>
                  <a:lnTo>
                    <a:pt x="620" y="290"/>
                  </a:lnTo>
                  <a:lnTo>
                    <a:pt x="620" y="290"/>
                  </a:lnTo>
                  <a:lnTo>
                    <a:pt x="620" y="292"/>
                  </a:lnTo>
                  <a:lnTo>
                    <a:pt x="618" y="294"/>
                  </a:lnTo>
                  <a:lnTo>
                    <a:pt x="618" y="296"/>
                  </a:lnTo>
                  <a:lnTo>
                    <a:pt x="618" y="298"/>
                  </a:lnTo>
                  <a:lnTo>
                    <a:pt x="618" y="300"/>
                  </a:lnTo>
                  <a:lnTo>
                    <a:pt x="616" y="302"/>
                  </a:lnTo>
                  <a:lnTo>
                    <a:pt x="616" y="302"/>
                  </a:lnTo>
                  <a:lnTo>
                    <a:pt x="616" y="302"/>
                  </a:lnTo>
                  <a:lnTo>
                    <a:pt x="616" y="302"/>
                  </a:lnTo>
                  <a:lnTo>
                    <a:pt x="614" y="302"/>
                  </a:lnTo>
                  <a:lnTo>
                    <a:pt x="614" y="304"/>
                  </a:lnTo>
                  <a:lnTo>
                    <a:pt x="612" y="304"/>
                  </a:lnTo>
                  <a:lnTo>
                    <a:pt x="610" y="304"/>
                  </a:lnTo>
                  <a:lnTo>
                    <a:pt x="608" y="304"/>
                  </a:lnTo>
                  <a:lnTo>
                    <a:pt x="606" y="304"/>
                  </a:lnTo>
                  <a:lnTo>
                    <a:pt x="604" y="304"/>
                  </a:lnTo>
                  <a:lnTo>
                    <a:pt x="604" y="306"/>
                  </a:lnTo>
                  <a:lnTo>
                    <a:pt x="602" y="308"/>
                  </a:lnTo>
                  <a:lnTo>
                    <a:pt x="600" y="308"/>
                  </a:lnTo>
                  <a:lnTo>
                    <a:pt x="598" y="310"/>
                  </a:lnTo>
                  <a:lnTo>
                    <a:pt x="596" y="312"/>
                  </a:lnTo>
                  <a:lnTo>
                    <a:pt x="594" y="314"/>
                  </a:lnTo>
                  <a:lnTo>
                    <a:pt x="592" y="314"/>
                  </a:lnTo>
                  <a:lnTo>
                    <a:pt x="592" y="316"/>
                  </a:lnTo>
                  <a:lnTo>
                    <a:pt x="592" y="318"/>
                  </a:lnTo>
                  <a:lnTo>
                    <a:pt x="590" y="318"/>
                  </a:lnTo>
                  <a:lnTo>
                    <a:pt x="590" y="320"/>
                  </a:lnTo>
                  <a:lnTo>
                    <a:pt x="590" y="322"/>
                  </a:lnTo>
                  <a:lnTo>
                    <a:pt x="588" y="326"/>
                  </a:lnTo>
                  <a:lnTo>
                    <a:pt x="588" y="330"/>
                  </a:lnTo>
                  <a:lnTo>
                    <a:pt x="588" y="332"/>
                  </a:lnTo>
                  <a:lnTo>
                    <a:pt x="588" y="336"/>
                  </a:lnTo>
                  <a:lnTo>
                    <a:pt x="588" y="342"/>
                  </a:lnTo>
                  <a:lnTo>
                    <a:pt x="588" y="348"/>
                  </a:lnTo>
                  <a:lnTo>
                    <a:pt x="588" y="352"/>
                  </a:lnTo>
                  <a:lnTo>
                    <a:pt x="588" y="354"/>
                  </a:lnTo>
                  <a:lnTo>
                    <a:pt x="588" y="358"/>
                  </a:lnTo>
                  <a:lnTo>
                    <a:pt x="586" y="362"/>
                  </a:lnTo>
                  <a:lnTo>
                    <a:pt x="586" y="366"/>
                  </a:lnTo>
                  <a:lnTo>
                    <a:pt x="586" y="368"/>
                  </a:lnTo>
                  <a:lnTo>
                    <a:pt x="586" y="368"/>
                  </a:lnTo>
                  <a:lnTo>
                    <a:pt x="586" y="370"/>
                  </a:lnTo>
                  <a:lnTo>
                    <a:pt x="586" y="370"/>
                  </a:lnTo>
                  <a:lnTo>
                    <a:pt x="588" y="372"/>
                  </a:lnTo>
                  <a:lnTo>
                    <a:pt x="588" y="372"/>
                  </a:lnTo>
                  <a:lnTo>
                    <a:pt x="588" y="372"/>
                  </a:lnTo>
                  <a:lnTo>
                    <a:pt x="590" y="372"/>
                  </a:lnTo>
                  <a:lnTo>
                    <a:pt x="592" y="374"/>
                  </a:lnTo>
                  <a:lnTo>
                    <a:pt x="592" y="374"/>
                  </a:lnTo>
                  <a:lnTo>
                    <a:pt x="594" y="374"/>
                  </a:lnTo>
                  <a:lnTo>
                    <a:pt x="594" y="376"/>
                  </a:lnTo>
                  <a:lnTo>
                    <a:pt x="594" y="376"/>
                  </a:lnTo>
                  <a:lnTo>
                    <a:pt x="594" y="378"/>
                  </a:lnTo>
                  <a:lnTo>
                    <a:pt x="594" y="380"/>
                  </a:lnTo>
                  <a:lnTo>
                    <a:pt x="594" y="382"/>
                  </a:lnTo>
                  <a:lnTo>
                    <a:pt x="594" y="386"/>
                  </a:lnTo>
                  <a:lnTo>
                    <a:pt x="594" y="394"/>
                  </a:lnTo>
                  <a:lnTo>
                    <a:pt x="594" y="396"/>
                  </a:lnTo>
                  <a:lnTo>
                    <a:pt x="594" y="398"/>
                  </a:lnTo>
                  <a:lnTo>
                    <a:pt x="594" y="400"/>
                  </a:lnTo>
                  <a:lnTo>
                    <a:pt x="596" y="400"/>
                  </a:lnTo>
                  <a:lnTo>
                    <a:pt x="596" y="402"/>
                  </a:lnTo>
                  <a:lnTo>
                    <a:pt x="596" y="404"/>
                  </a:lnTo>
                  <a:lnTo>
                    <a:pt x="598" y="406"/>
                  </a:lnTo>
                  <a:lnTo>
                    <a:pt x="600" y="414"/>
                  </a:lnTo>
                  <a:lnTo>
                    <a:pt x="602" y="418"/>
                  </a:lnTo>
                  <a:lnTo>
                    <a:pt x="602" y="424"/>
                  </a:lnTo>
                  <a:lnTo>
                    <a:pt x="604" y="428"/>
                  </a:lnTo>
                  <a:lnTo>
                    <a:pt x="604" y="434"/>
                  </a:lnTo>
                  <a:lnTo>
                    <a:pt x="604" y="436"/>
                  </a:lnTo>
                  <a:lnTo>
                    <a:pt x="604" y="438"/>
                  </a:lnTo>
                  <a:lnTo>
                    <a:pt x="604" y="440"/>
                  </a:lnTo>
                  <a:lnTo>
                    <a:pt x="604" y="442"/>
                  </a:lnTo>
                  <a:lnTo>
                    <a:pt x="604" y="444"/>
                  </a:lnTo>
                  <a:lnTo>
                    <a:pt x="604" y="446"/>
                  </a:lnTo>
                  <a:lnTo>
                    <a:pt x="604" y="448"/>
                  </a:lnTo>
                  <a:lnTo>
                    <a:pt x="602" y="450"/>
                  </a:lnTo>
                  <a:lnTo>
                    <a:pt x="602" y="452"/>
                  </a:lnTo>
                  <a:lnTo>
                    <a:pt x="600" y="454"/>
                  </a:lnTo>
                  <a:lnTo>
                    <a:pt x="600" y="454"/>
                  </a:lnTo>
                  <a:lnTo>
                    <a:pt x="600" y="454"/>
                  </a:lnTo>
                  <a:lnTo>
                    <a:pt x="598" y="456"/>
                  </a:lnTo>
                  <a:lnTo>
                    <a:pt x="598" y="456"/>
                  </a:lnTo>
                  <a:lnTo>
                    <a:pt x="598" y="456"/>
                  </a:lnTo>
                  <a:lnTo>
                    <a:pt x="598" y="456"/>
                  </a:lnTo>
                  <a:lnTo>
                    <a:pt x="596" y="454"/>
                  </a:lnTo>
                  <a:lnTo>
                    <a:pt x="596" y="454"/>
                  </a:lnTo>
                  <a:lnTo>
                    <a:pt x="596" y="452"/>
                  </a:lnTo>
                  <a:lnTo>
                    <a:pt x="594" y="452"/>
                  </a:lnTo>
                  <a:lnTo>
                    <a:pt x="592" y="448"/>
                  </a:lnTo>
                  <a:lnTo>
                    <a:pt x="592" y="446"/>
                  </a:lnTo>
                  <a:lnTo>
                    <a:pt x="590" y="446"/>
                  </a:lnTo>
                  <a:lnTo>
                    <a:pt x="590" y="444"/>
                  </a:lnTo>
                  <a:lnTo>
                    <a:pt x="588" y="444"/>
                  </a:lnTo>
                  <a:lnTo>
                    <a:pt x="582" y="442"/>
                  </a:lnTo>
                  <a:lnTo>
                    <a:pt x="580" y="440"/>
                  </a:lnTo>
                  <a:lnTo>
                    <a:pt x="578" y="440"/>
                  </a:lnTo>
                  <a:lnTo>
                    <a:pt x="576" y="438"/>
                  </a:lnTo>
                  <a:lnTo>
                    <a:pt x="576" y="438"/>
                  </a:lnTo>
                  <a:lnTo>
                    <a:pt x="576" y="438"/>
                  </a:lnTo>
                  <a:lnTo>
                    <a:pt x="574" y="436"/>
                  </a:lnTo>
                  <a:lnTo>
                    <a:pt x="574" y="436"/>
                  </a:lnTo>
                  <a:lnTo>
                    <a:pt x="574" y="432"/>
                  </a:lnTo>
                  <a:lnTo>
                    <a:pt x="572" y="430"/>
                  </a:lnTo>
                  <a:lnTo>
                    <a:pt x="572" y="428"/>
                  </a:lnTo>
                  <a:lnTo>
                    <a:pt x="570" y="422"/>
                  </a:lnTo>
                  <a:lnTo>
                    <a:pt x="568" y="416"/>
                  </a:lnTo>
                  <a:lnTo>
                    <a:pt x="566" y="412"/>
                  </a:lnTo>
                  <a:lnTo>
                    <a:pt x="564" y="406"/>
                  </a:lnTo>
                  <a:lnTo>
                    <a:pt x="564" y="404"/>
                  </a:lnTo>
                  <a:lnTo>
                    <a:pt x="562" y="400"/>
                  </a:lnTo>
                  <a:lnTo>
                    <a:pt x="562" y="398"/>
                  </a:lnTo>
                  <a:lnTo>
                    <a:pt x="562" y="396"/>
                  </a:lnTo>
                  <a:lnTo>
                    <a:pt x="562" y="394"/>
                  </a:lnTo>
                  <a:lnTo>
                    <a:pt x="562" y="394"/>
                  </a:lnTo>
                  <a:lnTo>
                    <a:pt x="562" y="390"/>
                  </a:lnTo>
                  <a:lnTo>
                    <a:pt x="564" y="384"/>
                  </a:lnTo>
                  <a:lnTo>
                    <a:pt x="564" y="380"/>
                  </a:lnTo>
                  <a:lnTo>
                    <a:pt x="564" y="378"/>
                  </a:lnTo>
                  <a:lnTo>
                    <a:pt x="564" y="376"/>
                  </a:lnTo>
                  <a:lnTo>
                    <a:pt x="564" y="376"/>
                  </a:lnTo>
                  <a:lnTo>
                    <a:pt x="564" y="374"/>
                  </a:lnTo>
                  <a:lnTo>
                    <a:pt x="564" y="372"/>
                  </a:lnTo>
                  <a:lnTo>
                    <a:pt x="564" y="372"/>
                  </a:lnTo>
                  <a:lnTo>
                    <a:pt x="564" y="372"/>
                  </a:lnTo>
                  <a:lnTo>
                    <a:pt x="562" y="370"/>
                  </a:lnTo>
                  <a:lnTo>
                    <a:pt x="560" y="368"/>
                  </a:lnTo>
                  <a:lnTo>
                    <a:pt x="560" y="366"/>
                  </a:lnTo>
                  <a:lnTo>
                    <a:pt x="556" y="364"/>
                  </a:lnTo>
                  <a:lnTo>
                    <a:pt x="552" y="362"/>
                  </a:lnTo>
                  <a:lnTo>
                    <a:pt x="550" y="358"/>
                  </a:lnTo>
                  <a:lnTo>
                    <a:pt x="546" y="356"/>
                  </a:lnTo>
                  <a:lnTo>
                    <a:pt x="544" y="354"/>
                  </a:lnTo>
                  <a:lnTo>
                    <a:pt x="542" y="352"/>
                  </a:lnTo>
                  <a:lnTo>
                    <a:pt x="540" y="350"/>
                  </a:lnTo>
                  <a:lnTo>
                    <a:pt x="540" y="350"/>
                  </a:lnTo>
                  <a:lnTo>
                    <a:pt x="540" y="350"/>
                  </a:lnTo>
                  <a:lnTo>
                    <a:pt x="538" y="350"/>
                  </a:lnTo>
                  <a:lnTo>
                    <a:pt x="538" y="350"/>
                  </a:lnTo>
                  <a:lnTo>
                    <a:pt x="536" y="350"/>
                  </a:lnTo>
                  <a:lnTo>
                    <a:pt x="532" y="352"/>
                  </a:lnTo>
                  <a:lnTo>
                    <a:pt x="530" y="352"/>
                  </a:lnTo>
                  <a:lnTo>
                    <a:pt x="528" y="352"/>
                  </a:lnTo>
                  <a:lnTo>
                    <a:pt x="526" y="354"/>
                  </a:lnTo>
                  <a:lnTo>
                    <a:pt x="524" y="354"/>
                  </a:lnTo>
                  <a:lnTo>
                    <a:pt x="522" y="354"/>
                  </a:lnTo>
                  <a:lnTo>
                    <a:pt x="522" y="354"/>
                  </a:lnTo>
                  <a:lnTo>
                    <a:pt x="520" y="354"/>
                  </a:lnTo>
                  <a:lnTo>
                    <a:pt x="520" y="354"/>
                  </a:lnTo>
                  <a:lnTo>
                    <a:pt x="518" y="352"/>
                  </a:lnTo>
                  <a:lnTo>
                    <a:pt x="516" y="352"/>
                  </a:lnTo>
                  <a:lnTo>
                    <a:pt x="514" y="350"/>
                  </a:lnTo>
                  <a:lnTo>
                    <a:pt x="510" y="348"/>
                  </a:lnTo>
                  <a:lnTo>
                    <a:pt x="510" y="346"/>
                  </a:lnTo>
                  <a:lnTo>
                    <a:pt x="508" y="346"/>
                  </a:lnTo>
                  <a:lnTo>
                    <a:pt x="506" y="346"/>
                  </a:lnTo>
                  <a:lnTo>
                    <a:pt x="504" y="346"/>
                  </a:lnTo>
                  <a:lnTo>
                    <a:pt x="500" y="346"/>
                  </a:lnTo>
                  <a:lnTo>
                    <a:pt x="496" y="346"/>
                  </a:lnTo>
                  <a:lnTo>
                    <a:pt x="492" y="346"/>
                  </a:lnTo>
                  <a:lnTo>
                    <a:pt x="486" y="346"/>
                  </a:lnTo>
                  <a:lnTo>
                    <a:pt x="482" y="348"/>
                  </a:lnTo>
                  <a:lnTo>
                    <a:pt x="478" y="348"/>
                  </a:lnTo>
                  <a:lnTo>
                    <a:pt x="476" y="348"/>
                  </a:lnTo>
                  <a:lnTo>
                    <a:pt x="476" y="348"/>
                  </a:lnTo>
                  <a:lnTo>
                    <a:pt x="472" y="350"/>
                  </a:lnTo>
                  <a:lnTo>
                    <a:pt x="470" y="352"/>
                  </a:lnTo>
                  <a:lnTo>
                    <a:pt x="470" y="352"/>
                  </a:lnTo>
                  <a:lnTo>
                    <a:pt x="468" y="352"/>
                  </a:lnTo>
                  <a:lnTo>
                    <a:pt x="466" y="354"/>
                  </a:lnTo>
                  <a:lnTo>
                    <a:pt x="466" y="356"/>
                  </a:lnTo>
                  <a:lnTo>
                    <a:pt x="466" y="356"/>
                  </a:lnTo>
                  <a:lnTo>
                    <a:pt x="464" y="356"/>
                  </a:lnTo>
                  <a:lnTo>
                    <a:pt x="464" y="358"/>
                  </a:lnTo>
                  <a:lnTo>
                    <a:pt x="464" y="358"/>
                  </a:lnTo>
                  <a:lnTo>
                    <a:pt x="466" y="358"/>
                  </a:lnTo>
                  <a:lnTo>
                    <a:pt x="466" y="360"/>
                  </a:lnTo>
                  <a:lnTo>
                    <a:pt x="466" y="362"/>
                  </a:lnTo>
                  <a:lnTo>
                    <a:pt x="468" y="364"/>
                  </a:lnTo>
                  <a:lnTo>
                    <a:pt x="470" y="366"/>
                  </a:lnTo>
                  <a:lnTo>
                    <a:pt x="470" y="368"/>
                  </a:lnTo>
                  <a:lnTo>
                    <a:pt x="472" y="370"/>
                  </a:lnTo>
                  <a:lnTo>
                    <a:pt x="472" y="370"/>
                  </a:lnTo>
                  <a:lnTo>
                    <a:pt x="472" y="370"/>
                  </a:lnTo>
                  <a:lnTo>
                    <a:pt x="472" y="372"/>
                  </a:lnTo>
                  <a:lnTo>
                    <a:pt x="470" y="372"/>
                  </a:lnTo>
                  <a:lnTo>
                    <a:pt x="470" y="372"/>
                  </a:lnTo>
                  <a:lnTo>
                    <a:pt x="470" y="372"/>
                  </a:lnTo>
                  <a:lnTo>
                    <a:pt x="468" y="374"/>
                  </a:lnTo>
                  <a:lnTo>
                    <a:pt x="466" y="374"/>
                  </a:lnTo>
                  <a:lnTo>
                    <a:pt x="464" y="374"/>
                  </a:lnTo>
                  <a:lnTo>
                    <a:pt x="462" y="374"/>
                  </a:lnTo>
                  <a:lnTo>
                    <a:pt x="460" y="374"/>
                  </a:lnTo>
                  <a:lnTo>
                    <a:pt x="456" y="372"/>
                  </a:lnTo>
                  <a:lnTo>
                    <a:pt x="452" y="372"/>
                  </a:lnTo>
                  <a:lnTo>
                    <a:pt x="450" y="372"/>
                  </a:lnTo>
                  <a:lnTo>
                    <a:pt x="448" y="372"/>
                  </a:lnTo>
                  <a:lnTo>
                    <a:pt x="446" y="372"/>
                  </a:lnTo>
                  <a:lnTo>
                    <a:pt x="442" y="370"/>
                  </a:lnTo>
                  <a:lnTo>
                    <a:pt x="442" y="370"/>
                  </a:lnTo>
                  <a:lnTo>
                    <a:pt x="440" y="370"/>
                  </a:lnTo>
                  <a:lnTo>
                    <a:pt x="440" y="370"/>
                  </a:lnTo>
                  <a:lnTo>
                    <a:pt x="440" y="368"/>
                  </a:lnTo>
                  <a:lnTo>
                    <a:pt x="438" y="368"/>
                  </a:lnTo>
                  <a:lnTo>
                    <a:pt x="438" y="366"/>
                  </a:lnTo>
                  <a:lnTo>
                    <a:pt x="438" y="364"/>
                  </a:lnTo>
                  <a:lnTo>
                    <a:pt x="438" y="362"/>
                  </a:lnTo>
                  <a:lnTo>
                    <a:pt x="438" y="358"/>
                  </a:lnTo>
                  <a:lnTo>
                    <a:pt x="438" y="356"/>
                  </a:lnTo>
                  <a:lnTo>
                    <a:pt x="438" y="354"/>
                  </a:lnTo>
                  <a:lnTo>
                    <a:pt x="438" y="352"/>
                  </a:lnTo>
                  <a:lnTo>
                    <a:pt x="438" y="352"/>
                  </a:lnTo>
                  <a:lnTo>
                    <a:pt x="438" y="350"/>
                  </a:lnTo>
                  <a:lnTo>
                    <a:pt x="438" y="350"/>
                  </a:lnTo>
                  <a:lnTo>
                    <a:pt x="438" y="348"/>
                  </a:lnTo>
                  <a:lnTo>
                    <a:pt x="436" y="348"/>
                  </a:lnTo>
                  <a:lnTo>
                    <a:pt x="436" y="348"/>
                  </a:lnTo>
                  <a:lnTo>
                    <a:pt x="434" y="348"/>
                  </a:lnTo>
                  <a:lnTo>
                    <a:pt x="432" y="348"/>
                  </a:lnTo>
                  <a:lnTo>
                    <a:pt x="432" y="350"/>
                  </a:lnTo>
                  <a:lnTo>
                    <a:pt x="430" y="350"/>
                  </a:lnTo>
                  <a:lnTo>
                    <a:pt x="428" y="352"/>
                  </a:lnTo>
                  <a:lnTo>
                    <a:pt x="426" y="352"/>
                  </a:lnTo>
                  <a:lnTo>
                    <a:pt x="426" y="352"/>
                  </a:lnTo>
                  <a:lnTo>
                    <a:pt x="426" y="354"/>
                  </a:lnTo>
                  <a:lnTo>
                    <a:pt x="426" y="354"/>
                  </a:lnTo>
                  <a:lnTo>
                    <a:pt x="424" y="354"/>
                  </a:lnTo>
                  <a:lnTo>
                    <a:pt x="424" y="356"/>
                  </a:lnTo>
                  <a:lnTo>
                    <a:pt x="424" y="358"/>
                  </a:lnTo>
                  <a:lnTo>
                    <a:pt x="424" y="360"/>
                  </a:lnTo>
                  <a:lnTo>
                    <a:pt x="424" y="362"/>
                  </a:lnTo>
                  <a:lnTo>
                    <a:pt x="424" y="364"/>
                  </a:lnTo>
                  <a:lnTo>
                    <a:pt x="424" y="366"/>
                  </a:lnTo>
                  <a:lnTo>
                    <a:pt x="424" y="366"/>
                  </a:lnTo>
                  <a:lnTo>
                    <a:pt x="422" y="368"/>
                  </a:lnTo>
                  <a:lnTo>
                    <a:pt x="422" y="368"/>
                  </a:lnTo>
                  <a:lnTo>
                    <a:pt x="422" y="368"/>
                  </a:lnTo>
                  <a:lnTo>
                    <a:pt x="420" y="368"/>
                  </a:lnTo>
                  <a:lnTo>
                    <a:pt x="420" y="368"/>
                  </a:lnTo>
                  <a:lnTo>
                    <a:pt x="418" y="368"/>
                  </a:lnTo>
                  <a:lnTo>
                    <a:pt x="416" y="368"/>
                  </a:lnTo>
                  <a:lnTo>
                    <a:pt x="416" y="366"/>
                  </a:lnTo>
                  <a:lnTo>
                    <a:pt x="414" y="366"/>
                  </a:lnTo>
                  <a:lnTo>
                    <a:pt x="412" y="364"/>
                  </a:lnTo>
                  <a:lnTo>
                    <a:pt x="412" y="364"/>
                  </a:lnTo>
                  <a:lnTo>
                    <a:pt x="412" y="362"/>
                  </a:lnTo>
                  <a:lnTo>
                    <a:pt x="410" y="360"/>
                  </a:lnTo>
                  <a:lnTo>
                    <a:pt x="410" y="358"/>
                  </a:lnTo>
                  <a:lnTo>
                    <a:pt x="408" y="356"/>
                  </a:lnTo>
                  <a:lnTo>
                    <a:pt x="408" y="354"/>
                  </a:lnTo>
                  <a:lnTo>
                    <a:pt x="406" y="354"/>
                  </a:lnTo>
                  <a:lnTo>
                    <a:pt x="406" y="354"/>
                  </a:lnTo>
                  <a:lnTo>
                    <a:pt x="406" y="352"/>
                  </a:lnTo>
                  <a:lnTo>
                    <a:pt x="404" y="352"/>
                  </a:lnTo>
                  <a:lnTo>
                    <a:pt x="404" y="352"/>
                  </a:lnTo>
                  <a:lnTo>
                    <a:pt x="404" y="352"/>
                  </a:lnTo>
                  <a:lnTo>
                    <a:pt x="402" y="354"/>
                  </a:lnTo>
                  <a:lnTo>
                    <a:pt x="400" y="354"/>
                  </a:lnTo>
                  <a:lnTo>
                    <a:pt x="400" y="354"/>
                  </a:lnTo>
                  <a:lnTo>
                    <a:pt x="396" y="358"/>
                  </a:lnTo>
                  <a:lnTo>
                    <a:pt x="394" y="358"/>
                  </a:lnTo>
                  <a:lnTo>
                    <a:pt x="392" y="360"/>
                  </a:lnTo>
                  <a:lnTo>
                    <a:pt x="390" y="364"/>
                  </a:lnTo>
                  <a:lnTo>
                    <a:pt x="388" y="366"/>
                  </a:lnTo>
                  <a:lnTo>
                    <a:pt x="386" y="368"/>
                  </a:lnTo>
                  <a:lnTo>
                    <a:pt x="384" y="370"/>
                  </a:lnTo>
                  <a:lnTo>
                    <a:pt x="384" y="370"/>
                  </a:lnTo>
                  <a:lnTo>
                    <a:pt x="382" y="374"/>
                  </a:lnTo>
                  <a:lnTo>
                    <a:pt x="378" y="378"/>
                  </a:lnTo>
                  <a:lnTo>
                    <a:pt x="376" y="382"/>
                  </a:lnTo>
                  <a:lnTo>
                    <a:pt x="374" y="384"/>
                  </a:lnTo>
                  <a:lnTo>
                    <a:pt x="372" y="388"/>
                  </a:lnTo>
                  <a:lnTo>
                    <a:pt x="370" y="390"/>
                  </a:lnTo>
                  <a:lnTo>
                    <a:pt x="368" y="390"/>
                  </a:lnTo>
                  <a:lnTo>
                    <a:pt x="368" y="392"/>
                  </a:lnTo>
                  <a:lnTo>
                    <a:pt x="366" y="392"/>
                  </a:lnTo>
                  <a:lnTo>
                    <a:pt x="364" y="394"/>
                  </a:lnTo>
                  <a:lnTo>
                    <a:pt x="360" y="396"/>
                  </a:lnTo>
                  <a:lnTo>
                    <a:pt x="358" y="396"/>
                  </a:lnTo>
                  <a:lnTo>
                    <a:pt x="354" y="398"/>
                  </a:lnTo>
                  <a:lnTo>
                    <a:pt x="352" y="398"/>
                  </a:lnTo>
                  <a:lnTo>
                    <a:pt x="352" y="398"/>
                  </a:lnTo>
                  <a:lnTo>
                    <a:pt x="352" y="400"/>
                  </a:lnTo>
                  <a:lnTo>
                    <a:pt x="352" y="400"/>
                  </a:lnTo>
                  <a:lnTo>
                    <a:pt x="350" y="402"/>
                  </a:lnTo>
                  <a:lnTo>
                    <a:pt x="350" y="404"/>
                  </a:lnTo>
                  <a:lnTo>
                    <a:pt x="348" y="406"/>
                  </a:lnTo>
                  <a:lnTo>
                    <a:pt x="348" y="408"/>
                  </a:lnTo>
                  <a:lnTo>
                    <a:pt x="346" y="412"/>
                  </a:lnTo>
                  <a:lnTo>
                    <a:pt x="346" y="416"/>
                  </a:lnTo>
                  <a:lnTo>
                    <a:pt x="346" y="420"/>
                  </a:lnTo>
                  <a:lnTo>
                    <a:pt x="346" y="424"/>
                  </a:lnTo>
                  <a:lnTo>
                    <a:pt x="342" y="424"/>
                  </a:lnTo>
                  <a:lnTo>
                    <a:pt x="340" y="424"/>
                  </a:lnTo>
                  <a:lnTo>
                    <a:pt x="336" y="424"/>
                  </a:lnTo>
                  <a:lnTo>
                    <a:pt x="334" y="424"/>
                  </a:lnTo>
                  <a:lnTo>
                    <a:pt x="330" y="424"/>
                  </a:lnTo>
                  <a:lnTo>
                    <a:pt x="328" y="424"/>
                  </a:lnTo>
                  <a:lnTo>
                    <a:pt x="328" y="424"/>
                  </a:lnTo>
                  <a:lnTo>
                    <a:pt x="326" y="424"/>
                  </a:lnTo>
                  <a:lnTo>
                    <a:pt x="326" y="424"/>
                  </a:lnTo>
                  <a:lnTo>
                    <a:pt x="324" y="422"/>
                  </a:lnTo>
                  <a:lnTo>
                    <a:pt x="324" y="422"/>
                  </a:lnTo>
                  <a:lnTo>
                    <a:pt x="324" y="420"/>
                  </a:lnTo>
                  <a:lnTo>
                    <a:pt x="324" y="420"/>
                  </a:lnTo>
                  <a:lnTo>
                    <a:pt x="324" y="416"/>
                  </a:lnTo>
                  <a:lnTo>
                    <a:pt x="324" y="414"/>
                  </a:lnTo>
                  <a:lnTo>
                    <a:pt x="324" y="410"/>
                  </a:lnTo>
                  <a:lnTo>
                    <a:pt x="322" y="408"/>
                  </a:lnTo>
                  <a:lnTo>
                    <a:pt x="322" y="406"/>
                  </a:lnTo>
                  <a:lnTo>
                    <a:pt x="322" y="404"/>
                  </a:lnTo>
                  <a:lnTo>
                    <a:pt x="322" y="404"/>
                  </a:lnTo>
                  <a:lnTo>
                    <a:pt x="322" y="404"/>
                  </a:lnTo>
                  <a:lnTo>
                    <a:pt x="320" y="402"/>
                  </a:lnTo>
                  <a:lnTo>
                    <a:pt x="320" y="402"/>
                  </a:lnTo>
                  <a:lnTo>
                    <a:pt x="318" y="402"/>
                  </a:lnTo>
                  <a:lnTo>
                    <a:pt x="318" y="400"/>
                  </a:lnTo>
                  <a:lnTo>
                    <a:pt x="316" y="400"/>
                  </a:lnTo>
                  <a:lnTo>
                    <a:pt x="314" y="400"/>
                  </a:lnTo>
                  <a:lnTo>
                    <a:pt x="312" y="398"/>
                  </a:lnTo>
                  <a:lnTo>
                    <a:pt x="310" y="398"/>
                  </a:lnTo>
                  <a:lnTo>
                    <a:pt x="310" y="398"/>
                  </a:lnTo>
                  <a:lnTo>
                    <a:pt x="308" y="396"/>
                  </a:lnTo>
                  <a:lnTo>
                    <a:pt x="308" y="396"/>
                  </a:lnTo>
                  <a:lnTo>
                    <a:pt x="308" y="394"/>
                  </a:lnTo>
                  <a:lnTo>
                    <a:pt x="308" y="394"/>
                  </a:lnTo>
                  <a:lnTo>
                    <a:pt x="308" y="392"/>
                  </a:lnTo>
                  <a:lnTo>
                    <a:pt x="306" y="390"/>
                  </a:lnTo>
                  <a:lnTo>
                    <a:pt x="306" y="386"/>
                  </a:lnTo>
                  <a:lnTo>
                    <a:pt x="306" y="384"/>
                  </a:lnTo>
                  <a:lnTo>
                    <a:pt x="306" y="380"/>
                  </a:lnTo>
                  <a:lnTo>
                    <a:pt x="306" y="378"/>
                  </a:lnTo>
                  <a:lnTo>
                    <a:pt x="306" y="376"/>
                  </a:lnTo>
                  <a:lnTo>
                    <a:pt x="306" y="376"/>
                  </a:lnTo>
                  <a:lnTo>
                    <a:pt x="304" y="374"/>
                  </a:lnTo>
                  <a:lnTo>
                    <a:pt x="304" y="372"/>
                  </a:lnTo>
                  <a:lnTo>
                    <a:pt x="302" y="370"/>
                  </a:lnTo>
                  <a:lnTo>
                    <a:pt x="298" y="366"/>
                  </a:lnTo>
                  <a:lnTo>
                    <a:pt x="296" y="364"/>
                  </a:lnTo>
                  <a:lnTo>
                    <a:pt x="294" y="360"/>
                  </a:lnTo>
                  <a:lnTo>
                    <a:pt x="292" y="358"/>
                  </a:lnTo>
                  <a:lnTo>
                    <a:pt x="290" y="356"/>
                  </a:lnTo>
                  <a:lnTo>
                    <a:pt x="286" y="354"/>
                  </a:lnTo>
                  <a:lnTo>
                    <a:pt x="286" y="354"/>
                  </a:lnTo>
                  <a:lnTo>
                    <a:pt x="284" y="354"/>
                  </a:lnTo>
                  <a:lnTo>
                    <a:pt x="284" y="352"/>
                  </a:lnTo>
                  <a:lnTo>
                    <a:pt x="282" y="352"/>
                  </a:lnTo>
                  <a:lnTo>
                    <a:pt x="282" y="352"/>
                  </a:lnTo>
                  <a:lnTo>
                    <a:pt x="282" y="352"/>
                  </a:lnTo>
                  <a:lnTo>
                    <a:pt x="280" y="354"/>
                  </a:lnTo>
                  <a:lnTo>
                    <a:pt x="280" y="354"/>
                  </a:lnTo>
                  <a:lnTo>
                    <a:pt x="280" y="354"/>
                  </a:lnTo>
                  <a:lnTo>
                    <a:pt x="278" y="356"/>
                  </a:lnTo>
                  <a:lnTo>
                    <a:pt x="278" y="358"/>
                  </a:lnTo>
                  <a:lnTo>
                    <a:pt x="278" y="358"/>
                  </a:lnTo>
                  <a:lnTo>
                    <a:pt x="278" y="362"/>
                  </a:lnTo>
                  <a:lnTo>
                    <a:pt x="278" y="366"/>
                  </a:lnTo>
                  <a:lnTo>
                    <a:pt x="278" y="368"/>
                  </a:lnTo>
                  <a:lnTo>
                    <a:pt x="278" y="370"/>
                  </a:lnTo>
                  <a:lnTo>
                    <a:pt x="278" y="372"/>
                  </a:lnTo>
                  <a:lnTo>
                    <a:pt x="276" y="372"/>
                  </a:lnTo>
                  <a:lnTo>
                    <a:pt x="276" y="372"/>
                  </a:lnTo>
                  <a:lnTo>
                    <a:pt x="276" y="374"/>
                  </a:lnTo>
                  <a:lnTo>
                    <a:pt x="274" y="374"/>
                  </a:lnTo>
                  <a:lnTo>
                    <a:pt x="274" y="374"/>
                  </a:lnTo>
                  <a:lnTo>
                    <a:pt x="270" y="374"/>
                  </a:lnTo>
                  <a:lnTo>
                    <a:pt x="268" y="374"/>
                  </a:lnTo>
                  <a:lnTo>
                    <a:pt x="266" y="374"/>
                  </a:lnTo>
                  <a:lnTo>
                    <a:pt x="264" y="374"/>
                  </a:lnTo>
                  <a:lnTo>
                    <a:pt x="262" y="374"/>
                  </a:lnTo>
                  <a:lnTo>
                    <a:pt x="262" y="374"/>
                  </a:lnTo>
                  <a:lnTo>
                    <a:pt x="262" y="372"/>
                  </a:lnTo>
                  <a:lnTo>
                    <a:pt x="260" y="372"/>
                  </a:lnTo>
                  <a:lnTo>
                    <a:pt x="260" y="370"/>
                  </a:lnTo>
                  <a:lnTo>
                    <a:pt x="258" y="370"/>
                  </a:lnTo>
                  <a:lnTo>
                    <a:pt x="258" y="368"/>
                  </a:lnTo>
                  <a:lnTo>
                    <a:pt x="258" y="366"/>
                  </a:lnTo>
                  <a:lnTo>
                    <a:pt x="258" y="364"/>
                  </a:lnTo>
                  <a:lnTo>
                    <a:pt x="256" y="362"/>
                  </a:lnTo>
                  <a:lnTo>
                    <a:pt x="256" y="358"/>
                  </a:lnTo>
                  <a:lnTo>
                    <a:pt x="256" y="354"/>
                  </a:lnTo>
                  <a:lnTo>
                    <a:pt x="256" y="352"/>
                  </a:lnTo>
                  <a:lnTo>
                    <a:pt x="254" y="352"/>
                  </a:lnTo>
                  <a:lnTo>
                    <a:pt x="254" y="350"/>
                  </a:lnTo>
                  <a:lnTo>
                    <a:pt x="254" y="348"/>
                  </a:lnTo>
                  <a:lnTo>
                    <a:pt x="252" y="348"/>
                  </a:lnTo>
                  <a:lnTo>
                    <a:pt x="252" y="348"/>
                  </a:lnTo>
                  <a:lnTo>
                    <a:pt x="248" y="348"/>
                  </a:lnTo>
                  <a:lnTo>
                    <a:pt x="248" y="348"/>
                  </a:lnTo>
                  <a:lnTo>
                    <a:pt x="246" y="348"/>
                  </a:lnTo>
                  <a:lnTo>
                    <a:pt x="246" y="346"/>
                  </a:lnTo>
                  <a:lnTo>
                    <a:pt x="246" y="346"/>
                  </a:lnTo>
                  <a:lnTo>
                    <a:pt x="244" y="346"/>
                  </a:lnTo>
                  <a:lnTo>
                    <a:pt x="244" y="346"/>
                  </a:lnTo>
                  <a:lnTo>
                    <a:pt x="244" y="346"/>
                  </a:lnTo>
                  <a:lnTo>
                    <a:pt x="244" y="344"/>
                  </a:lnTo>
                  <a:lnTo>
                    <a:pt x="244" y="344"/>
                  </a:lnTo>
                  <a:lnTo>
                    <a:pt x="244" y="342"/>
                  </a:lnTo>
                  <a:lnTo>
                    <a:pt x="244" y="340"/>
                  </a:lnTo>
                  <a:lnTo>
                    <a:pt x="244" y="338"/>
                  </a:lnTo>
                  <a:lnTo>
                    <a:pt x="244" y="336"/>
                  </a:lnTo>
                  <a:lnTo>
                    <a:pt x="244" y="334"/>
                  </a:lnTo>
                  <a:lnTo>
                    <a:pt x="244" y="334"/>
                  </a:lnTo>
                  <a:lnTo>
                    <a:pt x="244" y="334"/>
                  </a:lnTo>
                  <a:lnTo>
                    <a:pt x="244" y="332"/>
                  </a:lnTo>
                  <a:lnTo>
                    <a:pt x="242" y="332"/>
                  </a:lnTo>
                  <a:lnTo>
                    <a:pt x="242" y="332"/>
                  </a:lnTo>
                  <a:lnTo>
                    <a:pt x="242" y="332"/>
                  </a:lnTo>
                  <a:lnTo>
                    <a:pt x="240" y="332"/>
                  </a:lnTo>
                  <a:lnTo>
                    <a:pt x="238" y="332"/>
                  </a:lnTo>
                  <a:lnTo>
                    <a:pt x="236" y="330"/>
                  </a:lnTo>
                  <a:lnTo>
                    <a:pt x="234" y="330"/>
                  </a:lnTo>
                  <a:lnTo>
                    <a:pt x="234" y="330"/>
                  </a:lnTo>
                  <a:lnTo>
                    <a:pt x="232" y="330"/>
                  </a:lnTo>
                  <a:lnTo>
                    <a:pt x="232" y="330"/>
                  </a:lnTo>
                  <a:lnTo>
                    <a:pt x="232" y="330"/>
                  </a:lnTo>
                  <a:lnTo>
                    <a:pt x="232" y="328"/>
                  </a:lnTo>
                  <a:lnTo>
                    <a:pt x="230" y="328"/>
                  </a:lnTo>
                  <a:lnTo>
                    <a:pt x="230" y="326"/>
                  </a:lnTo>
                  <a:lnTo>
                    <a:pt x="230" y="324"/>
                  </a:lnTo>
                  <a:lnTo>
                    <a:pt x="230" y="322"/>
                  </a:lnTo>
                  <a:lnTo>
                    <a:pt x="230" y="320"/>
                  </a:lnTo>
                  <a:lnTo>
                    <a:pt x="228" y="318"/>
                  </a:lnTo>
                  <a:lnTo>
                    <a:pt x="228" y="316"/>
                  </a:lnTo>
                  <a:lnTo>
                    <a:pt x="228" y="316"/>
                  </a:lnTo>
                  <a:lnTo>
                    <a:pt x="228" y="316"/>
                  </a:lnTo>
                  <a:lnTo>
                    <a:pt x="228" y="314"/>
                  </a:lnTo>
                  <a:lnTo>
                    <a:pt x="226" y="314"/>
                  </a:lnTo>
                  <a:lnTo>
                    <a:pt x="226" y="314"/>
                  </a:lnTo>
                  <a:lnTo>
                    <a:pt x="226" y="316"/>
                  </a:lnTo>
                  <a:lnTo>
                    <a:pt x="224" y="316"/>
                  </a:lnTo>
                  <a:lnTo>
                    <a:pt x="224" y="316"/>
                  </a:lnTo>
                  <a:lnTo>
                    <a:pt x="222" y="318"/>
                  </a:lnTo>
                  <a:lnTo>
                    <a:pt x="220" y="320"/>
                  </a:lnTo>
                  <a:lnTo>
                    <a:pt x="218" y="322"/>
                  </a:lnTo>
                  <a:lnTo>
                    <a:pt x="218" y="322"/>
                  </a:lnTo>
                  <a:lnTo>
                    <a:pt x="218" y="322"/>
                  </a:lnTo>
                  <a:lnTo>
                    <a:pt x="216" y="322"/>
                  </a:lnTo>
                  <a:lnTo>
                    <a:pt x="214" y="322"/>
                  </a:lnTo>
                  <a:lnTo>
                    <a:pt x="210" y="322"/>
                  </a:lnTo>
                  <a:lnTo>
                    <a:pt x="208" y="322"/>
                  </a:lnTo>
                  <a:lnTo>
                    <a:pt x="206" y="322"/>
                  </a:lnTo>
                  <a:lnTo>
                    <a:pt x="206" y="324"/>
                  </a:lnTo>
                  <a:lnTo>
                    <a:pt x="204" y="324"/>
                  </a:lnTo>
                  <a:lnTo>
                    <a:pt x="204" y="324"/>
                  </a:lnTo>
                  <a:lnTo>
                    <a:pt x="204" y="324"/>
                  </a:lnTo>
                  <a:lnTo>
                    <a:pt x="204" y="324"/>
                  </a:lnTo>
                  <a:lnTo>
                    <a:pt x="204" y="326"/>
                  </a:lnTo>
                  <a:lnTo>
                    <a:pt x="204" y="326"/>
                  </a:lnTo>
                  <a:lnTo>
                    <a:pt x="204" y="328"/>
                  </a:lnTo>
                  <a:lnTo>
                    <a:pt x="204" y="330"/>
                  </a:lnTo>
                  <a:lnTo>
                    <a:pt x="202" y="330"/>
                  </a:lnTo>
                  <a:lnTo>
                    <a:pt x="202" y="332"/>
                  </a:lnTo>
                  <a:lnTo>
                    <a:pt x="202" y="332"/>
                  </a:lnTo>
                  <a:lnTo>
                    <a:pt x="202" y="332"/>
                  </a:lnTo>
                  <a:lnTo>
                    <a:pt x="202" y="334"/>
                  </a:lnTo>
                  <a:lnTo>
                    <a:pt x="200" y="334"/>
                  </a:lnTo>
                  <a:lnTo>
                    <a:pt x="198" y="334"/>
                  </a:lnTo>
                  <a:lnTo>
                    <a:pt x="198" y="334"/>
                  </a:lnTo>
                  <a:lnTo>
                    <a:pt x="194" y="334"/>
                  </a:lnTo>
                  <a:lnTo>
                    <a:pt x="192" y="334"/>
                  </a:lnTo>
                  <a:lnTo>
                    <a:pt x="186" y="332"/>
                  </a:lnTo>
                  <a:lnTo>
                    <a:pt x="182" y="332"/>
                  </a:lnTo>
                  <a:lnTo>
                    <a:pt x="182" y="332"/>
                  </a:lnTo>
                  <a:lnTo>
                    <a:pt x="180" y="332"/>
                  </a:lnTo>
                  <a:lnTo>
                    <a:pt x="178" y="334"/>
                  </a:lnTo>
                  <a:lnTo>
                    <a:pt x="176" y="334"/>
                  </a:lnTo>
                  <a:lnTo>
                    <a:pt x="172" y="336"/>
                  </a:lnTo>
                  <a:lnTo>
                    <a:pt x="170" y="336"/>
                  </a:lnTo>
                  <a:lnTo>
                    <a:pt x="168" y="338"/>
                  </a:lnTo>
                  <a:lnTo>
                    <a:pt x="166" y="338"/>
                  </a:lnTo>
                  <a:lnTo>
                    <a:pt x="164" y="338"/>
                  </a:lnTo>
                  <a:lnTo>
                    <a:pt x="162" y="338"/>
                  </a:lnTo>
                  <a:lnTo>
                    <a:pt x="158" y="338"/>
                  </a:lnTo>
                  <a:lnTo>
                    <a:pt x="156" y="338"/>
                  </a:lnTo>
                  <a:lnTo>
                    <a:pt x="152" y="338"/>
                  </a:lnTo>
                  <a:lnTo>
                    <a:pt x="150" y="336"/>
                  </a:lnTo>
                  <a:lnTo>
                    <a:pt x="146" y="336"/>
                  </a:lnTo>
                  <a:lnTo>
                    <a:pt x="144" y="334"/>
                  </a:lnTo>
                  <a:lnTo>
                    <a:pt x="142" y="334"/>
                  </a:lnTo>
                  <a:lnTo>
                    <a:pt x="140" y="334"/>
                  </a:lnTo>
                  <a:lnTo>
                    <a:pt x="140" y="332"/>
                  </a:lnTo>
                  <a:lnTo>
                    <a:pt x="138" y="330"/>
                  </a:lnTo>
                  <a:lnTo>
                    <a:pt x="136" y="328"/>
                  </a:lnTo>
                  <a:lnTo>
                    <a:pt x="134" y="326"/>
                  </a:lnTo>
                  <a:lnTo>
                    <a:pt x="130" y="322"/>
                  </a:lnTo>
                  <a:lnTo>
                    <a:pt x="128" y="320"/>
                  </a:lnTo>
                  <a:lnTo>
                    <a:pt x="126" y="318"/>
                  </a:lnTo>
                  <a:lnTo>
                    <a:pt x="126" y="318"/>
                  </a:lnTo>
                  <a:lnTo>
                    <a:pt x="124" y="318"/>
                  </a:lnTo>
                  <a:lnTo>
                    <a:pt x="120" y="316"/>
                  </a:lnTo>
                  <a:lnTo>
                    <a:pt x="118" y="316"/>
                  </a:lnTo>
                  <a:lnTo>
                    <a:pt x="116" y="316"/>
                  </a:lnTo>
                  <a:lnTo>
                    <a:pt x="114" y="314"/>
                  </a:lnTo>
                  <a:lnTo>
                    <a:pt x="114" y="314"/>
                  </a:lnTo>
                  <a:lnTo>
                    <a:pt x="114" y="312"/>
                  </a:lnTo>
                  <a:lnTo>
                    <a:pt x="112" y="312"/>
                  </a:lnTo>
                  <a:lnTo>
                    <a:pt x="112" y="310"/>
                  </a:lnTo>
                  <a:lnTo>
                    <a:pt x="112" y="308"/>
                  </a:lnTo>
                  <a:lnTo>
                    <a:pt x="112" y="306"/>
                  </a:lnTo>
                  <a:lnTo>
                    <a:pt x="110" y="306"/>
                  </a:lnTo>
                  <a:lnTo>
                    <a:pt x="110" y="306"/>
                  </a:lnTo>
                  <a:lnTo>
                    <a:pt x="110" y="304"/>
                  </a:lnTo>
                  <a:lnTo>
                    <a:pt x="108" y="304"/>
                  </a:lnTo>
                  <a:lnTo>
                    <a:pt x="106" y="304"/>
                  </a:lnTo>
                  <a:lnTo>
                    <a:pt x="104" y="302"/>
                  </a:lnTo>
                  <a:lnTo>
                    <a:pt x="102" y="302"/>
                  </a:lnTo>
                  <a:lnTo>
                    <a:pt x="100" y="302"/>
                  </a:lnTo>
                  <a:lnTo>
                    <a:pt x="98" y="302"/>
                  </a:lnTo>
                  <a:lnTo>
                    <a:pt x="92" y="302"/>
                  </a:lnTo>
                  <a:lnTo>
                    <a:pt x="86" y="302"/>
                  </a:lnTo>
                  <a:lnTo>
                    <a:pt x="82" y="304"/>
                  </a:lnTo>
                  <a:lnTo>
                    <a:pt x="78" y="304"/>
                  </a:lnTo>
                  <a:lnTo>
                    <a:pt x="80" y="302"/>
                  </a:lnTo>
                  <a:lnTo>
                    <a:pt x="80" y="298"/>
                  </a:lnTo>
                  <a:lnTo>
                    <a:pt x="80" y="296"/>
                  </a:lnTo>
                  <a:lnTo>
                    <a:pt x="80" y="294"/>
                  </a:lnTo>
                  <a:lnTo>
                    <a:pt x="80" y="292"/>
                  </a:lnTo>
                  <a:lnTo>
                    <a:pt x="80" y="292"/>
                  </a:lnTo>
                  <a:lnTo>
                    <a:pt x="80" y="290"/>
                  </a:lnTo>
                  <a:lnTo>
                    <a:pt x="80" y="290"/>
                  </a:lnTo>
                  <a:lnTo>
                    <a:pt x="78" y="290"/>
                  </a:lnTo>
                  <a:lnTo>
                    <a:pt x="78" y="290"/>
                  </a:lnTo>
                  <a:lnTo>
                    <a:pt x="76" y="288"/>
                  </a:lnTo>
                  <a:lnTo>
                    <a:pt x="74" y="288"/>
                  </a:lnTo>
                  <a:lnTo>
                    <a:pt x="72" y="288"/>
                  </a:lnTo>
                  <a:lnTo>
                    <a:pt x="66" y="286"/>
                  </a:lnTo>
                  <a:lnTo>
                    <a:pt x="62" y="286"/>
                  </a:lnTo>
                  <a:lnTo>
                    <a:pt x="62" y="286"/>
                  </a:lnTo>
                  <a:lnTo>
                    <a:pt x="62" y="284"/>
                  </a:lnTo>
                  <a:lnTo>
                    <a:pt x="60" y="284"/>
                  </a:lnTo>
                  <a:lnTo>
                    <a:pt x="58" y="282"/>
                  </a:lnTo>
                  <a:lnTo>
                    <a:pt x="54" y="280"/>
                  </a:lnTo>
                  <a:lnTo>
                    <a:pt x="52" y="276"/>
                  </a:lnTo>
                  <a:lnTo>
                    <a:pt x="50" y="276"/>
                  </a:lnTo>
                  <a:lnTo>
                    <a:pt x="48" y="274"/>
                  </a:lnTo>
                  <a:lnTo>
                    <a:pt x="46" y="274"/>
                  </a:lnTo>
                  <a:lnTo>
                    <a:pt x="46" y="274"/>
                  </a:lnTo>
                  <a:lnTo>
                    <a:pt x="40" y="272"/>
                  </a:lnTo>
                  <a:lnTo>
                    <a:pt x="38" y="272"/>
                  </a:lnTo>
                  <a:lnTo>
                    <a:pt x="36" y="270"/>
                  </a:lnTo>
                  <a:lnTo>
                    <a:pt x="36" y="270"/>
                  </a:lnTo>
                  <a:lnTo>
                    <a:pt x="36" y="270"/>
                  </a:lnTo>
                  <a:lnTo>
                    <a:pt x="34" y="268"/>
                  </a:lnTo>
                  <a:lnTo>
                    <a:pt x="34" y="268"/>
                  </a:lnTo>
                  <a:lnTo>
                    <a:pt x="34" y="268"/>
                  </a:lnTo>
                  <a:lnTo>
                    <a:pt x="34" y="266"/>
                  </a:lnTo>
                  <a:lnTo>
                    <a:pt x="34" y="266"/>
                  </a:lnTo>
                  <a:lnTo>
                    <a:pt x="34" y="264"/>
                  </a:lnTo>
                  <a:lnTo>
                    <a:pt x="36" y="262"/>
                  </a:lnTo>
                  <a:lnTo>
                    <a:pt x="36" y="258"/>
                  </a:lnTo>
                  <a:lnTo>
                    <a:pt x="36" y="256"/>
                  </a:lnTo>
                  <a:lnTo>
                    <a:pt x="38" y="252"/>
                  </a:lnTo>
                  <a:lnTo>
                    <a:pt x="38" y="252"/>
                  </a:lnTo>
                  <a:lnTo>
                    <a:pt x="38" y="250"/>
                  </a:lnTo>
                  <a:lnTo>
                    <a:pt x="38" y="250"/>
                  </a:lnTo>
                  <a:lnTo>
                    <a:pt x="38" y="248"/>
                  </a:lnTo>
                  <a:lnTo>
                    <a:pt x="36" y="248"/>
                  </a:lnTo>
                  <a:lnTo>
                    <a:pt x="36" y="248"/>
                  </a:lnTo>
                  <a:lnTo>
                    <a:pt x="34" y="246"/>
                  </a:lnTo>
                  <a:lnTo>
                    <a:pt x="34" y="246"/>
                  </a:lnTo>
                  <a:lnTo>
                    <a:pt x="30" y="246"/>
                  </a:lnTo>
                  <a:lnTo>
                    <a:pt x="28" y="246"/>
                  </a:lnTo>
                  <a:lnTo>
                    <a:pt x="26" y="246"/>
                  </a:lnTo>
                  <a:lnTo>
                    <a:pt x="22" y="246"/>
                  </a:lnTo>
                  <a:lnTo>
                    <a:pt x="22" y="246"/>
                  </a:lnTo>
                  <a:lnTo>
                    <a:pt x="20" y="246"/>
                  </a:lnTo>
                  <a:lnTo>
                    <a:pt x="20" y="244"/>
                  </a:lnTo>
                  <a:lnTo>
                    <a:pt x="20" y="244"/>
                  </a:lnTo>
                  <a:lnTo>
                    <a:pt x="20" y="244"/>
                  </a:lnTo>
                  <a:lnTo>
                    <a:pt x="20" y="244"/>
                  </a:lnTo>
                  <a:lnTo>
                    <a:pt x="18" y="242"/>
                  </a:lnTo>
                  <a:lnTo>
                    <a:pt x="18" y="240"/>
                  </a:lnTo>
                  <a:lnTo>
                    <a:pt x="20" y="238"/>
                  </a:lnTo>
                  <a:lnTo>
                    <a:pt x="20" y="236"/>
                  </a:lnTo>
                  <a:lnTo>
                    <a:pt x="20" y="232"/>
                  </a:lnTo>
                  <a:lnTo>
                    <a:pt x="22" y="232"/>
                  </a:lnTo>
                  <a:lnTo>
                    <a:pt x="22" y="230"/>
                  </a:lnTo>
                  <a:lnTo>
                    <a:pt x="24" y="226"/>
                  </a:lnTo>
                  <a:lnTo>
                    <a:pt x="24" y="224"/>
                  </a:lnTo>
                  <a:lnTo>
                    <a:pt x="26" y="222"/>
                  </a:lnTo>
                  <a:lnTo>
                    <a:pt x="26" y="220"/>
                  </a:lnTo>
                  <a:lnTo>
                    <a:pt x="26" y="220"/>
                  </a:lnTo>
                  <a:lnTo>
                    <a:pt x="26" y="220"/>
                  </a:lnTo>
                  <a:lnTo>
                    <a:pt x="26" y="218"/>
                  </a:lnTo>
                  <a:lnTo>
                    <a:pt x="26" y="218"/>
                  </a:lnTo>
                  <a:lnTo>
                    <a:pt x="24" y="216"/>
                  </a:lnTo>
                  <a:lnTo>
                    <a:pt x="24" y="214"/>
                  </a:lnTo>
                  <a:lnTo>
                    <a:pt x="22" y="214"/>
                  </a:lnTo>
                  <a:lnTo>
                    <a:pt x="20" y="210"/>
                  </a:lnTo>
                  <a:lnTo>
                    <a:pt x="16" y="208"/>
                  </a:lnTo>
                  <a:lnTo>
                    <a:pt x="16" y="206"/>
                  </a:lnTo>
                  <a:lnTo>
                    <a:pt x="14" y="204"/>
                  </a:lnTo>
                  <a:lnTo>
                    <a:pt x="10" y="202"/>
                  </a:lnTo>
                  <a:lnTo>
                    <a:pt x="8" y="200"/>
                  </a:lnTo>
                  <a:lnTo>
                    <a:pt x="6" y="198"/>
                  </a:lnTo>
                  <a:lnTo>
                    <a:pt x="6" y="196"/>
                  </a:lnTo>
                  <a:lnTo>
                    <a:pt x="4" y="196"/>
                  </a:lnTo>
                  <a:lnTo>
                    <a:pt x="4" y="196"/>
                  </a:lnTo>
                  <a:lnTo>
                    <a:pt x="4" y="194"/>
                  </a:lnTo>
                  <a:lnTo>
                    <a:pt x="2" y="192"/>
                  </a:lnTo>
                  <a:lnTo>
                    <a:pt x="2" y="188"/>
                  </a:lnTo>
                  <a:lnTo>
                    <a:pt x="2" y="186"/>
                  </a:lnTo>
                  <a:lnTo>
                    <a:pt x="0" y="182"/>
                  </a:lnTo>
                  <a:lnTo>
                    <a:pt x="0" y="180"/>
                  </a:lnTo>
                  <a:lnTo>
                    <a:pt x="0" y="176"/>
                  </a:lnTo>
                  <a:lnTo>
                    <a:pt x="0" y="174"/>
                  </a:lnTo>
                  <a:lnTo>
                    <a:pt x="0" y="170"/>
                  </a:lnTo>
                  <a:lnTo>
                    <a:pt x="0" y="168"/>
                  </a:lnTo>
                  <a:lnTo>
                    <a:pt x="0" y="164"/>
                  </a:lnTo>
                  <a:lnTo>
                    <a:pt x="0" y="162"/>
                  </a:lnTo>
                  <a:lnTo>
                    <a:pt x="0" y="160"/>
                  </a:lnTo>
                  <a:lnTo>
                    <a:pt x="0" y="156"/>
                  </a:lnTo>
                  <a:lnTo>
                    <a:pt x="2" y="154"/>
                  </a:lnTo>
                  <a:lnTo>
                    <a:pt x="2" y="152"/>
                  </a:lnTo>
                  <a:lnTo>
                    <a:pt x="2" y="152"/>
                  </a:lnTo>
                  <a:lnTo>
                    <a:pt x="2" y="152"/>
                  </a:lnTo>
                  <a:lnTo>
                    <a:pt x="4" y="150"/>
                  </a:lnTo>
                  <a:lnTo>
                    <a:pt x="6" y="150"/>
                  </a:lnTo>
                  <a:lnTo>
                    <a:pt x="6" y="148"/>
                  </a:lnTo>
                  <a:lnTo>
                    <a:pt x="8" y="148"/>
                  </a:lnTo>
                  <a:lnTo>
                    <a:pt x="10" y="146"/>
                  </a:lnTo>
                  <a:lnTo>
                    <a:pt x="10" y="146"/>
                  </a:lnTo>
                  <a:lnTo>
                    <a:pt x="10" y="146"/>
                  </a:lnTo>
                  <a:lnTo>
                    <a:pt x="10" y="146"/>
                  </a:lnTo>
                  <a:lnTo>
                    <a:pt x="10" y="144"/>
                  </a:lnTo>
                  <a:lnTo>
                    <a:pt x="10" y="144"/>
                  </a:lnTo>
                  <a:lnTo>
                    <a:pt x="10" y="144"/>
                  </a:lnTo>
                  <a:lnTo>
                    <a:pt x="10" y="144"/>
                  </a:lnTo>
                  <a:lnTo>
                    <a:pt x="10" y="142"/>
                  </a:lnTo>
                  <a:lnTo>
                    <a:pt x="8" y="142"/>
                  </a:lnTo>
                  <a:lnTo>
                    <a:pt x="6" y="140"/>
                  </a:lnTo>
                  <a:lnTo>
                    <a:pt x="4" y="140"/>
                  </a:lnTo>
                  <a:lnTo>
                    <a:pt x="4" y="138"/>
                  </a:lnTo>
                  <a:lnTo>
                    <a:pt x="4" y="136"/>
                  </a:lnTo>
                  <a:lnTo>
                    <a:pt x="4" y="134"/>
                  </a:lnTo>
                  <a:lnTo>
                    <a:pt x="4" y="132"/>
                  </a:lnTo>
                  <a:lnTo>
                    <a:pt x="4" y="130"/>
                  </a:lnTo>
                  <a:lnTo>
                    <a:pt x="4" y="130"/>
                  </a:lnTo>
                  <a:lnTo>
                    <a:pt x="4" y="130"/>
                  </a:lnTo>
                  <a:lnTo>
                    <a:pt x="4" y="128"/>
                  </a:lnTo>
                  <a:lnTo>
                    <a:pt x="6" y="126"/>
                  </a:lnTo>
                  <a:lnTo>
                    <a:pt x="6" y="124"/>
                  </a:lnTo>
                  <a:lnTo>
                    <a:pt x="6" y="124"/>
                  </a:lnTo>
                  <a:lnTo>
                    <a:pt x="8" y="122"/>
                  </a:lnTo>
                  <a:lnTo>
                    <a:pt x="8" y="120"/>
                  </a:lnTo>
                  <a:lnTo>
                    <a:pt x="8" y="116"/>
                  </a:lnTo>
                  <a:lnTo>
                    <a:pt x="8" y="112"/>
                  </a:lnTo>
                  <a:lnTo>
                    <a:pt x="8" y="110"/>
                  </a:lnTo>
                  <a:lnTo>
                    <a:pt x="8" y="108"/>
                  </a:lnTo>
                  <a:lnTo>
                    <a:pt x="10" y="108"/>
                  </a:lnTo>
                  <a:lnTo>
                    <a:pt x="10" y="106"/>
                  </a:lnTo>
                  <a:lnTo>
                    <a:pt x="10" y="106"/>
                  </a:lnTo>
                  <a:lnTo>
                    <a:pt x="10" y="106"/>
                  </a:lnTo>
                  <a:lnTo>
                    <a:pt x="14" y="104"/>
                  </a:lnTo>
                  <a:lnTo>
                    <a:pt x="16" y="104"/>
                  </a:lnTo>
                  <a:lnTo>
                    <a:pt x="16" y="102"/>
                  </a:lnTo>
                  <a:lnTo>
                    <a:pt x="16" y="102"/>
                  </a:lnTo>
                  <a:lnTo>
                    <a:pt x="18" y="100"/>
                  </a:lnTo>
                  <a:lnTo>
                    <a:pt x="18" y="100"/>
                  </a:lnTo>
                  <a:lnTo>
                    <a:pt x="18" y="98"/>
                  </a:lnTo>
                  <a:lnTo>
                    <a:pt x="18" y="96"/>
                  </a:lnTo>
                  <a:lnTo>
                    <a:pt x="18" y="94"/>
                  </a:lnTo>
                  <a:lnTo>
                    <a:pt x="16" y="90"/>
                  </a:lnTo>
                  <a:lnTo>
                    <a:pt x="16" y="86"/>
                  </a:lnTo>
                  <a:lnTo>
                    <a:pt x="16" y="82"/>
                  </a:lnTo>
                  <a:lnTo>
                    <a:pt x="16" y="80"/>
                  </a:lnTo>
                  <a:lnTo>
                    <a:pt x="16" y="80"/>
                  </a:lnTo>
                  <a:lnTo>
                    <a:pt x="16" y="78"/>
                  </a:lnTo>
                  <a:lnTo>
                    <a:pt x="16" y="76"/>
                  </a:lnTo>
                  <a:lnTo>
                    <a:pt x="18" y="76"/>
                  </a:lnTo>
                  <a:lnTo>
                    <a:pt x="18" y="76"/>
                  </a:lnTo>
                  <a:lnTo>
                    <a:pt x="20" y="74"/>
                  </a:lnTo>
                  <a:lnTo>
                    <a:pt x="22" y="72"/>
                  </a:lnTo>
                  <a:lnTo>
                    <a:pt x="24" y="72"/>
                  </a:lnTo>
                  <a:lnTo>
                    <a:pt x="24" y="70"/>
                  </a:lnTo>
                  <a:lnTo>
                    <a:pt x="26" y="70"/>
                  </a:lnTo>
                  <a:lnTo>
                    <a:pt x="26" y="68"/>
                  </a:lnTo>
                  <a:lnTo>
                    <a:pt x="26" y="66"/>
                  </a:lnTo>
                  <a:lnTo>
                    <a:pt x="26" y="64"/>
                  </a:lnTo>
                  <a:lnTo>
                    <a:pt x="26" y="60"/>
                  </a:lnTo>
                  <a:lnTo>
                    <a:pt x="28" y="56"/>
                  </a:lnTo>
                  <a:lnTo>
                    <a:pt x="28" y="52"/>
                  </a:lnTo>
                  <a:lnTo>
                    <a:pt x="28" y="50"/>
                  </a:lnTo>
                  <a:lnTo>
                    <a:pt x="28" y="48"/>
                  </a:lnTo>
                  <a:lnTo>
                    <a:pt x="28" y="46"/>
                  </a:lnTo>
                  <a:lnTo>
                    <a:pt x="30" y="44"/>
                  </a:lnTo>
                  <a:lnTo>
                    <a:pt x="30" y="42"/>
                  </a:lnTo>
                  <a:lnTo>
                    <a:pt x="30" y="42"/>
                  </a:lnTo>
                  <a:lnTo>
                    <a:pt x="32" y="42"/>
                  </a:lnTo>
                  <a:lnTo>
                    <a:pt x="32" y="40"/>
                  </a:lnTo>
                  <a:lnTo>
                    <a:pt x="34" y="40"/>
                  </a:lnTo>
                  <a:lnTo>
                    <a:pt x="36" y="40"/>
                  </a:lnTo>
                  <a:lnTo>
                    <a:pt x="38" y="40"/>
                  </a:lnTo>
                  <a:lnTo>
                    <a:pt x="38" y="40"/>
                  </a:lnTo>
                  <a:lnTo>
                    <a:pt x="38" y="40"/>
                  </a:lnTo>
                  <a:lnTo>
                    <a:pt x="38" y="38"/>
                  </a:lnTo>
                  <a:lnTo>
                    <a:pt x="38" y="38"/>
                  </a:lnTo>
                  <a:lnTo>
                    <a:pt x="38" y="38"/>
                  </a:lnTo>
                  <a:lnTo>
                    <a:pt x="38" y="36"/>
                  </a:lnTo>
                  <a:lnTo>
                    <a:pt x="38" y="36"/>
                  </a:lnTo>
                  <a:lnTo>
                    <a:pt x="36" y="34"/>
                  </a:lnTo>
                  <a:lnTo>
                    <a:pt x="34" y="32"/>
                  </a:lnTo>
                  <a:lnTo>
                    <a:pt x="32" y="32"/>
                  </a:lnTo>
                  <a:lnTo>
                    <a:pt x="30" y="30"/>
                  </a:lnTo>
                  <a:lnTo>
                    <a:pt x="30" y="28"/>
                  </a:lnTo>
                  <a:lnTo>
                    <a:pt x="28" y="28"/>
                  </a:lnTo>
                  <a:lnTo>
                    <a:pt x="28" y="26"/>
                  </a:lnTo>
                  <a:lnTo>
                    <a:pt x="28" y="26"/>
                  </a:lnTo>
                  <a:lnTo>
                    <a:pt x="28" y="24"/>
                  </a:lnTo>
                  <a:lnTo>
                    <a:pt x="28" y="22"/>
                  </a:lnTo>
                  <a:lnTo>
                    <a:pt x="28" y="20"/>
                  </a:lnTo>
                  <a:lnTo>
                    <a:pt x="28" y="18"/>
                  </a:lnTo>
                  <a:lnTo>
                    <a:pt x="28" y="16"/>
                  </a:lnTo>
                  <a:lnTo>
                    <a:pt x="28" y="16"/>
                  </a:lnTo>
                  <a:lnTo>
                    <a:pt x="28" y="14"/>
                  </a:lnTo>
                  <a:lnTo>
                    <a:pt x="28" y="14"/>
                  </a:lnTo>
                  <a:lnTo>
                    <a:pt x="28" y="14"/>
                  </a:lnTo>
                  <a:lnTo>
                    <a:pt x="30" y="12"/>
                  </a:lnTo>
                  <a:lnTo>
                    <a:pt x="30" y="12"/>
                  </a:lnTo>
                  <a:lnTo>
                    <a:pt x="32" y="12"/>
                  </a:lnTo>
                  <a:lnTo>
                    <a:pt x="34" y="12"/>
                  </a:lnTo>
                  <a:lnTo>
                    <a:pt x="36" y="12"/>
                  </a:lnTo>
                  <a:lnTo>
                    <a:pt x="38" y="10"/>
                  </a:lnTo>
                  <a:lnTo>
                    <a:pt x="40" y="12"/>
                  </a:lnTo>
                  <a:lnTo>
                    <a:pt x="40" y="12"/>
                  </a:lnTo>
                  <a:lnTo>
                    <a:pt x="42" y="12"/>
                  </a:lnTo>
                  <a:lnTo>
                    <a:pt x="42" y="12"/>
                  </a:lnTo>
                  <a:lnTo>
                    <a:pt x="44" y="12"/>
                  </a:lnTo>
                  <a:lnTo>
                    <a:pt x="44" y="14"/>
                  </a:lnTo>
                  <a:lnTo>
                    <a:pt x="46" y="16"/>
                  </a:lnTo>
                  <a:lnTo>
                    <a:pt x="48" y="18"/>
                  </a:lnTo>
                  <a:lnTo>
                    <a:pt x="50" y="22"/>
                  </a:lnTo>
                  <a:lnTo>
                    <a:pt x="50" y="22"/>
                  </a:lnTo>
                  <a:lnTo>
                    <a:pt x="50" y="24"/>
                  </a:lnTo>
                  <a:lnTo>
                    <a:pt x="52" y="26"/>
                  </a:lnTo>
                  <a:lnTo>
                    <a:pt x="54" y="28"/>
                  </a:lnTo>
                  <a:lnTo>
                    <a:pt x="54" y="30"/>
                  </a:lnTo>
                  <a:lnTo>
                    <a:pt x="54" y="30"/>
                  </a:lnTo>
                  <a:lnTo>
                    <a:pt x="56" y="30"/>
                  </a:lnTo>
                  <a:lnTo>
                    <a:pt x="56" y="30"/>
                  </a:lnTo>
                  <a:lnTo>
                    <a:pt x="56" y="30"/>
                  </a:lnTo>
                  <a:lnTo>
                    <a:pt x="56" y="30"/>
                  </a:lnTo>
                  <a:lnTo>
                    <a:pt x="58" y="30"/>
                  </a:lnTo>
                  <a:lnTo>
                    <a:pt x="58" y="28"/>
                  </a:lnTo>
                  <a:lnTo>
                    <a:pt x="58" y="28"/>
                  </a:lnTo>
                  <a:lnTo>
                    <a:pt x="58" y="26"/>
                  </a:lnTo>
                  <a:lnTo>
                    <a:pt x="60" y="24"/>
                  </a:lnTo>
                  <a:lnTo>
                    <a:pt x="60" y="22"/>
                  </a:lnTo>
                  <a:lnTo>
                    <a:pt x="60" y="20"/>
                  </a:lnTo>
                  <a:lnTo>
                    <a:pt x="60" y="18"/>
                  </a:lnTo>
                  <a:lnTo>
                    <a:pt x="60" y="16"/>
                  </a:lnTo>
                  <a:lnTo>
                    <a:pt x="60" y="10"/>
                  </a:lnTo>
                  <a:lnTo>
                    <a:pt x="60" y="6"/>
                  </a:lnTo>
                  <a:lnTo>
                    <a:pt x="58"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6" name="Freeform 527"/>
            <p:cNvSpPr>
              <a:spLocks/>
            </p:cNvSpPr>
            <p:nvPr/>
          </p:nvSpPr>
          <p:spPr bwMode="auto">
            <a:xfrm>
              <a:off x="1279650" y="3170483"/>
              <a:ext cx="1409909" cy="789826"/>
            </a:xfrm>
            <a:custGeom>
              <a:avLst/>
              <a:gdLst>
                <a:gd name="T0" fmla="*/ 464 w 814"/>
                <a:gd name="T1" fmla="*/ 10 h 456"/>
                <a:gd name="T2" fmla="*/ 542 w 814"/>
                <a:gd name="T3" fmla="*/ 20 h 456"/>
                <a:gd name="T4" fmla="*/ 590 w 814"/>
                <a:gd name="T5" fmla="*/ 70 h 456"/>
                <a:gd name="T6" fmla="*/ 588 w 814"/>
                <a:gd name="T7" fmla="*/ 122 h 456"/>
                <a:gd name="T8" fmla="*/ 596 w 814"/>
                <a:gd name="T9" fmla="*/ 144 h 456"/>
                <a:gd name="T10" fmla="*/ 642 w 814"/>
                <a:gd name="T11" fmla="*/ 108 h 456"/>
                <a:gd name="T12" fmla="*/ 680 w 814"/>
                <a:gd name="T13" fmla="*/ 104 h 456"/>
                <a:gd name="T14" fmla="*/ 702 w 814"/>
                <a:gd name="T15" fmla="*/ 74 h 456"/>
                <a:gd name="T16" fmla="*/ 762 w 814"/>
                <a:gd name="T17" fmla="*/ 68 h 456"/>
                <a:gd name="T18" fmla="*/ 786 w 814"/>
                <a:gd name="T19" fmla="*/ 26 h 456"/>
                <a:gd name="T20" fmla="*/ 802 w 814"/>
                <a:gd name="T21" fmla="*/ 62 h 456"/>
                <a:gd name="T22" fmla="*/ 802 w 814"/>
                <a:gd name="T23" fmla="*/ 86 h 456"/>
                <a:gd name="T24" fmla="*/ 780 w 814"/>
                <a:gd name="T25" fmla="*/ 94 h 456"/>
                <a:gd name="T26" fmla="*/ 766 w 814"/>
                <a:gd name="T27" fmla="*/ 102 h 456"/>
                <a:gd name="T28" fmla="*/ 756 w 814"/>
                <a:gd name="T29" fmla="*/ 128 h 456"/>
                <a:gd name="T30" fmla="*/ 746 w 814"/>
                <a:gd name="T31" fmla="*/ 144 h 456"/>
                <a:gd name="T32" fmla="*/ 716 w 814"/>
                <a:gd name="T33" fmla="*/ 164 h 456"/>
                <a:gd name="T34" fmla="*/ 692 w 814"/>
                <a:gd name="T35" fmla="*/ 184 h 456"/>
                <a:gd name="T36" fmla="*/ 672 w 814"/>
                <a:gd name="T37" fmla="*/ 214 h 456"/>
                <a:gd name="T38" fmla="*/ 676 w 814"/>
                <a:gd name="T39" fmla="*/ 234 h 456"/>
                <a:gd name="T40" fmla="*/ 662 w 814"/>
                <a:gd name="T41" fmla="*/ 264 h 456"/>
                <a:gd name="T42" fmla="*/ 646 w 814"/>
                <a:gd name="T43" fmla="*/ 272 h 456"/>
                <a:gd name="T44" fmla="*/ 620 w 814"/>
                <a:gd name="T45" fmla="*/ 288 h 456"/>
                <a:gd name="T46" fmla="*/ 602 w 814"/>
                <a:gd name="T47" fmla="*/ 308 h 456"/>
                <a:gd name="T48" fmla="*/ 586 w 814"/>
                <a:gd name="T49" fmla="*/ 362 h 456"/>
                <a:gd name="T50" fmla="*/ 594 w 814"/>
                <a:gd name="T51" fmla="*/ 396 h 456"/>
                <a:gd name="T52" fmla="*/ 602 w 814"/>
                <a:gd name="T53" fmla="*/ 452 h 456"/>
                <a:gd name="T54" fmla="*/ 576 w 814"/>
                <a:gd name="T55" fmla="*/ 438 h 456"/>
                <a:gd name="T56" fmla="*/ 564 w 814"/>
                <a:gd name="T57" fmla="*/ 380 h 456"/>
                <a:gd name="T58" fmla="*/ 538 w 814"/>
                <a:gd name="T59" fmla="*/ 350 h 456"/>
                <a:gd name="T60" fmla="*/ 500 w 814"/>
                <a:gd name="T61" fmla="*/ 346 h 456"/>
                <a:gd name="T62" fmla="*/ 466 w 814"/>
                <a:gd name="T63" fmla="*/ 362 h 456"/>
                <a:gd name="T64" fmla="*/ 446 w 814"/>
                <a:gd name="T65" fmla="*/ 372 h 456"/>
                <a:gd name="T66" fmla="*/ 434 w 814"/>
                <a:gd name="T67" fmla="*/ 348 h 456"/>
                <a:gd name="T68" fmla="*/ 420 w 814"/>
                <a:gd name="T69" fmla="*/ 368 h 456"/>
                <a:gd name="T70" fmla="*/ 400 w 814"/>
                <a:gd name="T71" fmla="*/ 354 h 456"/>
                <a:gd name="T72" fmla="*/ 360 w 814"/>
                <a:gd name="T73" fmla="*/ 396 h 456"/>
                <a:gd name="T74" fmla="*/ 328 w 814"/>
                <a:gd name="T75" fmla="*/ 424 h 456"/>
                <a:gd name="T76" fmla="*/ 316 w 814"/>
                <a:gd name="T77" fmla="*/ 400 h 456"/>
                <a:gd name="T78" fmla="*/ 298 w 814"/>
                <a:gd name="T79" fmla="*/ 366 h 456"/>
                <a:gd name="T80" fmla="*/ 278 w 814"/>
                <a:gd name="T81" fmla="*/ 368 h 456"/>
                <a:gd name="T82" fmla="*/ 258 w 814"/>
                <a:gd name="T83" fmla="*/ 364 h 456"/>
                <a:gd name="T84" fmla="*/ 244 w 814"/>
                <a:gd name="T85" fmla="*/ 342 h 456"/>
                <a:gd name="T86" fmla="*/ 230 w 814"/>
                <a:gd name="T87" fmla="*/ 328 h 456"/>
                <a:gd name="T88" fmla="*/ 216 w 814"/>
                <a:gd name="T89" fmla="*/ 322 h 456"/>
                <a:gd name="T90" fmla="*/ 198 w 814"/>
                <a:gd name="T91" fmla="*/ 334 h 456"/>
                <a:gd name="T92" fmla="*/ 146 w 814"/>
                <a:gd name="T93" fmla="*/ 336 h 456"/>
                <a:gd name="T94" fmla="*/ 112 w 814"/>
                <a:gd name="T95" fmla="*/ 310 h 456"/>
                <a:gd name="T96" fmla="*/ 80 w 814"/>
                <a:gd name="T97" fmla="*/ 292 h 456"/>
                <a:gd name="T98" fmla="*/ 46 w 814"/>
                <a:gd name="T99" fmla="*/ 274 h 456"/>
                <a:gd name="T100" fmla="*/ 36 w 814"/>
                <a:gd name="T101" fmla="*/ 248 h 456"/>
                <a:gd name="T102" fmla="*/ 22 w 814"/>
                <a:gd name="T103" fmla="*/ 230 h 456"/>
                <a:gd name="T104" fmla="*/ 4 w 814"/>
                <a:gd name="T105" fmla="*/ 196 h 456"/>
                <a:gd name="T106" fmla="*/ 4 w 814"/>
                <a:gd name="T107" fmla="*/ 150 h 456"/>
                <a:gd name="T108" fmla="*/ 4 w 814"/>
                <a:gd name="T109" fmla="*/ 130 h 456"/>
                <a:gd name="T110" fmla="*/ 16 w 814"/>
                <a:gd name="T111" fmla="*/ 102 h 456"/>
                <a:gd name="T112" fmla="*/ 26 w 814"/>
                <a:gd name="T113" fmla="*/ 68 h 456"/>
                <a:gd name="T114" fmla="*/ 38 w 814"/>
                <a:gd name="T115" fmla="*/ 38 h 456"/>
                <a:gd name="T116" fmla="*/ 28 w 814"/>
                <a:gd name="T117" fmla="*/ 14 h 456"/>
                <a:gd name="T118" fmla="*/ 54 w 814"/>
                <a:gd name="T119" fmla="*/ 3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456">
                  <a:moveTo>
                    <a:pt x="58" y="2"/>
                  </a:moveTo>
                  <a:lnTo>
                    <a:pt x="442" y="0"/>
                  </a:lnTo>
                  <a:lnTo>
                    <a:pt x="440" y="2"/>
                  </a:lnTo>
                  <a:lnTo>
                    <a:pt x="440" y="4"/>
                  </a:lnTo>
                  <a:lnTo>
                    <a:pt x="440" y="6"/>
                  </a:lnTo>
                  <a:lnTo>
                    <a:pt x="440" y="8"/>
                  </a:lnTo>
                  <a:lnTo>
                    <a:pt x="440" y="10"/>
                  </a:lnTo>
                  <a:lnTo>
                    <a:pt x="440" y="10"/>
                  </a:lnTo>
                  <a:lnTo>
                    <a:pt x="440" y="10"/>
                  </a:lnTo>
                  <a:lnTo>
                    <a:pt x="440" y="10"/>
                  </a:lnTo>
                  <a:lnTo>
                    <a:pt x="442" y="12"/>
                  </a:lnTo>
                  <a:lnTo>
                    <a:pt x="444" y="12"/>
                  </a:lnTo>
                  <a:lnTo>
                    <a:pt x="444" y="12"/>
                  </a:lnTo>
                  <a:lnTo>
                    <a:pt x="446" y="12"/>
                  </a:lnTo>
                  <a:lnTo>
                    <a:pt x="448" y="12"/>
                  </a:lnTo>
                  <a:lnTo>
                    <a:pt x="452" y="12"/>
                  </a:lnTo>
                  <a:lnTo>
                    <a:pt x="456" y="12"/>
                  </a:lnTo>
                  <a:lnTo>
                    <a:pt x="460" y="10"/>
                  </a:lnTo>
                  <a:lnTo>
                    <a:pt x="464" y="10"/>
                  </a:lnTo>
                  <a:lnTo>
                    <a:pt x="464" y="10"/>
                  </a:lnTo>
                  <a:lnTo>
                    <a:pt x="466" y="10"/>
                  </a:lnTo>
                  <a:lnTo>
                    <a:pt x="470" y="10"/>
                  </a:lnTo>
                  <a:lnTo>
                    <a:pt x="476" y="10"/>
                  </a:lnTo>
                  <a:lnTo>
                    <a:pt x="486" y="12"/>
                  </a:lnTo>
                  <a:lnTo>
                    <a:pt x="498" y="14"/>
                  </a:lnTo>
                  <a:lnTo>
                    <a:pt x="502" y="14"/>
                  </a:lnTo>
                  <a:lnTo>
                    <a:pt x="506" y="14"/>
                  </a:lnTo>
                  <a:lnTo>
                    <a:pt x="508" y="14"/>
                  </a:lnTo>
                  <a:lnTo>
                    <a:pt x="512" y="14"/>
                  </a:lnTo>
                  <a:lnTo>
                    <a:pt x="520" y="14"/>
                  </a:lnTo>
                  <a:lnTo>
                    <a:pt x="522" y="12"/>
                  </a:lnTo>
                  <a:lnTo>
                    <a:pt x="526" y="12"/>
                  </a:lnTo>
                  <a:lnTo>
                    <a:pt x="530" y="14"/>
                  </a:lnTo>
                  <a:lnTo>
                    <a:pt x="530" y="14"/>
                  </a:lnTo>
                  <a:lnTo>
                    <a:pt x="532" y="14"/>
                  </a:lnTo>
                  <a:lnTo>
                    <a:pt x="532" y="14"/>
                  </a:lnTo>
                  <a:lnTo>
                    <a:pt x="534" y="14"/>
                  </a:lnTo>
                  <a:lnTo>
                    <a:pt x="536" y="16"/>
                  </a:lnTo>
                  <a:lnTo>
                    <a:pt x="540" y="18"/>
                  </a:lnTo>
                  <a:lnTo>
                    <a:pt x="542" y="20"/>
                  </a:lnTo>
                  <a:lnTo>
                    <a:pt x="548" y="26"/>
                  </a:lnTo>
                  <a:lnTo>
                    <a:pt x="550" y="28"/>
                  </a:lnTo>
                  <a:lnTo>
                    <a:pt x="552" y="28"/>
                  </a:lnTo>
                  <a:lnTo>
                    <a:pt x="554" y="30"/>
                  </a:lnTo>
                  <a:lnTo>
                    <a:pt x="558" y="32"/>
                  </a:lnTo>
                  <a:lnTo>
                    <a:pt x="564" y="34"/>
                  </a:lnTo>
                  <a:lnTo>
                    <a:pt x="568" y="36"/>
                  </a:lnTo>
                  <a:lnTo>
                    <a:pt x="570" y="38"/>
                  </a:lnTo>
                  <a:lnTo>
                    <a:pt x="574" y="40"/>
                  </a:lnTo>
                  <a:lnTo>
                    <a:pt x="574" y="40"/>
                  </a:lnTo>
                  <a:lnTo>
                    <a:pt x="576" y="42"/>
                  </a:lnTo>
                  <a:lnTo>
                    <a:pt x="576" y="42"/>
                  </a:lnTo>
                  <a:lnTo>
                    <a:pt x="578" y="44"/>
                  </a:lnTo>
                  <a:lnTo>
                    <a:pt x="578" y="46"/>
                  </a:lnTo>
                  <a:lnTo>
                    <a:pt x="580" y="48"/>
                  </a:lnTo>
                  <a:lnTo>
                    <a:pt x="582" y="52"/>
                  </a:lnTo>
                  <a:lnTo>
                    <a:pt x="584" y="56"/>
                  </a:lnTo>
                  <a:lnTo>
                    <a:pt x="588" y="64"/>
                  </a:lnTo>
                  <a:lnTo>
                    <a:pt x="590" y="68"/>
                  </a:lnTo>
                  <a:lnTo>
                    <a:pt x="590" y="70"/>
                  </a:lnTo>
                  <a:lnTo>
                    <a:pt x="592" y="74"/>
                  </a:lnTo>
                  <a:lnTo>
                    <a:pt x="594" y="78"/>
                  </a:lnTo>
                  <a:lnTo>
                    <a:pt x="596" y="80"/>
                  </a:lnTo>
                  <a:lnTo>
                    <a:pt x="600" y="84"/>
                  </a:lnTo>
                  <a:lnTo>
                    <a:pt x="602" y="88"/>
                  </a:lnTo>
                  <a:lnTo>
                    <a:pt x="602" y="90"/>
                  </a:lnTo>
                  <a:lnTo>
                    <a:pt x="604" y="92"/>
                  </a:lnTo>
                  <a:lnTo>
                    <a:pt x="604" y="94"/>
                  </a:lnTo>
                  <a:lnTo>
                    <a:pt x="604" y="96"/>
                  </a:lnTo>
                  <a:lnTo>
                    <a:pt x="604" y="98"/>
                  </a:lnTo>
                  <a:lnTo>
                    <a:pt x="604" y="100"/>
                  </a:lnTo>
                  <a:lnTo>
                    <a:pt x="604" y="100"/>
                  </a:lnTo>
                  <a:lnTo>
                    <a:pt x="604" y="102"/>
                  </a:lnTo>
                  <a:lnTo>
                    <a:pt x="604" y="104"/>
                  </a:lnTo>
                  <a:lnTo>
                    <a:pt x="602" y="106"/>
                  </a:lnTo>
                  <a:lnTo>
                    <a:pt x="602" y="108"/>
                  </a:lnTo>
                  <a:lnTo>
                    <a:pt x="600" y="110"/>
                  </a:lnTo>
                  <a:lnTo>
                    <a:pt x="598" y="112"/>
                  </a:lnTo>
                  <a:lnTo>
                    <a:pt x="592" y="120"/>
                  </a:lnTo>
                  <a:lnTo>
                    <a:pt x="588" y="122"/>
                  </a:lnTo>
                  <a:lnTo>
                    <a:pt x="588" y="124"/>
                  </a:lnTo>
                  <a:lnTo>
                    <a:pt x="586" y="126"/>
                  </a:lnTo>
                  <a:lnTo>
                    <a:pt x="584" y="128"/>
                  </a:lnTo>
                  <a:lnTo>
                    <a:pt x="582" y="130"/>
                  </a:lnTo>
                  <a:lnTo>
                    <a:pt x="580" y="132"/>
                  </a:lnTo>
                  <a:lnTo>
                    <a:pt x="580" y="134"/>
                  </a:lnTo>
                  <a:lnTo>
                    <a:pt x="580" y="134"/>
                  </a:lnTo>
                  <a:lnTo>
                    <a:pt x="580" y="134"/>
                  </a:lnTo>
                  <a:lnTo>
                    <a:pt x="580" y="136"/>
                  </a:lnTo>
                  <a:lnTo>
                    <a:pt x="580" y="136"/>
                  </a:lnTo>
                  <a:lnTo>
                    <a:pt x="580" y="138"/>
                  </a:lnTo>
                  <a:lnTo>
                    <a:pt x="580" y="138"/>
                  </a:lnTo>
                  <a:lnTo>
                    <a:pt x="582" y="138"/>
                  </a:lnTo>
                  <a:lnTo>
                    <a:pt x="582" y="140"/>
                  </a:lnTo>
                  <a:lnTo>
                    <a:pt x="584" y="140"/>
                  </a:lnTo>
                  <a:lnTo>
                    <a:pt x="586" y="142"/>
                  </a:lnTo>
                  <a:lnTo>
                    <a:pt x="588" y="142"/>
                  </a:lnTo>
                  <a:lnTo>
                    <a:pt x="588" y="142"/>
                  </a:lnTo>
                  <a:lnTo>
                    <a:pt x="592" y="144"/>
                  </a:lnTo>
                  <a:lnTo>
                    <a:pt x="596" y="144"/>
                  </a:lnTo>
                  <a:lnTo>
                    <a:pt x="598" y="144"/>
                  </a:lnTo>
                  <a:lnTo>
                    <a:pt x="600" y="144"/>
                  </a:lnTo>
                  <a:lnTo>
                    <a:pt x="600" y="144"/>
                  </a:lnTo>
                  <a:lnTo>
                    <a:pt x="602" y="144"/>
                  </a:lnTo>
                  <a:lnTo>
                    <a:pt x="604" y="144"/>
                  </a:lnTo>
                  <a:lnTo>
                    <a:pt x="606" y="142"/>
                  </a:lnTo>
                  <a:lnTo>
                    <a:pt x="610" y="140"/>
                  </a:lnTo>
                  <a:lnTo>
                    <a:pt x="612" y="140"/>
                  </a:lnTo>
                  <a:lnTo>
                    <a:pt x="614" y="138"/>
                  </a:lnTo>
                  <a:lnTo>
                    <a:pt x="618" y="132"/>
                  </a:lnTo>
                  <a:lnTo>
                    <a:pt x="622" y="128"/>
                  </a:lnTo>
                  <a:lnTo>
                    <a:pt x="626" y="124"/>
                  </a:lnTo>
                  <a:lnTo>
                    <a:pt x="630" y="120"/>
                  </a:lnTo>
                  <a:lnTo>
                    <a:pt x="630" y="118"/>
                  </a:lnTo>
                  <a:lnTo>
                    <a:pt x="632" y="118"/>
                  </a:lnTo>
                  <a:lnTo>
                    <a:pt x="634" y="116"/>
                  </a:lnTo>
                  <a:lnTo>
                    <a:pt x="634" y="114"/>
                  </a:lnTo>
                  <a:lnTo>
                    <a:pt x="638" y="110"/>
                  </a:lnTo>
                  <a:lnTo>
                    <a:pt x="640" y="110"/>
                  </a:lnTo>
                  <a:lnTo>
                    <a:pt x="642" y="108"/>
                  </a:lnTo>
                  <a:lnTo>
                    <a:pt x="644" y="106"/>
                  </a:lnTo>
                  <a:lnTo>
                    <a:pt x="644" y="106"/>
                  </a:lnTo>
                  <a:lnTo>
                    <a:pt x="644" y="106"/>
                  </a:lnTo>
                  <a:lnTo>
                    <a:pt x="646" y="106"/>
                  </a:lnTo>
                  <a:lnTo>
                    <a:pt x="648" y="106"/>
                  </a:lnTo>
                  <a:lnTo>
                    <a:pt x="650" y="106"/>
                  </a:lnTo>
                  <a:lnTo>
                    <a:pt x="652" y="106"/>
                  </a:lnTo>
                  <a:lnTo>
                    <a:pt x="656" y="106"/>
                  </a:lnTo>
                  <a:lnTo>
                    <a:pt x="662" y="108"/>
                  </a:lnTo>
                  <a:lnTo>
                    <a:pt x="666" y="108"/>
                  </a:lnTo>
                  <a:lnTo>
                    <a:pt x="668" y="108"/>
                  </a:lnTo>
                  <a:lnTo>
                    <a:pt x="670" y="108"/>
                  </a:lnTo>
                  <a:lnTo>
                    <a:pt x="672" y="108"/>
                  </a:lnTo>
                  <a:lnTo>
                    <a:pt x="674" y="108"/>
                  </a:lnTo>
                  <a:lnTo>
                    <a:pt x="676" y="108"/>
                  </a:lnTo>
                  <a:lnTo>
                    <a:pt x="676" y="108"/>
                  </a:lnTo>
                  <a:lnTo>
                    <a:pt x="678" y="106"/>
                  </a:lnTo>
                  <a:lnTo>
                    <a:pt x="678" y="106"/>
                  </a:lnTo>
                  <a:lnTo>
                    <a:pt x="678" y="106"/>
                  </a:lnTo>
                  <a:lnTo>
                    <a:pt x="680" y="104"/>
                  </a:lnTo>
                  <a:lnTo>
                    <a:pt x="680" y="102"/>
                  </a:lnTo>
                  <a:lnTo>
                    <a:pt x="680" y="100"/>
                  </a:lnTo>
                  <a:lnTo>
                    <a:pt x="682" y="96"/>
                  </a:lnTo>
                  <a:lnTo>
                    <a:pt x="682" y="94"/>
                  </a:lnTo>
                  <a:lnTo>
                    <a:pt x="682" y="90"/>
                  </a:lnTo>
                  <a:lnTo>
                    <a:pt x="682" y="88"/>
                  </a:lnTo>
                  <a:lnTo>
                    <a:pt x="684" y="86"/>
                  </a:lnTo>
                  <a:lnTo>
                    <a:pt x="684" y="86"/>
                  </a:lnTo>
                  <a:lnTo>
                    <a:pt x="684" y="84"/>
                  </a:lnTo>
                  <a:lnTo>
                    <a:pt x="686" y="82"/>
                  </a:lnTo>
                  <a:lnTo>
                    <a:pt x="688" y="80"/>
                  </a:lnTo>
                  <a:lnTo>
                    <a:pt x="688" y="80"/>
                  </a:lnTo>
                  <a:lnTo>
                    <a:pt x="690" y="78"/>
                  </a:lnTo>
                  <a:lnTo>
                    <a:pt x="692" y="76"/>
                  </a:lnTo>
                  <a:lnTo>
                    <a:pt x="694" y="76"/>
                  </a:lnTo>
                  <a:lnTo>
                    <a:pt x="696" y="74"/>
                  </a:lnTo>
                  <a:lnTo>
                    <a:pt x="696" y="74"/>
                  </a:lnTo>
                  <a:lnTo>
                    <a:pt x="698" y="74"/>
                  </a:lnTo>
                  <a:lnTo>
                    <a:pt x="700" y="74"/>
                  </a:lnTo>
                  <a:lnTo>
                    <a:pt x="702" y="74"/>
                  </a:lnTo>
                  <a:lnTo>
                    <a:pt x="704" y="74"/>
                  </a:lnTo>
                  <a:lnTo>
                    <a:pt x="708" y="74"/>
                  </a:lnTo>
                  <a:lnTo>
                    <a:pt x="712" y="74"/>
                  </a:lnTo>
                  <a:lnTo>
                    <a:pt x="716" y="74"/>
                  </a:lnTo>
                  <a:lnTo>
                    <a:pt x="724" y="76"/>
                  </a:lnTo>
                  <a:lnTo>
                    <a:pt x="734" y="78"/>
                  </a:lnTo>
                  <a:lnTo>
                    <a:pt x="738" y="78"/>
                  </a:lnTo>
                  <a:lnTo>
                    <a:pt x="742" y="80"/>
                  </a:lnTo>
                  <a:lnTo>
                    <a:pt x="746" y="80"/>
                  </a:lnTo>
                  <a:lnTo>
                    <a:pt x="748" y="80"/>
                  </a:lnTo>
                  <a:lnTo>
                    <a:pt x="750" y="80"/>
                  </a:lnTo>
                  <a:lnTo>
                    <a:pt x="752" y="78"/>
                  </a:lnTo>
                  <a:lnTo>
                    <a:pt x="754" y="78"/>
                  </a:lnTo>
                  <a:lnTo>
                    <a:pt x="754" y="78"/>
                  </a:lnTo>
                  <a:lnTo>
                    <a:pt x="754" y="78"/>
                  </a:lnTo>
                  <a:lnTo>
                    <a:pt x="756" y="78"/>
                  </a:lnTo>
                  <a:lnTo>
                    <a:pt x="758" y="76"/>
                  </a:lnTo>
                  <a:lnTo>
                    <a:pt x="758" y="74"/>
                  </a:lnTo>
                  <a:lnTo>
                    <a:pt x="760" y="72"/>
                  </a:lnTo>
                  <a:lnTo>
                    <a:pt x="762" y="68"/>
                  </a:lnTo>
                  <a:lnTo>
                    <a:pt x="764" y="64"/>
                  </a:lnTo>
                  <a:lnTo>
                    <a:pt x="766" y="62"/>
                  </a:lnTo>
                  <a:lnTo>
                    <a:pt x="768" y="58"/>
                  </a:lnTo>
                  <a:lnTo>
                    <a:pt x="770" y="54"/>
                  </a:lnTo>
                  <a:lnTo>
                    <a:pt x="772" y="50"/>
                  </a:lnTo>
                  <a:lnTo>
                    <a:pt x="772" y="50"/>
                  </a:lnTo>
                  <a:lnTo>
                    <a:pt x="772" y="48"/>
                  </a:lnTo>
                  <a:lnTo>
                    <a:pt x="774" y="44"/>
                  </a:lnTo>
                  <a:lnTo>
                    <a:pt x="776" y="38"/>
                  </a:lnTo>
                  <a:lnTo>
                    <a:pt x="776" y="34"/>
                  </a:lnTo>
                  <a:lnTo>
                    <a:pt x="776" y="32"/>
                  </a:lnTo>
                  <a:lnTo>
                    <a:pt x="778" y="30"/>
                  </a:lnTo>
                  <a:lnTo>
                    <a:pt x="778" y="30"/>
                  </a:lnTo>
                  <a:lnTo>
                    <a:pt x="778" y="28"/>
                  </a:lnTo>
                  <a:lnTo>
                    <a:pt x="780" y="28"/>
                  </a:lnTo>
                  <a:lnTo>
                    <a:pt x="780" y="26"/>
                  </a:lnTo>
                  <a:lnTo>
                    <a:pt x="782" y="26"/>
                  </a:lnTo>
                  <a:lnTo>
                    <a:pt x="782" y="26"/>
                  </a:lnTo>
                  <a:lnTo>
                    <a:pt x="784" y="26"/>
                  </a:lnTo>
                  <a:lnTo>
                    <a:pt x="786" y="26"/>
                  </a:lnTo>
                  <a:lnTo>
                    <a:pt x="788" y="26"/>
                  </a:lnTo>
                  <a:lnTo>
                    <a:pt x="792" y="26"/>
                  </a:lnTo>
                  <a:lnTo>
                    <a:pt x="794" y="26"/>
                  </a:lnTo>
                  <a:lnTo>
                    <a:pt x="796" y="28"/>
                  </a:lnTo>
                  <a:lnTo>
                    <a:pt x="798" y="28"/>
                  </a:lnTo>
                  <a:lnTo>
                    <a:pt x="800" y="28"/>
                  </a:lnTo>
                  <a:lnTo>
                    <a:pt x="800" y="30"/>
                  </a:lnTo>
                  <a:lnTo>
                    <a:pt x="800" y="30"/>
                  </a:lnTo>
                  <a:lnTo>
                    <a:pt x="802" y="30"/>
                  </a:lnTo>
                  <a:lnTo>
                    <a:pt x="802" y="32"/>
                  </a:lnTo>
                  <a:lnTo>
                    <a:pt x="802" y="32"/>
                  </a:lnTo>
                  <a:lnTo>
                    <a:pt x="802" y="34"/>
                  </a:lnTo>
                  <a:lnTo>
                    <a:pt x="804" y="36"/>
                  </a:lnTo>
                  <a:lnTo>
                    <a:pt x="804" y="38"/>
                  </a:lnTo>
                  <a:lnTo>
                    <a:pt x="804" y="42"/>
                  </a:lnTo>
                  <a:lnTo>
                    <a:pt x="804" y="44"/>
                  </a:lnTo>
                  <a:lnTo>
                    <a:pt x="802" y="50"/>
                  </a:lnTo>
                  <a:lnTo>
                    <a:pt x="802" y="56"/>
                  </a:lnTo>
                  <a:lnTo>
                    <a:pt x="802" y="58"/>
                  </a:lnTo>
                  <a:lnTo>
                    <a:pt x="802" y="62"/>
                  </a:lnTo>
                  <a:lnTo>
                    <a:pt x="802" y="64"/>
                  </a:lnTo>
                  <a:lnTo>
                    <a:pt x="802" y="66"/>
                  </a:lnTo>
                  <a:lnTo>
                    <a:pt x="802" y="68"/>
                  </a:lnTo>
                  <a:lnTo>
                    <a:pt x="802" y="70"/>
                  </a:lnTo>
                  <a:lnTo>
                    <a:pt x="804" y="70"/>
                  </a:lnTo>
                  <a:lnTo>
                    <a:pt x="804" y="72"/>
                  </a:lnTo>
                  <a:lnTo>
                    <a:pt x="804" y="72"/>
                  </a:lnTo>
                  <a:lnTo>
                    <a:pt x="806" y="72"/>
                  </a:lnTo>
                  <a:lnTo>
                    <a:pt x="808" y="74"/>
                  </a:lnTo>
                  <a:lnTo>
                    <a:pt x="808" y="74"/>
                  </a:lnTo>
                  <a:lnTo>
                    <a:pt x="812" y="76"/>
                  </a:lnTo>
                  <a:lnTo>
                    <a:pt x="814" y="76"/>
                  </a:lnTo>
                  <a:lnTo>
                    <a:pt x="812" y="78"/>
                  </a:lnTo>
                  <a:lnTo>
                    <a:pt x="810" y="80"/>
                  </a:lnTo>
                  <a:lnTo>
                    <a:pt x="808" y="82"/>
                  </a:lnTo>
                  <a:lnTo>
                    <a:pt x="808" y="84"/>
                  </a:lnTo>
                  <a:lnTo>
                    <a:pt x="806" y="84"/>
                  </a:lnTo>
                  <a:lnTo>
                    <a:pt x="804" y="86"/>
                  </a:lnTo>
                  <a:lnTo>
                    <a:pt x="804" y="86"/>
                  </a:lnTo>
                  <a:lnTo>
                    <a:pt x="802" y="86"/>
                  </a:lnTo>
                  <a:lnTo>
                    <a:pt x="800" y="86"/>
                  </a:lnTo>
                  <a:lnTo>
                    <a:pt x="798" y="86"/>
                  </a:lnTo>
                  <a:lnTo>
                    <a:pt x="796" y="86"/>
                  </a:lnTo>
                  <a:lnTo>
                    <a:pt x="794" y="86"/>
                  </a:lnTo>
                  <a:lnTo>
                    <a:pt x="794" y="86"/>
                  </a:lnTo>
                  <a:lnTo>
                    <a:pt x="792" y="86"/>
                  </a:lnTo>
                  <a:lnTo>
                    <a:pt x="792" y="86"/>
                  </a:lnTo>
                  <a:lnTo>
                    <a:pt x="792" y="88"/>
                  </a:lnTo>
                  <a:lnTo>
                    <a:pt x="790" y="88"/>
                  </a:lnTo>
                  <a:lnTo>
                    <a:pt x="788" y="92"/>
                  </a:lnTo>
                  <a:lnTo>
                    <a:pt x="788" y="92"/>
                  </a:lnTo>
                  <a:lnTo>
                    <a:pt x="788" y="94"/>
                  </a:lnTo>
                  <a:lnTo>
                    <a:pt x="786" y="96"/>
                  </a:lnTo>
                  <a:lnTo>
                    <a:pt x="786" y="96"/>
                  </a:lnTo>
                  <a:lnTo>
                    <a:pt x="786" y="96"/>
                  </a:lnTo>
                  <a:lnTo>
                    <a:pt x="786" y="96"/>
                  </a:lnTo>
                  <a:lnTo>
                    <a:pt x="784" y="96"/>
                  </a:lnTo>
                  <a:lnTo>
                    <a:pt x="784" y="96"/>
                  </a:lnTo>
                  <a:lnTo>
                    <a:pt x="782" y="96"/>
                  </a:lnTo>
                  <a:lnTo>
                    <a:pt x="780" y="94"/>
                  </a:lnTo>
                  <a:lnTo>
                    <a:pt x="780" y="94"/>
                  </a:lnTo>
                  <a:lnTo>
                    <a:pt x="778" y="94"/>
                  </a:lnTo>
                  <a:lnTo>
                    <a:pt x="776" y="94"/>
                  </a:lnTo>
                  <a:lnTo>
                    <a:pt x="776" y="94"/>
                  </a:lnTo>
                  <a:lnTo>
                    <a:pt x="776" y="94"/>
                  </a:lnTo>
                  <a:lnTo>
                    <a:pt x="776" y="94"/>
                  </a:lnTo>
                  <a:lnTo>
                    <a:pt x="776" y="96"/>
                  </a:lnTo>
                  <a:lnTo>
                    <a:pt x="774" y="96"/>
                  </a:lnTo>
                  <a:lnTo>
                    <a:pt x="774" y="96"/>
                  </a:lnTo>
                  <a:lnTo>
                    <a:pt x="774" y="98"/>
                  </a:lnTo>
                  <a:lnTo>
                    <a:pt x="774" y="100"/>
                  </a:lnTo>
                  <a:lnTo>
                    <a:pt x="774" y="102"/>
                  </a:lnTo>
                  <a:lnTo>
                    <a:pt x="774" y="102"/>
                  </a:lnTo>
                  <a:lnTo>
                    <a:pt x="774" y="102"/>
                  </a:lnTo>
                  <a:lnTo>
                    <a:pt x="772" y="102"/>
                  </a:lnTo>
                  <a:lnTo>
                    <a:pt x="772" y="102"/>
                  </a:lnTo>
                  <a:lnTo>
                    <a:pt x="770" y="102"/>
                  </a:lnTo>
                  <a:lnTo>
                    <a:pt x="770" y="102"/>
                  </a:lnTo>
                  <a:lnTo>
                    <a:pt x="768" y="102"/>
                  </a:lnTo>
                  <a:lnTo>
                    <a:pt x="766" y="102"/>
                  </a:lnTo>
                  <a:lnTo>
                    <a:pt x="764" y="102"/>
                  </a:lnTo>
                  <a:lnTo>
                    <a:pt x="762" y="102"/>
                  </a:lnTo>
                  <a:lnTo>
                    <a:pt x="762" y="102"/>
                  </a:lnTo>
                  <a:lnTo>
                    <a:pt x="762" y="102"/>
                  </a:lnTo>
                  <a:lnTo>
                    <a:pt x="762" y="102"/>
                  </a:lnTo>
                  <a:lnTo>
                    <a:pt x="760" y="102"/>
                  </a:lnTo>
                  <a:lnTo>
                    <a:pt x="760" y="104"/>
                  </a:lnTo>
                  <a:lnTo>
                    <a:pt x="760" y="106"/>
                  </a:lnTo>
                  <a:lnTo>
                    <a:pt x="758" y="108"/>
                  </a:lnTo>
                  <a:lnTo>
                    <a:pt x="758" y="112"/>
                  </a:lnTo>
                  <a:lnTo>
                    <a:pt x="756" y="114"/>
                  </a:lnTo>
                  <a:lnTo>
                    <a:pt x="756" y="118"/>
                  </a:lnTo>
                  <a:lnTo>
                    <a:pt x="754" y="120"/>
                  </a:lnTo>
                  <a:lnTo>
                    <a:pt x="754" y="122"/>
                  </a:lnTo>
                  <a:lnTo>
                    <a:pt x="754" y="124"/>
                  </a:lnTo>
                  <a:lnTo>
                    <a:pt x="754" y="124"/>
                  </a:lnTo>
                  <a:lnTo>
                    <a:pt x="754" y="126"/>
                  </a:lnTo>
                  <a:lnTo>
                    <a:pt x="754" y="126"/>
                  </a:lnTo>
                  <a:lnTo>
                    <a:pt x="754" y="128"/>
                  </a:lnTo>
                  <a:lnTo>
                    <a:pt x="756" y="128"/>
                  </a:lnTo>
                  <a:lnTo>
                    <a:pt x="758" y="130"/>
                  </a:lnTo>
                  <a:lnTo>
                    <a:pt x="760" y="130"/>
                  </a:lnTo>
                  <a:lnTo>
                    <a:pt x="762" y="132"/>
                  </a:lnTo>
                  <a:lnTo>
                    <a:pt x="764" y="134"/>
                  </a:lnTo>
                  <a:lnTo>
                    <a:pt x="764" y="134"/>
                  </a:lnTo>
                  <a:lnTo>
                    <a:pt x="764" y="134"/>
                  </a:lnTo>
                  <a:lnTo>
                    <a:pt x="764" y="136"/>
                  </a:lnTo>
                  <a:lnTo>
                    <a:pt x="764" y="136"/>
                  </a:lnTo>
                  <a:lnTo>
                    <a:pt x="764" y="136"/>
                  </a:lnTo>
                  <a:lnTo>
                    <a:pt x="764" y="138"/>
                  </a:lnTo>
                  <a:lnTo>
                    <a:pt x="764" y="138"/>
                  </a:lnTo>
                  <a:lnTo>
                    <a:pt x="762" y="138"/>
                  </a:lnTo>
                  <a:lnTo>
                    <a:pt x="762" y="140"/>
                  </a:lnTo>
                  <a:lnTo>
                    <a:pt x="760" y="140"/>
                  </a:lnTo>
                  <a:lnTo>
                    <a:pt x="758" y="142"/>
                  </a:lnTo>
                  <a:lnTo>
                    <a:pt x="756" y="142"/>
                  </a:lnTo>
                  <a:lnTo>
                    <a:pt x="752" y="144"/>
                  </a:lnTo>
                  <a:lnTo>
                    <a:pt x="750" y="144"/>
                  </a:lnTo>
                  <a:lnTo>
                    <a:pt x="750" y="144"/>
                  </a:lnTo>
                  <a:lnTo>
                    <a:pt x="746" y="144"/>
                  </a:lnTo>
                  <a:lnTo>
                    <a:pt x="742" y="144"/>
                  </a:lnTo>
                  <a:lnTo>
                    <a:pt x="738" y="144"/>
                  </a:lnTo>
                  <a:lnTo>
                    <a:pt x="734" y="144"/>
                  </a:lnTo>
                  <a:lnTo>
                    <a:pt x="730" y="144"/>
                  </a:lnTo>
                  <a:lnTo>
                    <a:pt x="730" y="144"/>
                  </a:lnTo>
                  <a:lnTo>
                    <a:pt x="728" y="144"/>
                  </a:lnTo>
                  <a:lnTo>
                    <a:pt x="726" y="146"/>
                  </a:lnTo>
                  <a:lnTo>
                    <a:pt x="726" y="146"/>
                  </a:lnTo>
                  <a:lnTo>
                    <a:pt x="724" y="146"/>
                  </a:lnTo>
                  <a:lnTo>
                    <a:pt x="724" y="146"/>
                  </a:lnTo>
                  <a:lnTo>
                    <a:pt x="724" y="148"/>
                  </a:lnTo>
                  <a:lnTo>
                    <a:pt x="724" y="150"/>
                  </a:lnTo>
                  <a:lnTo>
                    <a:pt x="722" y="152"/>
                  </a:lnTo>
                  <a:lnTo>
                    <a:pt x="722" y="154"/>
                  </a:lnTo>
                  <a:lnTo>
                    <a:pt x="720" y="156"/>
                  </a:lnTo>
                  <a:lnTo>
                    <a:pt x="720" y="158"/>
                  </a:lnTo>
                  <a:lnTo>
                    <a:pt x="720" y="160"/>
                  </a:lnTo>
                  <a:lnTo>
                    <a:pt x="718" y="162"/>
                  </a:lnTo>
                  <a:lnTo>
                    <a:pt x="716" y="164"/>
                  </a:lnTo>
                  <a:lnTo>
                    <a:pt x="716" y="164"/>
                  </a:lnTo>
                  <a:lnTo>
                    <a:pt x="716" y="164"/>
                  </a:lnTo>
                  <a:lnTo>
                    <a:pt x="714" y="166"/>
                  </a:lnTo>
                  <a:lnTo>
                    <a:pt x="714" y="166"/>
                  </a:lnTo>
                  <a:lnTo>
                    <a:pt x="712" y="166"/>
                  </a:lnTo>
                  <a:lnTo>
                    <a:pt x="710" y="166"/>
                  </a:lnTo>
                  <a:lnTo>
                    <a:pt x="708" y="166"/>
                  </a:lnTo>
                  <a:lnTo>
                    <a:pt x="706" y="166"/>
                  </a:lnTo>
                  <a:lnTo>
                    <a:pt x="704" y="166"/>
                  </a:lnTo>
                  <a:lnTo>
                    <a:pt x="702" y="166"/>
                  </a:lnTo>
                  <a:lnTo>
                    <a:pt x="700" y="168"/>
                  </a:lnTo>
                  <a:lnTo>
                    <a:pt x="700" y="168"/>
                  </a:lnTo>
                  <a:lnTo>
                    <a:pt x="700" y="168"/>
                  </a:lnTo>
                  <a:lnTo>
                    <a:pt x="698" y="170"/>
                  </a:lnTo>
                  <a:lnTo>
                    <a:pt x="696" y="170"/>
                  </a:lnTo>
                  <a:lnTo>
                    <a:pt x="696" y="172"/>
                  </a:lnTo>
                  <a:lnTo>
                    <a:pt x="694" y="176"/>
                  </a:lnTo>
                  <a:lnTo>
                    <a:pt x="692" y="178"/>
                  </a:lnTo>
                  <a:lnTo>
                    <a:pt x="692" y="178"/>
                  </a:lnTo>
                  <a:lnTo>
                    <a:pt x="692" y="180"/>
                  </a:lnTo>
                  <a:lnTo>
                    <a:pt x="692" y="184"/>
                  </a:lnTo>
                  <a:lnTo>
                    <a:pt x="692" y="186"/>
                  </a:lnTo>
                  <a:lnTo>
                    <a:pt x="692" y="190"/>
                  </a:lnTo>
                  <a:lnTo>
                    <a:pt x="692" y="194"/>
                  </a:lnTo>
                  <a:lnTo>
                    <a:pt x="690" y="198"/>
                  </a:lnTo>
                  <a:lnTo>
                    <a:pt x="690" y="198"/>
                  </a:lnTo>
                  <a:lnTo>
                    <a:pt x="690" y="200"/>
                  </a:lnTo>
                  <a:lnTo>
                    <a:pt x="690" y="202"/>
                  </a:lnTo>
                  <a:lnTo>
                    <a:pt x="688" y="202"/>
                  </a:lnTo>
                  <a:lnTo>
                    <a:pt x="688" y="204"/>
                  </a:lnTo>
                  <a:lnTo>
                    <a:pt x="688" y="204"/>
                  </a:lnTo>
                  <a:lnTo>
                    <a:pt x="688" y="204"/>
                  </a:lnTo>
                  <a:lnTo>
                    <a:pt x="686" y="204"/>
                  </a:lnTo>
                  <a:lnTo>
                    <a:pt x="684" y="204"/>
                  </a:lnTo>
                  <a:lnTo>
                    <a:pt x="682" y="206"/>
                  </a:lnTo>
                  <a:lnTo>
                    <a:pt x="680" y="206"/>
                  </a:lnTo>
                  <a:lnTo>
                    <a:pt x="678" y="206"/>
                  </a:lnTo>
                  <a:lnTo>
                    <a:pt x="678" y="208"/>
                  </a:lnTo>
                  <a:lnTo>
                    <a:pt x="678" y="208"/>
                  </a:lnTo>
                  <a:lnTo>
                    <a:pt x="676" y="210"/>
                  </a:lnTo>
                  <a:lnTo>
                    <a:pt x="672" y="214"/>
                  </a:lnTo>
                  <a:lnTo>
                    <a:pt x="670" y="216"/>
                  </a:lnTo>
                  <a:lnTo>
                    <a:pt x="668" y="218"/>
                  </a:lnTo>
                  <a:lnTo>
                    <a:pt x="668" y="220"/>
                  </a:lnTo>
                  <a:lnTo>
                    <a:pt x="666" y="220"/>
                  </a:lnTo>
                  <a:lnTo>
                    <a:pt x="666" y="222"/>
                  </a:lnTo>
                  <a:lnTo>
                    <a:pt x="666" y="222"/>
                  </a:lnTo>
                  <a:lnTo>
                    <a:pt x="666" y="222"/>
                  </a:lnTo>
                  <a:lnTo>
                    <a:pt x="666" y="224"/>
                  </a:lnTo>
                  <a:lnTo>
                    <a:pt x="666" y="224"/>
                  </a:lnTo>
                  <a:lnTo>
                    <a:pt x="668" y="224"/>
                  </a:lnTo>
                  <a:lnTo>
                    <a:pt x="668" y="226"/>
                  </a:lnTo>
                  <a:lnTo>
                    <a:pt x="670" y="226"/>
                  </a:lnTo>
                  <a:lnTo>
                    <a:pt x="672" y="226"/>
                  </a:lnTo>
                  <a:lnTo>
                    <a:pt x="674" y="228"/>
                  </a:lnTo>
                  <a:lnTo>
                    <a:pt x="674" y="228"/>
                  </a:lnTo>
                  <a:lnTo>
                    <a:pt x="674" y="228"/>
                  </a:lnTo>
                  <a:lnTo>
                    <a:pt x="674" y="230"/>
                  </a:lnTo>
                  <a:lnTo>
                    <a:pt x="674" y="230"/>
                  </a:lnTo>
                  <a:lnTo>
                    <a:pt x="676" y="232"/>
                  </a:lnTo>
                  <a:lnTo>
                    <a:pt x="676" y="234"/>
                  </a:lnTo>
                  <a:lnTo>
                    <a:pt x="676" y="236"/>
                  </a:lnTo>
                  <a:lnTo>
                    <a:pt x="676" y="238"/>
                  </a:lnTo>
                  <a:lnTo>
                    <a:pt x="676" y="244"/>
                  </a:lnTo>
                  <a:lnTo>
                    <a:pt x="676" y="248"/>
                  </a:lnTo>
                  <a:lnTo>
                    <a:pt x="676" y="250"/>
                  </a:lnTo>
                  <a:lnTo>
                    <a:pt x="674" y="252"/>
                  </a:lnTo>
                  <a:lnTo>
                    <a:pt x="674" y="254"/>
                  </a:lnTo>
                  <a:lnTo>
                    <a:pt x="674" y="256"/>
                  </a:lnTo>
                  <a:lnTo>
                    <a:pt x="674" y="256"/>
                  </a:lnTo>
                  <a:lnTo>
                    <a:pt x="672" y="258"/>
                  </a:lnTo>
                  <a:lnTo>
                    <a:pt x="672" y="258"/>
                  </a:lnTo>
                  <a:lnTo>
                    <a:pt x="672" y="258"/>
                  </a:lnTo>
                  <a:lnTo>
                    <a:pt x="670" y="260"/>
                  </a:lnTo>
                  <a:lnTo>
                    <a:pt x="670" y="260"/>
                  </a:lnTo>
                  <a:lnTo>
                    <a:pt x="668" y="260"/>
                  </a:lnTo>
                  <a:lnTo>
                    <a:pt x="666" y="262"/>
                  </a:lnTo>
                  <a:lnTo>
                    <a:pt x="664" y="262"/>
                  </a:lnTo>
                  <a:lnTo>
                    <a:pt x="664" y="262"/>
                  </a:lnTo>
                  <a:lnTo>
                    <a:pt x="662" y="262"/>
                  </a:lnTo>
                  <a:lnTo>
                    <a:pt x="662" y="264"/>
                  </a:lnTo>
                  <a:lnTo>
                    <a:pt x="662" y="264"/>
                  </a:lnTo>
                  <a:lnTo>
                    <a:pt x="662" y="264"/>
                  </a:lnTo>
                  <a:lnTo>
                    <a:pt x="662" y="266"/>
                  </a:lnTo>
                  <a:lnTo>
                    <a:pt x="662" y="268"/>
                  </a:lnTo>
                  <a:lnTo>
                    <a:pt x="662" y="270"/>
                  </a:lnTo>
                  <a:lnTo>
                    <a:pt x="662" y="270"/>
                  </a:lnTo>
                  <a:lnTo>
                    <a:pt x="660" y="272"/>
                  </a:lnTo>
                  <a:lnTo>
                    <a:pt x="660" y="274"/>
                  </a:lnTo>
                  <a:lnTo>
                    <a:pt x="660" y="274"/>
                  </a:lnTo>
                  <a:lnTo>
                    <a:pt x="660" y="274"/>
                  </a:lnTo>
                  <a:lnTo>
                    <a:pt x="660" y="274"/>
                  </a:lnTo>
                  <a:lnTo>
                    <a:pt x="658" y="276"/>
                  </a:lnTo>
                  <a:lnTo>
                    <a:pt x="658" y="276"/>
                  </a:lnTo>
                  <a:lnTo>
                    <a:pt x="656" y="276"/>
                  </a:lnTo>
                  <a:lnTo>
                    <a:pt x="654" y="274"/>
                  </a:lnTo>
                  <a:lnTo>
                    <a:pt x="652" y="274"/>
                  </a:lnTo>
                  <a:lnTo>
                    <a:pt x="650" y="274"/>
                  </a:lnTo>
                  <a:lnTo>
                    <a:pt x="648" y="274"/>
                  </a:lnTo>
                  <a:lnTo>
                    <a:pt x="646" y="272"/>
                  </a:lnTo>
                  <a:lnTo>
                    <a:pt x="646" y="272"/>
                  </a:lnTo>
                  <a:lnTo>
                    <a:pt x="644" y="274"/>
                  </a:lnTo>
                  <a:lnTo>
                    <a:pt x="644" y="274"/>
                  </a:lnTo>
                  <a:lnTo>
                    <a:pt x="644" y="274"/>
                  </a:lnTo>
                  <a:lnTo>
                    <a:pt x="642" y="274"/>
                  </a:lnTo>
                  <a:lnTo>
                    <a:pt x="642" y="276"/>
                  </a:lnTo>
                  <a:lnTo>
                    <a:pt x="640" y="276"/>
                  </a:lnTo>
                  <a:lnTo>
                    <a:pt x="640" y="278"/>
                  </a:lnTo>
                  <a:lnTo>
                    <a:pt x="638" y="282"/>
                  </a:lnTo>
                  <a:lnTo>
                    <a:pt x="638" y="282"/>
                  </a:lnTo>
                  <a:lnTo>
                    <a:pt x="636" y="284"/>
                  </a:lnTo>
                  <a:lnTo>
                    <a:pt x="636" y="284"/>
                  </a:lnTo>
                  <a:lnTo>
                    <a:pt x="634" y="284"/>
                  </a:lnTo>
                  <a:lnTo>
                    <a:pt x="632" y="284"/>
                  </a:lnTo>
                  <a:lnTo>
                    <a:pt x="630" y="286"/>
                  </a:lnTo>
                  <a:lnTo>
                    <a:pt x="628" y="286"/>
                  </a:lnTo>
                  <a:lnTo>
                    <a:pt x="626" y="286"/>
                  </a:lnTo>
                  <a:lnTo>
                    <a:pt x="624" y="286"/>
                  </a:lnTo>
                  <a:lnTo>
                    <a:pt x="622" y="288"/>
                  </a:lnTo>
                  <a:lnTo>
                    <a:pt x="622" y="288"/>
                  </a:lnTo>
                  <a:lnTo>
                    <a:pt x="620" y="288"/>
                  </a:lnTo>
                  <a:lnTo>
                    <a:pt x="620" y="290"/>
                  </a:lnTo>
                  <a:lnTo>
                    <a:pt x="620" y="290"/>
                  </a:lnTo>
                  <a:lnTo>
                    <a:pt x="620" y="292"/>
                  </a:lnTo>
                  <a:lnTo>
                    <a:pt x="618" y="294"/>
                  </a:lnTo>
                  <a:lnTo>
                    <a:pt x="618" y="296"/>
                  </a:lnTo>
                  <a:lnTo>
                    <a:pt x="618" y="298"/>
                  </a:lnTo>
                  <a:lnTo>
                    <a:pt x="618" y="300"/>
                  </a:lnTo>
                  <a:lnTo>
                    <a:pt x="616" y="302"/>
                  </a:lnTo>
                  <a:lnTo>
                    <a:pt x="616" y="302"/>
                  </a:lnTo>
                  <a:lnTo>
                    <a:pt x="616" y="302"/>
                  </a:lnTo>
                  <a:lnTo>
                    <a:pt x="616" y="302"/>
                  </a:lnTo>
                  <a:lnTo>
                    <a:pt x="614" y="302"/>
                  </a:lnTo>
                  <a:lnTo>
                    <a:pt x="614" y="304"/>
                  </a:lnTo>
                  <a:lnTo>
                    <a:pt x="612" y="304"/>
                  </a:lnTo>
                  <a:lnTo>
                    <a:pt x="610" y="304"/>
                  </a:lnTo>
                  <a:lnTo>
                    <a:pt x="608" y="304"/>
                  </a:lnTo>
                  <a:lnTo>
                    <a:pt x="606" y="304"/>
                  </a:lnTo>
                  <a:lnTo>
                    <a:pt x="604" y="304"/>
                  </a:lnTo>
                  <a:lnTo>
                    <a:pt x="604" y="306"/>
                  </a:lnTo>
                  <a:lnTo>
                    <a:pt x="602" y="308"/>
                  </a:lnTo>
                  <a:lnTo>
                    <a:pt x="600" y="308"/>
                  </a:lnTo>
                  <a:lnTo>
                    <a:pt x="598" y="310"/>
                  </a:lnTo>
                  <a:lnTo>
                    <a:pt x="596" y="312"/>
                  </a:lnTo>
                  <a:lnTo>
                    <a:pt x="594" y="314"/>
                  </a:lnTo>
                  <a:lnTo>
                    <a:pt x="592" y="314"/>
                  </a:lnTo>
                  <a:lnTo>
                    <a:pt x="592" y="316"/>
                  </a:lnTo>
                  <a:lnTo>
                    <a:pt x="592" y="318"/>
                  </a:lnTo>
                  <a:lnTo>
                    <a:pt x="590" y="318"/>
                  </a:lnTo>
                  <a:lnTo>
                    <a:pt x="590" y="320"/>
                  </a:lnTo>
                  <a:lnTo>
                    <a:pt x="590" y="322"/>
                  </a:lnTo>
                  <a:lnTo>
                    <a:pt x="588" y="326"/>
                  </a:lnTo>
                  <a:lnTo>
                    <a:pt x="588" y="330"/>
                  </a:lnTo>
                  <a:lnTo>
                    <a:pt x="588" y="332"/>
                  </a:lnTo>
                  <a:lnTo>
                    <a:pt x="588" y="336"/>
                  </a:lnTo>
                  <a:lnTo>
                    <a:pt x="588" y="342"/>
                  </a:lnTo>
                  <a:lnTo>
                    <a:pt x="588" y="348"/>
                  </a:lnTo>
                  <a:lnTo>
                    <a:pt x="588" y="352"/>
                  </a:lnTo>
                  <a:lnTo>
                    <a:pt x="588" y="354"/>
                  </a:lnTo>
                  <a:lnTo>
                    <a:pt x="588" y="358"/>
                  </a:lnTo>
                  <a:lnTo>
                    <a:pt x="586" y="362"/>
                  </a:lnTo>
                  <a:lnTo>
                    <a:pt x="586" y="366"/>
                  </a:lnTo>
                  <a:lnTo>
                    <a:pt x="586" y="368"/>
                  </a:lnTo>
                  <a:lnTo>
                    <a:pt x="586" y="368"/>
                  </a:lnTo>
                  <a:lnTo>
                    <a:pt x="586" y="370"/>
                  </a:lnTo>
                  <a:lnTo>
                    <a:pt x="586" y="370"/>
                  </a:lnTo>
                  <a:lnTo>
                    <a:pt x="588" y="372"/>
                  </a:lnTo>
                  <a:lnTo>
                    <a:pt x="588" y="372"/>
                  </a:lnTo>
                  <a:lnTo>
                    <a:pt x="588" y="372"/>
                  </a:lnTo>
                  <a:lnTo>
                    <a:pt x="590" y="372"/>
                  </a:lnTo>
                  <a:lnTo>
                    <a:pt x="592" y="374"/>
                  </a:lnTo>
                  <a:lnTo>
                    <a:pt x="592" y="374"/>
                  </a:lnTo>
                  <a:lnTo>
                    <a:pt x="594" y="374"/>
                  </a:lnTo>
                  <a:lnTo>
                    <a:pt x="594" y="376"/>
                  </a:lnTo>
                  <a:lnTo>
                    <a:pt x="594" y="376"/>
                  </a:lnTo>
                  <a:lnTo>
                    <a:pt x="594" y="378"/>
                  </a:lnTo>
                  <a:lnTo>
                    <a:pt x="594" y="380"/>
                  </a:lnTo>
                  <a:lnTo>
                    <a:pt x="594" y="382"/>
                  </a:lnTo>
                  <a:lnTo>
                    <a:pt x="594" y="386"/>
                  </a:lnTo>
                  <a:lnTo>
                    <a:pt x="594" y="394"/>
                  </a:lnTo>
                  <a:lnTo>
                    <a:pt x="594" y="396"/>
                  </a:lnTo>
                  <a:lnTo>
                    <a:pt x="594" y="398"/>
                  </a:lnTo>
                  <a:lnTo>
                    <a:pt x="594" y="400"/>
                  </a:lnTo>
                  <a:lnTo>
                    <a:pt x="596" y="400"/>
                  </a:lnTo>
                  <a:lnTo>
                    <a:pt x="596" y="402"/>
                  </a:lnTo>
                  <a:lnTo>
                    <a:pt x="596" y="404"/>
                  </a:lnTo>
                  <a:lnTo>
                    <a:pt x="598" y="406"/>
                  </a:lnTo>
                  <a:lnTo>
                    <a:pt x="600" y="414"/>
                  </a:lnTo>
                  <a:lnTo>
                    <a:pt x="602" y="418"/>
                  </a:lnTo>
                  <a:lnTo>
                    <a:pt x="602" y="424"/>
                  </a:lnTo>
                  <a:lnTo>
                    <a:pt x="604" y="428"/>
                  </a:lnTo>
                  <a:lnTo>
                    <a:pt x="604" y="434"/>
                  </a:lnTo>
                  <a:lnTo>
                    <a:pt x="604" y="436"/>
                  </a:lnTo>
                  <a:lnTo>
                    <a:pt x="604" y="438"/>
                  </a:lnTo>
                  <a:lnTo>
                    <a:pt x="604" y="440"/>
                  </a:lnTo>
                  <a:lnTo>
                    <a:pt x="604" y="442"/>
                  </a:lnTo>
                  <a:lnTo>
                    <a:pt x="604" y="444"/>
                  </a:lnTo>
                  <a:lnTo>
                    <a:pt x="604" y="446"/>
                  </a:lnTo>
                  <a:lnTo>
                    <a:pt x="604" y="448"/>
                  </a:lnTo>
                  <a:lnTo>
                    <a:pt x="602" y="450"/>
                  </a:lnTo>
                  <a:lnTo>
                    <a:pt x="602" y="452"/>
                  </a:lnTo>
                  <a:lnTo>
                    <a:pt x="600" y="454"/>
                  </a:lnTo>
                  <a:lnTo>
                    <a:pt x="600" y="454"/>
                  </a:lnTo>
                  <a:lnTo>
                    <a:pt x="600" y="454"/>
                  </a:lnTo>
                  <a:lnTo>
                    <a:pt x="598" y="456"/>
                  </a:lnTo>
                  <a:lnTo>
                    <a:pt x="598" y="456"/>
                  </a:lnTo>
                  <a:lnTo>
                    <a:pt x="598" y="456"/>
                  </a:lnTo>
                  <a:lnTo>
                    <a:pt x="598" y="456"/>
                  </a:lnTo>
                  <a:lnTo>
                    <a:pt x="596" y="454"/>
                  </a:lnTo>
                  <a:lnTo>
                    <a:pt x="596" y="454"/>
                  </a:lnTo>
                  <a:lnTo>
                    <a:pt x="596" y="452"/>
                  </a:lnTo>
                  <a:lnTo>
                    <a:pt x="594" y="452"/>
                  </a:lnTo>
                  <a:lnTo>
                    <a:pt x="592" y="448"/>
                  </a:lnTo>
                  <a:lnTo>
                    <a:pt x="592" y="446"/>
                  </a:lnTo>
                  <a:lnTo>
                    <a:pt x="590" y="446"/>
                  </a:lnTo>
                  <a:lnTo>
                    <a:pt x="590" y="444"/>
                  </a:lnTo>
                  <a:lnTo>
                    <a:pt x="588" y="444"/>
                  </a:lnTo>
                  <a:lnTo>
                    <a:pt x="582" y="442"/>
                  </a:lnTo>
                  <a:lnTo>
                    <a:pt x="580" y="440"/>
                  </a:lnTo>
                  <a:lnTo>
                    <a:pt x="578" y="440"/>
                  </a:lnTo>
                  <a:lnTo>
                    <a:pt x="576" y="438"/>
                  </a:lnTo>
                  <a:lnTo>
                    <a:pt x="576" y="438"/>
                  </a:lnTo>
                  <a:lnTo>
                    <a:pt x="576" y="438"/>
                  </a:lnTo>
                  <a:lnTo>
                    <a:pt x="574" y="436"/>
                  </a:lnTo>
                  <a:lnTo>
                    <a:pt x="574" y="436"/>
                  </a:lnTo>
                  <a:lnTo>
                    <a:pt x="574" y="432"/>
                  </a:lnTo>
                  <a:lnTo>
                    <a:pt x="572" y="430"/>
                  </a:lnTo>
                  <a:lnTo>
                    <a:pt x="572" y="428"/>
                  </a:lnTo>
                  <a:lnTo>
                    <a:pt x="570" y="422"/>
                  </a:lnTo>
                  <a:lnTo>
                    <a:pt x="568" y="416"/>
                  </a:lnTo>
                  <a:lnTo>
                    <a:pt x="566" y="412"/>
                  </a:lnTo>
                  <a:lnTo>
                    <a:pt x="564" y="406"/>
                  </a:lnTo>
                  <a:lnTo>
                    <a:pt x="564" y="404"/>
                  </a:lnTo>
                  <a:lnTo>
                    <a:pt x="562" y="400"/>
                  </a:lnTo>
                  <a:lnTo>
                    <a:pt x="562" y="398"/>
                  </a:lnTo>
                  <a:lnTo>
                    <a:pt x="562" y="396"/>
                  </a:lnTo>
                  <a:lnTo>
                    <a:pt x="562" y="394"/>
                  </a:lnTo>
                  <a:lnTo>
                    <a:pt x="562" y="394"/>
                  </a:lnTo>
                  <a:lnTo>
                    <a:pt x="562" y="390"/>
                  </a:lnTo>
                  <a:lnTo>
                    <a:pt x="564" y="384"/>
                  </a:lnTo>
                  <a:lnTo>
                    <a:pt x="564" y="380"/>
                  </a:lnTo>
                  <a:lnTo>
                    <a:pt x="564" y="378"/>
                  </a:lnTo>
                  <a:lnTo>
                    <a:pt x="564" y="376"/>
                  </a:lnTo>
                  <a:lnTo>
                    <a:pt x="564" y="376"/>
                  </a:lnTo>
                  <a:lnTo>
                    <a:pt x="564" y="374"/>
                  </a:lnTo>
                  <a:lnTo>
                    <a:pt x="564" y="372"/>
                  </a:lnTo>
                  <a:lnTo>
                    <a:pt x="564" y="372"/>
                  </a:lnTo>
                  <a:lnTo>
                    <a:pt x="564" y="372"/>
                  </a:lnTo>
                  <a:lnTo>
                    <a:pt x="562" y="370"/>
                  </a:lnTo>
                  <a:lnTo>
                    <a:pt x="560" y="368"/>
                  </a:lnTo>
                  <a:lnTo>
                    <a:pt x="560" y="366"/>
                  </a:lnTo>
                  <a:lnTo>
                    <a:pt x="556" y="364"/>
                  </a:lnTo>
                  <a:lnTo>
                    <a:pt x="552" y="362"/>
                  </a:lnTo>
                  <a:lnTo>
                    <a:pt x="550" y="358"/>
                  </a:lnTo>
                  <a:lnTo>
                    <a:pt x="546" y="356"/>
                  </a:lnTo>
                  <a:lnTo>
                    <a:pt x="544" y="354"/>
                  </a:lnTo>
                  <a:lnTo>
                    <a:pt x="542" y="352"/>
                  </a:lnTo>
                  <a:lnTo>
                    <a:pt x="540" y="350"/>
                  </a:lnTo>
                  <a:lnTo>
                    <a:pt x="540" y="350"/>
                  </a:lnTo>
                  <a:lnTo>
                    <a:pt x="540" y="350"/>
                  </a:lnTo>
                  <a:lnTo>
                    <a:pt x="538" y="350"/>
                  </a:lnTo>
                  <a:lnTo>
                    <a:pt x="538" y="350"/>
                  </a:lnTo>
                  <a:lnTo>
                    <a:pt x="536" y="350"/>
                  </a:lnTo>
                  <a:lnTo>
                    <a:pt x="532" y="352"/>
                  </a:lnTo>
                  <a:lnTo>
                    <a:pt x="530" y="352"/>
                  </a:lnTo>
                  <a:lnTo>
                    <a:pt x="528" y="352"/>
                  </a:lnTo>
                  <a:lnTo>
                    <a:pt x="526" y="354"/>
                  </a:lnTo>
                  <a:lnTo>
                    <a:pt x="524" y="354"/>
                  </a:lnTo>
                  <a:lnTo>
                    <a:pt x="522" y="354"/>
                  </a:lnTo>
                  <a:lnTo>
                    <a:pt x="522" y="354"/>
                  </a:lnTo>
                  <a:lnTo>
                    <a:pt x="520" y="354"/>
                  </a:lnTo>
                  <a:lnTo>
                    <a:pt x="520" y="354"/>
                  </a:lnTo>
                  <a:lnTo>
                    <a:pt x="518" y="352"/>
                  </a:lnTo>
                  <a:lnTo>
                    <a:pt x="516" y="352"/>
                  </a:lnTo>
                  <a:lnTo>
                    <a:pt x="514" y="350"/>
                  </a:lnTo>
                  <a:lnTo>
                    <a:pt x="510" y="348"/>
                  </a:lnTo>
                  <a:lnTo>
                    <a:pt x="510" y="346"/>
                  </a:lnTo>
                  <a:lnTo>
                    <a:pt x="508" y="346"/>
                  </a:lnTo>
                  <a:lnTo>
                    <a:pt x="506" y="346"/>
                  </a:lnTo>
                  <a:lnTo>
                    <a:pt x="504" y="346"/>
                  </a:lnTo>
                  <a:lnTo>
                    <a:pt x="500" y="346"/>
                  </a:lnTo>
                  <a:lnTo>
                    <a:pt x="496" y="346"/>
                  </a:lnTo>
                  <a:lnTo>
                    <a:pt x="492" y="346"/>
                  </a:lnTo>
                  <a:lnTo>
                    <a:pt x="486" y="346"/>
                  </a:lnTo>
                  <a:lnTo>
                    <a:pt x="482" y="348"/>
                  </a:lnTo>
                  <a:lnTo>
                    <a:pt x="478" y="348"/>
                  </a:lnTo>
                  <a:lnTo>
                    <a:pt x="476" y="348"/>
                  </a:lnTo>
                  <a:lnTo>
                    <a:pt x="476" y="348"/>
                  </a:lnTo>
                  <a:lnTo>
                    <a:pt x="472" y="350"/>
                  </a:lnTo>
                  <a:lnTo>
                    <a:pt x="470" y="352"/>
                  </a:lnTo>
                  <a:lnTo>
                    <a:pt x="470" y="352"/>
                  </a:lnTo>
                  <a:lnTo>
                    <a:pt x="468" y="352"/>
                  </a:lnTo>
                  <a:lnTo>
                    <a:pt x="466" y="354"/>
                  </a:lnTo>
                  <a:lnTo>
                    <a:pt x="466" y="356"/>
                  </a:lnTo>
                  <a:lnTo>
                    <a:pt x="466" y="356"/>
                  </a:lnTo>
                  <a:lnTo>
                    <a:pt x="464" y="356"/>
                  </a:lnTo>
                  <a:lnTo>
                    <a:pt x="464" y="358"/>
                  </a:lnTo>
                  <a:lnTo>
                    <a:pt x="464" y="358"/>
                  </a:lnTo>
                  <a:lnTo>
                    <a:pt x="466" y="358"/>
                  </a:lnTo>
                  <a:lnTo>
                    <a:pt x="466" y="360"/>
                  </a:lnTo>
                  <a:lnTo>
                    <a:pt x="466" y="362"/>
                  </a:lnTo>
                  <a:lnTo>
                    <a:pt x="468" y="364"/>
                  </a:lnTo>
                  <a:lnTo>
                    <a:pt x="470" y="366"/>
                  </a:lnTo>
                  <a:lnTo>
                    <a:pt x="470" y="368"/>
                  </a:lnTo>
                  <a:lnTo>
                    <a:pt x="472" y="370"/>
                  </a:lnTo>
                  <a:lnTo>
                    <a:pt x="472" y="370"/>
                  </a:lnTo>
                  <a:lnTo>
                    <a:pt x="472" y="370"/>
                  </a:lnTo>
                  <a:lnTo>
                    <a:pt x="472" y="372"/>
                  </a:lnTo>
                  <a:lnTo>
                    <a:pt x="470" y="372"/>
                  </a:lnTo>
                  <a:lnTo>
                    <a:pt x="470" y="372"/>
                  </a:lnTo>
                  <a:lnTo>
                    <a:pt x="470" y="372"/>
                  </a:lnTo>
                  <a:lnTo>
                    <a:pt x="468" y="374"/>
                  </a:lnTo>
                  <a:lnTo>
                    <a:pt x="466" y="374"/>
                  </a:lnTo>
                  <a:lnTo>
                    <a:pt x="464" y="374"/>
                  </a:lnTo>
                  <a:lnTo>
                    <a:pt x="462" y="374"/>
                  </a:lnTo>
                  <a:lnTo>
                    <a:pt x="460" y="374"/>
                  </a:lnTo>
                  <a:lnTo>
                    <a:pt x="456" y="372"/>
                  </a:lnTo>
                  <a:lnTo>
                    <a:pt x="452" y="372"/>
                  </a:lnTo>
                  <a:lnTo>
                    <a:pt x="450" y="372"/>
                  </a:lnTo>
                  <a:lnTo>
                    <a:pt x="448" y="372"/>
                  </a:lnTo>
                  <a:lnTo>
                    <a:pt x="446" y="372"/>
                  </a:lnTo>
                  <a:lnTo>
                    <a:pt x="442" y="370"/>
                  </a:lnTo>
                  <a:lnTo>
                    <a:pt x="442" y="370"/>
                  </a:lnTo>
                  <a:lnTo>
                    <a:pt x="440" y="370"/>
                  </a:lnTo>
                  <a:lnTo>
                    <a:pt x="440" y="370"/>
                  </a:lnTo>
                  <a:lnTo>
                    <a:pt x="440" y="368"/>
                  </a:lnTo>
                  <a:lnTo>
                    <a:pt x="438" y="368"/>
                  </a:lnTo>
                  <a:lnTo>
                    <a:pt x="438" y="366"/>
                  </a:lnTo>
                  <a:lnTo>
                    <a:pt x="438" y="364"/>
                  </a:lnTo>
                  <a:lnTo>
                    <a:pt x="438" y="362"/>
                  </a:lnTo>
                  <a:lnTo>
                    <a:pt x="438" y="358"/>
                  </a:lnTo>
                  <a:lnTo>
                    <a:pt x="438" y="356"/>
                  </a:lnTo>
                  <a:lnTo>
                    <a:pt x="438" y="354"/>
                  </a:lnTo>
                  <a:lnTo>
                    <a:pt x="438" y="352"/>
                  </a:lnTo>
                  <a:lnTo>
                    <a:pt x="438" y="352"/>
                  </a:lnTo>
                  <a:lnTo>
                    <a:pt x="438" y="350"/>
                  </a:lnTo>
                  <a:lnTo>
                    <a:pt x="438" y="350"/>
                  </a:lnTo>
                  <a:lnTo>
                    <a:pt x="438" y="348"/>
                  </a:lnTo>
                  <a:lnTo>
                    <a:pt x="436" y="348"/>
                  </a:lnTo>
                  <a:lnTo>
                    <a:pt x="436" y="348"/>
                  </a:lnTo>
                  <a:lnTo>
                    <a:pt x="434" y="348"/>
                  </a:lnTo>
                  <a:lnTo>
                    <a:pt x="432" y="348"/>
                  </a:lnTo>
                  <a:lnTo>
                    <a:pt x="432" y="350"/>
                  </a:lnTo>
                  <a:lnTo>
                    <a:pt x="430" y="350"/>
                  </a:lnTo>
                  <a:lnTo>
                    <a:pt x="428" y="352"/>
                  </a:lnTo>
                  <a:lnTo>
                    <a:pt x="426" y="352"/>
                  </a:lnTo>
                  <a:lnTo>
                    <a:pt x="426" y="352"/>
                  </a:lnTo>
                  <a:lnTo>
                    <a:pt x="426" y="354"/>
                  </a:lnTo>
                  <a:lnTo>
                    <a:pt x="426" y="354"/>
                  </a:lnTo>
                  <a:lnTo>
                    <a:pt x="424" y="354"/>
                  </a:lnTo>
                  <a:lnTo>
                    <a:pt x="424" y="356"/>
                  </a:lnTo>
                  <a:lnTo>
                    <a:pt x="424" y="358"/>
                  </a:lnTo>
                  <a:lnTo>
                    <a:pt x="424" y="360"/>
                  </a:lnTo>
                  <a:lnTo>
                    <a:pt x="424" y="362"/>
                  </a:lnTo>
                  <a:lnTo>
                    <a:pt x="424" y="364"/>
                  </a:lnTo>
                  <a:lnTo>
                    <a:pt x="424" y="366"/>
                  </a:lnTo>
                  <a:lnTo>
                    <a:pt x="424" y="366"/>
                  </a:lnTo>
                  <a:lnTo>
                    <a:pt x="422" y="368"/>
                  </a:lnTo>
                  <a:lnTo>
                    <a:pt x="422" y="368"/>
                  </a:lnTo>
                  <a:lnTo>
                    <a:pt x="422" y="368"/>
                  </a:lnTo>
                  <a:lnTo>
                    <a:pt x="420" y="368"/>
                  </a:lnTo>
                  <a:lnTo>
                    <a:pt x="420" y="368"/>
                  </a:lnTo>
                  <a:lnTo>
                    <a:pt x="418" y="368"/>
                  </a:lnTo>
                  <a:lnTo>
                    <a:pt x="416" y="368"/>
                  </a:lnTo>
                  <a:lnTo>
                    <a:pt x="416" y="366"/>
                  </a:lnTo>
                  <a:lnTo>
                    <a:pt x="414" y="366"/>
                  </a:lnTo>
                  <a:lnTo>
                    <a:pt x="412" y="364"/>
                  </a:lnTo>
                  <a:lnTo>
                    <a:pt x="412" y="364"/>
                  </a:lnTo>
                  <a:lnTo>
                    <a:pt x="412" y="362"/>
                  </a:lnTo>
                  <a:lnTo>
                    <a:pt x="410" y="360"/>
                  </a:lnTo>
                  <a:lnTo>
                    <a:pt x="410" y="358"/>
                  </a:lnTo>
                  <a:lnTo>
                    <a:pt x="408" y="356"/>
                  </a:lnTo>
                  <a:lnTo>
                    <a:pt x="408" y="354"/>
                  </a:lnTo>
                  <a:lnTo>
                    <a:pt x="406" y="354"/>
                  </a:lnTo>
                  <a:lnTo>
                    <a:pt x="406" y="354"/>
                  </a:lnTo>
                  <a:lnTo>
                    <a:pt x="406" y="352"/>
                  </a:lnTo>
                  <a:lnTo>
                    <a:pt x="404" y="352"/>
                  </a:lnTo>
                  <a:lnTo>
                    <a:pt x="404" y="352"/>
                  </a:lnTo>
                  <a:lnTo>
                    <a:pt x="404" y="352"/>
                  </a:lnTo>
                  <a:lnTo>
                    <a:pt x="402" y="354"/>
                  </a:lnTo>
                  <a:lnTo>
                    <a:pt x="400" y="354"/>
                  </a:lnTo>
                  <a:lnTo>
                    <a:pt x="400" y="354"/>
                  </a:lnTo>
                  <a:lnTo>
                    <a:pt x="396" y="358"/>
                  </a:lnTo>
                  <a:lnTo>
                    <a:pt x="394" y="358"/>
                  </a:lnTo>
                  <a:lnTo>
                    <a:pt x="392" y="360"/>
                  </a:lnTo>
                  <a:lnTo>
                    <a:pt x="390" y="364"/>
                  </a:lnTo>
                  <a:lnTo>
                    <a:pt x="388" y="366"/>
                  </a:lnTo>
                  <a:lnTo>
                    <a:pt x="386" y="368"/>
                  </a:lnTo>
                  <a:lnTo>
                    <a:pt x="384" y="370"/>
                  </a:lnTo>
                  <a:lnTo>
                    <a:pt x="384" y="370"/>
                  </a:lnTo>
                  <a:lnTo>
                    <a:pt x="382" y="374"/>
                  </a:lnTo>
                  <a:lnTo>
                    <a:pt x="378" y="378"/>
                  </a:lnTo>
                  <a:lnTo>
                    <a:pt x="376" y="382"/>
                  </a:lnTo>
                  <a:lnTo>
                    <a:pt x="374" y="384"/>
                  </a:lnTo>
                  <a:lnTo>
                    <a:pt x="372" y="388"/>
                  </a:lnTo>
                  <a:lnTo>
                    <a:pt x="370" y="390"/>
                  </a:lnTo>
                  <a:lnTo>
                    <a:pt x="368" y="390"/>
                  </a:lnTo>
                  <a:lnTo>
                    <a:pt x="368" y="392"/>
                  </a:lnTo>
                  <a:lnTo>
                    <a:pt x="366" y="392"/>
                  </a:lnTo>
                  <a:lnTo>
                    <a:pt x="364" y="394"/>
                  </a:lnTo>
                  <a:lnTo>
                    <a:pt x="360" y="396"/>
                  </a:lnTo>
                  <a:lnTo>
                    <a:pt x="358" y="396"/>
                  </a:lnTo>
                  <a:lnTo>
                    <a:pt x="354" y="398"/>
                  </a:lnTo>
                  <a:lnTo>
                    <a:pt x="352" y="398"/>
                  </a:lnTo>
                  <a:lnTo>
                    <a:pt x="352" y="398"/>
                  </a:lnTo>
                  <a:lnTo>
                    <a:pt x="352" y="400"/>
                  </a:lnTo>
                  <a:lnTo>
                    <a:pt x="352" y="400"/>
                  </a:lnTo>
                  <a:lnTo>
                    <a:pt x="350" y="402"/>
                  </a:lnTo>
                  <a:lnTo>
                    <a:pt x="350" y="404"/>
                  </a:lnTo>
                  <a:lnTo>
                    <a:pt x="348" y="406"/>
                  </a:lnTo>
                  <a:lnTo>
                    <a:pt x="348" y="408"/>
                  </a:lnTo>
                  <a:lnTo>
                    <a:pt x="346" y="412"/>
                  </a:lnTo>
                  <a:lnTo>
                    <a:pt x="346" y="416"/>
                  </a:lnTo>
                  <a:lnTo>
                    <a:pt x="346" y="420"/>
                  </a:lnTo>
                  <a:lnTo>
                    <a:pt x="346" y="424"/>
                  </a:lnTo>
                  <a:lnTo>
                    <a:pt x="342" y="424"/>
                  </a:lnTo>
                  <a:lnTo>
                    <a:pt x="340" y="424"/>
                  </a:lnTo>
                  <a:lnTo>
                    <a:pt x="336" y="424"/>
                  </a:lnTo>
                  <a:lnTo>
                    <a:pt x="334" y="424"/>
                  </a:lnTo>
                  <a:lnTo>
                    <a:pt x="330" y="424"/>
                  </a:lnTo>
                  <a:lnTo>
                    <a:pt x="328" y="424"/>
                  </a:lnTo>
                  <a:lnTo>
                    <a:pt x="328" y="424"/>
                  </a:lnTo>
                  <a:lnTo>
                    <a:pt x="326" y="424"/>
                  </a:lnTo>
                  <a:lnTo>
                    <a:pt x="326" y="424"/>
                  </a:lnTo>
                  <a:lnTo>
                    <a:pt x="324" y="422"/>
                  </a:lnTo>
                  <a:lnTo>
                    <a:pt x="324" y="422"/>
                  </a:lnTo>
                  <a:lnTo>
                    <a:pt x="324" y="420"/>
                  </a:lnTo>
                  <a:lnTo>
                    <a:pt x="324" y="420"/>
                  </a:lnTo>
                  <a:lnTo>
                    <a:pt x="324" y="416"/>
                  </a:lnTo>
                  <a:lnTo>
                    <a:pt x="324" y="414"/>
                  </a:lnTo>
                  <a:lnTo>
                    <a:pt x="324" y="410"/>
                  </a:lnTo>
                  <a:lnTo>
                    <a:pt x="322" y="408"/>
                  </a:lnTo>
                  <a:lnTo>
                    <a:pt x="322" y="406"/>
                  </a:lnTo>
                  <a:lnTo>
                    <a:pt x="322" y="404"/>
                  </a:lnTo>
                  <a:lnTo>
                    <a:pt x="322" y="404"/>
                  </a:lnTo>
                  <a:lnTo>
                    <a:pt x="322" y="404"/>
                  </a:lnTo>
                  <a:lnTo>
                    <a:pt x="320" y="402"/>
                  </a:lnTo>
                  <a:lnTo>
                    <a:pt x="320" y="402"/>
                  </a:lnTo>
                  <a:lnTo>
                    <a:pt x="318" y="402"/>
                  </a:lnTo>
                  <a:lnTo>
                    <a:pt x="318" y="400"/>
                  </a:lnTo>
                  <a:lnTo>
                    <a:pt x="316" y="400"/>
                  </a:lnTo>
                  <a:lnTo>
                    <a:pt x="314" y="400"/>
                  </a:lnTo>
                  <a:lnTo>
                    <a:pt x="312" y="398"/>
                  </a:lnTo>
                  <a:lnTo>
                    <a:pt x="310" y="398"/>
                  </a:lnTo>
                  <a:lnTo>
                    <a:pt x="310" y="398"/>
                  </a:lnTo>
                  <a:lnTo>
                    <a:pt x="308" y="396"/>
                  </a:lnTo>
                  <a:lnTo>
                    <a:pt x="308" y="396"/>
                  </a:lnTo>
                  <a:lnTo>
                    <a:pt x="308" y="394"/>
                  </a:lnTo>
                  <a:lnTo>
                    <a:pt x="308" y="394"/>
                  </a:lnTo>
                  <a:lnTo>
                    <a:pt x="308" y="392"/>
                  </a:lnTo>
                  <a:lnTo>
                    <a:pt x="306" y="390"/>
                  </a:lnTo>
                  <a:lnTo>
                    <a:pt x="306" y="386"/>
                  </a:lnTo>
                  <a:lnTo>
                    <a:pt x="306" y="384"/>
                  </a:lnTo>
                  <a:lnTo>
                    <a:pt x="306" y="380"/>
                  </a:lnTo>
                  <a:lnTo>
                    <a:pt x="306" y="378"/>
                  </a:lnTo>
                  <a:lnTo>
                    <a:pt x="306" y="376"/>
                  </a:lnTo>
                  <a:lnTo>
                    <a:pt x="306" y="376"/>
                  </a:lnTo>
                  <a:lnTo>
                    <a:pt x="304" y="374"/>
                  </a:lnTo>
                  <a:lnTo>
                    <a:pt x="304" y="372"/>
                  </a:lnTo>
                  <a:lnTo>
                    <a:pt x="302" y="370"/>
                  </a:lnTo>
                  <a:lnTo>
                    <a:pt x="298" y="366"/>
                  </a:lnTo>
                  <a:lnTo>
                    <a:pt x="296" y="364"/>
                  </a:lnTo>
                  <a:lnTo>
                    <a:pt x="294" y="360"/>
                  </a:lnTo>
                  <a:lnTo>
                    <a:pt x="292" y="358"/>
                  </a:lnTo>
                  <a:lnTo>
                    <a:pt x="290" y="356"/>
                  </a:lnTo>
                  <a:lnTo>
                    <a:pt x="286" y="354"/>
                  </a:lnTo>
                  <a:lnTo>
                    <a:pt x="286" y="354"/>
                  </a:lnTo>
                  <a:lnTo>
                    <a:pt x="284" y="354"/>
                  </a:lnTo>
                  <a:lnTo>
                    <a:pt x="284" y="352"/>
                  </a:lnTo>
                  <a:lnTo>
                    <a:pt x="282" y="352"/>
                  </a:lnTo>
                  <a:lnTo>
                    <a:pt x="282" y="352"/>
                  </a:lnTo>
                  <a:lnTo>
                    <a:pt x="282" y="352"/>
                  </a:lnTo>
                  <a:lnTo>
                    <a:pt x="280" y="354"/>
                  </a:lnTo>
                  <a:lnTo>
                    <a:pt x="280" y="354"/>
                  </a:lnTo>
                  <a:lnTo>
                    <a:pt x="280" y="354"/>
                  </a:lnTo>
                  <a:lnTo>
                    <a:pt x="278" y="356"/>
                  </a:lnTo>
                  <a:lnTo>
                    <a:pt x="278" y="358"/>
                  </a:lnTo>
                  <a:lnTo>
                    <a:pt x="278" y="358"/>
                  </a:lnTo>
                  <a:lnTo>
                    <a:pt x="278" y="362"/>
                  </a:lnTo>
                  <a:lnTo>
                    <a:pt x="278" y="366"/>
                  </a:lnTo>
                  <a:lnTo>
                    <a:pt x="278" y="368"/>
                  </a:lnTo>
                  <a:lnTo>
                    <a:pt x="278" y="370"/>
                  </a:lnTo>
                  <a:lnTo>
                    <a:pt x="278" y="372"/>
                  </a:lnTo>
                  <a:lnTo>
                    <a:pt x="276" y="372"/>
                  </a:lnTo>
                  <a:lnTo>
                    <a:pt x="276" y="372"/>
                  </a:lnTo>
                  <a:lnTo>
                    <a:pt x="276" y="374"/>
                  </a:lnTo>
                  <a:lnTo>
                    <a:pt x="274" y="374"/>
                  </a:lnTo>
                  <a:lnTo>
                    <a:pt x="274" y="374"/>
                  </a:lnTo>
                  <a:lnTo>
                    <a:pt x="270" y="374"/>
                  </a:lnTo>
                  <a:lnTo>
                    <a:pt x="268" y="374"/>
                  </a:lnTo>
                  <a:lnTo>
                    <a:pt x="266" y="374"/>
                  </a:lnTo>
                  <a:lnTo>
                    <a:pt x="264" y="374"/>
                  </a:lnTo>
                  <a:lnTo>
                    <a:pt x="262" y="374"/>
                  </a:lnTo>
                  <a:lnTo>
                    <a:pt x="262" y="374"/>
                  </a:lnTo>
                  <a:lnTo>
                    <a:pt x="262" y="372"/>
                  </a:lnTo>
                  <a:lnTo>
                    <a:pt x="260" y="372"/>
                  </a:lnTo>
                  <a:lnTo>
                    <a:pt x="260" y="370"/>
                  </a:lnTo>
                  <a:lnTo>
                    <a:pt x="258" y="370"/>
                  </a:lnTo>
                  <a:lnTo>
                    <a:pt x="258" y="368"/>
                  </a:lnTo>
                  <a:lnTo>
                    <a:pt x="258" y="366"/>
                  </a:lnTo>
                  <a:lnTo>
                    <a:pt x="258" y="364"/>
                  </a:lnTo>
                  <a:lnTo>
                    <a:pt x="256" y="362"/>
                  </a:lnTo>
                  <a:lnTo>
                    <a:pt x="256" y="358"/>
                  </a:lnTo>
                  <a:lnTo>
                    <a:pt x="256" y="354"/>
                  </a:lnTo>
                  <a:lnTo>
                    <a:pt x="256" y="352"/>
                  </a:lnTo>
                  <a:lnTo>
                    <a:pt x="254" y="352"/>
                  </a:lnTo>
                  <a:lnTo>
                    <a:pt x="254" y="350"/>
                  </a:lnTo>
                  <a:lnTo>
                    <a:pt x="254" y="348"/>
                  </a:lnTo>
                  <a:lnTo>
                    <a:pt x="252" y="348"/>
                  </a:lnTo>
                  <a:lnTo>
                    <a:pt x="252" y="348"/>
                  </a:lnTo>
                  <a:lnTo>
                    <a:pt x="248" y="348"/>
                  </a:lnTo>
                  <a:lnTo>
                    <a:pt x="248" y="348"/>
                  </a:lnTo>
                  <a:lnTo>
                    <a:pt x="246" y="348"/>
                  </a:lnTo>
                  <a:lnTo>
                    <a:pt x="246" y="346"/>
                  </a:lnTo>
                  <a:lnTo>
                    <a:pt x="246" y="346"/>
                  </a:lnTo>
                  <a:lnTo>
                    <a:pt x="244" y="346"/>
                  </a:lnTo>
                  <a:lnTo>
                    <a:pt x="244" y="346"/>
                  </a:lnTo>
                  <a:lnTo>
                    <a:pt x="244" y="346"/>
                  </a:lnTo>
                  <a:lnTo>
                    <a:pt x="244" y="344"/>
                  </a:lnTo>
                  <a:lnTo>
                    <a:pt x="244" y="344"/>
                  </a:lnTo>
                  <a:lnTo>
                    <a:pt x="244" y="342"/>
                  </a:lnTo>
                  <a:lnTo>
                    <a:pt x="244" y="340"/>
                  </a:lnTo>
                  <a:lnTo>
                    <a:pt x="244" y="338"/>
                  </a:lnTo>
                  <a:lnTo>
                    <a:pt x="244" y="336"/>
                  </a:lnTo>
                  <a:lnTo>
                    <a:pt x="244" y="334"/>
                  </a:lnTo>
                  <a:lnTo>
                    <a:pt x="244" y="334"/>
                  </a:lnTo>
                  <a:lnTo>
                    <a:pt x="244" y="334"/>
                  </a:lnTo>
                  <a:lnTo>
                    <a:pt x="244" y="332"/>
                  </a:lnTo>
                  <a:lnTo>
                    <a:pt x="242" y="332"/>
                  </a:lnTo>
                  <a:lnTo>
                    <a:pt x="242" y="332"/>
                  </a:lnTo>
                  <a:lnTo>
                    <a:pt x="242" y="332"/>
                  </a:lnTo>
                  <a:lnTo>
                    <a:pt x="240" y="332"/>
                  </a:lnTo>
                  <a:lnTo>
                    <a:pt x="238" y="332"/>
                  </a:lnTo>
                  <a:lnTo>
                    <a:pt x="236" y="330"/>
                  </a:lnTo>
                  <a:lnTo>
                    <a:pt x="234" y="330"/>
                  </a:lnTo>
                  <a:lnTo>
                    <a:pt x="234" y="330"/>
                  </a:lnTo>
                  <a:lnTo>
                    <a:pt x="232" y="330"/>
                  </a:lnTo>
                  <a:lnTo>
                    <a:pt x="232" y="330"/>
                  </a:lnTo>
                  <a:lnTo>
                    <a:pt x="232" y="330"/>
                  </a:lnTo>
                  <a:lnTo>
                    <a:pt x="232" y="328"/>
                  </a:lnTo>
                  <a:lnTo>
                    <a:pt x="230" y="328"/>
                  </a:lnTo>
                  <a:lnTo>
                    <a:pt x="230" y="326"/>
                  </a:lnTo>
                  <a:lnTo>
                    <a:pt x="230" y="324"/>
                  </a:lnTo>
                  <a:lnTo>
                    <a:pt x="230" y="322"/>
                  </a:lnTo>
                  <a:lnTo>
                    <a:pt x="230" y="320"/>
                  </a:lnTo>
                  <a:lnTo>
                    <a:pt x="228" y="318"/>
                  </a:lnTo>
                  <a:lnTo>
                    <a:pt x="228" y="316"/>
                  </a:lnTo>
                  <a:lnTo>
                    <a:pt x="228" y="316"/>
                  </a:lnTo>
                  <a:lnTo>
                    <a:pt x="228" y="316"/>
                  </a:lnTo>
                  <a:lnTo>
                    <a:pt x="228" y="314"/>
                  </a:lnTo>
                  <a:lnTo>
                    <a:pt x="226" y="314"/>
                  </a:lnTo>
                  <a:lnTo>
                    <a:pt x="226" y="314"/>
                  </a:lnTo>
                  <a:lnTo>
                    <a:pt x="226" y="316"/>
                  </a:lnTo>
                  <a:lnTo>
                    <a:pt x="224" y="316"/>
                  </a:lnTo>
                  <a:lnTo>
                    <a:pt x="224" y="316"/>
                  </a:lnTo>
                  <a:lnTo>
                    <a:pt x="222" y="318"/>
                  </a:lnTo>
                  <a:lnTo>
                    <a:pt x="220" y="320"/>
                  </a:lnTo>
                  <a:lnTo>
                    <a:pt x="218" y="322"/>
                  </a:lnTo>
                  <a:lnTo>
                    <a:pt x="218" y="322"/>
                  </a:lnTo>
                  <a:lnTo>
                    <a:pt x="218" y="322"/>
                  </a:lnTo>
                  <a:lnTo>
                    <a:pt x="216" y="322"/>
                  </a:lnTo>
                  <a:lnTo>
                    <a:pt x="214" y="322"/>
                  </a:lnTo>
                  <a:lnTo>
                    <a:pt x="210" y="322"/>
                  </a:lnTo>
                  <a:lnTo>
                    <a:pt x="208" y="322"/>
                  </a:lnTo>
                  <a:lnTo>
                    <a:pt x="206" y="322"/>
                  </a:lnTo>
                  <a:lnTo>
                    <a:pt x="206" y="324"/>
                  </a:lnTo>
                  <a:lnTo>
                    <a:pt x="204" y="324"/>
                  </a:lnTo>
                  <a:lnTo>
                    <a:pt x="204" y="324"/>
                  </a:lnTo>
                  <a:lnTo>
                    <a:pt x="204" y="324"/>
                  </a:lnTo>
                  <a:lnTo>
                    <a:pt x="204" y="324"/>
                  </a:lnTo>
                  <a:lnTo>
                    <a:pt x="204" y="326"/>
                  </a:lnTo>
                  <a:lnTo>
                    <a:pt x="204" y="326"/>
                  </a:lnTo>
                  <a:lnTo>
                    <a:pt x="204" y="328"/>
                  </a:lnTo>
                  <a:lnTo>
                    <a:pt x="204" y="330"/>
                  </a:lnTo>
                  <a:lnTo>
                    <a:pt x="202" y="330"/>
                  </a:lnTo>
                  <a:lnTo>
                    <a:pt x="202" y="332"/>
                  </a:lnTo>
                  <a:lnTo>
                    <a:pt x="202" y="332"/>
                  </a:lnTo>
                  <a:lnTo>
                    <a:pt x="202" y="332"/>
                  </a:lnTo>
                  <a:lnTo>
                    <a:pt x="202" y="334"/>
                  </a:lnTo>
                  <a:lnTo>
                    <a:pt x="200" y="334"/>
                  </a:lnTo>
                  <a:lnTo>
                    <a:pt x="198" y="334"/>
                  </a:lnTo>
                  <a:lnTo>
                    <a:pt x="198" y="334"/>
                  </a:lnTo>
                  <a:lnTo>
                    <a:pt x="194" y="334"/>
                  </a:lnTo>
                  <a:lnTo>
                    <a:pt x="192" y="334"/>
                  </a:lnTo>
                  <a:lnTo>
                    <a:pt x="186" y="332"/>
                  </a:lnTo>
                  <a:lnTo>
                    <a:pt x="182" y="332"/>
                  </a:lnTo>
                  <a:lnTo>
                    <a:pt x="182" y="332"/>
                  </a:lnTo>
                  <a:lnTo>
                    <a:pt x="180" y="332"/>
                  </a:lnTo>
                  <a:lnTo>
                    <a:pt x="178" y="334"/>
                  </a:lnTo>
                  <a:lnTo>
                    <a:pt x="176" y="334"/>
                  </a:lnTo>
                  <a:lnTo>
                    <a:pt x="172" y="336"/>
                  </a:lnTo>
                  <a:lnTo>
                    <a:pt x="170" y="336"/>
                  </a:lnTo>
                  <a:lnTo>
                    <a:pt x="168" y="338"/>
                  </a:lnTo>
                  <a:lnTo>
                    <a:pt x="166" y="338"/>
                  </a:lnTo>
                  <a:lnTo>
                    <a:pt x="164" y="338"/>
                  </a:lnTo>
                  <a:lnTo>
                    <a:pt x="162" y="338"/>
                  </a:lnTo>
                  <a:lnTo>
                    <a:pt x="158" y="338"/>
                  </a:lnTo>
                  <a:lnTo>
                    <a:pt x="156" y="338"/>
                  </a:lnTo>
                  <a:lnTo>
                    <a:pt x="152" y="338"/>
                  </a:lnTo>
                  <a:lnTo>
                    <a:pt x="150" y="336"/>
                  </a:lnTo>
                  <a:lnTo>
                    <a:pt x="146" y="336"/>
                  </a:lnTo>
                  <a:lnTo>
                    <a:pt x="144" y="334"/>
                  </a:lnTo>
                  <a:lnTo>
                    <a:pt x="142" y="334"/>
                  </a:lnTo>
                  <a:lnTo>
                    <a:pt x="140" y="334"/>
                  </a:lnTo>
                  <a:lnTo>
                    <a:pt x="140" y="332"/>
                  </a:lnTo>
                  <a:lnTo>
                    <a:pt x="138" y="330"/>
                  </a:lnTo>
                  <a:lnTo>
                    <a:pt x="136" y="328"/>
                  </a:lnTo>
                  <a:lnTo>
                    <a:pt x="134" y="326"/>
                  </a:lnTo>
                  <a:lnTo>
                    <a:pt x="130" y="322"/>
                  </a:lnTo>
                  <a:lnTo>
                    <a:pt x="128" y="320"/>
                  </a:lnTo>
                  <a:lnTo>
                    <a:pt x="126" y="318"/>
                  </a:lnTo>
                  <a:lnTo>
                    <a:pt x="126" y="318"/>
                  </a:lnTo>
                  <a:lnTo>
                    <a:pt x="124" y="318"/>
                  </a:lnTo>
                  <a:lnTo>
                    <a:pt x="120" y="316"/>
                  </a:lnTo>
                  <a:lnTo>
                    <a:pt x="118" y="316"/>
                  </a:lnTo>
                  <a:lnTo>
                    <a:pt x="116" y="316"/>
                  </a:lnTo>
                  <a:lnTo>
                    <a:pt x="114" y="314"/>
                  </a:lnTo>
                  <a:lnTo>
                    <a:pt x="114" y="314"/>
                  </a:lnTo>
                  <a:lnTo>
                    <a:pt x="114" y="312"/>
                  </a:lnTo>
                  <a:lnTo>
                    <a:pt x="112" y="312"/>
                  </a:lnTo>
                  <a:lnTo>
                    <a:pt x="112" y="310"/>
                  </a:lnTo>
                  <a:lnTo>
                    <a:pt x="112" y="308"/>
                  </a:lnTo>
                  <a:lnTo>
                    <a:pt x="112" y="306"/>
                  </a:lnTo>
                  <a:lnTo>
                    <a:pt x="110" y="306"/>
                  </a:lnTo>
                  <a:lnTo>
                    <a:pt x="110" y="306"/>
                  </a:lnTo>
                  <a:lnTo>
                    <a:pt x="110" y="304"/>
                  </a:lnTo>
                  <a:lnTo>
                    <a:pt x="108" y="304"/>
                  </a:lnTo>
                  <a:lnTo>
                    <a:pt x="106" y="304"/>
                  </a:lnTo>
                  <a:lnTo>
                    <a:pt x="104" y="302"/>
                  </a:lnTo>
                  <a:lnTo>
                    <a:pt x="102" y="302"/>
                  </a:lnTo>
                  <a:lnTo>
                    <a:pt x="100" y="302"/>
                  </a:lnTo>
                  <a:lnTo>
                    <a:pt x="98" y="302"/>
                  </a:lnTo>
                  <a:lnTo>
                    <a:pt x="92" y="302"/>
                  </a:lnTo>
                  <a:lnTo>
                    <a:pt x="86" y="302"/>
                  </a:lnTo>
                  <a:lnTo>
                    <a:pt x="82" y="304"/>
                  </a:lnTo>
                  <a:lnTo>
                    <a:pt x="78" y="304"/>
                  </a:lnTo>
                  <a:lnTo>
                    <a:pt x="80" y="302"/>
                  </a:lnTo>
                  <a:lnTo>
                    <a:pt x="80" y="298"/>
                  </a:lnTo>
                  <a:lnTo>
                    <a:pt x="80" y="296"/>
                  </a:lnTo>
                  <a:lnTo>
                    <a:pt x="80" y="294"/>
                  </a:lnTo>
                  <a:lnTo>
                    <a:pt x="80" y="292"/>
                  </a:lnTo>
                  <a:lnTo>
                    <a:pt x="80" y="292"/>
                  </a:lnTo>
                  <a:lnTo>
                    <a:pt x="80" y="290"/>
                  </a:lnTo>
                  <a:lnTo>
                    <a:pt x="80" y="290"/>
                  </a:lnTo>
                  <a:lnTo>
                    <a:pt x="78" y="290"/>
                  </a:lnTo>
                  <a:lnTo>
                    <a:pt x="78" y="290"/>
                  </a:lnTo>
                  <a:lnTo>
                    <a:pt x="76" y="288"/>
                  </a:lnTo>
                  <a:lnTo>
                    <a:pt x="74" y="288"/>
                  </a:lnTo>
                  <a:lnTo>
                    <a:pt x="72" y="288"/>
                  </a:lnTo>
                  <a:lnTo>
                    <a:pt x="66" y="286"/>
                  </a:lnTo>
                  <a:lnTo>
                    <a:pt x="62" y="286"/>
                  </a:lnTo>
                  <a:lnTo>
                    <a:pt x="62" y="286"/>
                  </a:lnTo>
                  <a:lnTo>
                    <a:pt x="62" y="284"/>
                  </a:lnTo>
                  <a:lnTo>
                    <a:pt x="60" y="284"/>
                  </a:lnTo>
                  <a:lnTo>
                    <a:pt x="58" y="282"/>
                  </a:lnTo>
                  <a:lnTo>
                    <a:pt x="54" y="280"/>
                  </a:lnTo>
                  <a:lnTo>
                    <a:pt x="52" y="276"/>
                  </a:lnTo>
                  <a:lnTo>
                    <a:pt x="50" y="276"/>
                  </a:lnTo>
                  <a:lnTo>
                    <a:pt x="48" y="274"/>
                  </a:lnTo>
                  <a:lnTo>
                    <a:pt x="46" y="274"/>
                  </a:lnTo>
                  <a:lnTo>
                    <a:pt x="46" y="274"/>
                  </a:lnTo>
                  <a:lnTo>
                    <a:pt x="40" y="272"/>
                  </a:lnTo>
                  <a:lnTo>
                    <a:pt x="38" y="272"/>
                  </a:lnTo>
                  <a:lnTo>
                    <a:pt x="36" y="270"/>
                  </a:lnTo>
                  <a:lnTo>
                    <a:pt x="36" y="270"/>
                  </a:lnTo>
                  <a:lnTo>
                    <a:pt x="36" y="270"/>
                  </a:lnTo>
                  <a:lnTo>
                    <a:pt x="34" y="268"/>
                  </a:lnTo>
                  <a:lnTo>
                    <a:pt x="34" y="268"/>
                  </a:lnTo>
                  <a:lnTo>
                    <a:pt x="34" y="268"/>
                  </a:lnTo>
                  <a:lnTo>
                    <a:pt x="34" y="266"/>
                  </a:lnTo>
                  <a:lnTo>
                    <a:pt x="34" y="266"/>
                  </a:lnTo>
                  <a:lnTo>
                    <a:pt x="34" y="264"/>
                  </a:lnTo>
                  <a:lnTo>
                    <a:pt x="36" y="262"/>
                  </a:lnTo>
                  <a:lnTo>
                    <a:pt x="36" y="258"/>
                  </a:lnTo>
                  <a:lnTo>
                    <a:pt x="36" y="256"/>
                  </a:lnTo>
                  <a:lnTo>
                    <a:pt x="38" y="252"/>
                  </a:lnTo>
                  <a:lnTo>
                    <a:pt x="38" y="252"/>
                  </a:lnTo>
                  <a:lnTo>
                    <a:pt x="38" y="250"/>
                  </a:lnTo>
                  <a:lnTo>
                    <a:pt x="38" y="250"/>
                  </a:lnTo>
                  <a:lnTo>
                    <a:pt x="38" y="248"/>
                  </a:lnTo>
                  <a:lnTo>
                    <a:pt x="36" y="248"/>
                  </a:lnTo>
                  <a:lnTo>
                    <a:pt x="36" y="248"/>
                  </a:lnTo>
                  <a:lnTo>
                    <a:pt x="34" y="246"/>
                  </a:lnTo>
                  <a:lnTo>
                    <a:pt x="34" y="246"/>
                  </a:lnTo>
                  <a:lnTo>
                    <a:pt x="30" y="246"/>
                  </a:lnTo>
                  <a:lnTo>
                    <a:pt x="28" y="246"/>
                  </a:lnTo>
                  <a:lnTo>
                    <a:pt x="26" y="246"/>
                  </a:lnTo>
                  <a:lnTo>
                    <a:pt x="22" y="246"/>
                  </a:lnTo>
                  <a:lnTo>
                    <a:pt x="22" y="246"/>
                  </a:lnTo>
                  <a:lnTo>
                    <a:pt x="20" y="246"/>
                  </a:lnTo>
                  <a:lnTo>
                    <a:pt x="20" y="244"/>
                  </a:lnTo>
                  <a:lnTo>
                    <a:pt x="20" y="244"/>
                  </a:lnTo>
                  <a:lnTo>
                    <a:pt x="20" y="244"/>
                  </a:lnTo>
                  <a:lnTo>
                    <a:pt x="20" y="244"/>
                  </a:lnTo>
                  <a:lnTo>
                    <a:pt x="18" y="242"/>
                  </a:lnTo>
                  <a:lnTo>
                    <a:pt x="18" y="240"/>
                  </a:lnTo>
                  <a:lnTo>
                    <a:pt x="20" y="238"/>
                  </a:lnTo>
                  <a:lnTo>
                    <a:pt x="20" y="236"/>
                  </a:lnTo>
                  <a:lnTo>
                    <a:pt x="20" y="232"/>
                  </a:lnTo>
                  <a:lnTo>
                    <a:pt x="22" y="232"/>
                  </a:lnTo>
                  <a:lnTo>
                    <a:pt x="22" y="230"/>
                  </a:lnTo>
                  <a:lnTo>
                    <a:pt x="24" y="226"/>
                  </a:lnTo>
                  <a:lnTo>
                    <a:pt x="24" y="224"/>
                  </a:lnTo>
                  <a:lnTo>
                    <a:pt x="26" y="222"/>
                  </a:lnTo>
                  <a:lnTo>
                    <a:pt x="26" y="220"/>
                  </a:lnTo>
                  <a:lnTo>
                    <a:pt x="26" y="220"/>
                  </a:lnTo>
                  <a:lnTo>
                    <a:pt x="26" y="220"/>
                  </a:lnTo>
                  <a:lnTo>
                    <a:pt x="26" y="218"/>
                  </a:lnTo>
                  <a:lnTo>
                    <a:pt x="26" y="218"/>
                  </a:lnTo>
                  <a:lnTo>
                    <a:pt x="24" y="216"/>
                  </a:lnTo>
                  <a:lnTo>
                    <a:pt x="24" y="214"/>
                  </a:lnTo>
                  <a:lnTo>
                    <a:pt x="22" y="214"/>
                  </a:lnTo>
                  <a:lnTo>
                    <a:pt x="20" y="210"/>
                  </a:lnTo>
                  <a:lnTo>
                    <a:pt x="16" y="208"/>
                  </a:lnTo>
                  <a:lnTo>
                    <a:pt x="16" y="206"/>
                  </a:lnTo>
                  <a:lnTo>
                    <a:pt x="14" y="204"/>
                  </a:lnTo>
                  <a:lnTo>
                    <a:pt x="10" y="202"/>
                  </a:lnTo>
                  <a:lnTo>
                    <a:pt x="8" y="200"/>
                  </a:lnTo>
                  <a:lnTo>
                    <a:pt x="6" y="198"/>
                  </a:lnTo>
                  <a:lnTo>
                    <a:pt x="6" y="196"/>
                  </a:lnTo>
                  <a:lnTo>
                    <a:pt x="4" y="196"/>
                  </a:lnTo>
                  <a:lnTo>
                    <a:pt x="4" y="196"/>
                  </a:lnTo>
                  <a:lnTo>
                    <a:pt x="4" y="194"/>
                  </a:lnTo>
                  <a:lnTo>
                    <a:pt x="2" y="192"/>
                  </a:lnTo>
                  <a:lnTo>
                    <a:pt x="2" y="188"/>
                  </a:lnTo>
                  <a:lnTo>
                    <a:pt x="2" y="186"/>
                  </a:lnTo>
                  <a:lnTo>
                    <a:pt x="0" y="182"/>
                  </a:lnTo>
                  <a:lnTo>
                    <a:pt x="0" y="180"/>
                  </a:lnTo>
                  <a:lnTo>
                    <a:pt x="0" y="176"/>
                  </a:lnTo>
                  <a:lnTo>
                    <a:pt x="0" y="174"/>
                  </a:lnTo>
                  <a:lnTo>
                    <a:pt x="0" y="170"/>
                  </a:lnTo>
                  <a:lnTo>
                    <a:pt x="0" y="168"/>
                  </a:lnTo>
                  <a:lnTo>
                    <a:pt x="0" y="164"/>
                  </a:lnTo>
                  <a:lnTo>
                    <a:pt x="0" y="162"/>
                  </a:lnTo>
                  <a:lnTo>
                    <a:pt x="0" y="160"/>
                  </a:lnTo>
                  <a:lnTo>
                    <a:pt x="0" y="156"/>
                  </a:lnTo>
                  <a:lnTo>
                    <a:pt x="2" y="154"/>
                  </a:lnTo>
                  <a:lnTo>
                    <a:pt x="2" y="152"/>
                  </a:lnTo>
                  <a:lnTo>
                    <a:pt x="2" y="152"/>
                  </a:lnTo>
                  <a:lnTo>
                    <a:pt x="2" y="152"/>
                  </a:lnTo>
                  <a:lnTo>
                    <a:pt x="4" y="150"/>
                  </a:lnTo>
                  <a:lnTo>
                    <a:pt x="6" y="150"/>
                  </a:lnTo>
                  <a:lnTo>
                    <a:pt x="6" y="148"/>
                  </a:lnTo>
                  <a:lnTo>
                    <a:pt x="8" y="148"/>
                  </a:lnTo>
                  <a:lnTo>
                    <a:pt x="10" y="146"/>
                  </a:lnTo>
                  <a:lnTo>
                    <a:pt x="10" y="146"/>
                  </a:lnTo>
                  <a:lnTo>
                    <a:pt x="10" y="146"/>
                  </a:lnTo>
                  <a:lnTo>
                    <a:pt x="10" y="146"/>
                  </a:lnTo>
                  <a:lnTo>
                    <a:pt x="10" y="144"/>
                  </a:lnTo>
                  <a:lnTo>
                    <a:pt x="10" y="144"/>
                  </a:lnTo>
                  <a:lnTo>
                    <a:pt x="10" y="144"/>
                  </a:lnTo>
                  <a:lnTo>
                    <a:pt x="10" y="144"/>
                  </a:lnTo>
                  <a:lnTo>
                    <a:pt x="10" y="142"/>
                  </a:lnTo>
                  <a:lnTo>
                    <a:pt x="8" y="142"/>
                  </a:lnTo>
                  <a:lnTo>
                    <a:pt x="6" y="140"/>
                  </a:lnTo>
                  <a:lnTo>
                    <a:pt x="4" y="140"/>
                  </a:lnTo>
                  <a:lnTo>
                    <a:pt x="4" y="138"/>
                  </a:lnTo>
                  <a:lnTo>
                    <a:pt x="4" y="136"/>
                  </a:lnTo>
                  <a:lnTo>
                    <a:pt x="4" y="134"/>
                  </a:lnTo>
                  <a:lnTo>
                    <a:pt x="4" y="132"/>
                  </a:lnTo>
                  <a:lnTo>
                    <a:pt x="4" y="130"/>
                  </a:lnTo>
                  <a:lnTo>
                    <a:pt x="4" y="130"/>
                  </a:lnTo>
                  <a:lnTo>
                    <a:pt x="4" y="130"/>
                  </a:lnTo>
                  <a:lnTo>
                    <a:pt x="4" y="128"/>
                  </a:lnTo>
                  <a:lnTo>
                    <a:pt x="6" y="126"/>
                  </a:lnTo>
                  <a:lnTo>
                    <a:pt x="6" y="124"/>
                  </a:lnTo>
                  <a:lnTo>
                    <a:pt x="6" y="124"/>
                  </a:lnTo>
                  <a:lnTo>
                    <a:pt x="8" y="122"/>
                  </a:lnTo>
                  <a:lnTo>
                    <a:pt x="8" y="120"/>
                  </a:lnTo>
                  <a:lnTo>
                    <a:pt x="8" y="116"/>
                  </a:lnTo>
                  <a:lnTo>
                    <a:pt x="8" y="112"/>
                  </a:lnTo>
                  <a:lnTo>
                    <a:pt x="8" y="110"/>
                  </a:lnTo>
                  <a:lnTo>
                    <a:pt x="8" y="108"/>
                  </a:lnTo>
                  <a:lnTo>
                    <a:pt x="10" y="108"/>
                  </a:lnTo>
                  <a:lnTo>
                    <a:pt x="10" y="106"/>
                  </a:lnTo>
                  <a:lnTo>
                    <a:pt x="10" y="106"/>
                  </a:lnTo>
                  <a:lnTo>
                    <a:pt x="10" y="106"/>
                  </a:lnTo>
                  <a:lnTo>
                    <a:pt x="14" y="104"/>
                  </a:lnTo>
                  <a:lnTo>
                    <a:pt x="16" y="104"/>
                  </a:lnTo>
                  <a:lnTo>
                    <a:pt x="16" y="102"/>
                  </a:lnTo>
                  <a:lnTo>
                    <a:pt x="16" y="102"/>
                  </a:lnTo>
                  <a:lnTo>
                    <a:pt x="18" y="100"/>
                  </a:lnTo>
                  <a:lnTo>
                    <a:pt x="18" y="100"/>
                  </a:lnTo>
                  <a:lnTo>
                    <a:pt x="18" y="98"/>
                  </a:lnTo>
                  <a:lnTo>
                    <a:pt x="18" y="96"/>
                  </a:lnTo>
                  <a:lnTo>
                    <a:pt x="18" y="94"/>
                  </a:lnTo>
                  <a:lnTo>
                    <a:pt x="16" y="90"/>
                  </a:lnTo>
                  <a:lnTo>
                    <a:pt x="16" y="86"/>
                  </a:lnTo>
                  <a:lnTo>
                    <a:pt x="16" y="82"/>
                  </a:lnTo>
                  <a:lnTo>
                    <a:pt x="16" y="80"/>
                  </a:lnTo>
                  <a:lnTo>
                    <a:pt x="16" y="80"/>
                  </a:lnTo>
                  <a:lnTo>
                    <a:pt x="16" y="78"/>
                  </a:lnTo>
                  <a:lnTo>
                    <a:pt x="16" y="76"/>
                  </a:lnTo>
                  <a:lnTo>
                    <a:pt x="18" y="76"/>
                  </a:lnTo>
                  <a:lnTo>
                    <a:pt x="18" y="76"/>
                  </a:lnTo>
                  <a:lnTo>
                    <a:pt x="20" y="74"/>
                  </a:lnTo>
                  <a:lnTo>
                    <a:pt x="22" y="72"/>
                  </a:lnTo>
                  <a:lnTo>
                    <a:pt x="24" y="72"/>
                  </a:lnTo>
                  <a:lnTo>
                    <a:pt x="24" y="70"/>
                  </a:lnTo>
                  <a:lnTo>
                    <a:pt x="26" y="70"/>
                  </a:lnTo>
                  <a:lnTo>
                    <a:pt x="26" y="68"/>
                  </a:lnTo>
                  <a:lnTo>
                    <a:pt x="26" y="66"/>
                  </a:lnTo>
                  <a:lnTo>
                    <a:pt x="26" y="64"/>
                  </a:lnTo>
                  <a:lnTo>
                    <a:pt x="26" y="60"/>
                  </a:lnTo>
                  <a:lnTo>
                    <a:pt x="28" y="56"/>
                  </a:lnTo>
                  <a:lnTo>
                    <a:pt x="28" y="52"/>
                  </a:lnTo>
                  <a:lnTo>
                    <a:pt x="28" y="50"/>
                  </a:lnTo>
                  <a:lnTo>
                    <a:pt x="28" y="48"/>
                  </a:lnTo>
                  <a:lnTo>
                    <a:pt x="28" y="46"/>
                  </a:lnTo>
                  <a:lnTo>
                    <a:pt x="30" y="44"/>
                  </a:lnTo>
                  <a:lnTo>
                    <a:pt x="30" y="42"/>
                  </a:lnTo>
                  <a:lnTo>
                    <a:pt x="30" y="42"/>
                  </a:lnTo>
                  <a:lnTo>
                    <a:pt x="32" y="42"/>
                  </a:lnTo>
                  <a:lnTo>
                    <a:pt x="32" y="40"/>
                  </a:lnTo>
                  <a:lnTo>
                    <a:pt x="34" y="40"/>
                  </a:lnTo>
                  <a:lnTo>
                    <a:pt x="36" y="40"/>
                  </a:lnTo>
                  <a:lnTo>
                    <a:pt x="38" y="40"/>
                  </a:lnTo>
                  <a:lnTo>
                    <a:pt x="38" y="40"/>
                  </a:lnTo>
                  <a:lnTo>
                    <a:pt x="38" y="40"/>
                  </a:lnTo>
                  <a:lnTo>
                    <a:pt x="38" y="38"/>
                  </a:lnTo>
                  <a:lnTo>
                    <a:pt x="38" y="38"/>
                  </a:lnTo>
                  <a:lnTo>
                    <a:pt x="38" y="38"/>
                  </a:lnTo>
                  <a:lnTo>
                    <a:pt x="38" y="36"/>
                  </a:lnTo>
                  <a:lnTo>
                    <a:pt x="38" y="36"/>
                  </a:lnTo>
                  <a:lnTo>
                    <a:pt x="36" y="34"/>
                  </a:lnTo>
                  <a:lnTo>
                    <a:pt x="34" y="32"/>
                  </a:lnTo>
                  <a:lnTo>
                    <a:pt x="32" y="32"/>
                  </a:lnTo>
                  <a:lnTo>
                    <a:pt x="30" y="30"/>
                  </a:lnTo>
                  <a:lnTo>
                    <a:pt x="30" y="28"/>
                  </a:lnTo>
                  <a:lnTo>
                    <a:pt x="28" y="28"/>
                  </a:lnTo>
                  <a:lnTo>
                    <a:pt x="28" y="26"/>
                  </a:lnTo>
                  <a:lnTo>
                    <a:pt x="28" y="26"/>
                  </a:lnTo>
                  <a:lnTo>
                    <a:pt x="28" y="24"/>
                  </a:lnTo>
                  <a:lnTo>
                    <a:pt x="28" y="22"/>
                  </a:lnTo>
                  <a:lnTo>
                    <a:pt x="28" y="20"/>
                  </a:lnTo>
                  <a:lnTo>
                    <a:pt x="28" y="18"/>
                  </a:lnTo>
                  <a:lnTo>
                    <a:pt x="28" y="16"/>
                  </a:lnTo>
                  <a:lnTo>
                    <a:pt x="28" y="16"/>
                  </a:lnTo>
                  <a:lnTo>
                    <a:pt x="28" y="14"/>
                  </a:lnTo>
                  <a:lnTo>
                    <a:pt x="28" y="14"/>
                  </a:lnTo>
                  <a:lnTo>
                    <a:pt x="28" y="14"/>
                  </a:lnTo>
                  <a:lnTo>
                    <a:pt x="30" y="12"/>
                  </a:lnTo>
                  <a:lnTo>
                    <a:pt x="30" y="12"/>
                  </a:lnTo>
                  <a:lnTo>
                    <a:pt x="32" y="12"/>
                  </a:lnTo>
                  <a:lnTo>
                    <a:pt x="34" y="12"/>
                  </a:lnTo>
                  <a:lnTo>
                    <a:pt x="36" y="12"/>
                  </a:lnTo>
                  <a:lnTo>
                    <a:pt x="38" y="10"/>
                  </a:lnTo>
                  <a:lnTo>
                    <a:pt x="40" y="12"/>
                  </a:lnTo>
                  <a:lnTo>
                    <a:pt x="40" y="12"/>
                  </a:lnTo>
                  <a:lnTo>
                    <a:pt x="42" y="12"/>
                  </a:lnTo>
                  <a:lnTo>
                    <a:pt x="42" y="12"/>
                  </a:lnTo>
                  <a:lnTo>
                    <a:pt x="44" y="12"/>
                  </a:lnTo>
                  <a:lnTo>
                    <a:pt x="44" y="14"/>
                  </a:lnTo>
                  <a:lnTo>
                    <a:pt x="46" y="16"/>
                  </a:lnTo>
                  <a:lnTo>
                    <a:pt x="48" y="18"/>
                  </a:lnTo>
                  <a:lnTo>
                    <a:pt x="50" y="22"/>
                  </a:lnTo>
                  <a:lnTo>
                    <a:pt x="50" y="22"/>
                  </a:lnTo>
                  <a:lnTo>
                    <a:pt x="50" y="24"/>
                  </a:lnTo>
                  <a:lnTo>
                    <a:pt x="52" y="26"/>
                  </a:lnTo>
                  <a:lnTo>
                    <a:pt x="54" y="28"/>
                  </a:lnTo>
                  <a:lnTo>
                    <a:pt x="54" y="30"/>
                  </a:lnTo>
                  <a:lnTo>
                    <a:pt x="54" y="30"/>
                  </a:lnTo>
                  <a:lnTo>
                    <a:pt x="56" y="30"/>
                  </a:lnTo>
                  <a:lnTo>
                    <a:pt x="56" y="30"/>
                  </a:lnTo>
                  <a:lnTo>
                    <a:pt x="56" y="30"/>
                  </a:lnTo>
                  <a:lnTo>
                    <a:pt x="56" y="30"/>
                  </a:lnTo>
                  <a:lnTo>
                    <a:pt x="58" y="30"/>
                  </a:lnTo>
                  <a:lnTo>
                    <a:pt x="58" y="28"/>
                  </a:lnTo>
                  <a:lnTo>
                    <a:pt x="58" y="28"/>
                  </a:lnTo>
                  <a:lnTo>
                    <a:pt x="58" y="26"/>
                  </a:lnTo>
                  <a:lnTo>
                    <a:pt x="60" y="24"/>
                  </a:lnTo>
                  <a:lnTo>
                    <a:pt x="60" y="22"/>
                  </a:lnTo>
                  <a:lnTo>
                    <a:pt x="60" y="20"/>
                  </a:lnTo>
                  <a:lnTo>
                    <a:pt x="60" y="18"/>
                  </a:lnTo>
                  <a:lnTo>
                    <a:pt x="60" y="16"/>
                  </a:lnTo>
                  <a:lnTo>
                    <a:pt x="60" y="10"/>
                  </a:lnTo>
                  <a:lnTo>
                    <a:pt x="60" y="6"/>
                  </a:lnTo>
                  <a:lnTo>
                    <a:pt x="58"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7" name="Freeform 528"/>
            <p:cNvSpPr>
              <a:spLocks/>
            </p:cNvSpPr>
            <p:nvPr/>
          </p:nvSpPr>
          <p:spPr bwMode="auto">
            <a:xfrm>
              <a:off x="714994" y="2858710"/>
              <a:ext cx="51962" cy="51962"/>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8" name="Freeform 529"/>
            <p:cNvSpPr>
              <a:spLocks/>
            </p:cNvSpPr>
            <p:nvPr/>
          </p:nvSpPr>
          <p:spPr bwMode="auto">
            <a:xfrm>
              <a:off x="714994" y="2858710"/>
              <a:ext cx="51962" cy="51962"/>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49" name="Freeform 587"/>
            <p:cNvSpPr>
              <a:spLocks/>
            </p:cNvSpPr>
            <p:nvPr/>
          </p:nvSpPr>
          <p:spPr bwMode="auto">
            <a:xfrm>
              <a:off x="1975944" y="2986883"/>
              <a:ext cx="76211" cy="135102"/>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0" name="Freeform 588"/>
            <p:cNvSpPr>
              <a:spLocks/>
            </p:cNvSpPr>
            <p:nvPr/>
          </p:nvSpPr>
          <p:spPr bwMode="auto">
            <a:xfrm>
              <a:off x="1975944" y="2986883"/>
              <a:ext cx="76211" cy="135102"/>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1" name="Freeform 589"/>
            <p:cNvSpPr>
              <a:spLocks/>
            </p:cNvSpPr>
            <p:nvPr/>
          </p:nvSpPr>
          <p:spPr bwMode="auto">
            <a:xfrm>
              <a:off x="2107582" y="3167019"/>
              <a:ext cx="252883" cy="193992"/>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2" name="Freeform 590"/>
            <p:cNvSpPr>
              <a:spLocks/>
            </p:cNvSpPr>
            <p:nvPr/>
          </p:nvSpPr>
          <p:spPr bwMode="auto">
            <a:xfrm>
              <a:off x="2107582" y="3167019"/>
              <a:ext cx="252883" cy="193992"/>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3" name="Freeform 591"/>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4" name="Freeform 592"/>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5" name="Freeform 593"/>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6" name="Freeform 594"/>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7" name="Freeform 595"/>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8" name="Freeform 596"/>
            <p:cNvSpPr>
              <a:spLocks/>
            </p:cNvSpPr>
            <p:nvPr/>
          </p:nvSpPr>
          <p:spPr bwMode="auto">
            <a:xfrm>
              <a:off x="3070616" y="2352944"/>
              <a:ext cx="62355" cy="34641"/>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59" name="Freeform 597"/>
            <p:cNvSpPr>
              <a:spLocks/>
            </p:cNvSpPr>
            <p:nvPr/>
          </p:nvSpPr>
          <p:spPr bwMode="auto">
            <a:xfrm>
              <a:off x="3070616" y="2352944"/>
              <a:ext cx="62355" cy="34641"/>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0" name="Freeform 598"/>
            <p:cNvSpPr>
              <a:spLocks/>
            </p:cNvSpPr>
            <p:nvPr/>
          </p:nvSpPr>
          <p:spPr bwMode="auto">
            <a:xfrm>
              <a:off x="2769235" y="1667042"/>
              <a:ext cx="1250558" cy="1084279"/>
            </a:xfrm>
            <a:custGeom>
              <a:avLst/>
              <a:gdLst>
                <a:gd name="T0" fmla="*/ 104 w 722"/>
                <a:gd name="T1" fmla="*/ 102 h 626"/>
                <a:gd name="T2" fmla="*/ 92 w 722"/>
                <a:gd name="T3" fmla="*/ 136 h 626"/>
                <a:gd name="T4" fmla="*/ 34 w 722"/>
                <a:gd name="T5" fmla="*/ 168 h 626"/>
                <a:gd name="T6" fmla="*/ 2 w 722"/>
                <a:gd name="T7" fmla="*/ 188 h 626"/>
                <a:gd name="T8" fmla="*/ 56 w 722"/>
                <a:gd name="T9" fmla="*/ 188 h 626"/>
                <a:gd name="T10" fmla="*/ 42 w 722"/>
                <a:gd name="T11" fmla="*/ 208 h 626"/>
                <a:gd name="T12" fmla="*/ 22 w 722"/>
                <a:gd name="T13" fmla="*/ 218 h 626"/>
                <a:gd name="T14" fmla="*/ 106 w 722"/>
                <a:gd name="T15" fmla="*/ 234 h 626"/>
                <a:gd name="T16" fmla="*/ 166 w 722"/>
                <a:gd name="T17" fmla="*/ 262 h 626"/>
                <a:gd name="T18" fmla="*/ 190 w 722"/>
                <a:gd name="T19" fmla="*/ 358 h 626"/>
                <a:gd name="T20" fmla="*/ 216 w 722"/>
                <a:gd name="T21" fmla="*/ 352 h 626"/>
                <a:gd name="T22" fmla="*/ 206 w 722"/>
                <a:gd name="T23" fmla="*/ 376 h 626"/>
                <a:gd name="T24" fmla="*/ 218 w 722"/>
                <a:gd name="T25" fmla="*/ 388 h 626"/>
                <a:gd name="T26" fmla="*/ 224 w 722"/>
                <a:gd name="T27" fmla="*/ 424 h 626"/>
                <a:gd name="T28" fmla="*/ 188 w 722"/>
                <a:gd name="T29" fmla="*/ 462 h 626"/>
                <a:gd name="T30" fmla="*/ 232 w 722"/>
                <a:gd name="T31" fmla="*/ 586 h 626"/>
                <a:gd name="T32" fmla="*/ 270 w 722"/>
                <a:gd name="T33" fmla="*/ 608 h 626"/>
                <a:gd name="T34" fmla="*/ 304 w 722"/>
                <a:gd name="T35" fmla="*/ 620 h 626"/>
                <a:gd name="T36" fmla="*/ 342 w 722"/>
                <a:gd name="T37" fmla="*/ 540 h 626"/>
                <a:gd name="T38" fmla="*/ 356 w 722"/>
                <a:gd name="T39" fmla="*/ 498 h 626"/>
                <a:gd name="T40" fmla="*/ 436 w 722"/>
                <a:gd name="T41" fmla="*/ 482 h 626"/>
                <a:gd name="T42" fmla="*/ 462 w 722"/>
                <a:gd name="T43" fmla="*/ 436 h 626"/>
                <a:gd name="T44" fmla="*/ 528 w 722"/>
                <a:gd name="T45" fmla="*/ 434 h 626"/>
                <a:gd name="T46" fmla="*/ 584 w 722"/>
                <a:gd name="T47" fmla="*/ 384 h 626"/>
                <a:gd name="T48" fmla="*/ 530 w 722"/>
                <a:gd name="T49" fmla="*/ 374 h 626"/>
                <a:gd name="T50" fmla="*/ 550 w 722"/>
                <a:gd name="T51" fmla="*/ 348 h 626"/>
                <a:gd name="T52" fmla="*/ 592 w 722"/>
                <a:gd name="T53" fmla="*/ 374 h 626"/>
                <a:gd name="T54" fmla="*/ 592 w 722"/>
                <a:gd name="T55" fmla="*/ 336 h 626"/>
                <a:gd name="T56" fmla="*/ 560 w 722"/>
                <a:gd name="T57" fmla="*/ 314 h 626"/>
                <a:gd name="T58" fmla="*/ 588 w 722"/>
                <a:gd name="T59" fmla="*/ 312 h 626"/>
                <a:gd name="T60" fmla="*/ 606 w 722"/>
                <a:gd name="T61" fmla="*/ 300 h 626"/>
                <a:gd name="T62" fmla="*/ 612 w 722"/>
                <a:gd name="T63" fmla="*/ 282 h 626"/>
                <a:gd name="T64" fmla="*/ 644 w 722"/>
                <a:gd name="T65" fmla="*/ 268 h 626"/>
                <a:gd name="T66" fmla="*/ 628 w 722"/>
                <a:gd name="T67" fmla="*/ 244 h 626"/>
                <a:gd name="T68" fmla="*/ 638 w 722"/>
                <a:gd name="T69" fmla="*/ 212 h 626"/>
                <a:gd name="T70" fmla="*/ 644 w 722"/>
                <a:gd name="T71" fmla="*/ 188 h 626"/>
                <a:gd name="T72" fmla="*/ 602 w 722"/>
                <a:gd name="T73" fmla="*/ 182 h 626"/>
                <a:gd name="T74" fmla="*/ 638 w 722"/>
                <a:gd name="T75" fmla="*/ 140 h 626"/>
                <a:gd name="T76" fmla="*/ 622 w 722"/>
                <a:gd name="T77" fmla="*/ 122 h 626"/>
                <a:gd name="T78" fmla="*/ 662 w 722"/>
                <a:gd name="T79" fmla="*/ 108 h 626"/>
                <a:gd name="T80" fmla="*/ 722 w 722"/>
                <a:gd name="T81" fmla="*/ 76 h 626"/>
                <a:gd name="T82" fmla="*/ 648 w 722"/>
                <a:gd name="T83" fmla="*/ 74 h 626"/>
                <a:gd name="T84" fmla="*/ 582 w 722"/>
                <a:gd name="T85" fmla="*/ 104 h 626"/>
                <a:gd name="T86" fmla="*/ 604 w 722"/>
                <a:gd name="T87" fmla="*/ 64 h 626"/>
                <a:gd name="T88" fmla="*/ 558 w 722"/>
                <a:gd name="T89" fmla="*/ 82 h 626"/>
                <a:gd name="T90" fmla="*/ 556 w 722"/>
                <a:gd name="T91" fmla="*/ 58 h 626"/>
                <a:gd name="T92" fmla="*/ 482 w 722"/>
                <a:gd name="T93" fmla="*/ 72 h 626"/>
                <a:gd name="T94" fmla="*/ 484 w 722"/>
                <a:gd name="T95" fmla="*/ 56 h 626"/>
                <a:gd name="T96" fmla="*/ 598 w 722"/>
                <a:gd name="T97" fmla="*/ 40 h 626"/>
                <a:gd name="T98" fmla="*/ 566 w 722"/>
                <a:gd name="T99" fmla="*/ 22 h 626"/>
                <a:gd name="T100" fmla="*/ 478 w 722"/>
                <a:gd name="T101" fmla="*/ 38 h 626"/>
                <a:gd name="T102" fmla="*/ 506 w 722"/>
                <a:gd name="T103" fmla="*/ 22 h 626"/>
                <a:gd name="T104" fmla="*/ 508 w 722"/>
                <a:gd name="T105" fmla="*/ 2 h 626"/>
                <a:gd name="T106" fmla="*/ 408 w 722"/>
                <a:gd name="T107" fmla="*/ 22 h 626"/>
                <a:gd name="T108" fmla="*/ 360 w 722"/>
                <a:gd name="T109" fmla="*/ 32 h 626"/>
                <a:gd name="T110" fmla="*/ 342 w 722"/>
                <a:gd name="T111" fmla="*/ 48 h 626"/>
                <a:gd name="T112" fmla="*/ 322 w 722"/>
                <a:gd name="T113" fmla="*/ 56 h 626"/>
                <a:gd name="T114" fmla="*/ 284 w 722"/>
                <a:gd name="T115" fmla="*/ 54 h 626"/>
                <a:gd name="T116" fmla="*/ 276 w 722"/>
                <a:gd name="T117" fmla="*/ 82 h 626"/>
                <a:gd name="T118" fmla="*/ 258 w 722"/>
                <a:gd name="T119" fmla="*/ 58 h 626"/>
                <a:gd name="T120" fmla="*/ 240 w 722"/>
                <a:gd name="T121" fmla="*/ 62 h 626"/>
                <a:gd name="T122" fmla="*/ 212 w 722"/>
                <a:gd name="T123" fmla="*/ 56 h 626"/>
                <a:gd name="T124" fmla="*/ 174 w 722"/>
                <a:gd name="T125" fmla="*/ 6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626">
                  <a:moveTo>
                    <a:pt x="150" y="78"/>
                  </a:moveTo>
                  <a:lnTo>
                    <a:pt x="150" y="78"/>
                  </a:lnTo>
                  <a:lnTo>
                    <a:pt x="150" y="80"/>
                  </a:lnTo>
                  <a:lnTo>
                    <a:pt x="148" y="82"/>
                  </a:lnTo>
                  <a:lnTo>
                    <a:pt x="144" y="88"/>
                  </a:lnTo>
                  <a:lnTo>
                    <a:pt x="144" y="90"/>
                  </a:lnTo>
                  <a:lnTo>
                    <a:pt x="142" y="94"/>
                  </a:lnTo>
                  <a:lnTo>
                    <a:pt x="140" y="94"/>
                  </a:lnTo>
                  <a:lnTo>
                    <a:pt x="140" y="96"/>
                  </a:lnTo>
                  <a:lnTo>
                    <a:pt x="138" y="96"/>
                  </a:lnTo>
                  <a:lnTo>
                    <a:pt x="138" y="98"/>
                  </a:lnTo>
                  <a:lnTo>
                    <a:pt x="136" y="98"/>
                  </a:lnTo>
                  <a:lnTo>
                    <a:pt x="134" y="98"/>
                  </a:lnTo>
                  <a:lnTo>
                    <a:pt x="132" y="100"/>
                  </a:lnTo>
                  <a:lnTo>
                    <a:pt x="128" y="100"/>
                  </a:lnTo>
                  <a:lnTo>
                    <a:pt x="126" y="100"/>
                  </a:lnTo>
                  <a:lnTo>
                    <a:pt x="122" y="100"/>
                  </a:lnTo>
                  <a:lnTo>
                    <a:pt x="116" y="100"/>
                  </a:lnTo>
                  <a:lnTo>
                    <a:pt x="110" y="102"/>
                  </a:lnTo>
                  <a:lnTo>
                    <a:pt x="106" y="102"/>
                  </a:lnTo>
                  <a:lnTo>
                    <a:pt x="104" y="102"/>
                  </a:lnTo>
                  <a:lnTo>
                    <a:pt x="102" y="104"/>
                  </a:lnTo>
                  <a:lnTo>
                    <a:pt x="98" y="104"/>
                  </a:lnTo>
                  <a:lnTo>
                    <a:pt x="98" y="104"/>
                  </a:lnTo>
                  <a:lnTo>
                    <a:pt x="96" y="106"/>
                  </a:lnTo>
                  <a:lnTo>
                    <a:pt x="96" y="106"/>
                  </a:lnTo>
                  <a:lnTo>
                    <a:pt x="96" y="106"/>
                  </a:lnTo>
                  <a:lnTo>
                    <a:pt x="94" y="108"/>
                  </a:lnTo>
                  <a:lnTo>
                    <a:pt x="94" y="108"/>
                  </a:lnTo>
                  <a:lnTo>
                    <a:pt x="94" y="110"/>
                  </a:lnTo>
                  <a:lnTo>
                    <a:pt x="94" y="112"/>
                  </a:lnTo>
                  <a:lnTo>
                    <a:pt x="94" y="112"/>
                  </a:lnTo>
                  <a:lnTo>
                    <a:pt x="94" y="116"/>
                  </a:lnTo>
                  <a:lnTo>
                    <a:pt x="94" y="118"/>
                  </a:lnTo>
                  <a:lnTo>
                    <a:pt x="94" y="122"/>
                  </a:lnTo>
                  <a:lnTo>
                    <a:pt x="94" y="126"/>
                  </a:lnTo>
                  <a:lnTo>
                    <a:pt x="94" y="128"/>
                  </a:lnTo>
                  <a:lnTo>
                    <a:pt x="94" y="130"/>
                  </a:lnTo>
                  <a:lnTo>
                    <a:pt x="94" y="132"/>
                  </a:lnTo>
                  <a:lnTo>
                    <a:pt x="94" y="134"/>
                  </a:lnTo>
                  <a:lnTo>
                    <a:pt x="94" y="136"/>
                  </a:lnTo>
                  <a:lnTo>
                    <a:pt x="92" y="136"/>
                  </a:lnTo>
                  <a:lnTo>
                    <a:pt x="92" y="138"/>
                  </a:lnTo>
                  <a:lnTo>
                    <a:pt x="90" y="140"/>
                  </a:lnTo>
                  <a:lnTo>
                    <a:pt x="88" y="140"/>
                  </a:lnTo>
                  <a:lnTo>
                    <a:pt x="86" y="140"/>
                  </a:lnTo>
                  <a:lnTo>
                    <a:pt x="84" y="142"/>
                  </a:lnTo>
                  <a:lnTo>
                    <a:pt x="82" y="142"/>
                  </a:lnTo>
                  <a:lnTo>
                    <a:pt x="78" y="142"/>
                  </a:lnTo>
                  <a:lnTo>
                    <a:pt x="72" y="144"/>
                  </a:lnTo>
                  <a:lnTo>
                    <a:pt x="68" y="144"/>
                  </a:lnTo>
                  <a:lnTo>
                    <a:pt x="66" y="146"/>
                  </a:lnTo>
                  <a:lnTo>
                    <a:pt x="64" y="146"/>
                  </a:lnTo>
                  <a:lnTo>
                    <a:pt x="62" y="146"/>
                  </a:lnTo>
                  <a:lnTo>
                    <a:pt x="60" y="148"/>
                  </a:lnTo>
                  <a:lnTo>
                    <a:pt x="58" y="148"/>
                  </a:lnTo>
                  <a:lnTo>
                    <a:pt x="56" y="148"/>
                  </a:lnTo>
                  <a:lnTo>
                    <a:pt x="54" y="152"/>
                  </a:lnTo>
                  <a:lnTo>
                    <a:pt x="50" y="154"/>
                  </a:lnTo>
                  <a:lnTo>
                    <a:pt x="44" y="158"/>
                  </a:lnTo>
                  <a:lnTo>
                    <a:pt x="40" y="162"/>
                  </a:lnTo>
                  <a:lnTo>
                    <a:pt x="38" y="164"/>
                  </a:lnTo>
                  <a:lnTo>
                    <a:pt x="34" y="168"/>
                  </a:lnTo>
                  <a:lnTo>
                    <a:pt x="32" y="168"/>
                  </a:lnTo>
                  <a:lnTo>
                    <a:pt x="30" y="170"/>
                  </a:lnTo>
                  <a:lnTo>
                    <a:pt x="28" y="170"/>
                  </a:lnTo>
                  <a:lnTo>
                    <a:pt x="26" y="170"/>
                  </a:lnTo>
                  <a:lnTo>
                    <a:pt x="22" y="172"/>
                  </a:lnTo>
                  <a:lnTo>
                    <a:pt x="14" y="174"/>
                  </a:lnTo>
                  <a:lnTo>
                    <a:pt x="10" y="174"/>
                  </a:lnTo>
                  <a:lnTo>
                    <a:pt x="6" y="176"/>
                  </a:lnTo>
                  <a:lnTo>
                    <a:pt x="6" y="176"/>
                  </a:lnTo>
                  <a:lnTo>
                    <a:pt x="4" y="176"/>
                  </a:lnTo>
                  <a:lnTo>
                    <a:pt x="2" y="178"/>
                  </a:lnTo>
                  <a:lnTo>
                    <a:pt x="0" y="178"/>
                  </a:lnTo>
                  <a:lnTo>
                    <a:pt x="0" y="180"/>
                  </a:lnTo>
                  <a:lnTo>
                    <a:pt x="0" y="180"/>
                  </a:lnTo>
                  <a:lnTo>
                    <a:pt x="0" y="180"/>
                  </a:lnTo>
                  <a:lnTo>
                    <a:pt x="0" y="182"/>
                  </a:lnTo>
                  <a:lnTo>
                    <a:pt x="0" y="184"/>
                  </a:lnTo>
                  <a:lnTo>
                    <a:pt x="0" y="186"/>
                  </a:lnTo>
                  <a:lnTo>
                    <a:pt x="0" y="186"/>
                  </a:lnTo>
                  <a:lnTo>
                    <a:pt x="0" y="188"/>
                  </a:lnTo>
                  <a:lnTo>
                    <a:pt x="2" y="188"/>
                  </a:lnTo>
                  <a:lnTo>
                    <a:pt x="2" y="190"/>
                  </a:lnTo>
                  <a:lnTo>
                    <a:pt x="4" y="190"/>
                  </a:lnTo>
                  <a:lnTo>
                    <a:pt x="4" y="192"/>
                  </a:lnTo>
                  <a:lnTo>
                    <a:pt x="6" y="192"/>
                  </a:lnTo>
                  <a:lnTo>
                    <a:pt x="8" y="192"/>
                  </a:lnTo>
                  <a:lnTo>
                    <a:pt x="8" y="192"/>
                  </a:lnTo>
                  <a:lnTo>
                    <a:pt x="10" y="192"/>
                  </a:lnTo>
                  <a:lnTo>
                    <a:pt x="14" y="192"/>
                  </a:lnTo>
                  <a:lnTo>
                    <a:pt x="16" y="192"/>
                  </a:lnTo>
                  <a:lnTo>
                    <a:pt x="20" y="190"/>
                  </a:lnTo>
                  <a:lnTo>
                    <a:pt x="28" y="190"/>
                  </a:lnTo>
                  <a:lnTo>
                    <a:pt x="36" y="188"/>
                  </a:lnTo>
                  <a:lnTo>
                    <a:pt x="40" y="186"/>
                  </a:lnTo>
                  <a:lnTo>
                    <a:pt x="44" y="186"/>
                  </a:lnTo>
                  <a:lnTo>
                    <a:pt x="46" y="186"/>
                  </a:lnTo>
                  <a:lnTo>
                    <a:pt x="50" y="186"/>
                  </a:lnTo>
                  <a:lnTo>
                    <a:pt x="52" y="186"/>
                  </a:lnTo>
                  <a:lnTo>
                    <a:pt x="52" y="186"/>
                  </a:lnTo>
                  <a:lnTo>
                    <a:pt x="54" y="186"/>
                  </a:lnTo>
                  <a:lnTo>
                    <a:pt x="56" y="188"/>
                  </a:lnTo>
                  <a:lnTo>
                    <a:pt x="56" y="188"/>
                  </a:lnTo>
                  <a:lnTo>
                    <a:pt x="58" y="190"/>
                  </a:lnTo>
                  <a:lnTo>
                    <a:pt x="60" y="192"/>
                  </a:lnTo>
                  <a:lnTo>
                    <a:pt x="62" y="194"/>
                  </a:lnTo>
                  <a:lnTo>
                    <a:pt x="64" y="196"/>
                  </a:lnTo>
                  <a:lnTo>
                    <a:pt x="64" y="198"/>
                  </a:lnTo>
                  <a:lnTo>
                    <a:pt x="64" y="198"/>
                  </a:lnTo>
                  <a:lnTo>
                    <a:pt x="66" y="200"/>
                  </a:lnTo>
                  <a:lnTo>
                    <a:pt x="66" y="200"/>
                  </a:lnTo>
                  <a:lnTo>
                    <a:pt x="66" y="202"/>
                  </a:lnTo>
                  <a:lnTo>
                    <a:pt x="66" y="202"/>
                  </a:lnTo>
                  <a:lnTo>
                    <a:pt x="64" y="204"/>
                  </a:lnTo>
                  <a:lnTo>
                    <a:pt x="64" y="204"/>
                  </a:lnTo>
                  <a:lnTo>
                    <a:pt x="62" y="204"/>
                  </a:lnTo>
                  <a:lnTo>
                    <a:pt x="62" y="206"/>
                  </a:lnTo>
                  <a:lnTo>
                    <a:pt x="60" y="206"/>
                  </a:lnTo>
                  <a:lnTo>
                    <a:pt x="58" y="206"/>
                  </a:lnTo>
                  <a:lnTo>
                    <a:pt x="56" y="206"/>
                  </a:lnTo>
                  <a:lnTo>
                    <a:pt x="52" y="206"/>
                  </a:lnTo>
                  <a:lnTo>
                    <a:pt x="48" y="208"/>
                  </a:lnTo>
                  <a:lnTo>
                    <a:pt x="44" y="208"/>
                  </a:lnTo>
                  <a:lnTo>
                    <a:pt x="42" y="208"/>
                  </a:lnTo>
                  <a:lnTo>
                    <a:pt x="42" y="208"/>
                  </a:lnTo>
                  <a:lnTo>
                    <a:pt x="40" y="208"/>
                  </a:lnTo>
                  <a:lnTo>
                    <a:pt x="36" y="208"/>
                  </a:lnTo>
                  <a:lnTo>
                    <a:pt x="34" y="208"/>
                  </a:lnTo>
                  <a:lnTo>
                    <a:pt x="30" y="208"/>
                  </a:lnTo>
                  <a:lnTo>
                    <a:pt x="26" y="208"/>
                  </a:lnTo>
                  <a:lnTo>
                    <a:pt x="24" y="208"/>
                  </a:lnTo>
                  <a:lnTo>
                    <a:pt x="24" y="208"/>
                  </a:lnTo>
                  <a:lnTo>
                    <a:pt x="22" y="208"/>
                  </a:lnTo>
                  <a:lnTo>
                    <a:pt x="20" y="208"/>
                  </a:lnTo>
                  <a:lnTo>
                    <a:pt x="20" y="210"/>
                  </a:lnTo>
                  <a:lnTo>
                    <a:pt x="20" y="210"/>
                  </a:lnTo>
                  <a:lnTo>
                    <a:pt x="20" y="210"/>
                  </a:lnTo>
                  <a:lnTo>
                    <a:pt x="20" y="212"/>
                  </a:lnTo>
                  <a:lnTo>
                    <a:pt x="20" y="212"/>
                  </a:lnTo>
                  <a:lnTo>
                    <a:pt x="20" y="212"/>
                  </a:lnTo>
                  <a:lnTo>
                    <a:pt x="20" y="214"/>
                  </a:lnTo>
                  <a:lnTo>
                    <a:pt x="20" y="214"/>
                  </a:lnTo>
                  <a:lnTo>
                    <a:pt x="22" y="216"/>
                  </a:lnTo>
                  <a:lnTo>
                    <a:pt x="22" y="216"/>
                  </a:lnTo>
                  <a:lnTo>
                    <a:pt x="22" y="218"/>
                  </a:lnTo>
                  <a:lnTo>
                    <a:pt x="24" y="220"/>
                  </a:lnTo>
                  <a:lnTo>
                    <a:pt x="28" y="222"/>
                  </a:lnTo>
                  <a:lnTo>
                    <a:pt x="30" y="224"/>
                  </a:lnTo>
                  <a:lnTo>
                    <a:pt x="32" y="226"/>
                  </a:lnTo>
                  <a:lnTo>
                    <a:pt x="36" y="226"/>
                  </a:lnTo>
                  <a:lnTo>
                    <a:pt x="38" y="228"/>
                  </a:lnTo>
                  <a:lnTo>
                    <a:pt x="42" y="230"/>
                  </a:lnTo>
                  <a:lnTo>
                    <a:pt x="44" y="232"/>
                  </a:lnTo>
                  <a:lnTo>
                    <a:pt x="50" y="234"/>
                  </a:lnTo>
                  <a:lnTo>
                    <a:pt x="56" y="236"/>
                  </a:lnTo>
                  <a:lnTo>
                    <a:pt x="58" y="236"/>
                  </a:lnTo>
                  <a:lnTo>
                    <a:pt x="60" y="236"/>
                  </a:lnTo>
                  <a:lnTo>
                    <a:pt x="62" y="236"/>
                  </a:lnTo>
                  <a:lnTo>
                    <a:pt x="64" y="236"/>
                  </a:lnTo>
                  <a:lnTo>
                    <a:pt x="66" y="236"/>
                  </a:lnTo>
                  <a:lnTo>
                    <a:pt x="70" y="236"/>
                  </a:lnTo>
                  <a:lnTo>
                    <a:pt x="74" y="236"/>
                  </a:lnTo>
                  <a:lnTo>
                    <a:pt x="80" y="236"/>
                  </a:lnTo>
                  <a:lnTo>
                    <a:pt x="86" y="236"/>
                  </a:lnTo>
                  <a:lnTo>
                    <a:pt x="100" y="234"/>
                  </a:lnTo>
                  <a:lnTo>
                    <a:pt x="106" y="234"/>
                  </a:lnTo>
                  <a:lnTo>
                    <a:pt x="112" y="234"/>
                  </a:lnTo>
                  <a:lnTo>
                    <a:pt x="118" y="232"/>
                  </a:lnTo>
                  <a:lnTo>
                    <a:pt x="124" y="232"/>
                  </a:lnTo>
                  <a:lnTo>
                    <a:pt x="130" y="232"/>
                  </a:lnTo>
                  <a:lnTo>
                    <a:pt x="132" y="232"/>
                  </a:lnTo>
                  <a:lnTo>
                    <a:pt x="134" y="232"/>
                  </a:lnTo>
                  <a:lnTo>
                    <a:pt x="136" y="234"/>
                  </a:lnTo>
                  <a:lnTo>
                    <a:pt x="140" y="234"/>
                  </a:lnTo>
                  <a:lnTo>
                    <a:pt x="142" y="234"/>
                  </a:lnTo>
                  <a:lnTo>
                    <a:pt x="144" y="236"/>
                  </a:lnTo>
                  <a:lnTo>
                    <a:pt x="144" y="236"/>
                  </a:lnTo>
                  <a:lnTo>
                    <a:pt x="146" y="236"/>
                  </a:lnTo>
                  <a:lnTo>
                    <a:pt x="148" y="238"/>
                  </a:lnTo>
                  <a:lnTo>
                    <a:pt x="150" y="240"/>
                  </a:lnTo>
                  <a:lnTo>
                    <a:pt x="152" y="242"/>
                  </a:lnTo>
                  <a:lnTo>
                    <a:pt x="156" y="246"/>
                  </a:lnTo>
                  <a:lnTo>
                    <a:pt x="158" y="250"/>
                  </a:lnTo>
                  <a:lnTo>
                    <a:pt x="162" y="254"/>
                  </a:lnTo>
                  <a:lnTo>
                    <a:pt x="164" y="258"/>
                  </a:lnTo>
                  <a:lnTo>
                    <a:pt x="166" y="260"/>
                  </a:lnTo>
                  <a:lnTo>
                    <a:pt x="166" y="262"/>
                  </a:lnTo>
                  <a:lnTo>
                    <a:pt x="168" y="264"/>
                  </a:lnTo>
                  <a:lnTo>
                    <a:pt x="170" y="270"/>
                  </a:lnTo>
                  <a:lnTo>
                    <a:pt x="172" y="274"/>
                  </a:lnTo>
                  <a:lnTo>
                    <a:pt x="174" y="280"/>
                  </a:lnTo>
                  <a:lnTo>
                    <a:pt x="176" y="286"/>
                  </a:lnTo>
                  <a:lnTo>
                    <a:pt x="178" y="292"/>
                  </a:lnTo>
                  <a:lnTo>
                    <a:pt x="182" y="300"/>
                  </a:lnTo>
                  <a:lnTo>
                    <a:pt x="182" y="304"/>
                  </a:lnTo>
                  <a:lnTo>
                    <a:pt x="184" y="310"/>
                  </a:lnTo>
                  <a:lnTo>
                    <a:pt x="186" y="320"/>
                  </a:lnTo>
                  <a:lnTo>
                    <a:pt x="188" y="332"/>
                  </a:lnTo>
                  <a:lnTo>
                    <a:pt x="188" y="340"/>
                  </a:lnTo>
                  <a:lnTo>
                    <a:pt x="188" y="344"/>
                  </a:lnTo>
                  <a:lnTo>
                    <a:pt x="188" y="346"/>
                  </a:lnTo>
                  <a:lnTo>
                    <a:pt x="188" y="350"/>
                  </a:lnTo>
                  <a:lnTo>
                    <a:pt x="188" y="354"/>
                  </a:lnTo>
                  <a:lnTo>
                    <a:pt x="188" y="354"/>
                  </a:lnTo>
                  <a:lnTo>
                    <a:pt x="190" y="356"/>
                  </a:lnTo>
                  <a:lnTo>
                    <a:pt x="190" y="356"/>
                  </a:lnTo>
                  <a:lnTo>
                    <a:pt x="190" y="358"/>
                  </a:lnTo>
                  <a:lnTo>
                    <a:pt x="190" y="358"/>
                  </a:lnTo>
                  <a:lnTo>
                    <a:pt x="192" y="358"/>
                  </a:lnTo>
                  <a:lnTo>
                    <a:pt x="192" y="358"/>
                  </a:lnTo>
                  <a:lnTo>
                    <a:pt x="192" y="358"/>
                  </a:lnTo>
                  <a:lnTo>
                    <a:pt x="194" y="358"/>
                  </a:lnTo>
                  <a:lnTo>
                    <a:pt x="194" y="358"/>
                  </a:lnTo>
                  <a:lnTo>
                    <a:pt x="196" y="358"/>
                  </a:lnTo>
                  <a:lnTo>
                    <a:pt x="196" y="358"/>
                  </a:lnTo>
                  <a:lnTo>
                    <a:pt x="198" y="356"/>
                  </a:lnTo>
                  <a:lnTo>
                    <a:pt x="202" y="354"/>
                  </a:lnTo>
                  <a:lnTo>
                    <a:pt x="204" y="352"/>
                  </a:lnTo>
                  <a:lnTo>
                    <a:pt x="206" y="350"/>
                  </a:lnTo>
                  <a:lnTo>
                    <a:pt x="206" y="350"/>
                  </a:lnTo>
                  <a:lnTo>
                    <a:pt x="208" y="350"/>
                  </a:lnTo>
                  <a:lnTo>
                    <a:pt x="210" y="348"/>
                  </a:lnTo>
                  <a:lnTo>
                    <a:pt x="210" y="348"/>
                  </a:lnTo>
                  <a:lnTo>
                    <a:pt x="210" y="348"/>
                  </a:lnTo>
                  <a:lnTo>
                    <a:pt x="212" y="348"/>
                  </a:lnTo>
                  <a:lnTo>
                    <a:pt x="212" y="350"/>
                  </a:lnTo>
                  <a:lnTo>
                    <a:pt x="214" y="350"/>
                  </a:lnTo>
                  <a:lnTo>
                    <a:pt x="214" y="352"/>
                  </a:lnTo>
                  <a:lnTo>
                    <a:pt x="216" y="352"/>
                  </a:lnTo>
                  <a:lnTo>
                    <a:pt x="216" y="354"/>
                  </a:lnTo>
                  <a:lnTo>
                    <a:pt x="218" y="356"/>
                  </a:lnTo>
                  <a:lnTo>
                    <a:pt x="218" y="356"/>
                  </a:lnTo>
                  <a:lnTo>
                    <a:pt x="218" y="358"/>
                  </a:lnTo>
                  <a:lnTo>
                    <a:pt x="220" y="360"/>
                  </a:lnTo>
                  <a:lnTo>
                    <a:pt x="220" y="362"/>
                  </a:lnTo>
                  <a:lnTo>
                    <a:pt x="220" y="364"/>
                  </a:lnTo>
                  <a:lnTo>
                    <a:pt x="220" y="366"/>
                  </a:lnTo>
                  <a:lnTo>
                    <a:pt x="220" y="368"/>
                  </a:lnTo>
                  <a:lnTo>
                    <a:pt x="220" y="368"/>
                  </a:lnTo>
                  <a:lnTo>
                    <a:pt x="220" y="370"/>
                  </a:lnTo>
                  <a:lnTo>
                    <a:pt x="220" y="370"/>
                  </a:lnTo>
                  <a:lnTo>
                    <a:pt x="220" y="372"/>
                  </a:lnTo>
                  <a:lnTo>
                    <a:pt x="220" y="372"/>
                  </a:lnTo>
                  <a:lnTo>
                    <a:pt x="218" y="372"/>
                  </a:lnTo>
                  <a:lnTo>
                    <a:pt x="218" y="372"/>
                  </a:lnTo>
                  <a:lnTo>
                    <a:pt x="216" y="374"/>
                  </a:lnTo>
                  <a:lnTo>
                    <a:pt x="214" y="374"/>
                  </a:lnTo>
                  <a:lnTo>
                    <a:pt x="212" y="374"/>
                  </a:lnTo>
                  <a:lnTo>
                    <a:pt x="210" y="374"/>
                  </a:lnTo>
                  <a:lnTo>
                    <a:pt x="206" y="376"/>
                  </a:lnTo>
                  <a:lnTo>
                    <a:pt x="202" y="376"/>
                  </a:lnTo>
                  <a:lnTo>
                    <a:pt x="200" y="376"/>
                  </a:lnTo>
                  <a:lnTo>
                    <a:pt x="198" y="376"/>
                  </a:lnTo>
                  <a:lnTo>
                    <a:pt x="196" y="376"/>
                  </a:lnTo>
                  <a:lnTo>
                    <a:pt x="196" y="378"/>
                  </a:lnTo>
                  <a:lnTo>
                    <a:pt x="194" y="378"/>
                  </a:lnTo>
                  <a:lnTo>
                    <a:pt x="194" y="378"/>
                  </a:lnTo>
                  <a:lnTo>
                    <a:pt x="194" y="380"/>
                  </a:lnTo>
                  <a:lnTo>
                    <a:pt x="194" y="380"/>
                  </a:lnTo>
                  <a:lnTo>
                    <a:pt x="194" y="380"/>
                  </a:lnTo>
                  <a:lnTo>
                    <a:pt x="194" y="382"/>
                  </a:lnTo>
                  <a:lnTo>
                    <a:pt x="194" y="382"/>
                  </a:lnTo>
                  <a:lnTo>
                    <a:pt x="196" y="382"/>
                  </a:lnTo>
                  <a:lnTo>
                    <a:pt x="196" y="384"/>
                  </a:lnTo>
                  <a:lnTo>
                    <a:pt x="196" y="384"/>
                  </a:lnTo>
                  <a:lnTo>
                    <a:pt x="198" y="384"/>
                  </a:lnTo>
                  <a:lnTo>
                    <a:pt x="202" y="386"/>
                  </a:lnTo>
                  <a:lnTo>
                    <a:pt x="204" y="386"/>
                  </a:lnTo>
                  <a:lnTo>
                    <a:pt x="210" y="388"/>
                  </a:lnTo>
                  <a:lnTo>
                    <a:pt x="216" y="388"/>
                  </a:lnTo>
                  <a:lnTo>
                    <a:pt x="218" y="388"/>
                  </a:lnTo>
                  <a:lnTo>
                    <a:pt x="222" y="390"/>
                  </a:lnTo>
                  <a:lnTo>
                    <a:pt x="224" y="390"/>
                  </a:lnTo>
                  <a:lnTo>
                    <a:pt x="226" y="392"/>
                  </a:lnTo>
                  <a:lnTo>
                    <a:pt x="228" y="392"/>
                  </a:lnTo>
                  <a:lnTo>
                    <a:pt x="228" y="392"/>
                  </a:lnTo>
                  <a:lnTo>
                    <a:pt x="228" y="394"/>
                  </a:lnTo>
                  <a:lnTo>
                    <a:pt x="228" y="394"/>
                  </a:lnTo>
                  <a:lnTo>
                    <a:pt x="230" y="396"/>
                  </a:lnTo>
                  <a:lnTo>
                    <a:pt x="230" y="398"/>
                  </a:lnTo>
                  <a:lnTo>
                    <a:pt x="230" y="398"/>
                  </a:lnTo>
                  <a:lnTo>
                    <a:pt x="230" y="400"/>
                  </a:lnTo>
                  <a:lnTo>
                    <a:pt x="230" y="402"/>
                  </a:lnTo>
                  <a:lnTo>
                    <a:pt x="230" y="404"/>
                  </a:lnTo>
                  <a:lnTo>
                    <a:pt x="230" y="408"/>
                  </a:lnTo>
                  <a:lnTo>
                    <a:pt x="230" y="410"/>
                  </a:lnTo>
                  <a:lnTo>
                    <a:pt x="228" y="414"/>
                  </a:lnTo>
                  <a:lnTo>
                    <a:pt x="228" y="418"/>
                  </a:lnTo>
                  <a:lnTo>
                    <a:pt x="226" y="420"/>
                  </a:lnTo>
                  <a:lnTo>
                    <a:pt x="226" y="422"/>
                  </a:lnTo>
                  <a:lnTo>
                    <a:pt x="224" y="422"/>
                  </a:lnTo>
                  <a:lnTo>
                    <a:pt x="224" y="424"/>
                  </a:lnTo>
                  <a:lnTo>
                    <a:pt x="222" y="426"/>
                  </a:lnTo>
                  <a:lnTo>
                    <a:pt x="222" y="426"/>
                  </a:lnTo>
                  <a:lnTo>
                    <a:pt x="220" y="428"/>
                  </a:lnTo>
                  <a:lnTo>
                    <a:pt x="218" y="428"/>
                  </a:lnTo>
                  <a:lnTo>
                    <a:pt x="214" y="430"/>
                  </a:lnTo>
                  <a:lnTo>
                    <a:pt x="210" y="432"/>
                  </a:lnTo>
                  <a:lnTo>
                    <a:pt x="206" y="434"/>
                  </a:lnTo>
                  <a:lnTo>
                    <a:pt x="202" y="436"/>
                  </a:lnTo>
                  <a:lnTo>
                    <a:pt x="200" y="436"/>
                  </a:lnTo>
                  <a:lnTo>
                    <a:pt x="198" y="438"/>
                  </a:lnTo>
                  <a:lnTo>
                    <a:pt x="198" y="438"/>
                  </a:lnTo>
                  <a:lnTo>
                    <a:pt x="196" y="440"/>
                  </a:lnTo>
                  <a:lnTo>
                    <a:pt x="196" y="440"/>
                  </a:lnTo>
                  <a:lnTo>
                    <a:pt x="194" y="442"/>
                  </a:lnTo>
                  <a:lnTo>
                    <a:pt x="194" y="444"/>
                  </a:lnTo>
                  <a:lnTo>
                    <a:pt x="192" y="446"/>
                  </a:lnTo>
                  <a:lnTo>
                    <a:pt x="190" y="450"/>
                  </a:lnTo>
                  <a:lnTo>
                    <a:pt x="190" y="454"/>
                  </a:lnTo>
                  <a:lnTo>
                    <a:pt x="190" y="456"/>
                  </a:lnTo>
                  <a:lnTo>
                    <a:pt x="188" y="460"/>
                  </a:lnTo>
                  <a:lnTo>
                    <a:pt x="188" y="462"/>
                  </a:lnTo>
                  <a:lnTo>
                    <a:pt x="188" y="464"/>
                  </a:lnTo>
                  <a:lnTo>
                    <a:pt x="188" y="466"/>
                  </a:lnTo>
                  <a:lnTo>
                    <a:pt x="190" y="470"/>
                  </a:lnTo>
                  <a:lnTo>
                    <a:pt x="190" y="472"/>
                  </a:lnTo>
                  <a:lnTo>
                    <a:pt x="192" y="478"/>
                  </a:lnTo>
                  <a:lnTo>
                    <a:pt x="194" y="486"/>
                  </a:lnTo>
                  <a:lnTo>
                    <a:pt x="196" y="492"/>
                  </a:lnTo>
                  <a:lnTo>
                    <a:pt x="198" y="498"/>
                  </a:lnTo>
                  <a:lnTo>
                    <a:pt x="200" y="502"/>
                  </a:lnTo>
                  <a:lnTo>
                    <a:pt x="202" y="508"/>
                  </a:lnTo>
                  <a:lnTo>
                    <a:pt x="204" y="518"/>
                  </a:lnTo>
                  <a:lnTo>
                    <a:pt x="210" y="532"/>
                  </a:lnTo>
                  <a:lnTo>
                    <a:pt x="214" y="544"/>
                  </a:lnTo>
                  <a:lnTo>
                    <a:pt x="216" y="550"/>
                  </a:lnTo>
                  <a:lnTo>
                    <a:pt x="218" y="556"/>
                  </a:lnTo>
                  <a:lnTo>
                    <a:pt x="220" y="560"/>
                  </a:lnTo>
                  <a:lnTo>
                    <a:pt x="224" y="566"/>
                  </a:lnTo>
                  <a:lnTo>
                    <a:pt x="226" y="572"/>
                  </a:lnTo>
                  <a:lnTo>
                    <a:pt x="228" y="580"/>
                  </a:lnTo>
                  <a:lnTo>
                    <a:pt x="230" y="582"/>
                  </a:lnTo>
                  <a:lnTo>
                    <a:pt x="232" y="586"/>
                  </a:lnTo>
                  <a:lnTo>
                    <a:pt x="232" y="590"/>
                  </a:lnTo>
                  <a:lnTo>
                    <a:pt x="234" y="592"/>
                  </a:lnTo>
                  <a:lnTo>
                    <a:pt x="236" y="594"/>
                  </a:lnTo>
                  <a:lnTo>
                    <a:pt x="238" y="598"/>
                  </a:lnTo>
                  <a:lnTo>
                    <a:pt x="240" y="600"/>
                  </a:lnTo>
                  <a:lnTo>
                    <a:pt x="242" y="600"/>
                  </a:lnTo>
                  <a:lnTo>
                    <a:pt x="242" y="602"/>
                  </a:lnTo>
                  <a:lnTo>
                    <a:pt x="244" y="602"/>
                  </a:lnTo>
                  <a:lnTo>
                    <a:pt x="246" y="602"/>
                  </a:lnTo>
                  <a:lnTo>
                    <a:pt x="246" y="602"/>
                  </a:lnTo>
                  <a:lnTo>
                    <a:pt x="250" y="604"/>
                  </a:lnTo>
                  <a:lnTo>
                    <a:pt x="254" y="604"/>
                  </a:lnTo>
                  <a:lnTo>
                    <a:pt x="258" y="604"/>
                  </a:lnTo>
                  <a:lnTo>
                    <a:pt x="262" y="604"/>
                  </a:lnTo>
                  <a:lnTo>
                    <a:pt x="262" y="604"/>
                  </a:lnTo>
                  <a:lnTo>
                    <a:pt x="264" y="604"/>
                  </a:lnTo>
                  <a:lnTo>
                    <a:pt x="266" y="606"/>
                  </a:lnTo>
                  <a:lnTo>
                    <a:pt x="266" y="606"/>
                  </a:lnTo>
                  <a:lnTo>
                    <a:pt x="268" y="606"/>
                  </a:lnTo>
                  <a:lnTo>
                    <a:pt x="268" y="608"/>
                  </a:lnTo>
                  <a:lnTo>
                    <a:pt x="270" y="608"/>
                  </a:lnTo>
                  <a:lnTo>
                    <a:pt x="270" y="610"/>
                  </a:lnTo>
                  <a:lnTo>
                    <a:pt x="272" y="614"/>
                  </a:lnTo>
                  <a:lnTo>
                    <a:pt x="272" y="616"/>
                  </a:lnTo>
                  <a:lnTo>
                    <a:pt x="274" y="620"/>
                  </a:lnTo>
                  <a:lnTo>
                    <a:pt x="276" y="622"/>
                  </a:lnTo>
                  <a:lnTo>
                    <a:pt x="276" y="624"/>
                  </a:lnTo>
                  <a:lnTo>
                    <a:pt x="278" y="624"/>
                  </a:lnTo>
                  <a:lnTo>
                    <a:pt x="278" y="626"/>
                  </a:lnTo>
                  <a:lnTo>
                    <a:pt x="280" y="626"/>
                  </a:lnTo>
                  <a:lnTo>
                    <a:pt x="280" y="626"/>
                  </a:lnTo>
                  <a:lnTo>
                    <a:pt x="282" y="626"/>
                  </a:lnTo>
                  <a:lnTo>
                    <a:pt x="284" y="626"/>
                  </a:lnTo>
                  <a:lnTo>
                    <a:pt x="284" y="626"/>
                  </a:lnTo>
                  <a:lnTo>
                    <a:pt x="288" y="626"/>
                  </a:lnTo>
                  <a:lnTo>
                    <a:pt x="290" y="626"/>
                  </a:lnTo>
                  <a:lnTo>
                    <a:pt x="294" y="624"/>
                  </a:lnTo>
                  <a:lnTo>
                    <a:pt x="298" y="624"/>
                  </a:lnTo>
                  <a:lnTo>
                    <a:pt x="300" y="622"/>
                  </a:lnTo>
                  <a:lnTo>
                    <a:pt x="302" y="622"/>
                  </a:lnTo>
                  <a:lnTo>
                    <a:pt x="302" y="620"/>
                  </a:lnTo>
                  <a:lnTo>
                    <a:pt x="304" y="620"/>
                  </a:lnTo>
                  <a:lnTo>
                    <a:pt x="304" y="618"/>
                  </a:lnTo>
                  <a:lnTo>
                    <a:pt x="306" y="618"/>
                  </a:lnTo>
                  <a:lnTo>
                    <a:pt x="306" y="616"/>
                  </a:lnTo>
                  <a:lnTo>
                    <a:pt x="308" y="612"/>
                  </a:lnTo>
                  <a:lnTo>
                    <a:pt x="310" y="608"/>
                  </a:lnTo>
                  <a:lnTo>
                    <a:pt x="312" y="604"/>
                  </a:lnTo>
                  <a:lnTo>
                    <a:pt x="314" y="600"/>
                  </a:lnTo>
                  <a:lnTo>
                    <a:pt x="314" y="596"/>
                  </a:lnTo>
                  <a:lnTo>
                    <a:pt x="316" y="590"/>
                  </a:lnTo>
                  <a:lnTo>
                    <a:pt x="318" y="582"/>
                  </a:lnTo>
                  <a:lnTo>
                    <a:pt x="322" y="572"/>
                  </a:lnTo>
                  <a:lnTo>
                    <a:pt x="322" y="568"/>
                  </a:lnTo>
                  <a:lnTo>
                    <a:pt x="324" y="564"/>
                  </a:lnTo>
                  <a:lnTo>
                    <a:pt x="326" y="560"/>
                  </a:lnTo>
                  <a:lnTo>
                    <a:pt x="328" y="558"/>
                  </a:lnTo>
                  <a:lnTo>
                    <a:pt x="328" y="556"/>
                  </a:lnTo>
                  <a:lnTo>
                    <a:pt x="328" y="556"/>
                  </a:lnTo>
                  <a:lnTo>
                    <a:pt x="330" y="552"/>
                  </a:lnTo>
                  <a:lnTo>
                    <a:pt x="336" y="546"/>
                  </a:lnTo>
                  <a:lnTo>
                    <a:pt x="340" y="544"/>
                  </a:lnTo>
                  <a:lnTo>
                    <a:pt x="342" y="540"/>
                  </a:lnTo>
                  <a:lnTo>
                    <a:pt x="344" y="538"/>
                  </a:lnTo>
                  <a:lnTo>
                    <a:pt x="344" y="536"/>
                  </a:lnTo>
                  <a:lnTo>
                    <a:pt x="344" y="536"/>
                  </a:lnTo>
                  <a:lnTo>
                    <a:pt x="346" y="534"/>
                  </a:lnTo>
                  <a:lnTo>
                    <a:pt x="346" y="532"/>
                  </a:lnTo>
                  <a:lnTo>
                    <a:pt x="346" y="530"/>
                  </a:lnTo>
                  <a:lnTo>
                    <a:pt x="346" y="528"/>
                  </a:lnTo>
                  <a:lnTo>
                    <a:pt x="346" y="524"/>
                  </a:lnTo>
                  <a:lnTo>
                    <a:pt x="346" y="518"/>
                  </a:lnTo>
                  <a:lnTo>
                    <a:pt x="346" y="514"/>
                  </a:lnTo>
                  <a:lnTo>
                    <a:pt x="346" y="512"/>
                  </a:lnTo>
                  <a:lnTo>
                    <a:pt x="346" y="510"/>
                  </a:lnTo>
                  <a:lnTo>
                    <a:pt x="346" y="508"/>
                  </a:lnTo>
                  <a:lnTo>
                    <a:pt x="346" y="506"/>
                  </a:lnTo>
                  <a:lnTo>
                    <a:pt x="346" y="504"/>
                  </a:lnTo>
                  <a:lnTo>
                    <a:pt x="348" y="502"/>
                  </a:lnTo>
                  <a:lnTo>
                    <a:pt x="348" y="502"/>
                  </a:lnTo>
                  <a:lnTo>
                    <a:pt x="348" y="500"/>
                  </a:lnTo>
                  <a:lnTo>
                    <a:pt x="350" y="500"/>
                  </a:lnTo>
                  <a:lnTo>
                    <a:pt x="352" y="498"/>
                  </a:lnTo>
                  <a:lnTo>
                    <a:pt x="356" y="498"/>
                  </a:lnTo>
                  <a:lnTo>
                    <a:pt x="358" y="496"/>
                  </a:lnTo>
                  <a:lnTo>
                    <a:pt x="362" y="496"/>
                  </a:lnTo>
                  <a:lnTo>
                    <a:pt x="364" y="496"/>
                  </a:lnTo>
                  <a:lnTo>
                    <a:pt x="368" y="496"/>
                  </a:lnTo>
                  <a:lnTo>
                    <a:pt x="374" y="494"/>
                  </a:lnTo>
                  <a:lnTo>
                    <a:pt x="380" y="494"/>
                  </a:lnTo>
                  <a:lnTo>
                    <a:pt x="386" y="494"/>
                  </a:lnTo>
                  <a:lnTo>
                    <a:pt x="388" y="492"/>
                  </a:lnTo>
                  <a:lnTo>
                    <a:pt x="390" y="492"/>
                  </a:lnTo>
                  <a:lnTo>
                    <a:pt x="392" y="492"/>
                  </a:lnTo>
                  <a:lnTo>
                    <a:pt x="396" y="492"/>
                  </a:lnTo>
                  <a:lnTo>
                    <a:pt x="400" y="490"/>
                  </a:lnTo>
                  <a:lnTo>
                    <a:pt x="408" y="490"/>
                  </a:lnTo>
                  <a:lnTo>
                    <a:pt x="414" y="488"/>
                  </a:lnTo>
                  <a:lnTo>
                    <a:pt x="420" y="488"/>
                  </a:lnTo>
                  <a:lnTo>
                    <a:pt x="424" y="488"/>
                  </a:lnTo>
                  <a:lnTo>
                    <a:pt x="426" y="486"/>
                  </a:lnTo>
                  <a:lnTo>
                    <a:pt x="428" y="486"/>
                  </a:lnTo>
                  <a:lnTo>
                    <a:pt x="432" y="484"/>
                  </a:lnTo>
                  <a:lnTo>
                    <a:pt x="434" y="484"/>
                  </a:lnTo>
                  <a:lnTo>
                    <a:pt x="436" y="482"/>
                  </a:lnTo>
                  <a:lnTo>
                    <a:pt x="436" y="482"/>
                  </a:lnTo>
                  <a:lnTo>
                    <a:pt x="438" y="480"/>
                  </a:lnTo>
                  <a:lnTo>
                    <a:pt x="438" y="480"/>
                  </a:lnTo>
                  <a:lnTo>
                    <a:pt x="438" y="478"/>
                  </a:lnTo>
                  <a:lnTo>
                    <a:pt x="440" y="476"/>
                  </a:lnTo>
                  <a:lnTo>
                    <a:pt x="442" y="472"/>
                  </a:lnTo>
                  <a:lnTo>
                    <a:pt x="442" y="470"/>
                  </a:lnTo>
                  <a:lnTo>
                    <a:pt x="444" y="466"/>
                  </a:lnTo>
                  <a:lnTo>
                    <a:pt x="446" y="458"/>
                  </a:lnTo>
                  <a:lnTo>
                    <a:pt x="448" y="452"/>
                  </a:lnTo>
                  <a:lnTo>
                    <a:pt x="450" y="448"/>
                  </a:lnTo>
                  <a:lnTo>
                    <a:pt x="452" y="446"/>
                  </a:lnTo>
                  <a:lnTo>
                    <a:pt x="452" y="442"/>
                  </a:lnTo>
                  <a:lnTo>
                    <a:pt x="454" y="440"/>
                  </a:lnTo>
                  <a:lnTo>
                    <a:pt x="456" y="440"/>
                  </a:lnTo>
                  <a:lnTo>
                    <a:pt x="456" y="438"/>
                  </a:lnTo>
                  <a:lnTo>
                    <a:pt x="458" y="438"/>
                  </a:lnTo>
                  <a:lnTo>
                    <a:pt x="458" y="436"/>
                  </a:lnTo>
                  <a:lnTo>
                    <a:pt x="460" y="436"/>
                  </a:lnTo>
                  <a:lnTo>
                    <a:pt x="460" y="436"/>
                  </a:lnTo>
                  <a:lnTo>
                    <a:pt x="462" y="436"/>
                  </a:lnTo>
                  <a:lnTo>
                    <a:pt x="464" y="436"/>
                  </a:lnTo>
                  <a:lnTo>
                    <a:pt x="464" y="436"/>
                  </a:lnTo>
                  <a:lnTo>
                    <a:pt x="466" y="436"/>
                  </a:lnTo>
                  <a:lnTo>
                    <a:pt x="470" y="436"/>
                  </a:lnTo>
                  <a:lnTo>
                    <a:pt x="474" y="436"/>
                  </a:lnTo>
                  <a:lnTo>
                    <a:pt x="478" y="436"/>
                  </a:lnTo>
                  <a:lnTo>
                    <a:pt x="482" y="438"/>
                  </a:lnTo>
                  <a:lnTo>
                    <a:pt x="486" y="438"/>
                  </a:lnTo>
                  <a:lnTo>
                    <a:pt x="494" y="440"/>
                  </a:lnTo>
                  <a:lnTo>
                    <a:pt x="498" y="440"/>
                  </a:lnTo>
                  <a:lnTo>
                    <a:pt x="500" y="442"/>
                  </a:lnTo>
                  <a:lnTo>
                    <a:pt x="504" y="442"/>
                  </a:lnTo>
                  <a:lnTo>
                    <a:pt x="508" y="442"/>
                  </a:lnTo>
                  <a:lnTo>
                    <a:pt x="510" y="442"/>
                  </a:lnTo>
                  <a:lnTo>
                    <a:pt x="512" y="442"/>
                  </a:lnTo>
                  <a:lnTo>
                    <a:pt x="514" y="442"/>
                  </a:lnTo>
                  <a:lnTo>
                    <a:pt x="516" y="442"/>
                  </a:lnTo>
                  <a:lnTo>
                    <a:pt x="520" y="440"/>
                  </a:lnTo>
                  <a:lnTo>
                    <a:pt x="522" y="438"/>
                  </a:lnTo>
                  <a:lnTo>
                    <a:pt x="526" y="436"/>
                  </a:lnTo>
                  <a:lnTo>
                    <a:pt x="528" y="434"/>
                  </a:lnTo>
                  <a:lnTo>
                    <a:pt x="532" y="432"/>
                  </a:lnTo>
                  <a:lnTo>
                    <a:pt x="536" y="430"/>
                  </a:lnTo>
                  <a:lnTo>
                    <a:pt x="538" y="428"/>
                  </a:lnTo>
                  <a:lnTo>
                    <a:pt x="546" y="422"/>
                  </a:lnTo>
                  <a:lnTo>
                    <a:pt x="552" y="418"/>
                  </a:lnTo>
                  <a:lnTo>
                    <a:pt x="556" y="414"/>
                  </a:lnTo>
                  <a:lnTo>
                    <a:pt x="562" y="410"/>
                  </a:lnTo>
                  <a:lnTo>
                    <a:pt x="564" y="406"/>
                  </a:lnTo>
                  <a:lnTo>
                    <a:pt x="568" y="404"/>
                  </a:lnTo>
                  <a:lnTo>
                    <a:pt x="572" y="400"/>
                  </a:lnTo>
                  <a:lnTo>
                    <a:pt x="576" y="398"/>
                  </a:lnTo>
                  <a:lnTo>
                    <a:pt x="578" y="396"/>
                  </a:lnTo>
                  <a:lnTo>
                    <a:pt x="580" y="394"/>
                  </a:lnTo>
                  <a:lnTo>
                    <a:pt x="582" y="392"/>
                  </a:lnTo>
                  <a:lnTo>
                    <a:pt x="582" y="390"/>
                  </a:lnTo>
                  <a:lnTo>
                    <a:pt x="584" y="388"/>
                  </a:lnTo>
                  <a:lnTo>
                    <a:pt x="584" y="388"/>
                  </a:lnTo>
                  <a:lnTo>
                    <a:pt x="584" y="386"/>
                  </a:lnTo>
                  <a:lnTo>
                    <a:pt x="584" y="386"/>
                  </a:lnTo>
                  <a:lnTo>
                    <a:pt x="584" y="384"/>
                  </a:lnTo>
                  <a:lnTo>
                    <a:pt x="584" y="384"/>
                  </a:lnTo>
                  <a:lnTo>
                    <a:pt x="584" y="382"/>
                  </a:lnTo>
                  <a:lnTo>
                    <a:pt x="582" y="382"/>
                  </a:lnTo>
                  <a:lnTo>
                    <a:pt x="582" y="380"/>
                  </a:lnTo>
                  <a:lnTo>
                    <a:pt x="580" y="380"/>
                  </a:lnTo>
                  <a:lnTo>
                    <a:pt x="578" y="380"/>
                  </a:lnTo>
                  <a:lnTo>
                    <a:pt x="578" y="380"/>
                  </a:lnTo>
                  <a:lnTo>
                    <a:pt x="574" y="378"/>
                  </a:lnTo>
                  <a:lnTo>
                    <a:pt x="570" y="378"/>
                  </a:lnTo>
                  <a:lnTo>
                    <a:pt x="566" y="378"/>
                  </a:lnTo>
                  <a:lnTo>
                    <a:pt x="562" y="376"/>
                  </a:lnTo>
                  <a:lnTo>
                    <a:pt x="558" y="376"/>
                  </a:lnTo>
                  <a:lnTo>
                    <a:pt x="558" y="376"/>
                  </a:lnTo>
                  <a:lnTo>
                    <a:pt x="556" y="376"/>
                  </a:lnTo>
                  <a:lnTo>
                    <a:pt x="552" y="376"/>
                  </a:lnTo>
                  <a:lnTo>
                    <a:pt x="548" y="376"/>
                  </a:lnTo>
                  <a:lnTo>
                    <a:pt x="542" y="376"/>
                  </a:lnTo>
                  <a:lnTo>
                    <a:pt x="538" y="376"/>
                  </a:lnTo>
                  <a:lnTo>
                    <a:pt x="536" y="376"/>
                  </a:lnTo>
                  <a:lnTo>
                    <a:pt x="534" y="374"/>
                  </a:lnTo>
                  <a:lnTo>
                    <a:pt x="532" y="374"/>
                  </a:lnTo>
                  <a:lnTo>
                    <a:pt x="530" y="374"/>
                  </a:lnTo>
                  <a:lnTo>
                    <a:pt x="530" y="372"/>
                  </a:lnTo>
                  <a:lnTo>
                    <a:pt x="530" y="372"/>
                  </a:lnTo>
                  <a:lnTo>
                    <a:pt x="528" y="372"/>
                  </a:lnTo>
                  <a:lnTo>
                    <a:pt x="528" y="370"/>
                  </a:lnTo>
                  <a:lnTo>
                    <a:pt x="528" y="370"/>
                  </a:lnTo>
                  <a:lnTo>
                    <a:pt x="528" y="368"/>
                  </a:lnTo>
                  <a:lnTo>
                    <a:pt x="528" y="368"/>
                  </a:lnTo>
                  <a:lnTo>
                    <a:pt x="528" y="364"/>
                  </a:lnTo>
                  <a:lnTo>
                    <a:pt x="530" y="362"/>
                  </a:lnTo>
                  <a:lnTo>
                    <a:pt x="530" y="360"/>
                  </a:lnTo>
                  <a:lnTo>
                    <a:pt x="532" y="358"/>
                  </a:lnTo>
                  <a:lnTo>
                    <a:pt x="532" y="356"/>
                  </a:lnTo>
                  <a:lnTo>
                    <a:pt x="534" y="354"/>
                  </a:lnTo>
                  <a:lnTo>
                    <a:pt x="534" y="354"/>
                  </a:lnTo>
                  <a:lnTo>
                    <a:pt x="536" y="352"/>
                  </a:lnTo>
                  <a:lnTo>
                    <a:pt x="538" y="352"/>
                  </a:lnTo>
                  <a:lnTo>
                    <a:pt x="540" y="350"/>
                  </a:lnTo>
                  <a:lnTo>
                    <a:pt x="542" y="350"/>
                  </a:lnTo>
                  <a:lnTo>
                    <a:pt x="544" y="350"/>
                  </a:lnTo>
                  <a:lnTo>
                    <a:pt x="548" y="348"/>
                  </a:lnTo>
                  <a:lnTo>
                    <a:pt x="550" y="348"/>
                  </a:lnTo>
                  <a:lnTo>
                    <a:pt x="552" y="348"/>
                  </a:lnTo>
                  <a:lnTo>
                    <a:pt x="552" y="348"/>
                  </a:lnTo>
                  <a:lnTo>
                    <a:pt x="554" y="350"/>
                  </a:lnTo>
                  <a:lnTo>
                    <a:pt x="554" y="350"/>
                  </a:lnTo>
                  <a:lnTo>
                    <a:pt x="556" y="352"/>
                  </a:lnTo>
                  <a:lnTo>
                    <a:pt x="560" y="352"/>
                  </a:lnTo>
                  <a:lnTo>
                    <a:pt x="562" y="356"/>
                  </a:lnTo>
                  <a:lnTo>
                    <a:pt x="566" y="360"/>
                  </a:lnTo>
                  <a:lnTo>
                    <a:pt x="570" y="362"/>
                  </a:lnTo>
                  <a:lnTo>
                    <a:pt x="572" y="364"/>
                  </a:lnTo>
                  <a:lnTo>
                    <a:pt x="574" y="366"/>
                  </a:lnTo>
                  <a:lnTo>
                    <a:pt x="576" y="366"/>
                  </a:lnTo>
                  <a:lnTo>
                    <a:pt x="578" y="368"/>
                  </a:lnTo>
                  <a:lnTo>
                    <a:pt x="582" y="370"/>
                  </a:lnTo>
                  <a:lnTo>
                    <a:pt x="584" y="372"/>
                  </a:lnTo>
                  <a:lnTo>
                    <a:pt x="586" y="372"/>
                  </a:lnTo>
                  <a:lnTo>
                    <a:pt x="586" y="374"/>
                  </a:lnTo>
                  <a:lnTo>
                    <a:pt x="588" y="374"/>
                  </a:lnTo>
                  <a:lnTo>
                    <a:pt x="590" y="374"/>
                  </a:lnTo>
                  <a:lnTo>
                    <a:pt x="590" y="374"/>
                  </a:lnTo>
                  <a:lnTo>
                    <a:pt x="592" y="374"/>
                  </a:lnTo>
                  <a:lnTo>
                    <a:pt x="592" y="374"/>
                  </a:lnTo>
                  <a:lnTo>
                    <a:pt x="594" y="374"/>
                  </a:lnTo>
                  <a:lnTo>
                    <a:pt x="594" y="372"/>
                  </a:lnTo>
                  <a:lnTo>
                    <a:pt x="596" y="372"/>
                  </a:lnTo>
                  <a:lnTo>
                    <a:pt x="596" y="370"/>
                  </a:lnTo>
                  <a:lnTo>
                    <a:pt x="598" y="368"/>
                  </a:lnTo>
                  <a:lnTo>
                    <a:pt x="600" y="366"/>
                  </a:lnTo>
                  <a:lnTo>
                    <a:pt x="600" y="362"/>
                  </a:lnTo>
                  <a:lnTo>
                    <a:pt x="602" y="360"/>
                  </a:lnTo>
                  <a:lnTo>
                    <a:pt x="602" y="360"/>
                  </a:lnTo>
                  <a:lnTo>
                    <a:pt x="602" y="358"/>
                  </a:lnTo>
                  <a:lnTo>
                    <a:pt x="602" y="358"/>
                  </a:lnTo>
                  <a:lnTo>
                    <a:pt x="602" y="356"/>
                  </a:lnTo>
                  <a:lnTo>
                    <a:pt x="602" y="354"/>
                  </a:lnTo>
                  <a:lnTo>
                    <a:pt x="600" y="352"/>
                  </a:lnTo>
                  <a:lnTo>
                    <a:pt x="600" y="350"/>
                  </a:lnTo>
                  <a:lnTo>
                    <a:pt x="600" y="348"/>
                  </a:lnTo>
                  <a:lnTo>
                    <a:pt x="598" y="346"/>
                  </a:lnTo>
                  <a:lnTo>
                    <a:pt x="596" y="342"/>
                  </a:lnTo>
                  <a:lnTo>
                    <a:pt x="594" y="338"/>
                  </a:lnTo>
                  <a:lnTo>
                    <a:pt x="592" y="336"/>
                  </a:lnTo>
                  <a:lnTo>
                    <a:pt x="590" y="334"/>
                  </a:lnTo>
                  <a:lnTo>
                    <a:pt x="590" y="334"/>
                  </a:lnTo>
                  <a:lnTo>
                    <a:pt x="588" y="332"/>
                  </a:lnTo>
                  <a:lnTo>
                    <a:pt x="586" y="332"/>
                  </a:lnTo>
                  <a:lnTo>
                    <a:pt x="584" y="332"/>
                  </a:lnTo>
                  <a:lnTo>
                    <a:pt x="582" y="330"/>
                  </a:lnTo>
                  <a:lnTo>
                    <a:pt x="578" y="330"/>
                  </a:lnTo>
                  <a:lnTo>
                    <a:pt x="574" y="330"/>
                  </a:lnTo>
                  <a:lnTo>
                    <a:pt x="570" y="328"/>
                  </a:lnTo>
                  <a:lnTo>
                    <a:pt x="568" y="328"/>
                  </a:lnTo>
                  <a:lnTo>
                    <a:pt x="566" y="328"/>
                  </a:lnTo>
                  <a:lnTo>
                    <a:pt x="564" y="326"/>
                  </a:lnTo>
                  <a:lnTo>
                    <a:pt x="564" y="326"/>
                  </a:lnTo>
                  <a:lnTo>
                    <a:pt x="562" y="324"/>
                  </a:lnTo>
                  <a:lnTo>
                    <a:pt x="562" y="324"/>
                  </a:lnTo>
                  <a:lnTo>
                    <a:pt x="560" y="322"/>
                  </a:lnTo>
                  <a:lnTo>
                    <a:pt x="560" y="322"/>
                  </a:lnTo>
                  <a:lnTo>
                    <a:pt x="560" y="320"/>
                  </a:lnTo>
                  <a:lnTo>
                    <a:pt x="560" y="320"/>
                  </a:lnTo>
                  <a:lnTo>
                    <a:pt x="560" y="316"/>
                  </a:lnTo>
                  <a:lnTo>
                    <a:pt x="560" y="314"/>
                  </a:lnTo>
                  <a:lnTo>
                    <a:pt x="562" y="312"/>
                  </a:lnTo>
                  <a:lnTo>
                    <a:pt x="562" y="310"/>
                  </a:lnTo>
                  <a:lnTo>
                    <a:pt x="562" y="308"/>
                  </a:lnTo>
                  <a:lnTo>
                    <a:pt x="562" y="308"/>
                  </a:lnTo>
                  <a:lnTo>
                    <a:pt x="564" y="306"/>
                  </a:lnTo>
                  <a:lnTo>
                    <a:pt x="564" y="306"/>
                  </a:lnTo>
                  <a:lnTo>
                    <a:pt x="564" y="306"/>
                  </a:lnTo>
                  <a:lnTo>
                    <a:pt x="566" y="304"/>
                  </a:lnTo>
                  <a:lnTo>
                    <a:pt x="566" y="304"/>
                  </a:lnTo>
                  <a:lnTo>
                    <a:pt x="568" y="304"/>
                  </a:lnTo>
                  <a:lnTo>
                    <a:pt x="570" y="304"/>
                  </a:lnTo>
                  <a:lnTo>
                    <a:pt x="574" y="304"/>
                  </a:lnTo>
                  <a:lnTo>
                    <a:pt x="576" y="304"/>
                  </a:lnTo>
                  <a:lnTo>
                    <a:pt x="580" y="304"/>
                  </a:lnTo>
                  <a:lnTo>
                    <a:pt x="582" y="306"/>
                  </a:lnTo>
                  <a:lnTo>
                    <a:pt x="584" y="306"/>
                  </a:lnTo>
                  <a:lnTo>
                    <a:pt x="584" y="306"/>
                  </a:lnTo>
                  <a:lnTo>
                    <a:pt x="586" y="306"/>
                  </a:lnTo>
                  <a:lnTo>
                    <a:pt x="586" y="308"/>
                  </a:lnTo>
                  <a:lnTo>
                    <a:pt x="588" y="310"/>
                  </a:lnTo>
                  <a:lnTo>
                    <a:pt x="588" y="312"/>
                  </a:lnTo>
                  <a:lnTo>
                    <a:pt x="590" y="312"/>
                  </a:lnTo>
                  <a:lnTo>
                    <a:pt x="590" y="312"/>
                  </a:lnTo>
                  <a:lnTo>
                    <a:pt x="590" y="314"/>
                  </a:lnTo>
                  <a:lnTo>
                    <a:pt x="592" y="314"/>
                  </a:lnTo>
                  <a:lnTo>
                    <a:pt x="592" y="314"/>
                  </a:lnTo>
                  <a:lnTo>
                    <a:pt x="592" y="314"/>
                  </a:lnTo>
                  <a:lnTo>
                    <a:pt x="592" y="312"/>
                  </a:lnTo>
                  <a:lnTo>
                    <a:pt x="594" y="312"/>
                  </a:lnTo>
                  <a:lnTo>
                    <a:pt x="594" y="312"/>
                  </a:lnTo>
                  <a:lnTo>
                    <a:pt x="594" y="310"/>
                  </a:lnTo>
                  <a:lnTo>
                    <a:pt x="596" y="308"/>
                  </a:lnTo>
                  <a:lnTo>
                    <a:pt x="596" y="306"/>
                  </a:lnTo>
                  <a:lnTo>
                    <a:pt x="598" y="304"/>
                  </a:lnTo>
                  <a:lnTo>
                    <a:pt x="598" y="302"/>
                  </a:lnTo>
                  <a:lnTo>
                    <a:pt x="598" y="302"/>
                  </a:lnTo>
                  <a:lnTo>
                    <a:pt x="600" y="300"/>
                  </a:lnTo>
                  <a:lnTo>
                    <a:pt x="600" y="300"/>
                  </a:lnTo>
                  <a:lnTo>
                    <a:pt x="602" y="300"/>
                  </a:lnTo>
                  <a:lnTo>
                    <a:pt x="602" y="300"/>
                  </a:lnTo>
                  <a:lnTo>
                    <a:pt x="604" y="300"/>
                  </a:lnTo>
                  <a:lnTo>
                    <a:pt x="606" y="300"/>
                  </a:lnTo>
                  <a:lnTo>
                    <a:pt x="610" y="298"/>
                  </a:lnTo>
                  <a:lnTo>
                    <a:pt x="614" y="298"/>
                  </a:lnTo>
                  <a:lnTo>
                    <a:pt x="614" y="298"/>
                  </a:lnTo>
                  <a:lnTo>
                    <a:pt x="616" y="298"/>
                  </a:lnTo>
                  <a:lnTo>
                    <a:pt x="618" y="298"/>
                  </a:lnTo>
                  <a:lnTo>
                    <a:pt x="618" y="298"/>
                  </a:lnTo>
                  <a:lnTo>
                    <a:pt x="618" y="296"/>
                  </a:lnTo>
                  <a:lnTo>
                    <a:pt x="620" y="296"/>
                  </a:lnTo>
                  <a:lnTo>
                    <a:pt x="620" y="296"/>
                  </a:lnTo>
                  <a:lnTo>
                    <a:pt x="620" y="294"/>
                  </a:lnTo>
                  <a:lnTo>
                    <a:pt x="620" y="294"/>
                  </a:lnTo>
                  <a:lnTo>
                    <a:pt x="618" y="292"/>
                  </a:lnTo>
                  <a:lnTo>
                    <a:pt x="618" y="292"/>
                  </a:lnTo>
                  <a:lnTo>
                    <a:pt x="616" y="290"/>
                  </a:lnTo>
                  <a:lnTo>
                    <a:pt x="614" y="288"/>
                  </a:lnTo>
                  <a:lnTo>
                    <a:pt x="612" y="286"/>
                  </a:lnTo>
                  <a:lnTo>
                    <a:pt x="612" y="286"/>
                  </a:lnTo>
                  <a:lnTo>
                    <a:pt x="612" y="284"/>
                  </a:lnTo>
                  <a:lnTo>
                    <a:pt x="612" y="284"/>
                  </a:lnTo>
                  <a:lnTo>
                    <a:pt x="612" y="284"/>
                  </a:lnTo>
                  <a:lnTo>
                    <a:pt x="612" y="282"/>
                  </a:lnTo>
                  <a:lnTo>
                    <a:pt x="614" y="282"/>
                  </a:lnTo>
                  <a:lnTo>
                    <a:pt x="614" y="282"/>
                  </a:lnTo>
                  <a:lnTo>
                    <a:pt x="614" y="282"/>
                  </a:lnTo>
                  <a:lnTo>
                    <a:pt x="616" y="282"/>
                  </a:lnTo>
                  <a:lnTo>
                    <a:pt x="618" y="282"/>
                  </a:lnTo>
                  <a:lnTo>
                    <a:pt x="620" y="282"/>
                  </a:lnTo>
                  <a:lnTo>
                    <a:pt x="622" y="282"/>
                  </a:lnTo>
                  <a:lnTo>
                    <a:pt x="626" y="284"/>
                  </a:lnTo>
                  <a:lnTo>
                    <a:pt x="626" y="284"/>
                  </a:lnTo>
                  <a:lnTo>
                    <a:pt x="628" y="284"/>
                  </a:lnTo>
                  <a:lnTo>
                    <a:pt x="628" y="284"/>
                  </a:lnTo>
                  <a:lnTo>
                    <a:pt x="630" y="284"/>
                  </a:lnTo>
                  <a:lnTo>
                    <a:pt x="630" y="282"/>
                  </a:lnTo>
                  <a:lnTo>
                    <a:pt x="632" y="282"/>
                  </a:lnTo>
                  <a:lnTo>
                    <a:pt x="634" y="280"/>
                  </a:lnTo>
                  <a:lnTo>
                    <a:pt x="636" y="278"/>
                  </a:lnTo>
                  <a:lnTo>
                    <a:pt x="638" y="276"/>
                  </a:lnTo>
                  <a:lnTo>
                    <a:pt x="640" y="274"/>
                  </a:lnTo>
                  <a:lnTo>
                    <a:pt x="642" y="272"/>
                  </a:lnTo>
                  <a:lnTo>
                    <a:pt x="644" y="270"/>
                  </a:lnTo>
                  <a:lnTo>
                    <a:pt x="644" y="268"/>
                  </a:lnTo>
                  <a:lnTo>
                    <a:pt x="646" y="264"/>
                  </a:lnTo>
                  <a:lnTo>
                    <a:pt x="648" y="262"/>
                  </a:lnTo>
                  <a:lnTo>
                    <a:pt x="648" y="260"/>
                  </a:lnTo>
                  <a:lnTo>
                    <a:pt x="650" y="258"/>
                  </a:lnTo>
                  <a:lnTo>
                    <a:pt x="650" y="256"/>
                  </a:lnTo>
                  <a:lnTo>
                    <a:pt x="650" y="256"/>
                  </a:lnTo>
                  <a:lnTo>
                    <a:pt x="650" y="254"/>
                  </a:lnTo>
                  <a:lnTo>
                    <a:pt x="650" y="254"/>
                  </a:lnTo>
                  <a:lnTo>
                    <a:pt x="650" y="252"/>
                  </a:lnTo>
                  <a:lnTo>
                    <a:pt x="648" y="252"/>
                  </a:lnTo>
                  <a:lnTo>
                    <a:pt x="648" y="252"/>
                  </a:lnTo>
                  <a:lnTo>
                    <a:pt x="646" y="250"/>
                  </a:lnTo>
                  <a:lnTo>
                    <a:pt x="646" y="250"/>
                  </a:lnTo>
                  <a:lnTo>
                    <a:pt x="644" y="248"/>
                  </a:lnTo>
                  <a:lnTo>
                    <a:pt x="642" y="248"/>
                  </a:lnTo>
                  <a:lnTo>
                    <a:pt x="638" y="248"/>
                  </a:lnTo>
                  <a:lnTo>
                    <a:pt x="636" y="246"/>
                  </a:lnTo>
                  <a:lnTo>
                    <a:pt x="632" y="246"/>
                  </a:lnTo>
                  <a:lnTo>
                    <a:pt x="630" y="246"/>
                  </a:lnTo>
                  <a:lnTo>
                    <a:pt x="628" y="244"/>
                  </a:lnTo>
                  <a:lnTo>
                    <a:pt x="628" y="244"/>
                  </a:lnTo>
                  <a:lnTo>
                    <a:pt x="626" y="242"/>
                  </a:lnTo>
                  <a:lnTo>
                    <a:pt x="626" y="242"/>
                  </a:lnTo>
                  <a:lnTo>
                    <a:pt x="626" y="242"/>
                  </a:lnTo>
                  <a:lnTo>
                    <a:pt x="626" y="240"/>
                  </a:lnTo>
                  <a:lnTo>
                    <a:pt x="624" y="236"/>
                  </a:lnTo>
                  <a:lnTo>
                    <a:pt x="624" y="234"/>
                  </a:lnTo>
                  <a:lnTo>
                    <a:pt x="624" y="232"/>
                  </a:lnTo>
                  <a:lnTo>
                    <a:pt x="624" y="230"/>
                  </a:lnTo>
                  <a:lnTo>
                    <a:pt x="624" y="226"/>
                  </a:lnTo>
                  <a:lnTo>
                    <a:pt x="624" y="226"/>
                  </a:lnTo>
                  <a:lnTo>
                    <a:pt x="626" y="224"/>
                  </a:lnTo>
                  <a:lnTo>
                    <a:pt x="626" y="222"/>
                  </a:lnTo>
                  <a:lnTo>
                    <a:pt x="628" y="220"/>
                  </a:lnTo>
                  <a:lnTo>
                    <a:pt x="628" y="218"/>
                  </a:lnTo>
                  <a:lnTo>
                    <a:pt x="630" y="216"/>
                  </a:lnTo>
                  <a:lnTo>
                    <a:pt x="632" y="214"/>
                  </a:lnTo>
                  <a:lnTo>
                    <a:pt x="634" y="214"/>
                  </a:lnTo>
                  <a:lnTo>
                    <a:pt x="634" y="212"/>
                  </a:lnTo>
                  <a:lnTo>
                    <a:pt x="636" y="212"/>
                  </a:lnTo>
                  <a:lnTo>
                    <a:pt x="636" y="212"/>
                  </a:lnTo>
                  <a:lnTo>
                    <a:pt x="638" y="212"/>
                  </a:lnTo>
                  <a:lnTo>
                    <a:pt x="642" y="212"/>
                  </a:lnTo>
                  <a:lnTo>
                    <a:pt x="642" y="212"/>
                  </a:lnTo>
                  <a:lnTo>
                    <a:pt x="644" y="212"/>
                  </a:lnTo>
                  <a:lnTo>
                    <a:pt x="646" y="212"/>
                  </a:lnTo>
                  <a:lnTo>
                    <a:pt x="646" y="210"/>
                  </a:lnTo>
                  <a:lnTo>
                    <a:pt x="646" y="210"/>
                  </a:lnTo>
                  <a:lnTo>
                    <a:pt x="648" y="210"/>
                  </a:lnTo>
                  <a:lnTo>
                    <a:pt x="648" y="208"/>
                  </a:lnTo>
                  <a:lnTo>
                    <a:pt x="648" y="208"/>
                  </a:lnTo>
                  <a:lnTo>
                    <a:pt x="648" y="206"/>
                  </a:lnTo>
                  <a:lnTo>
                    <a:pt x="648" y="206"/>
                  </a:lnTo>
                  <a:lnTo>
                    <a:pt x="648" y="204"/>
                  </a:lnTo>
                  <a:lnTo>
                    <a:pt x="648" y="202"/>
                  </a:lnTo>
                  <a:lnTo>
                    <a:pt x="648" y="198"/>
                  </a:lnTo>
                  <a:lnTo>
                    <a:pt x="648" y="196"/>
                  </a:lnTo>
                  <a:lnTo>
                    <a:pt x="648" y="194"/>
                  </a:lnTo>
                  <a:lnTo>
                    <a:pt x="648" y="192"/>
                  </a:lnTo>
                  <a:lnTo>
                    <a:pt x="646" y="190"/>
                  </a:lnTo>
                  <a:lnTo>
                    <a:pt x="646" y="190"/>
                  </a:lnTo>
                  <a:lnTo>
                    <a:pt x="646" y="188"/>
                  </a:lnTo>
                  <a:lnTo>
                    <a:pt x="644" y="188"/>
                  </a:lnTo>
                  <a:lnTo>
                    <a:pt x="644" y="186"/>
                  </a:lnTo>
                  <a:lnTo>
                    <a:pt x="642" y="186"/>
                  </a:lnTo>
                  <a:lnTo>
                    <a:pt x="642" y="186"/>
                  </a:lnTo>
                  <a:lnTo>
                    <a:pt x="640" y="186"/>
                  </a:lnTo>
                  <a:lnTo>
                    <a:pt x="640" y="186"/>
                  </a:lnTo>
                  <a:lnTo>
                    <a:pt x="638" y="184"/>
                  </a:lnTo>
                  <a:lnTo>
                    <a:pt x="636" y="184"/>
                  </a:lnTo>
                  <a:lnTo>
                    <a:pt x="632" y="184"/>
                  </a:lnTo>
                  <a:lnTo>
                    <a:pt x="630" y="184"/>
                  </a:lnTo>
                  <a:lnTo>
                    <a:pt x="622" y="186"/>
                  </a:lnTo>
                  <a:lnTo>
                    <a:pt x="616" y="186"/>
                  </a:lnTo>
                  <a:lnTo>
                    <a:pt x="612" y="186"/>
                  </a:lnTo>
                  <a:lnTo>
                    <a:pt x="610" y="186"/>
                  </a:lnTo>
                  <a:lnTo>
                    <a:pt x="608" y="186"/>
                  </a:lnTo>
                  <a:lnTo>
                    <a:pt x="606" y="186"/>
                  </a:lnTo>
                  <a:lnTo>
                    <a:pt x="604" y="184"/>
                  </a:lnTo>
                  <a:lnTo>
                    <a:pt x="604" y="184"/>
                  </a:lnTo>
                  <a:lnTo>
                    <a:pt x="604" y="184"/>
                  </a:lnTo>
                  <a:lnTo>
                    <a:pt x="602" y="182"/>
                  </a:lnTo>
                  <a:lnTo>
                    <a:pt x="602" y="182"/>
                  </a:lnTo>
                  <a:lnTo>
                    <a:pt x="602" y="182"/>
                  </a:lnTo>
                  <a:lnTo>
                    <a:pt x="600" y="180"/>
                  </a:lnTo>
                  <a:lnTo>
                    <a:pt x="600" y="178"/>
                  </a:lnTo>
                  <a:lnTo>
                    <a:pt x="602" y="176"/>
                  </a:lnTo>
                  <a:lnTo>
                    <a:pt x="602" y="174"/>
                  </a:lnTo>
                  <a:lnTo>
                    <a:pt x="602" y="174"/>
                  </a:lnTo>
                  <a:lnTo>
                    <a:pt x="604" y="172"/>
                  </a:lnTo>
                  <a:lnTo>
                    <a:pt x="604" y="170"/>
                  </a:lnTo>
                  <a:lnTo>
                    <a:pt x="606" y="166"/>
                  </a:lnTo>
                  <a:lnTo>
                    <a:pt x="608" y="162"/>
                  </a:lnTo>
                  <a:lnTo>
                    <a:pt x="610" y="160"/>
                  </a:lnTo>
                  <a:lnTo>
                    <a:pt x="612" y="158"/>
                  </a:lnTo>
                  <a:lnTo>
                    <a:pt x="612" y="156"/>
                  </a:lnTo>
                  <a:lnTo>
                    <a:pt x="614" y="154"/>
                  </a:lnTo>
                  <a:lnTo>
                    <a:pt x="616" y="154"/>
                  </a:lnTo>
                  <a:lnTo>
                    <a:pt x="620" y="152"/>
                  </a:lnTo>
                  <a:lnTo>
                    <a:pt x="622" y="148"/>
                  </a:lnTo>
                  <a:lnTo>
                    <a:pt x="630" y="146"/>
                  </a:lnTo>
                  <a:lnTo>
                    <a:pt x="632" y="144"/>
                  </a:lnTo>
                  <a:lnTo>
                    <a:pt x="634" y="142"/>
                  </a:lnTo>
                  <a:lnTo>
                    <a:pt x="636" y="142"/>
                  </a:lnTo>
                  <a:lnTo>
                    <a:pt x="638" y="140"/>
                  </a:lnTo>
                  <a:lnTo>
                    <a:pt x="642" y="138"/>
                  </a:lnTo>
                  <a:lnTo>
                    <a:pt x="644" y="136"/>
                  </a:lnTo>
                  <a:lnTo>
                    <a:pt x="646" y="134"/>
                  </a:lnTo>
                  <a:lnTo>
                    <a:pt x="646" y="134"/>
                  </a:lnTo>
                  <a:lnTo>
                    <a:pt x="646" y="134"/>
                  </a:lnTo>
                  <a:lnTo>
                    <a:pt x="648" y="132"/>
                  </a:lnTo>
                  <a:lnTo>
                    <a:pt x="648" y="132"/>
                  </a:lnTo>
                  <a:lnTo>
                    <a:pt x="646" y="132"/>
                  </a:lnTo>
                  <a:lnTo>
                    <a:pt x="646" y="130"/>
                  </a:lnTo>
                  <a:lnTo>
                    <a:pt x="646" y="130"/>
                  </a:lnTo>
                  <a:lnTo>
                    <a:pt x="646" y="130"/>
                  </a:lnTo>
                  <a:lnTo>
                    <a:pt x="644" y="128"/>
                  </a:lnTo>
                  <a:lnTo>
                    <a:pt x="642" y="128"/>
                  </a:lnTo>
                  <a:lnTo>
                    <a:pt x="640" y="128"/>
                  </a:lnTo>
                  <a:lnTo>
                    <a:pt x="638" y="126"/>
                  </a:lnTo>
                  <a:lnTo>
                    <a:pt x="634" y="126"/>
                  </a:lnTo>
                  <a:lnTo>
                    <a:pt x="630" y="124"/>
                  </a:lnTo>
                  <a:lnTo>
                    <a:pt x="628" y="124"/>
                  </a:lnTo>
                  <a:lnTo>
                    <a:pt x="626" y="124"/>
                  </a:lnTo>
                  <a:lnTo>
                    <a:pt x="624" y="122"/>
                  </a:lnTo>
                  <a:lnTo>
                    <a:pt x="622" y="122"/>
                  </a:lnTo>
                  <a:lnTo>
                    <a:pt x="622" y="120"/>
                  </a:lnTo>
                  <a:lnTo>
                    <a:pt x="622" y="120"/>
                  </a:lnTo>
                  <a:lnTo>
                    <a:pt x="622" y="120"/>
                  </a:lnTo>
                  <a:lnTo>
                    <a:pt x="622" y="120"/>
                  </a:lnTo>
                  <a:lnTo>
                    <a:pt x="622" y="118"/>
                  </a:lnTo>
                  <a:lnTo>
                    <a:pt x="622" y="118"/>
                  </a:lnTo>
                  <a:lnTo>
                    <a:pt x="624" y="116"/>
                  </a:lnTo>
                  <a:lnTo>
                    <a:pt x="624" y="116"/>
                  </a:lnTo>
                  <a:lnTo>
                    <a:pt x="626" y="116"/>
                  </a:lnTo>
                  <a:lnTo>
                    <a:pt x="626" y="116"/>
                  </a:lnTo>
                  <a:lnTo>
                    <a:pt x="630" y="114"/>
                  </a:lnTo>
                  <a:lnTo>
                    <a:pt x="632" y="114"/>
                  </a:lnTo>
                  <a:lnTo>
                    <a:pt x="634" y="112"/>
                  </a:lnTo>
                  <a:lnTo>
                    <a:pt x="638" y="112"/>
                  </a:lnTo>
                  <a:lnTo>
                    <a:pt x="640" y="112"/>
                  </a:lnTo>
                  <a:lnTo>
                    <a:pt x="642" y="112"/>
                  </a:lnTo>
                  <a:lnTo>
                    <a:pt x="642" y="110"/>
                  </a:lnTo>
                  <a:lnTo>
                    <a:pt x="648" y="110"/>
                  </a:lnTo>
                  <a:lnTo>
                    <a:pt x="652" y="110"/>
                  </a:lnTo>
                  <a:lnTo>
                    <a:pt x="654" y="110"/>
                  </a:lnTo>
                  <a:lnTo>
                    <a:pt x="662" y="108"/>
                  </a:lnTo>
                  <a:lnTo>
                    <a:pt x="672" y="104"/>
                  </a:lnTo>
                  <a:lnTo>
                    <a:pt x="678" y="104"/>
                  </a:lnTo>
                  <a:lnTo>
                    <a:pt x="682" y="102"/>
                  </a:lnTo>
                  <a:lnTo>
                    <a:pt x="686" y="100"/>
                  </a:lnTo>
                  <a:lnTo>
                    <a:pt x="690" y="100"/>
                  </a:lnTo>
                  <a:lnTo>
                    <a:pt x="694" y="98"/>
                  </a:lnTo>
                  <a:lnTo>
                    <a:pt x="700" y="94"/>
                  </a:lnTo>
                  <a:lnTo>
                    <a:pt x="704" y="92"/>
                  </a:lnTo>
                  <a:lnTo>
                    <a:pt x="708" y="92"/>
                  </a:lnTo>
                  <a:lnTo>
                    <a:pt x="710" y="90"/>
                  </a:lnTo>
                  <a:lnTo>
                    <a:pt x="714" y="88"/>
                  </a:lnTo>
                  <a:lnTo>
                    <a:pt x="716" y="86"/>
                  </a:lnTo>
                  <a:lnTo>
                    <a:pt x="718" y="86"/>
                  </a:lnTo>
                  <a:lnTo>
                    <a:pt x="720" y="84"/>
                  </a:lnTo>
                  <a:lnTo>
                    <a:pt x="722" y="82"/>
                  </a:lnTo>
                  <a:lnTo>
                    <a:pt x="722" y="80"/>
                  </a:lnTo>
                  <a:lnTo>
                    <a:pt x="722" y="80"/>
                  </a:lnTo>
                  <a:lnTo>
                    <a:pt x="722" y="80"/>
                  </a:lnTo>
                  <a:lnTo>
                    <a:pt x="722" y="78"/>
                  </a:lnTo>
                  <a:lnTo>
                    <a:pt x="722" y="78"/>
                  </a:lnTo>
                  <a:lnTo>
                    <a:pt x="722" y="76"/>
                  </a:lnTo>
                  <a:lnTo>
                    <a:pt x="722" y="76"/>
                  </a:lnTo>
                  <a:lnTo>
                    <a:pt x="722" y="74"/>
                  </a:lnTo>
                  <a:lnTo>
                    <a:pt x="720" y="72"/>
                  </a:lnTo>
                  <a:lnTo>
                    <a:pt x="720" y="72"/>
                  </a:lnTo>
                  <a:lnTo>
                    <a:pt x="718" y="70"/>
                  </a:lnTo>
                  <a:lnTo>
                    <a:pt x="716" y="70"/>
                  </a:lnTo>
                  <a:lnTo>
                    <a:pt x="714" y="70"/>
                  </a:lnTo>
                  <a:lnTo>
                    <a:pt x="714" y="68"/>
                  </a:lnTo>
                  <a:lnTo>
                    <a:pt x="712" y="68"/>
                  </a:lnTo>
                  <a:lnTo>
                    <a:pt x="710" y="68"/>
                  </a:lnTo>
                  <a:lnTo>
                    <a:pt x="706" y="68"/>
                  </a:lnTo>
                  <a:lnTo>
                    <a:pt x="700" y="68"/>
                  </a:lnTo>
                  <a:lnTo>
                    <a:pt x="696" y="68"/>
                  </a:lnTo>
                  <a:lnTo>
                    <a:pt x="690" y="68"/>
                  </a:lnTo>
                  <a:lnTo>
                    <a:pt x="686" y="68"/>
                  </a:lnTo>
                  <a:lnTo>
                    <a:pt x="676" y="70"/>
                  </a:lnTo>
                  <a:lnTo>
                    <a:pt x="666" y="70"/>
                  </a:lnTo>
                  <a:lnTo>
                    <a:pt x="660" y="72"/>
                  </a:lnTo>
                  <a:lnTo>
                    <a:pt x="656" y="72"/>
                  </a:lnTo>
                  <a:lnTo>
                    <a:pt x="652" y="72"/>
                  </a:lnTo>
                  <a:lnTo>
                    <a:pt x="648" y="74"/>
                  </a:lnTo>
                  <a:lnTo>
                    <a:pt x="644" y="76"/>
                  </a:lnTo>
                  <a:lnTo>
                    <a:pt x="634" y="78"/>
                  </a:lnTo>
                  <a:lnTo>
                    <a:pt x="626" y="82"/>
                  </a:lnTo>
                  <a:lnTo>
                    <a:pt x="624" y="82"/>
                  </a:lnTo>
                  <a:lnTo>
                    <a:pt x="622" y="84"/>
                  </a:lnTo>
                  <a:lnTo>
                    <a:pt x="620" y="86"/>
                  </a:lnTo>
                  <a:lnTo>
                    <a:pt x="616" y="88"/>
                  </a:lnTo>
                  <a:lnTo>
                    <a:pt x="610" y="94"/>
                  </a:lnTo>
                  <a:lnTo>
                    <a:pt x="604" y="98"/>
                  </a:lnTo>
                  <a:lnTo>
                    <a:pt x="600" y="100"/>
                  </a:lnTo>
                  <a:lnTo>
                    <a:pt x="596" y="102"/>
                  </a:lnTo>
                  <a:lnTo>
                    <a:pt x="594" y="104"/>
                  </a:lnTo>
                  <a:lnTo>
                    <a:pt x="590" y="106"/>
                  </a:lnTo>
                  <a:lnTo>
                    <a:pt x="590" y="106"/>
                  </a:lnTo>
                  <a:lnTo>
                    <a:pt x="588" y="106"/>
                  </a:lnTo>
                  <a:lnTo>
                    <a:pt x="586" y="106"/>
                  </a:lnTo>
                  <a:lnTo>
                    <a:pt x="586" y="106"/>
                  </a:lnTo>
                  <a:lnTo>
                    <a:pt x="584" y="106"/>
                  </a:lnTo>
                  <a:lnTo>
                    <a:pt x="584" y="106"/>
                  </a:lnTo>
                  <a:lnTo>
                    <a:pt x="582" y="104"/>
                  </a:lnTo>
                  <a:lnTo>
                    <a:pt x="582" y="104"/>
                  </a:lnTo>
                  <a:lnTo>
                    <a:pt x="580" y="104"/>
                  </a:lnTo>
                  <a:lnTo>
                    <a:pt x="580" y="102"/>
                  </a:lnTo>
                  <a:lnTo>
                    <a:pt x="580" y="102"/>
                  </a:lnTo>
                  <a:lnTo>
                    <a:pt x="580" y="100"/>
                  </a:lnTo>
                  <a:lnTo>
                    <a:pt x="580" y="100"/>
                  </a:lnTo>
                  <a:lnTo>
                    <a:pt x="582" y="98"/>
                  </a:lnTo>
                  <a:lnTo>
                    <a:pt x="582" y="96"/>
                  </a:lnTo>
                  <a:lnTo>
                    <a:pt x="582" y="96"/>
                  </a:lnTo>
                  <a:lnTo>
                    <a:pt x="584" y="92"/>
                  </a:lnTo>
                  <a:lnTo>
                    <a:pt x="588" y="90"/>
                  </a:lnTo>
                  <a:lnTo>
                    <a:pt x="592" y="84"/>
                  </a:lnTo>
                  <a:lnTo>
                    <a:pt x="598" y="78"/>
                  </a:lnTo>
                  <a:lnTo>
                    <a:pt x="600" y="76"/>
                  </a:lnTo>
                  <a:lnTo>
                    <a:pt x="602" y="72"/>
                  </a:lnTo>
                  <a:lnTo>
                    <a:pt x="604" y="72"/>
                  </a:lnTo>
                  <a:lnTo>
                    <a:pt x="604" y="70"/>
                  </a:lnTo>
                  <a:lnTo>
                    <a:pt x="604" y="68"/>
                  </a:lnTo>
                  <a:lnTo>
                    <a:pt x="606" y="68"/>
                  </a:lnTo>
                  <a:lnTo>
                    <a:pt x="606" y="66"/>
                  </a:lnTo>
                  <a:lnTo>
                    <a:pt x="606" y="66"/>
                  </a:lnTo>
                  <a:lnTo>
                    <a:pt x="604" y="64"/>
                  </a:lnTo>
                  <a:lnTo>
                    <a:pt x="604" y="64"/>
                  </a:lnTo>
                  <a:lnTo>
                    <a:pt x="604" y="62"/>
                  </a:lnTo>
                  <a:lnTo>
                    <a:pt x="602" y="62"/>
                  </a:lnTo>
                  <a:lnTo>
                    <a:pt x="602" y="62"/>
                  </a:lnTo>
                  <a:lnTo>
                    <a:pt x="600" y="62"/>
                  </a:lnTo>
                  <a:lnTo>
                    <a:pt x="598" y="62"/>
                  </a:lnTo>
                  <a:lnTo>
                    <a:pt x="598" y="62"/>
                  </a:lnTo>
                  <a:lnTo>
                    <a:pt x="596" y="62"/>
                  </a:lnTo>
                  <a:lnTo>
                    <a:pt x="594" y="64"/>
                  </a:lnTo>
                  <a:lnTo>
                    <a:pt x="590" y="66"/>
                  </a:lnTo>
                  <a:lnTo>
                    <a:pt x="588" y="66"/>
                  </a:lnTo>
                  <a:lnTo>
                    <a:pt x="584" y="70"/>
                  </a:lnTo>
                  <a:lnTo>
                    <a:pt x="580" y="72"/>
                  </a:lnTo>
                  <a:lnTo>
                    <a:pt x="576" y="74"/>
                  </a:lnTo>
                  <a:lnTo>
                    <a:pt x="572" y="76"/>
                  </a:lnTo>
                  <a:lnTo>
                    <a:pt x="568" y="78"/>
                  </a:lnTo>
                  <a:lnTo>
                    <a:pt x="564" y="80"/>
                  </a:lnTo>
                  <a:lnTo>
                    <a:pt x="564" y="82"/>
                  </a:lnTo>
                  <a:lnTo>
                    <a:pt x="562" y="82"/>
                  </a:lnTo>
                  <a:lnTo>
                    <a:pt x="560" y="82"/>
                  </a:lnTo>
                  <a:lnTo>
                    <a:pt x="558" y="82"/>
                  </a:lnTo>
                  <a:lnTo>
                    <a:pt x="558" y="82"/>
                  </a:lnTo>
                  <a:lnTo>
                    <a:pt x="556" y="82"/>
                  </a:lnTo>
                  <a:lnTo>
                    <a:pt x="554" y="82"/>
                  </a:lnTo>
                  <a:lnTo>
                    <a:pt x="554" y="82"/>
                  </a:lnTo>
                  <a:lnTo>
                    <a:pt x="554" y="82"/>
                  </a:lnTo>
                  <a:lnTo>
                    <a:pt x="554" y="80"/>
                  </a:lnTo>
                  <a:lnTo>
                    <a:pt x="552" y="80"/>
                  </a:lnTo>
                  <a:lnTo>
                    <a:pt x="552" y="78"/>
                  </a:lnTo>
                  <a:lnTo>
                    <a:pt x="552" y="76"/>
                  </a:lnTo>
                  <a:lnTo>
                    <a:pt x="554" y="76"/>
                  </a:lnTo>
                  <a:lnTo>
                    <a:pt x="554" y="74"/>
                  </a:lnTo>
                  <a:lnTo>
                    <a:pt x="554" y="70"/>
                  </a:lnTo>
                  <a:lnTo>
                    <a:pt x="556" y="66"/>
                  </a:lnTo>
                  <a:lnTo>
                    <a:pt x="556" y="66"/>
                  </a:lnTo>
                  <a:lnTo>
                    <a:pt x="558" y="64"/>
                  </a:lnTo>
                  <a:lnTo>
                    <a:pt x="558" y="62"/>
                  </a:lnTo>
                  <a:lnTo>
                    <a:pt x="558" y="60"/>
                  </a:lnTo>
                  <a:lnTo>
                    <a:pt x="558" y="60"/>
                  </a:lnTo>
                  <a:lnTo>
                    <a:pt x="556" y="60"/>
                  </a:lnTo>
                  <a:lnTo>
                    <a:pt x="556" y="58"/>
                  </a:lnTo>
                  <a:lnTo>
                    <a:pt x="556" y="58"/>
                  </a:lnTo>
                  <a:lnTo>
                    <a:pt x="554" y="58"/>
                  </a:lnTo>
                  <a:lnTo>
                    <a:pt x="554" y="56"/>
                  </a:lnTo>
                  <a:lnTo>
                    <a:pt x="554" y="56"/>
                  </a:lnTo>
                  <a:lnTo>
                    <a:pt x="552" y="56"/>
                  </a:lnTo>
                  <a:lnTo>
                    <a:pt x="548" y="56"/>
                  </a:lnTo>
                  <a:lnTo>
                    <a:pt x="546" y="56"/>
                  </a:lnTo>
                  <a:lnTo>
                    <a:pt x="544" y="56"/>
                  </a:lnTo>
                  <a:lnTo>
                    <a:pt x="540" y="56"/>
                  </a:lnTo>
                  <a:lnTo>
                    <a:pt x="538" y="56"/>
                  </a:lnTo>
                  <a:lnTo>
                    <a:pt x="534" y="58"/>
                  </a:lnTo>
                  <a:lnTo>
                    <a:pt x="532" y="58"/>
                  </a:lnTo>
                  <a:lnTo>
                    <a:pt x="524" y="60"/>
                  </a:lnTo>
                  <a:lnTo>
                    <a:pt x="518" y="62"/>
                  </a:lnTo>
                  <a:lnTo>
                    <a:pt x="510" y="64"/>
                  </a:lnTo>
                  <a:lnTo>
                    <a:pt x="504" y="66"/>
                  </a:lnTo>
                  <a:lnTo>
                    <a:pt x="498" y="68"/>
                  </a:lnTo>
                  <a:lnTo>
                    <a:pt x="492" y="70"/>
                  </a:lnTo>
                  <a:lnTo>
                    <a:pt x="488" y="72"/>
                  </a:lnTo>
                  <a:lnTo>
                    <a:pt x="486" y="72"/>
                  </a:lnTo>
                  <a:lnTo>
                    <a:pt x="484" y="72"/>
                  </a:lnTo>
                  <a:lnTo>
                    <a:pt x="482" y="72"/>
                  </a:lnTo>
                  <a:lnTo>
                    <a:pt x="480" y="72"/>
                  </a:lnTo>
                  <a:lnTo>
                    <a:pt x="478" y="72"/>
                  </a:lnTo>
                  <a:lnTo>
                    <a:pt x="476" y="72"/>
                  </a:lnTo>
                  <a:lnTo>
                    <a:pt x="476" y="70"/>
                  </a:lnTo>
                  <a:lnTo>
                    <a:pt x="476" y="70"/>
                  </a:lnTo>
                  <a:lnTo>
                    <a:pt x="474" y="70"/>
                  </a:lnTo>
                  <a:lnTo>
                    <a:pt x="474" y="68"/>
                  </a:lnTo>
                  <a:lnTo>
                    <a:pt x="474" y="68"/>
                  </a:lnTo>
                  <a:lnTo>
                    <a:pt x="474" y="68"/>
                  </a:lnTo>
                  <a:lnTo>
                    <a:pt x="474" y="66"/>
                  </a:lnTo>
                  <a:lnTo>
                    <a:pt x="474" y="66"/>
                  </a:lnTo>
                  <a:lnTo>
                    <a:pt x="474" y="64"/>
                  </a:lnTo>
                  <a:lnTo>
                    <a:pt x="474" y="64"/>
                  </a:lnTo>
                  <a:lnTo>
                    <a:pt x="474" y="62"/>
                  </a:lnTo>
                  <a:lnTo>
                    <a:pt x="474" y="62"/>
                  </a:lnTo>
                  <a:lnTo>
                    <a:pt x="476" y="60"/>
                  </a:lnTo>
                  <a:lnTo>
                    <a:pt x="476" y="60"/>
                  </a:lnTo>
                  <a:lnTo>
                    <a:pt x="478" y="60"/>
                  </a:lnTo>
                  <a:lnTo>
                    <a:pt x="480" y="58"/>
                  </a:lnTo>
                  <a:lnTo>
                    <a:pt x="480" y="58"/>
                  </a:lnTo>
                  <a:lnTo>
                    <a:pt x="484" y="56"/>
                  </a:lnTo>
                  <a:lnTo>
                    <a:pt x="488" y="56"/>
                  </a:lnTo>
                  <a:lnTo>
                    <a:pt x="492" y="56"/>
                  </a:lnTo>
                  <a:lnTo>
                    <a:pt x="496" y="54"/>
                  </a:lnTo>
                  <a:lnTo>
                    <a:pt x="500" y="54"/>
                  </a:lnTo>
                  <a:lnTo>
                    <a:pt x="508" y="54"/>
                  </a:lnTo>
                  <a:lnTo>
                    <a:pt x="516" y="52"/>
                  </a:lnTo>
                  <a:lnTo>
                    <a:pt x="518" y="52"/>
                  </a:lnTo>
                  <a:lnTo>
                    <a:pt x="522" y="52"/>
                  </a:lnTo>
                  <a:lnTo>
                    <a:pt x="528" y="50"/>
                  </a:lnTo>
                  <a:lnTo>
                    <a:pt x="534" y="48"/>
                  </a:lnTo>
                  <a:lnTo>
                    <a:pt x="542" y="48"/>
                  </a:lnTo>
                  <a:lnTo>
                    <a:pt x="552" y="46"/>
                  </a:lnTo>
                  <a:lnTo>
                    <a:pt x="568" y="44"/>
                  </a:lnTo>
                  <a:lnTo>
                    <a:pt x="576" y="42"/>
                  </a:lnTo>
                  <a:lnTo>
                    <a:pt x="582" y="42"/>
                  </a:lnTo>
                  <a:lnTo>
                    <a:pt x="584" y="40"/>
                  </a:lnTo>
                  <a:lnTo>
                    <a:pt x="586" y="40"/>
                  </a:lnTo>
                  <a:lnTo>
                    <a:pt x="590" y="40"/>
                  </a:lnTo>
                  <a:lnTo>
                    <a:pt x="594" y="40"/>
                  </a:lnTo>
                  <a:lnTo>
                    <a:pt x="596" y="40"/>
                  </a:lnTo>
                  <a:lnTo>
                    <a:pt x="598" y="40"/>
                  </a:lnTo>
                  <a:lnTo>
                    <a:pt x="600" y="38"/>
                  </a:lnTo>
                  <a:lnTo>
                    <a:pt x="600" y="38"/>
                  </a:lnTo>
                  <a:lnTo>
                    <a:pt x="600" y="38"/>
                  </a:lnTo>
                  <a:lnTo>
                    <a:pt x="602" y="36"/>
                  </a:lnTo>
                  <a:lnTo>
                    <a:pt x="602" y="36"/>
                  </a:lnTo>
                  <a:lnTo>
                    <a:pt x="602" y="36"/>
                  </a:lnTo>
                  <a:lnTo>
                    <a:pt x="602" y="34"/>
                  </a:lnTo>
                  <a:lnTo>
                    <a:pt x="602" y="34"/>
                  </a:lnTo>
                  <a:lnTo>
                    <a:pt x="600" y="32"/>
                  </a:lnTo>
                  <a:lnTo>
                    <a:pt x="600" y="32"/>
                  </a:lnTo>
                  <a:lnTo>
                    <a:pt x="600" y="30"/>
                  </a:lnTo>
                  <a:lnTo>
                    <a:pt x="598" y="30"/>
                  </a:lnTo>
                  <a:lnTo>
                    <a:pt x="598" y="30"/>
                  </a:lnTo>
                  <a:lnTo>
                    <a:pt x="594" y="28"/>
                  </a:lnTo>
                  <a:lnTo>
                    <a:pt x="592" y="26"/>
                  </a:lnTo>
                  <a:lnTo>
                    <a:pt x="588" y="26"/>
                  </a:lnTo>
                  <a:lnTo>
                    <a:pt x="586" y="24"/>
                  </a:lnTo>
                  <a:lnTo>
                    <a:pt x="582" y="24"/>
                  </a:lnTo>
                  <a:lnTo>
                    <a:pt x="580" y="24"/>
                  </a:lnTo>
                  <a:lnTo>
                    <a:pt x="572" y="22"/>
                  </a:lnTo>
                  <a:lnTo>
                    <a:pt x="566" y="22"/>
                  </a:lnTo>
                  <a:lnTo>
                    <a:pt x="562" y="20"/>
                  </a:lnTo>
                  <a:lnTo>
                    <a:pt x="560" y="20"/>
                  </a:lnTo>
                  <a:lnTo>
                    <a:pt x="556" y="20"/>
                  </a:lnTo>
                  <a:lnTo>
                    <a:pt x="554" y="22"/>
                  </a:lnTo>
                  <a:lnTo>
                    <a:pt x="552" y="22"/>
                  </a:lnTo>
                  <a:lnTo>
                    <a:pt x="548" y="22"/>
                  </a:lnTo>
                  <a:lnTo>
                    <a:pt x="546" y="24"/>
                  </a:lnTo>
                  <a:lnTo>
                    <a:pt x="540" y="24"/>
                  </a:lnTo>
                  <a:lnTo>
                    <a:pt x="532" y="28"/>
                  </a:lnTo>
                  <a:lnTo>
                    <a:pt x="526" y="30"/>
                  </a:lnTo>
                  <a:lnTo>
                    <a:pt x="512" y="34"/>
                  </a:lnTo>
                  <a:lnTo>
                    <a:pt x="504" y="36"/>
                  </a:lnTo>
                  <a:lnTo>
                    <a:pt x="498" y="38"/>
                  </a:lnTo>
                  <a:lnTo>
                    <a:pt x="494" y="38"/>
                  </a:lnTo>
                  <a:lnTo>
                    <a:pt x="492" y="40"/>
                  </a:lnTo>
                  <a:lnTo>
                    <a:pt x="490" y="40"/>
                  </a:lnTo>
                  <a:lnTo>
                    <a:pt x="486" y="40"/>
                  </a:lnTo>
                  <a:lnTo>
                    <a:pt x="484" y="40"/>
                  </a:lnTo>
                  <a:lnTo>
                    <a:pt x="482" y="40"/>
                  </a:lnTo>
                  <a:lnTo>
                    <a:pt x="480" y="40"/>
                  </a:lnTo>
                  <a:lnTo>
                    <a:pt x="478" y="38"/>
                  </a:lnTo>
                  <a:lnTo>
                    <a:pt x="476" y="38"/>
                  </a:lnTo>
                  <a:lnTo>
                    <a:pt x="476" y="38"/>
                  </a:lnTo>
                  <a:lnTo>
                    <a:pt x="474" y="36"/>
                  </a:lnTo>
                  <a:lnTo>
                    <a:pt x="474" y="36"/>
                  </a:lnTo>
                  <a:lnTo>
                    <a:pt x="474" y="36"/>
                  </a:lnTo>
                  <a:lnTo>
                    <a:pt x="474" y="34"/>
                  </a:lnTo>
                  <a:lnTo>
                    <a:pt x="474" y="34"/>
                  </a:lnTo>
                  <a:lnTo>
                    <a:pt x="474" y="32"/>
                  </a:lnTo>
                  <a:lnTo>
                    <a:pt x="474" y="32"/>
                  </a:lnTo>
                  <a:lnTo>
                    <a:pt x="474" y="30"/>
                  </a:lnTo>
                  <a:lnTo>
                    <a:pt x="474" y="30"/>
                  </a:lnTo>
                  <a:lnTo>
                    <a:pt x="476" y="28"/>
                  </a:lnTo>
                  <a:lnTo>
                    <a:pt x="476" y="28"/>
                  </a:lnTo>
                  <a:lnTo>
                    <a:pt x="478" y="28"/>
                  </a:lnTo>
                  <a:lnTo>
                    <a:pt x="480" y="26"/>
                  </a:lnTo>
                  <a:lnTo>
                    <a:pt x="484" y="26"/>
                  </a:lnTo>
                  <a:lnTo>
                    <a:pt x="488" y="24"/>
                  </a:lnTo>
                  <a:lnTo>
                    <a:pt x="492" y="24"/>
                  </a:lnTo>
                  <a:lnTo>
                    <a:pt x="496" y="24"/>
                  </a:lnTo>
                  <a:lnTo>
                    <a:pt x="502" y="22"/>
                  </a:lnTo>
                  <a:lnTo>
                    <a:pt x="506" y="22"/>
                  </a:lnTo>
                  <a:lnTo>
                    <a:pt x="510" y="22"/>
                  </a:lnTo>
                  <a:lnTo>
                    <a:pt x="514" y="20"/>
                  </a:lnTo>
                  <a:lnTo>
                    <a:pt x="516" y="20"/>
                  </a:lnTo>
                  <a:lnTo>
                    <a:pt x="518" y="18"/>
                  </a:lnTo>
                  <a:lnTo>
                    <a:pt x="518" y="18"/>
                  </a:lnTo>
                  <a:lnTo>
                    <a:pt x="520" y="18"/>
                  </a:lnTo>
                  <a:lnTo>
                    <a:pt x="520" y="16"/>
                  </a:lnTo>
                  <a:lnTo>
                    <a:pt x="520" y="16"/>
                  </a:lnTo>
                  <a:lnTo>
                    <a:pt x="522" y="14"/>
                  </a:lnTo>
                  <a:lnTo>
                    <a:pt x="522" y="14"/>
                  </a:lnTo>
                  <a:lnTo>
                    <a:pt x="520" y="12"/>
                  </a:lnTo>
                  <a:lnTo>
                    <a:pt x="520" y="12"/>
                  </a:lnTo>
                  <a:lnTo>
                    <a:pt x="520" y="10"/>
                  </a:lnTo>
                  <a:lnTo>
                    <a:pt x="520" y="10"/>
                  </a:lnTo>
                  <a:lnTo>
                    <a:pt x="518" y="8"/>
                  </a:lnTo>
                  <a:lnTo>
                    <a:pt x="518" y="8"/>
                  </a:lnTo>
                  <a:lnTo>
                    <a:pt x="516" y="6"/>
                  </a:lnTo>
                  <a:lnTo>
                    <a:pt x="516" y="6"/>
                  </a:lnTo>
                  <a:lnTo>
                    <a:pt x="514" y="4"/>
                  </a:lnTo>
                  <a:lnTo>
                    <a:pt x="512" y="4"/>
                  </a:lnTo>
                  <a:lnTo>
                    <a:pt x="508" y="2"/>
                  </a:lnTo>
                  <a:lnTo>
                    <a:pt x="506" y="2"/>
                  </a:lnTo>
                  <a:lnTo>
                    <a:pt x="502" y="0"/>
                  </a:lnTo>
                  <a:lnTo>
                    <a:pt x="498" y="0"/>
                  </a:lnTo>
                  <a:lnTo>
                    <a:pt x="496" y="0"/>
                  </a:lnTo>
                  <a:lnTo>
                    <a:pt x="492" y="0"/>
                  </a:lnTo>
                  <a:lnTo>
                    <a:pt x="488" y="0"/>
                  </a:lnTo>
                  <a:lnTo>
                    <a:pt x="484" y="0"/>
                  </a:lnTo>
                  <a:lnTo>
                    <a:pt x="480" y="0"/>
                  </a:lnTo>
                  <a:lnTo>
                    <a:pt x="476" y="2"/>
                  </a:lnTo>
                  <a:lnTo>
                    <a:pt x="466" y="2"/>
                  </a:lnTo>
                  <a:lnTo>
                    <a:pt x="458" y="4"/>
                  </a:lnTo>
                  <a:lnTo>
                    <a:pt x="450" y="6"/>
                  </a:lnTo>
                  <a:lnTo>
                    <a:pt x="442" y="8"/>
                  </a:lnTo>
                  <a:lnTo>
                    <a:pt x="434" y="10"/>
                  </a:lnTo>
                  <a:lnTo>
                    <a:pt x="426" y="12"/>
                  </a:lnTo>
                  <a:lnTo>
                    <a:pt x="420" y="14"/>
                  </a:lnTo>
                  <a:lnTo>
                    <a:pt x="416" y="16"/>
                  </a:lnTo>
                  <a:lnTo>
                    <a:pt x="414" y="16"/>
                  </a:lnTo>
                  <a:lnTo>
                    <a:pt x="412" y="18"/>
                  </a:lnTo>
                  <a:lnTo>
                    <a:pt x="410" y="20"/>
                  </a:lnTo>
                  <a:lnTo>
                    <a:pt x="408" y="22"/>
                  </a:lnTo>
                  <a:lnTo>
                    <a:pt x="406" y="24"/>
                  </a:lnTo>
                  <a:lnTo>
                    <a:pt x="404" y="26"/>
                  </a:lnTo>
                  <a:lnTo>
                    <a:pt x="400" y="30"/>
                  </a:lnTo>
                  <a:lnTo>
                    <a:pt x="396" y="34"/>
                  </a:lnTo>
                  <a:lnTo>
                    <a:pt x="394" y="38"/>
                  </a:lnTo>
                  <a:lnTo>
                    <a:pt x="392" y="38"/>
                  </a:lnTo>
                  <a:lnTo>
                    <a:pt x="390" y="40"/>
                  </a:lnTo>
                  <a:lnTo>
                    <a:pt x="388" y="42"/>
                  </a:lnTo>
                  <a:lnTo>
                    <a:pt x="386" y="44"/>
                  </a:lnTo>
                  <a:lnTo>
                    <a:pt x="386" y="44"/>
                  </a:lnTo>
                  <a:lnTo>
                    <a:pt x="386" y="44"/>
                  </a:lnTo>
                  <a:lnTo>
                    <a:pt x="384" y="44"/>
                  </a:lnTo>
                  <a:lnTo>
                    <a:pt x="382" y="44"/>
                  </a:lnTo>
                  <a:lnTo>
                    <a:pt x="382" y="44"/>
                  </a:lnTo>
                  <a:lnTo>
                    <a:pt x="380" y="44"/>
                  </a:lnTo>
                  <a:lnTo>
                    <a:pt x="378" y="42"/>
                  </a:lnTo>
                  <a:lnTo>
                    <a:pt x="374" y="42"/>
                  </a:lnTo>
                  <a:lnTo>
                    <a:pt x="372" y="40"/>
                  </a:lnTo>
                  <a:lnTo>
                    <a:pt x="368" y="38"/>
                  </a:lnTo>
                  <a:lnTo>
                    <a:pt x="362" y="34"/>
                  </a:lnTo>
                  <a:lnTo>
                    <a:pt x="360" y="32"/>
                  </a:lnTo>
                  <a:lnTo>
                    <a:pt x="358" y="30"/>
                  </a:lnTo>
                  <a:lnTo>
                    <a:pt x="354" y="30"/>
                  </a:lnTo>
                  <a:lnTo>
                    <a:pt x="352" y="28"/>
                  </a:lnTo>
                  <a:lnTo>
                    <a:pt x="348" y="28"/>
                  </a:lnTo>
                  <a:lnTo>
                    <a:pt x="348" y="28"/>
                  </a:lnTo>
                  <a:lnTo>
                    <a:pt x="346" y="28"/>
                  </a:lnTo>
                  <a:lnTo>
                    <a:pt x="346" y="28"/>
                  </a:lnTo>
                  <a:lnTo>
                    <a:pt x="344" y="28"/>
                  </a:lnTo>
                  <a:lnTo>
                    <a:pt x="344" y="28"/>
                  </a:lnTo>
                  <a:lnTo>
                    <a:pt x="342" y="28"/>
                  </a:lnTo>
                  <a:lnTo>
                    <a:pt x="342" y="30"/>
                  </a:lnTo>
                  <a:lnTo>
                    <a:pt x="340" y="30"/>
                  </a:lnTo>
                  <a:lnTo>
                    <a:pt x="340" y="30"/>
                  </a:lnTo>
                  <a:lnTo>
                    <a:pt x="340" y="32"/>
                  </a:lnTo>
                  <a:lnTo>
                    <a:pt x="340" y="34"/>
                  </a:lnTo>
                  <a:lnTo>
                    <a:pt x="340" y="34"/>
                  </a:lnTo>
                  <a:lnTo>
                    <a:pt x="340" y="38"/>
                  </a:lnTo>
                  <a:lnTo>
                    <a:pt x="342" y="44"/>
                  </a:lnTo>
                  <a:lnTo>
                    <a:pt x="342" y="46"/>
                  </a:lnTo>
                  <a:lnTo>
                    <a:pt x="342" y="48"/>
                  </a:lnTo>
                  <a:lnTo>
                    <a:pt x="342" y="48"/>
                  </a:lnTo>
                  <a:lnTo>
                    <a:pt x="342" y="54"/>
                  </a:lnTo>
                  <a:lnTo>
                    <a:pt x="340" y="58"/>
                  </a:lnTo>
                  <a:lnTo>
                    <a:pt x="340" y="62"/>
                  </a:lnTo>
                  <a:lnTo>
                    <a:pt x="340" y="66"/>
                  </a:lnTo>
                  <a:lnTo>
                    <a:pt x="338" y="66"/>
                  </a:lnTo>
                  <a:lnTo>
                    <a:pt x="338" y="68"/>
                  </a:lnTo>
                  <a:lnTo>
                    <a:pt x="338" y="70"/>
                  </a:lnTo>
                  <a:lnTo>
                    <a:pt x="336" y="70"/>
                  </a:lnTo>
                  <a:lnTo>
                    <a:pt x="336" y="72"/>
                  </a:lnTo>
                  <a:lnTo>
                    <a:pt x="334" y="72"/>
                  </a:lnTo>
                  <a:lnTo>
                    <a:pt x="334" y="72"/>
                  </a:lnTo>
                  <a:lnTo>
                    <a:pt x="334" y="72"/>
                  </a:lnTo>
                  <a:lnTo>
                    <a:pt x="332" y="72"/>
                  </a:lnTo>
                  <a:lnTo>
                    <a:pt x="332" y="70"/>
                  </a:lnTo>
                  <a:lnTo>
                    <a:pt x="330" y="70"/>
                  </a:lnTo>
                  <a:lnTo>
                    <a:pt x="330" y="68"/>
                  </a:lnTo>
                  <a:lnTo>
                    <a:pt x="328" y="66"/>
                  </a:lnTo>
                  <a:lnTo>
                    <a:pt x="328" y="64"/>
                  </a:lnTo>
                  <a:lnTo>
                    <a:pt x="326" y="60"/>
                  </a:lnTo>
                  <a:lnTo>
                    <a:pt x="324" y="58"/>
                  </a:lnTo>
                  <a:lnTo>
                    <a:pt x="322" y="56"/>
                  </a:lnTo>
                  <a:lnTo>
                    <a:pt x="322" y="56"/>
                  </a:lnTo>
                  <a:lnTo>
                    <a:pt x="320" y="54"/>
                  </a:lnTo>
                  <a:lnTo>
                    <a:pt x="320" y="54"/>
                  </a:lnTo>
                  <a:lnTo>
                    <a:pt x="318" y="54"/>
                  </a:lnTo>
                  <a:lnTo>
                    <a:pt x="318" y="54"/>
                  </a:lnTo>
                  <a:lnTo>
                    <a:pt x="316" y="54"/>
                  </a:lnTo>
                  <a:lnTo>
                    <a:pt x="314" y="54"/>
                  </a:lnTo>
                  <a:lnTo>
                    <a:pt x="312" y="54"/>
                  </a:lnTo>
                  <a:lnTo>
                    <a:pt x="308" y="54"/>
                  </a:lnTo>
                  <a:lnTo>
                    <a:pt x="304" y="54"/>
                  </a:lnTo>
                  <a:lnTo>
                    <a:pt x="302" y="54"/>
                  </a:lnTo>
                  <a:lnTo>
                    <a:pt x="300" y="54"/>
                  </a:lnTo>
                  <a:lnTo>
                    <a:pt x="294" y="52"/>
                  </a:lnTo>
                  <a:lnTo>
                    <a:pt x="290" y="52"/>
                  </a:lnTo>
                  <a:lnTo>
                    <a:pt x="290" y="52"/>
                  </a:lnTo>
                  <a:lnTo>
                    <a:pt x="288" y="52"/>
                  </a:lnTo>
                  <a:lnTo>
                    <a:pt x="288" y="52"/>
                  </a:lnTo>
                  <a:lnTo>
                    <a:pt x="286" y="52"/>
                  </a:lnTo>
                  <a:lnTo>
                    <a:pt x="284" y="54"/>
                  </a:lnTo>
                  <a:lnTo>
                    <a:pt x="284" y="54"/>
                  </a:lnTo>
                  <a:lnTo>
                    <a:pt x="284" y="54"/>
                  </a:lnTo>
                  <a:lnTo>
                    <a:pt x="284" y="54"/>
                  </a:lnTo>
                  <a:lnTo>
                    <a:pt x="284" y="56"/>
                  </a:lnTo>
                  <a:lnTo>
                    <a:pt x="284" y="58"/>
                  </a:lnTo>
                  <a:lnTo>
                    <a:pt x="284" y="58"/>
                  </a:lnTo>
                  <a:lnTo>
                    <a:pt x="284" y="60"/>
                  </a:lnTo>
                  <a:lnTo>
                    <a:pt x="284" y="62"/>
                  </a:lnTo>
                  <a:lnTo>
                    <a:pt x="284" y="66"/>
                  </a:lnTo>
                  <a:lnTo>
                    <a:pt x="284" y="70"/>
                  </a:lnTo>
                  <a:lnTo>
                    <a:pt x="286" y="72"/>
                  </a:lnTo>
                  <a:lnTo>
                    <a:pt x="286" y="74"/>
                  </a:lnTo>
                  <a:lnTo>
                    <a:pt x="286" y="76"/>
                  </a:lnTo>
                  <a:lnTo>
                    <a:pt x="286" y="76"/>
                  </a:lnTo>
                  <a:lnTo>
                    <a:pt x="284" y="78"/>
                  </a:lnTo>
                  <a:lnTo>
                    <a:pt x="284" y="78"/>
                  </a:lnTo>
                  <a:lnTo>
                    <a:pt x="284" y="78"/>
                  </a:lnTo>
                  <a:lnTo>
                    <a:pt x="284" y="80"/>
                  </a:lnTo>
                  <a:lnTo>
                    <a:pt x="282" y="80"/>
                  </a:lnTo>
                  <a:lnTo>
                    <a:pt x="282" y="80"/>
                  </a:lnTo>
                  <a:lnTo>
                    <a:pt x="280" y="82"/>
                  </a:lnTo>
                  <a:lnTo>
                    <a:pt x="278" y="82"/>
                  </a:lnTo>
                  <a:lnTo>
                    <a:pt x="276" y="82"/>
                  </a:lnTo>
                  <a:lnTo>
                    <a:pt x="274" y="82"/>
                  </a:lnTo>
                  <a:lnTo>
                    <a:pt x="270" y="82"/>
                  </a:lnTo>
                  <a:lnTo>
                    <a:pt x="268" y="82"/>
                  </a:lnTo>
                  <a:lnTo>
                    <a:pt x="266" y="82"/>
                  </a:lnTo>
                  <a:lnTo>
                    <a:pt x="264" y="80"/>
                  </a:lnTo>
                  <a:lnTo>
                    <a:pt x="264" y="80"/>
                  </a:lnTo>
                  <a:lnTo>
                    <a:pt x="262" y="80"/>
                  </a:lnTo>
                  <a:lnTo>
                    <a:pt x="262" y="78"/>
                  </a:lnTo>
                  <a:lnTo>
                    <a:pt x="262" y="78"/>
                  </a:lnTo>
                  <a:lnTo>
                    <a:pt x="260" y="78"/>
                  </a:lnTo>
                  <a:lnTo>
                    <a:pt x="260" y="76"/>
                  </a:lnTo>
                  <a:lnTo>
                    <a:pt x="260" y="74"/>
                  </a:lnTo>
                  <a:lnTo>
                    <a:pt x="260" y="72"/>
                  </a:lnTo>
                  <a:lnTo>
                    <a:pt x="260" y="68"/>
                  </a:lnTo>
                  <a:lnTo>
                    <a:pt x="260" y="66"/>
                  </a:lnTo>
                  <a:lnTo>
                    <a:pt x="260" y="62"/>
                  </a:lnTo>
                  <a:lnTo>
                    <a:pt x="260" y="62"/>
                  </a:lnTo>
                  <a:lnTo>
                    <a:pt x="260" y="60"/>
                  </a:lnTo>
                  <a:lnTo>
                    <a:pt x="260" y="60"/>
                  </a:lnTo>
                  <a:lnTo>
                    <a:pt x="260" y="58"/>
                  </a:lnTo>
                  <a:lnTo>
                    <a:pt x="258" y="58"/>
                  </a:lnTo>
                  <a:lnTo>
                    <a:pt x="258" y="58"/>
                  </a:lnTo>
                  <a:lnTo>
                    <a:pt x="256" y="56"/>
                  </a:lnTo>
                  <a:lnTo>
                    <a:pt x="254" y="56"/>
                  </a:lnTo>
                  <a:lnTo>
                    <a:pt x="252" y="56"/>
                  </a:lnTo>
                  <a:lnTo>
                    <a:pt x="252" y="56"/>
                  </a:lnTo>
                  <a:lnTo>
                    <a:pt x="250" y="54"/>
                  </a:lnTo>
                  <a:lnTo>
                    <a:pt x="248" y="54"/>
                  </a:lnTo>
                  <a:lnTo>
                    <a:pt x="246" y="54"/>
                  </a:lnTo>
                  <a:lnTo>
                    <a:pt x="244" y="54"/>
                  </a:lnTo>
                  <a:lnTo>
                    <a:pt x="242" y="54"/>
                  </a:lnTo>
                  <a:lnTo>
                    <a:pt x="240" y="54"/>
                  </a:lnTo>
                  <a:lnTo>
                    <a:pt x="240" y="54"/>
                  </a:lnTo>
                  <a:lnTo>
                    <a:pt x="238" y="54"/>
                  </a:lnTo>
                  <a:lnTo>
                    <a:pt x="238" y="56"/>
                  </a:lnTo>
                  <a:lnTo>
                    <a:pt x="236" y="56"/>
                  </a:lnTo>
                  <a:lnTo>
                    <a:pt x="236" y="56"/>
                  </a:lnTo>
                  <a:lnTo>
                    <a:pt x="236" y="58"/>
                  </a:lnTo>
                  <a:lnTo>
                    <a:pt x="236" y="58"/>
                  </a:lnTo>
                  <a:lnTo>
                    <a:pt x="236" y="60"/>
                  </a:lnTo>
                  <a:lnTo>
                    <a:pt x="238" y="60"/>
                  </a:lnTo>
                  <a:lnTo>
                    <a:pt x="240" y="62"/>
                  </a:lnTo>
                  <a:lnTo>
                    <a:pt x="240" y="64"/>
                  </a:lnTo>
                  <a:lnTo>
                    <a:pt x="242" y="66"/>
                  </a:lnTo>
                  <a:lnTo>
                    <a:pt x="242" y="66"/>
                  </a:lnTo>
                  <a:lnTo>
                    <a:pt x="242" y="68"/>
                  </a:lnTo>
                  <a:lnTo>
                    <a:pt x="242" y="68"/>
                  </a:lnTo>
                  <a:lnTo>
                    <a:pt x="242" y="68"/>
                  </a:lnTo>
                  <a:lnTo>
                    <a:pt x="240" y="70"/>
                  </a:lnTo>
                  <a:lnTo>
                    <a:pt x="240" y="70"/>
                  </a:lnTo>
                  <a:lnTo>
                    <a:pt x="240" y="70"/>
                  </a:lnTo>
                  <a:lnTo>
                    <a:pt x="238" y="70"/>
                  </a:lnTo>
                  <a:lnTo>
                    <a:pt x="238" y="70"/>
                  </a:lnTo>
                  <a:lnTo>
                    <a:pt x="236" y="70"/>
                  </a:lnTo>
                  <a:lnTo>
                    <a:pt x="234" y="70"/>
                  </a:lnTo>
                  <a:lnTo>
                    <a:pt x="234" y="70"/>
                  </a:lnTo>
                  <a:lnTo>
                    <a:pt x="230" y="68"/>
                  </a:lnTo>
                  <a:lnTo>
                    <a:pt x="228" y="68"/>
                  </a:lnTo>
                  <a:lnTo>
                    <a:pt x="226" y="66"/>
                  </a:lnTo>
                  <a:lnTo>
                    <a:pt x="222" y="64"/>
                  </a:lnTo>
                  <a:lnTo>
                    <a:pt x="216" y="60"/>
                  </a:lnTo>
                  <a:lnTo>
                    <a:pt x="214" y="58"/>
                  </a:lnTo>
                  <a:lnTo>
                    <a:pt x="212" y="56"/>
                  </a:lnTo>
                  <a:lnTo>
                    <a:pt x="208" y="56"/>
                  </a:lnTo>
                  <a:lnTo>
                    <a:pt x="206" y="54"/>
                  </a:lnTo>
                  <a:lnTo>
                    <a:pt x="204" y="54"/>
                  </a:lnTo>
                  <a:lnTo>
                    <a:pt x="204" y="54"/>
                  </a:lnTo>
                  <a:lnTo>
                    <a:pt x="202" y="54"/>
                  </a:lnTo>
                  <a:lnTo>
                    <a:pt x="202" y="54"/>
                  </a:lnTo>
                  <a:lnTo>
                    <a:pt x="200" y="54"/>
                  </a:lnTo>
                  <a:lnTo>
                    <a:pt x="200" y="54"/>
                  </a:lnTo>
                  <a:lnTo>
                    <a:pt x="198" y="54"/>
                  </a:lnTo>
                  <a:lnTo>
                    <a:pt x="196" y="56"/>
                  </a:lnTo>
                  <a:lnTo>
                    <a:pt x="194" y="56"/>
                  </a:lnTo>
                  <a:lnTo>
                    <a:pt x="192" y="58"/>
                  </a:lnTo>
                  <a:lnTo>
                    <a:pt x="190" y="60"/>
                  </a:lnTo>
                  <a:lnTo>
                    <a:pt x="188" y="62"/>
                  </a:lnTo>
                  <a:lnTo>
                    <a:pt x="186" y="62"/>
                  </a:lnTo>
                  <a:lnTo>
                    <a:pt x="184" y="64"/>
                  </a:lnTo>
                  <a:lnTo>
                    <a:pt x="184" y="64"/>
                  </a:lnTo>
                  <a:lnTo>
                    <a:pt x="182" y="64"/>
                  </a:lnTo>
                  <a:lnTo>
                    <a:pt x="180" y="64"/>
                  </a:lnTo>
                  <a:lnTo>
                    <a:pt x="176" y="64"/>
                  </a:lnTo>
                  <a:lnTo>
                    <a:pt x="174" y="64"/>
                  </a:lnTo>
                  <a:lnTo>
                    <a:pt x="172" y="64"/>
                  </a:lnTo>
                  <a:lnTo>
                    <a:pt x="170" y="64"/>
                  </a:lnTo>
                  <a:lnTo>
                    <a:pt x="170" y="64"/>
                  </a:lnTo>
                  <a:lnTo>
                    <a:pt x="168" y="64"/>
                  </a:lnTo>
                  <a:lnTo>
                    <a:pt x="168" y="64"/>
                  </a:lnTo>
                  <a:lnTo>
                    <a:pt x="166" y="64"/>
                  </a:lnTo>
                  <a:lnTo>
                    <a:pt x="164" y="66"/>
                  </a:lnTo>
                  <a:lnTo>
                    <a:pt x="162" y="68"/>
                  </a:lnTo>
                  <a:lnTo>
                    <a:pt x="160" y="70"/>
                  </a:lnTo>
                  <a:lnTo>
                    <a:pt x="156" y="72"/>
                  </a:lnTo>
                  <a:lnTo>
                    <a:pt x="154" y="76"/>
                  </a:lnTo>
                  <a:lnTo>
                    <a:pt x="150" y="7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1" name="Freeform 599"/>
            <p:cNvSpPr>
              <a:spLocks/>
            </p:cNvSpPr>
            <p:nvPr/>
          </p:nvSpPr>
          <p:spPr bwMode="auto">
            <a:xfrm>
              <a:off x="2769235" y="1667042"/>
              <a:ext cx="1250558" cy="1084279"/>
            </a:xfrm>
            <a:custGeom>
              <a:avLst/>
              <a:gdLst>
                <a:gd name="T0" fmla="*/ 104 w 722"/>
                <a:gd name="T1" fmla="*/ 102 h 626"/>
                <a:gd name="T2" fmla="*/ 92 w 722"/>
                <a:gd name="T3" fmla="*/ 136 h 626"/>
                <a:gd name="T4" fmla="*/ 34 w 722"/>
                <a:gd name="T5" fmla="*/ 168 h 626"/>
                <a:gd name="T6" fmla="*/ 2 w 722"/>
                <a:gd name="T7" fmla="*/ 188 h 626"/>
                <a:gd name="T8" fmla="*/ 56 w 722"/>
                <a:gd name="T9" fmla="*/ 188 h 626"/>
                <a:gd name="T10" fmla="*/ 42 w 722"/>
                <a:gd name="T11" fmla="*/ 208 h 626"/>
                <a:gd name="T12" fmla="*/ 22 w 722"/>
                <a:gd name="T13" fmla="*/ 218 h 626"/>
                <a:gd name="T14" fmla="*/ 106 w 722"/>
                <a:gd name="T15" fmla="*/ 234 h 626"/>
                <a:gd name="T16" fmla="*/ 166 w 722"/>
                <a:gd name="T17" fmla="*/ 262 h 626"/>
                <a:gd name="T18" fmla="*/ 190 w 722"/>
                <a:gd name="T19" fmla="*/ 358 h 626"/>
                <a:gd name="T20" fmla="*/ 216 w 722"/>
                <a:gd name="T21" fmla="*/ 352 h 626"/>
                <a:gd name="T22" fmla="*/ 206 w 722"/>
                <a:gd name="T23" fmla="*/ 376 h 626"/>
                <a:gd name="T24" fmla="*/ 218 w 722"/>
                <a:gd name="T25" fmla="*/ 388 h 626"/>
                <a:gd name="T26" fmla="*/ 224 w 722"/>
                <a:gd name="T27" fmla="*/ 424 h 626"/>
                <a:gd name="T28" fmla="*/ 188 w 722"/>
                <a:gd name="T29" fmla="*/ 462 h 626"/>
                <a:gd name="T30" fmla="*/ 232 w 722"/>
                <a:gd name="T31" fmla="*/ 586 h 626"/>
                <a:gd name="T32" fmla="*/ 270 w 722"/>
                <a:gd name="T33" fmla="*/ 608 h 626"/>
                <a:gd name="T34" fmla="*/ 304 w 722"/>
                <a:gd name="T35" fmla="*/ 620 h 626"/>
                <a:gd name="T36" fmla="*/ 342 w 722"/>
                <a:gd name="T37" fmla="*/ 540 h 626"/>
                <a:gd name="T38" fmla="*/ 356 w 722"/>
                <a:gd name="T39" fmla="*/ 498 h 626"/>
                <a:gd name="T40" fmla="*/ 436 w 722"/>
                <a:gd name="T41" fmla="*/ 482 h 626"/>
                <a:gd name="T42" fmla="*/ 462 w 722"/>
                <a:gd name="T43" fmla="*/ 436 h 626"/>
                <a:gd name="T44" fmla="*/ 528 w 722"/>
                <a:gd name="T45" fmla="*/ 434 h 626"/>
                <a:gd name="T46" fmla="*/ 584 w 722"/>
                <a:gd name="T47" fmla="*/ 384 h 626"/>
                <a:gd name="T48" fmla="*/ 530 w 722"/>
                <a:gd name="T49" fmla="*/ 374 h 626"/>
                <a:gd name="T50" fmla="*/ 550 w 722"/>
                <a:gd name="T51" fmla="*/ 348 h 626"/>
                <a:gd name="T52" fmla="*/ 592 w 722"/>
                <a:gd name="T53" fmla="*/ 374 h 626"/>
                <a:gd name="T54" fmla="*/ 592 w 722"/>
                <a:gd name="T55" fmla="*/ 336 h 626"/>
                <a:gd name="T56" fmla="*/ 560 w 722"/>
                <a:gd name="T57" fmla="*/ 314 h 626"/>
                <a:gd name="T58" fmla="*/ 588 w 722"/>
                <a:gd name="T59" fmla="*/ 312 h 626"/>
                <a:gd name="T60" fmla="*/ 606 w 722"/>
                <a:gd name="T61" fmla="*/ 300 h 626"/>
                <a:gd name="T62" fmla="*/ 612 w 722"/>
                <a:gd name="T63" fmla="*/ 282 h 626"/>
                <a:gd name="T64" fmla="*/ 644 w 722"/>
                <a:gd name="T65" fmla="*/ 268 h 626"/>
                <a:gd name="T66" fmla="*/ 628 w 722"/>
                <a:gd name="T67" fmla="*/ 244 h 626"/>
                <a:gd name="T68" fmla="*/ 638 w 722"/>
                <a:gd name="T69" fmla="*/ 212 h 626"/>
                <a:gd name="T70" fmla="*/ 644 w 722"/>
                <a:gd name="T71" fmla="*/ 188 h 626"/>
                <a:gd name="T72" fmla="*/ 602 w 722"/>
                <a:gd name="T73" fmla="*/ 182 h 626"/>
                <a:gd name="T74" fmla="*/ 638 w 722"/>
                <a:gd name="T75" fmla="*/ 140 h 626"/>
                <a:gd name="T76" fmla="*/ 622 w 722"/>
                <a:gd name="T77" fmla="*/ 122 h 626"/>
                <a:gd name="T78" fmla="*/ 662 w 722"/>
                <a:gd name="T79" fmla="*/ 108 h 626"/>
                <a:gd name="T80" fmla="*/ 722 w 722"/>
                <a:gd name="T81" fmla="*/ 76 h 626"/>
                <a:gd name="T82" fmla="*/ 648 w 722"/>
                <a:gd name="T83" fmla="*/ 74 h 626"/>
                <a:gd name="T84" fmla="*/ 582 w 722"/>
                <a:gd name="T85" fmla="*/ 104 h 626"/>
                <a:gd name="T86" fmla="*/ 604 w 722"/>
                <a:gd name="T87" fmla="*/ 64 h 626"/>
                <a:gd name="T88" fmla="*/ 558 w 722"/>
                <a:gd name="T89" fmla="*/ 82 h 626"/>
                <a:gd name="T90" fmla="*/ 556 w 722"/>
                <a:gd name="T91" fmla="*/ 58 h 626"/>
                <a:gd name="T92" fmla="*/ 482 w 722"/>
                <a:gd name="T93" fmla="*/ 72 h 626"/>
                <a:gd name="T94" fmla="*/ 484 w 722"/>
                <a:gd name="T95" fmla="*/ 56 h 626"/>
                <a:gd name="T96" fmla="*/ 598 w 722"/>
                <a:gd name="T97" fmla="*/ 40 h 626"/>
                <a:gd name="T98" fmla="*/ 566 w 722"/>
                <a:gd name="T99" fmla="*/ 22 h 626"/>
                <a:gd name="T100" fmla="*/ 478 w 722"/>
                <a:gd name="T101" fmla="*/ 38 h 626"/>
                <a:gd name="T102" fmla="*/ 506 w 722"/>
                <a:gd name="T103" fmla="*/ 22 h 626"/>
                <a:gd name="T104" fmla="*/ 508 w 722"/>
                <a:gd name="T105" fmla="*/ 2 h 626"/>
                <a:gd name="T106" fmla="*/ 408 w 722"/>
                <a:gd name="T107" fmla="*/ 22 h 626"/>
                <a:gd name="T108" fmla="*/ 360 w 722"/>
                <a:gd name="T109" fmla="*/ 32 h 626"/>
                <a:gd name="T110" fmla="*/ 342 w 722"/>
                <a:gd name="T111" fmla="*/ 48 h 626"/>
                <a:gd name="T112" fmla="*/ 322 w 722"/>
                <a:gd name="T113" fmla="*/ 56 h 626"/>
                <a:gd name="T114" fmla="*/ 284 w 722"/>
                <a:gd name="T115" fmla="*/ 54 h 626"/>
                <a:gd name="T116" fmla="*/ 276 w 722"/>
                <a:gd name="T117" fmla="*/ 82 h 626"/>
                <a:gd name="T118" fmla="*/ 258 w 722"/>
                <a:gd name="T119" fmla="*/ 58 h 626"/>
                <a:gd name="T120" fmla="*/ 240 w 722"/>
                <a:gd name="T121" fmla="*/ 62 h 626"/>
                <a:gd name="T122" fmla="*/ 212 w 722"/>
                <a:gd name="T123" fmla="*/ 56 h 626"/>
                <a:gd name="T124" fmla="*/ 174 w 722"/>
                <a:gd name="T125" fmla="*/ 6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626">
                  <a:moveTo>
                    <a:pt x="150" y="78"/>
                  </a:moveTo>
                  <a:lnTo>
                    <a:pt x="150" y="78"/>
                  </a:lnTo>
                  <a:lnTo>
                    <a:pt x="150" y="80"/>
                  </a:lnTo>
                  <a:lnTo>
                    <a:pt x="148" y="82"/>
                  </a:lnTo>
                  <a:lnTo>
                    <a:pt x="144" y="88"/>
                  </a:lnTo>
                  <a:lnTo>
                    <a:pt x="144" y="90"/>
                  </a:lnTo>
                  <a:lnTo>
                    <a:pt x="142" y="94"/>
                  </a:lnTo>
                  <a:lnTo>
                    <a:pt x="140" y="94"/>
                  </a:lnTo>
                  <a:lnTo>
                    <a:pt x="140" y="96"/>
                  </a:lnTo>
                  <a:lnTo>
                    <a:pt x="138" y="96"/>
                  </a:lnTo>
                  <a:lnTo>
                    <a:pt x="138" y="98"/>
                  </a:lnTo>
                  <a:lnTo>
                    <a:pt x="136" y="98"/>
                  </a:lnTo>
                  <a:lnTo>
                    <a:pt x="134" y="98"/>
                  </a:lnTo>
                  <a:lnTo>
                    <a:pt x="132" y="100"/>
                  </a:lnTo>
                  <a:lnTo>
                    <a:pt x="128" y="100"/>
                  </a:lnTo>
                  <a:lnTo>
                    <a:pt x="126" y="100"/>
                  </a:lnTo>
                  <a:lnTo>
                    <a:pt x="122" y="100"/>
                  </a:lnTo>
                  <a:lnTo>
                    <a:pt x="116" y="100"/>
                  </a:lnTo>
                  <a:lnTo>
                    <a:pt x="110" y="102"/>
                  </a:lnTo>
                  <a:lnTo>
                    <a:pt x="106" y="102"/>
                  </a:lnTo>
                  <a:lnTo>
                    <a:pt x="104" y="102"/>
                  </a:lnTo>
                  <a:lnTo>
                    <a:pt x="102" y="104"/>
                  </a:lnTo>
                  <a:lnTo>
                    <a:pt x="98" y="104"/>
                  </a:lnTo>
                  <a:lnTo>
                    <a:pt x="98" y="104"/>
                  </a:lnTo>
                  <a:lnTo>
                    <a:pt x="96" y="106"/>
                  </a:lnTo>
                  <a:lnTo>
                    <a:pt x="96" y="106"/>
                  </a:lnTo>
                  <a:lnTo>
                    <a:pt x="96" y="106"/>
                  </a:lnTo>
                  <a:lnTo>
                    <a:pt x="94" y="108"/>
                  </a:lnTo>
                  <a:lnTo>
                    <a:pt x="94" y="108"/>
                  </a:lnTo>
                  <a:lnTo>
                    <a:pt x="94" y="110"/>
                  </a:lnTo>
                  <a:lnTo>
                    <a:pt x="94" y="112"/>
                  </a:lnTo>
                  <a:lnTo>
                    <a:pt x="94" y="112"/>
                  </a:lnTo>
                  <a:lnTo>
                    <a:pt x="94" y="116"/>
                  </a:lnTo>
                  <a:lnTo>
                    <a:pt x="94" y="118"/>
                  </a:lnTo>
                  <a:lnTo>
                    <a:pt x="94" y="122"/>
                  </a:lnTo>
                  <a:lnTo>
                    <a:pt x="94" y="126"/>
                  </a:lnTo>
                  <a:lnTo>
                    <a:pt x="94" y="128"/>
                  </a:lnTo>
                  <a:lnTo>
                    <a:pt x="94" y="130"/>
                  </a:lnTo>
                  <a:lnTo>
                    <a:pt x="94" y="132"/>
                  </a:lnTo>
                  <a:lnTo>
                    <a:pt x="94" y="134"/>
                  </a:lnTo>
                  <a:lnTo>
                    <a:pt x="94" y="136"/>
                  </a:lnTo>
                  <a:lnTo>
                    <a:pt x="92" y="136"/>
                  </a:lnTo>
                  <a:lnTo>
                    <a:pt x="92" y="138"/>
                  </a:lnTo>
                  <a:lnTo>
                    <a:pt x="90" y="140"/>
                  </a:lnTo>
                  <a:lnTo>
                    <a:pt x="88" y="140"/>
                  </a:lnTo>
                  <a:lnTo>
                    <a:pt x="86" y="140"/>
                  </a:lnTo>
                  <a:lnTo>
                    <a:pt x="84" y="142"/>
                  </a:lnTo>
                  <a:lnTo>
                    <a:pt x="82" y="142"/>
                  </a:lnTo>
                  <a:lnTo>
                    <a:pt x="78" y="142"/>
                  </a:lnTo>
                  <a:lnTo>
                    <a:pt x="72" y="144"/>
                  </a:lnTo>
                  <a:lnTo>
                    <a:pt x="68" y="144"/>
                  </a:lnTo>
                  <a:lnTo>
                    <a:pt x="66" y="146"/>
                  </a:lnTo>
                  <a:lnTo>
                    <a:pt x="64" y="146"/>
                  </a:lnTo>
                  <a:lnTo>
                    <a:pt x="62" y="146"/>
                  </a:lnTo>
                  <a:lnTo>
                    <a:pt x="60" y="148"/>
                  </a:lnTo>
                  <a:lnTo>
                    <a:pt x="58" y="148"/>
                  </a:lnTo>
                  <a:lnTo>
                    <a:pt x="56" y="148"/>
                  </a:lnTo>
                  <a:lnTo>
                    <a:pt x="54" y="152"/>
                  </a:lnTo>
                  <a:lnTo>
                    <a:pt x="50" y="154"/>
                  </a:lnTo>
                  <a:lnTo>
                    <a:pt x="44" y="158"/>
                  </a:lnTo>
                  <a:lnTo>
                    <a:pt x="40" y="162"/>
                  </a:lnTo>
                  <a:lnTo>
                    <a:pt x="38" y="164"/>
                  </a:lnTo>
                  <a:lnTo>
                    <a:pt x="34" y="168"/>
                  </a:lnTo>
                  <a:lnTo>
                    <a:pt x="32" y="168"/>
                  </a:lnTo>
                  <a:lnTo>
                    <a:pt x="30" y="170"/>
                  </a:lnTo>
                  <a:lnTo>
                    <a:pt x="28" y="170"/>
                  </a:lnTo>
                  <a:lnTo>
                    <a:pt x="26" y="170"/>
                  </a:lnTo>
                  <a:lnTo>
                    <a:pt x="22" y="172"/>
                  </a:lnTo>
                  <a:lnTo>
                    <a:pt x="14" y="174"/>
                  </a:lnTo>
                  <a:lnTo>
                    <a:pt x="10" y="174"/>
                  </a:lnTo>
                  <a:lnTo>
                    <a:pt x="6" y="176"/>
                  </a:lnTo>
                  <a:lnTo>
                    <a:pt x="6" y="176"/>
                  </a:lnTo>
                  <a:lnTo>
                    <a:pt x="4" y="176"/>
                  </a:lnTo>
                  <a:lnTo>
                    <a:pt x="2" y="178"/>
                  </a:lnTo>
                  <a:lnTo>
                    <a:pt x="0" y="178"/>
                  </a:lnTo>
                  <a:lnTo>
                    <a:pt x="0" y="180"/>
                  </a:lnTo>
                  <a:lnTo>
                    <a:pt x="0" y="180"/>
                  </a:lnTo>
                  <a:lnTo>
                    <a:pt x="0" y="180"/>
                  </a:lnTo>
                  <a:lnTo>
                    <a:pt x="0" y="182"/>
                  </a:lnTo>
                  <a:lnTo>
                    <a:pt x="0" y="184"/>
                  </a:lnTo>
                  <a:lnTo>
                    <a:pt x="0" y="186"/>
                  </a:lnTo>
                  <a:lnTo>
                    <a:pt x="0" y="186"/>
                  </a:lnTo>
                  <a:lnTo>
                    <a:pt x="0" y="188"/>
                  </a:lnTo>
                  <a:lnTo>
                    <a:pt x="2" y="188"/>
                  </a:lnTo>
                  <a:lnTo>
                    <a:pt x="2" y="190"/>
                  </a:lnTo>
                  <a:lnTo>
                    <a:pt x="4" y="190"/>
                  </a:lnTo>
                  <a:lnTo>
                    <a:pt x="4" y="192"/>
                  </a:lnTo>
                  <a:lnTo>
                    <a:pt x="6" y="192"/>
                  </a:lnTo>
                  <a:lnTo>
                    <a:pt x="8" y="192"/>
                  </a:lnTo>
                  <a:lnTo>
                    <a:pt x="8" y="192"/>
                  </a:lnTo>
                  <a:lnTo>
                    <a:pt x="10" y="192"/>
                  </a:lnTo>
                  <a:lnTo>
                    <a:pt x="14" y="192"/>
                  </a:lnTo>
                  <a:lnTo>
                    <a:pt x="16" y="192"/>
                  </a:lnTo>
                  <a:lnTo>
                    <a:pt x="20" y="190"/>
                  </a:lnTo>
                  <a:lnTo>
                    <a:pt x="28" y="190"/>
                  </a:lnTo>
                  <a:lnTo>
                    <a:pt x="36" y="188"/>
                  </a:lnTo>
                  <a:lnTo>
                    <a:pt x="40" y="186"/>
                  </a:lnTo>
                  <a:lnTo>
                    <a:pt x="44" y="186"/>
                  </a:lnTo>
                  <a:lnTo>
                    <a:pt x="46" y="186"/>
                  </a:lnTo>
                  <a:lnTo>
                    <a:pt x="50" y="186"/>
                  </a:lnTo>
                  <a:lnTo>
                    <a:pt x="52" y="186"/>
                  </a:lnTo>
                  <a:lnTo>
                    <a:pt x="52" y="186"/>
                  </a:lnTo>
                  <a:lnTo>
                    <a:pt x="54" y="186"/>
                  </a:lnTo>
                  <a:lnTo>
                    <a:pt x="56" y="188"/>
                  </a:lnTo>
                  <a:lnTo>
                    <a:pt x="56" y="188"/>
                  </a:lnTo>
                  <a:lnTo>
                    <a:pt x="58" y="190"/>
                  </a:lnTo>
                  <a:lnTo>
                    <a:pt x="60" y="192"/>
                  </a:lnTo>
                  <a:lnTo>
                    <a:pt x="62" y="194"/>
                  </a:lnTo>
                  <a:lnTo>
                    <a:pt x="64" y="196"/>
                  </a:lnTo>
                  <a:lnTo>
                    <a:pt x="64" y="198"/>
                  </a:lnTo>
                  <a:lnTo>
                    <a:pt x="64" y="198"/>
                  </a:lnTo>
                  <a:lnTo>
                    <a:pt x="66" y="200"/>
                  </a:lnTo>
                  <a:lnTo>
                    <a:pt x="66" y="200"/>
                  </a:lnTo>
                  <a:lnTo>
                    <a:pt x="66" y="202"/>
                  </a:lnTo>
                  <a:lnTo>
                    <a:pt x="66" y="202"/>
                  </a:lnTo>
                  <a:lnTo>
                    <a:pt x="64" y="204"/>
                  </a:lnTo>
                  <a:lnTo>
                    <a:pt x="64" y="204"/>
                  </a:lnTo>
                  <a:lnTo>
                    <a:pt x="62" y="204"/>
                  </a:lnTo>
                  <a:lnTo>
                    <a:pt x="62" y="206"/>
                  </a:lnTo>
                  <a:lnTo>
                    <a:pt x="60" y="206"/>
                  </a:lnTo>
                  <a:lnTo>
                    <a:pt x="58" y="206"/>
                  </a:lnTo>
                  <a:lnTo>
                    <a:pt x="56" y="206"/>
                  </a:lnTo>
                  <a:lnTo>
                    <a:pt x="52" y="206"/>
                  </a:lnTo>
                  <a:lnTo>
                    <a:pt x="48" y="208"/>
                  </a:lnTo>
                  <a:lnTo>
                    <a:pt x="44" y="208"/>
                  </a:lnTo>
                  <a:lnTo>
                    <a:pt x="42" y="208"/>
                  </a:lnTo>
                  <a:lnTo>
                    <a:pt x="42" y="208"/>
                  </a:lnTo>
                  <a:lnTo>
                    <a:pt x="40" y="208"/>
                  </a:lnTo>
                  <a:lnTo>
                    <a:pt x="36" y="208"/>
                  </a:lnTo>
                  <a:lnTo>
                    <a:pt x="34" y="208"/>
                  </a:lnTo>
                  <a:lnTo>
                    <a:pt x="30" y="208"/>
                  </a:lnTo>
                  <a:lnTo>
                    <a:pt x="26" y="208"/>
                  </a:lnTo>
                  <a:lnTo>
                    <a:pt x="24" y="208"/>
                  </a:lnTo>
                  <a:lnTo>
                    <a:pt x="24" y="208"/>
                  </a:lnTo>
                  <a:lnTo>
                    <a:pt x="22" y="208"/>
                  </a:lnTo>
                  <a:lnTo>
                    <a:pt x="20" y="208"/>
                  </a:lnTo>
                  <a:lnTo>
                    <a:pt x="20" y="210"/>
                  </a:lnTo>
                  <a:lnTo>
                    <a:pt x="20" y="210"/>
                  </a:lnTo>
                  <a:lnTo>
                    <a:pt x="20" y="210"/>
                  </a:lnTo>
                  <a:lnTo>
                    <a:pt x="20" y="212"/>
                  </a:lnTo>
                  <a:lnTo>
                    <a:pt x="20" y="212"/>
                  </a:lnTo>
                  <a:lnTo>
                    <a:pt x="20" y="212"/>
                  </a:lnTo>
                  <a:lnTo>
                    <a:pt x="20" y="214"/>
                  </a:lnTo>
                  <a:lnTo>
                    <a:pt x="20" y="214"/>
                  </a:lnTo>
                  <a:lnTo>
                    <a:pt x="22" y="216"/>
                  </a:lnTo>
                  <a:lnTo>
                    <a:pt x="22" y="216"/>
                  </a:lnTo>
                  <a:lnTo>
                    <a:pt x="22" y="218"/>
                  </a:lnTo>
                  <a:lnTo>
                    <a:pt x="24" y="220"/>
                  </a:lnTo>
                  <a:lnTo>
                    <a:pt x="28" y="222"/>
                  </a:lnTo>
                  <a:lnTo>
                    <a:pt x="30" y="224"/>
                  </a:lnTo>
                  <a:lnTo>
                    <a:pt x="32" y="226"/>
                  </a:lnTo>
                  <a:lnTo>
                    <a:pt x="36" y="226"/>
                  </a:lnTo>
                  <a:lnTo>
                    <a:pt x="38" y="228"/>
                  </a:lnTo>
                  <a:lnTo>
                    <a:pt x="42" y="230"/>
                  </a:lnTo>
                  <a:lnTo>
                    <a:pt x="44" y="232"/>
                  </a:lnTo>
                  <a:lnTo>
                    <a:pt x="50" y="234"/>
                  </a:lnTo>
                  <a:lnTo>
                    <a:pt x="56" y="236"/>
                  </a:lnTo>
                  <a:lnTo>
                    <a:pt x="58" y="236"/>
                  </a:lnTo>
                  <a:lnTo>
                    <a:pt x="60" y="236"/>
                  </a:lnTo>
                  <a:lnTo>
                    <a:pt x="62" y="236"/>
                  </a:lnTo>
                  <a:lnTo>
                    <a:pt x="64" y="236"/>
                  </a:lnTo>
                  <a:lnTo>
                    <a:pt x="66" y="236"/>
                  </a:lnTo>
                  <a:lnTo>
                    <a:pt x="70" y="236"/>
                  </a:lnTo>
                  <a:lnTo>
                    <a:pt x="74" y="236"/>
                  </a:lnTo>
                  <a:lnTo>
                    <a:pt x="80" y="236"/>
                  </a:lnTo>
                  <a:lnTo>
                    <a:pt x="86" y="236"/>
                  </a:lnTo>
                  <a:lnTo>
                    <a:pt x="100" y="234"/>
                  </a:lnTo>
                  <a:lnTo>
                    <a:pt x="106" y="234"/>
                  </a:lnTo>
                  <a:lnTo>
                    <a:pt x="112" y="234"/>
                  </a:lnTo>
                  <a:lnTo>
                    <a:pt x="118" y="232"/>
                  </a:lnTo>
                  <a:lnTo>
                    <a:pt x="124" y="232"/>
                  </a:lnTo>
                  <a:lnTo>
                    <a:pt x="130" y="232"/>
                  </a:lnTo>
                  <a:lnTo>
                    <a:pt x="132" y="232"/>
                  </a:lnTo>
                  <a:lnTo>
                    <a:pt x="134" y="232"/>
                  </a:lnTo>
                  <a:lnTo>
                    <a:pt x="136" y="234"/>
                  </a:lnTo>
                  <a:lnTo>
                    <a:pt x="140" y="234"/>
                  </a:lnTo>
                  <a:lnTo>
                    <a:pt x="142" y="234"/>
                  </a:lnTo>
                  <a:lnTo>
                    <a:pt x="144" y="236"/>
                  </a:lnTo>
                  <a:lnTo>
                    <a:pt x="144" y="236"/>
                  </a:lnTo>
                  <a:lnTo>
                    <a:pt x="146" y="236"/>
                  </a:lnTo>
                  <a:lnTo>
                    <a:pt x="148" y="238"/>
                  </a:lnTo>
                  <a:lnTo>
                    <a:pt x="150" y="240"/>
                  </a:lnTo>
                  <a:lnTo>
                    <a:pt x="152" y="242"/>
                  </a:lnTo>
                  <a:lnTo>
                    <a:pt x="156" y="246"/>
                  </a:lnTo>
                  <a:lnTo>
                    <a:pt x="158" y="250"/>
                  </a:lnTo>
                  <a:lnTo>
                    <a:pt x="162" y="254"/>
                  </a:lnTo>
                  <a:lnTo>
                    <a:pt x="164" y="258"/>
                  </a:lnTo>
                  <a:lnTo>
                    <a:pt x="166" y="260"/>
                  </a:lnTo>
                  <a:lnTo>
                    <a:pt x="166" y="262"/>
                  </a:lnTo>
                  <a:lnTo>
                    <a:pt x="168" y="264"/>
                  </a:lnTo>
                  <a:lnTo>
                    <a:pt x="170" y="270"/>
                  </a:lnTo>
                  <a:lnTo>
                    <a:pt x="172" y="274"/>
                  </a:lnTo>
                  <a:lnTo>
                    <a:pt x="174" y="280"/>
                  </a:lnTo>
                  <a:lnTo>
                    <a:pt x="176" y="286"/>
                  </a:lnTo>
                  <a:lnTo>
                    <a:pt x="178" y="292"/>
                  </a:lnTo>
                  <a:lnTo>
                    <a:pt x="182" y="300"/>
                  </a:lnTo>
                  <a:lnTo>
                    <a:pt x="182" y="304"/>
                  </a:lnTo>
                  <a:lnTo>
                    <a:pt x="184" y="310"/>
                  </a:lnTo>
                  <a:lnTo>
                    <a:pt x="186" y="320"/>
                  </a:lnTo>
                  <a:lnTo>
                    <a:pt x="188" y="332"/>
                  </a:lnTo>
                  <a:lnTo>
                    <a:pt x="188" y="340"/>
                  </a:lnTo>
                  <a:lnTo>
                    <a:pt x="188" y="344"/>
                  </a:lnTo>
                  <a:lnTo>
                    <a:pt x="188" y="346"/>
                  </a:lnTo>
                  <a:lnTo>
                    <a:pt x="188" y="350"/>
                  </a:lnTo>
                  <a:lnTo>
                    <a:pt x="188" y="354"/>
                  </a:lnTo>
                  <a:lnTo>
                    <a:pt x="188" y="354"/>
                  </a:lnTo>
                  <a:lnTo>
                    <a:pt x="190" y="356"/>
                  </a:lnTo>
                  <a:lnTo>
                    <a:pt x="190" y="356"/>
                  </a:lnTo>
                  <a:lnTo>
                    <a:pt x="190" y="358"/>
                  </a:lnTo>
                  <a:lnTo>
                    <a:pt x="190" y="358"/>
                  </a:lnTo>
                  <a:lnTo>
                    <a:pt x="192" y="358"/>
                  </a:lnTo>
                  <a:lnTo>
                    <a:pt x="192" y="358"/>
                  </a:lnTo>
                  <a:lnTo>
                    <a:pt x="192" y="358"/>
                  </a:lnTo>
                  <a:lnTo>
                    <a:pt x="194" y="358"/>
                  </a:lnTo>
                  <a:lnTo>
                    <a:pt x="194" y="358"/>
                  </a:lnTo>
                  <a:lnTo>
                    <a:pt x="196" y="358"/>
                  </a:lnTo>
                  <a:lnTo>
                    <a:pt x="196" y="358"/>
                  </a:lnTo>
                  <a:lnTo>
                    <a:pt x="198" y="356"/>
                  </a:lnTo>
                  <a:lnTo>
                    <a:pt x="202" y="354"/>
                  </a:lnTo>
                  <a:lnTo>
                    <a:pt x="204" y="352"/>
                  </a:lnTo>
                  <a:lnTo>
                    <a:pt x="206" y="350"/>
                  </a:lnTo>
                  <a:lnTo>
                    <a:pt x="206" y="350"/>
                  </a:lnTo>
                  <a:lnTo>
                    <a:pt x="208" y="350"/>
                  </a:lnTo>
                  <a:lnTo>
                    <a:pt x="210" y="348"/>
                  </a:lnTo>
                  <a:lnTo>
                    <a:pt x="210" y="348"/>
                  </a:lnTo>
                  <a:lnTo>
                    <a:pt x="210" y="348"/>
                  </a:lnTo>
                  <a:lnTo>
                    <a:pt x="212" y="348"/>
                  </a:lnTo>
                  <a:lnTo>
                    <a:pt x="212" y="350"/>
                  </a:lnTo>
                  <a:lnTo>
                    <a:pt x="214" y="350"/>
                  </a:lnTo>
                  <a:lnTo>
                    <a:pt x="214" y="352"/>
                  </a:lnTo>
                  <a:lnTo>
                    <a:pt x="216" y="352"/>
                  </a:lnTo>
                  <a:lnTo>
                    <a:pt x="216" y="354"/>
                  </a:lnTo>
                  <a:lnTo>
                    <a:pt x="218" y="356"/>
                  </a:lnTo>
                  <a:lnTo>
                    <a:pt x="218" y="356"/>
                  </a:lnTo>
                  <a:lnTo>
                    <a:pt x="218" y="358"/>
                  </a:lnTo>
                  <a:lnTo>
                    <a:pt x="220" y="360"/>
                  </a:lnTo>
                  <a:lnTo>
                    <a:pt x="220" y="362"/>
                  </a:lnTo>
                  <a:lnTo>
                    <a:pt x="220" y="364"/>
                  </a:lnTo>
                  <a:lnTo>
                    <a:pt x="220" y="366"/>
                  </a:lnTo>
                  <a:lnTo>
                    <a:pt x="220" y="368"/>
                  </a:lnTo>
                  <a:lnTo>
                    <a:pt x="220" y="368"/>
                  </a:lnTo>
                  <a:lnTo>
                    <a:pt x="220" y="370"/>
                  </a:lnTo>
                  <a:lnTo>
                    <a:pt x="220" y="370"/>
                  </a:lnTo>
                  <a:lnTo>
                    <a:pt x="220" y="372"/>
                  </a:lnTo>
                  <a:lnTo>
                    <a:pt x="220" y="372"/>
                  </a:lnTo>
                  <a:lnTo>
                    <a:pt x="218" y="372"/>
                  </a:lnTo>
                  <a:lnTo>
                    <a:pt x="218" y="372"/>
                  </a:lnTo>
                  <a:lnTo>
                    <a:pt x="216" y="374"/>
                  </a:lnTo>
                  <a:lnTo>
                    <a:pt x="214" y="374"/>
                  </a:lnTo>
                  <a:lnTo>
                    <a:pt x="212" y="374"/>
                  </a:lnTo>
                  <a:lnTo>
                    <a:pt x="210" y="374"/>
                  </a:lnTo>
                  <a:lnTo>
                    <a:pt x="206" y="376"/>
                  </a:lnTo>
                  <a:lnTo>
                    <a:pt x="202" y="376"/>
                  </a:lnTo>
                  <a:lnTo>
                    <a:pt x="200" y="376"/>
                  </a:lnTo>
                  <a:lnTo>
                    <a:pt x="198" y="376"/>
                  </a:lnTo>
                  <a:lnTo>
                    <a:pt x="196" y="376"/>
                  </a:lnTo>
                  <a:lnTo>
                    <a:pt x="196" y="378"/>
                  </a:lnTo>
                  <a:lnTo>
                    <a:pt x="194" y="378"/>
                  </a:lnTo>
                  <a:lnTo>
                    <a:pt x="194" y="378"/>
                  </a:lnTo>
                  <a:lnTo>
                    <a:pt x="194" y="380"/>
                  </a:lnTo>
                  <a:lnTo>
                    <a:pt x="194" y="380"/>
                  </a:lnTo>
                  <a:lnTo>
                    <a:pt x="194" y="380"/>
                  </a:lnTo>
                  <a:lnTo>
                    <a:pt x="194" y="382"/>
                  </a:lnTo>
                  <a:lnTo>
                    <a:pt x="194" y="382"/>
                  </a:lnTo>
                  <a:lnTo>
                    <a:pt x="196" y="382"/>
                  </a:lnTo>
                  <a:lnTo>
                    <a:pt x="196" y="384"/>
                  </a:lnTo>
                  <a:lnTo>
                    <a:pt x="196" y="384"/>
                  </a:lnTo>
                  <a:lnTo>
                    <a:pt x="198" y="384"/>
                  </a:lnTo>
                  <a:lnTo>
                    <a:pt x="202" y="386"/>
                  </a:lnTo>
                  <a:lnTo>
                    <a:pt x="204" y="386"/>
                  </a:lnTo>
                  <a:lnTo>
                    <a:pt x="210" y="388"/>
                  </a:lnTo>
                  <a:lnTo>
                    <a:pt x="216" y="388"/>
                  </a:lnTo>
                  <a:lnTo>
                    <a:pt x="218" y="388"/>
                  </a:lnTo>
                  <a:lnTo>
                    <a:pt x="222" y="390"/>
                  </a:lnTo>
                  <a:lnTo>
                    <a:pt x="224" y="390"/>
                  </a:lnTo>
                  <a:lnTo>
                    <a:pt x="226" y="392"/>
                  </a:lnTo>
                  <a:lnTo>
                    <a:pt x="228" y="392"/>
                  </a:lnTo>
                  <a:lnTo>
                    <a:pt x="228" y="392"/>
                  </a:lnTo>
                  <a:lnTo>
                    <a:pt x="228" y="394"/>
                  </a:lnTo>
                  <a:lnTo>
                    <a:pt x="228" y="394"/>
                  </a:lnTo>
                  <a:lnTo>
                    <a:pt x="230" y="396"/>
                  </a:lnTo>
                  <a:lnTo>
                    <a:pt x="230" y="398"/>
                  </a:lnTo>
                  <a:lnTo>
                    <a:pt x="230" y="398"/>
                  </a:lnTo>
                  <a:lnTo>
                    <a:pt x="230" y="400"/>
                  </a:lnTo>
                  <a:lnTo>
                    <a:pt x="230" y="402"/>
                  </a:lnTo>
                  <a:lnTo>
                    <a:pt x="230" y="404"/>
                  </a:lnTo>
                  <a:lnTo>
                    <a:pt x="230" y="408"/>
                  </a:lnTo>
                  <a:lnTo>
                    <a:pt x="230" y="410"/>
                  </a:lnTo>
                  <a:lnTo>
                    <a:pt x="228" y="414"/>
                  </a:lnTo>
                  <a:lnTo>
                    <a:pt x="228" y="418"/>
                  </a:lnTo>
                  <a:lnTo>
                    <a:pt x="226" y="420"/>
                  </a:lnTo>
                  <a:lnTo>
                    <a:pt x="226" y="422"/>
                  </a:lnTo>
                  <a:lnTo>
                    <a:pt x="224" y="422"/>
                  </a:lnTo>
                  <a:lnTo>
                    <a:pt x="224" y="424"/>
                  </a:lnTo>
                  <a:lnTo>
                    <a:pt x="222" y="426"/>
                  </a:lnTo>
                  <a:lnTo>
                    <a:pt x="222" y="426"/>
                  </a:lnTo>
                  <a:lnTo>
                    <a:pt x="220" y="428"/>
                  </a:lnTo>
                  <a:lnTo>
                    <a:pt x="218" y="428"/>
                  </a:lnTo>
                  <a:lnTo>
                    <a:pt x="214" y="430"/>
                  </a:lnTo>
                  <a:lnTo>
                    <a:pt x="210" y="432"/>
                  </a:lnTo>
                  <a:lnTo>
                    <a:pt x="206" y="434"/>
                  </a:lnTo>
                  <a:lnTo>
                    <a:pt x="202" y="436"/>
                  </a:lnTo>
                  <a:lnTo>
                    <a:pt x="200" y="436"/>
                  </a:lnTo>
                  <a:lnTo>
                    <a:pt x="198" y="438"/>
                  </a:lnTo>
                  <a:lnTo>
                    <a:pt x="198" y="438"/>
                  </a:lnTo>
                  <a:lnTo>
                    <a:pt x="196" y="440"/>
                  </a:lnTo>
                  <a:lnTo>
                    <a:pt x="196" y="440"/>
                  </a:lnTo>
                  <a:lnTo>
                    <a:pt x="194" y="442"/>
                  </a:lnTo>
                  <a:lnTo>
                    <a:pt x="194" y="444"/>
                  </a:lnTo>
                  <a:lnTo>
                    <a:pt x="192" y="446"/>
                  </a:lnTo>
                  <a:lnTo>
                    <a:pt x="190" y="450"/>
                  </a:lnTo>
                  <a:lnTo>
                    <a:pt x="190" y="454"/>
                  </a:lnTo>
                  <a:lnTo>
                    <a:pt x="190" y="456"/>
                  </a:lnTo>
                  <a:lnTo>
                    <a:pt x="188" y="460"/>
                  </a:lnTo>
                  <a:lnTo>
                    <a:pt x="188" y="462"/>
                  </a:lnTo>
                  <a:lnTo>
                    <a:pt x="188" y="464"/>
                  </a:lnTo>
                  <a:lnTo>
                    <a:pt x="188" y="466"/>
                  </a:lnTo>
                  <a:lnTo>
                    <a:pt x="190" y="470"/>
                  </a:lnTo>
                  <a:lnTo>
                    <a:pt x="190" y="472"/>
                  </a:lnTo>
                  <a:lnTo>
                    <a:pt x="192" y="478"/>
                  </a:lnTo>
                  <a:lnTo>
                    <a:pt x="194" y="486"/>
                  </a:lnTo>
                  <a:lnTo>
                    <a:pt x="196" y="492"/>
                  </a:lnTo>
                  <a:lnTo>
                    <a:pt x="198" y="498"/>
                  </a:lnTo>
                  <a:lnTo>
                    <a:pt x="200" y="502"/>
                  </a:lnTo>
                  <a:lnTo>
                    <a:pt x="202" y="508"/>
                  </a:lnTo>
                  <a:lnTo>
                    <a:pt x="204" y="518"/>
                  </a:lnTo>
                  <a:lnTo>
                    <a:pt x="210" y="532"/>
                  </a:lnTo>
                  <a:lnTo>
                    <a:pt x="214" y="544"/>
                  </a:lnTo>
                  <a:lnTo>
                    <a:pt x="216" y="550"/>
                  </a:lnTo>
                  <a:lnTo>
                    <a:pt x="218" y="556"/>
                  </a:lnTo>
                  <a:lnTo>
                    <a:pt x="220" y="560"/>
                  </a:lnTo>
                  <a:lnTo>
                    <a:pt x="224" y="566"/>
                  </a:lnTo>
                  <a:lnTo>
                    <a:pt x="226" y="572"/>
                  </a:lnTo>
                  <a:lnTo>
                    <a:pt x="228" y="580"/>
                  </a:lnTo>
                  <a:lnTo>
                    <a:pt x="230" y="582"/>
                  </a:lnTo>
                  <a:lnTo>
                    <a:pt x="232" y="586"/>
                  </a:lnTo>
                  <a:lnTo>
                    <a:pt x="232" y="590"/>
                  </a:lnTo>
                  <a:lnTo>
                    <a:pt x="234" y="592"/>
                  </a:lnTo>
                  <a:lnTo>
                    <a:pt x="236" y="594"/>
                  </a:lnTo>
                  <a:lnTo>
                    <a:pt x="238" y="598"/>
                  </a:lnTo>
                  <a:lnTo>
                    <a:pt x="240" y="600"/>
                  </a:lnTo>
                  <a:lnTo>
                    <a:pt x="242" y="600"/>
                  </a:lnTo>
                  <a:lnTo>
                    <a:pt x="242" y="602"/>
                  </a:lnTo>
                  <a:lnTo>
                    <a:pt x="244" y="602"/>
                  </a:lnTo>
                  <a:lnTo>
                    <a:pt x="246" y="602"/>
                  </a:lnTo>
                  <a:lnTo>
                    <a:pt x="246" y="602"/>
                  </a:lnTo>
                  <a:lnTo>
                    <a:pt x="250" y="604"/>
                  </a:lnTo>
                  <a:lnTo>
                    <a:pt x="254" y="604"/>
                  </a:lnTo>
                  <a:lnTo>
                    <a:pt x="258" y="604"/>
                  </a:lnTo>
                  <a:lnTo>
                    <a:pt x="262" y="604"/>
                  </a:lnTo>
                  <a:lnTo>
                    <a:pt x="262" y="604"/>
                  </a:lnTo>
                  <a:lnTo>
                    <a:pt x="264" y="604"/>
                  </a:lnTo>
                  <a:lnTo>
                    <a:pt x="266" y="606"/>
                  </a:lnTo>
                  <a:lnTo>
                    <a:pt x="266" y="606"/>
                  </a:lnTo>
                  <a:lnTo>
                    <a:pt x="268" y="606"/>
                  </a:lnTo>
                  <a:lnTo>
                    <a:pt x="268" y="608"/>
                  </a:lnTo>
                  <a:lnTo>
                    <a:pt x="270" y="608"/>
                  </a:lnTo>
                  <a:lnTo>
                    <a:pt x="270" y="610"/>
                  </a:lnTo>
                  <a:lnTo>
                    <a:pt x="272" y="614"/>
                  </a:lnTo>
                  <a:lnTo>
                    <a:pt x="272" y="616"/>
                  </a:lnTo>
                  <a:lnTo>
                    <a:pt x="274" y="620"/>
                  </a:lnTo>
                  <a:lnTo>
                    <a:pt x="276" y="622"/>
                  </a:lnTo>
                  <a:lnTo>
                    <a:pt x="276" y="624"/>
                  </a:lnTo>
                  <a:lnTo>
                    <a:pt x="278" y="624"/>
                  </a:lnTo>
                  <a:lnTo>
                    <a:pt x="278" y="626"/>
                  </a:lnTo>
                  <a:lnTo>
                    <a:pt x="280" y="626"/>
                  </a:lnTo>
                  <a:lnTo>
                    <a:pt x="280" y="626"/>
                  </a:lnTo>
                  <a:lnTo>
                    <a:pt x="282" y="626"/>
                  </a:lnTo>
                  <a:lnTo>
                    <a:pt x="284" y="626"/>
                  </a:lnTo>
                  <a:lnTo>
                    <a:pt x="284" y="626"/>
                  </a:lnTo>
                  <a:lnTo>
                    <a:pt x="288" y="626"/>
                  </a:lnTo>
                  <a:lnTo>
                    <a:pt x="290" y="626"/>
                  </a:lnTo>
                  <a:lnTo>
                    <a:pt x="294" y="624"/>
                  </a:lnTo>
                  <a:lnTo>
                    <a:pt x="298" y="624"/>
                  </a:lnTo>
                  <a:lnTo>
                    <a:pt x="300" y="622"/>
                  </a:lnTo>
                  <a:lnTo>
                    <a:pt x="302" y="622"/>
                  </a:lnTo>
                  <a:lnTo>
                    <a:pt x="302" y="620"/>
                  </a:lnTo>
                  <a:lnTo>
                    <a:pt x="304" y="620"/>
                  </a:lnTo>
                  <a:lnTo>
                    <a:pt x="304" y="618"/>
                  </a:lnTo>
                  <a:lnTo>
                    <a:pt x="306" y="618"/>
                  </a:lnTo>
                  <a:lnTo>
                    <a:pt x="306" y="616"/>
                  </a:lnTo>
                  <a:lnTo>
                    <a:pt x="308" y="612"/>
                  </a:lnTo>
                  <a:lnTo>
                    <a:pt x="310" y="608"/>
                  </a:lnTo>
                  <a:lnTo>
                    <a:pt x="312" y="604"/>
                  </a:lnTo>
                  <a:lnTo>
                    <a:pt x="314" y="600"/>
                  </a:lnTo>
                  <a:lnTo>
                    <a:pt x="314" y="596"/>
                  </a:lnTo>
                  <a:lnTo>
                    <a:pt x="316" y="590"/>
                  </a:lnTo>
                  <a:lnTo>
                    <a:pt x="318" y="582"/>
                  </a:lnTo>
                  <a:lnTo>
                    <a:pt x="322" y="572"/>
                  </a:lnTo>
                  <a:lnTo>
                    <a:pt x="322" y="568"/>
                  </a:lnTo>
                  <a:lnTo>
                    <a:pt x="324" y="564"/>
                  </a:lnTo>
                  <a:lnTo>
                    <a:pt x="326" y="560"/>
                  </a:lnTo>
                  <a:lnTo>
                    <a:pt x="328" y="558"/>
                  </a:lnTo>
                  <a:lnTo>
                    <a:pt x="328" y="556"/>
                  </a:lnTo>
                  <a:lnTo>
                    <a:pt x="328" y="556"/>
                  </a:lnTo>
                  <a:lnTo>
                    <a:pt x="330" y="552"/>
                  </a:lnTo>
                  <a:lnTo>
                    <a:pt x="336" y="546"/>
                  </a:lnTo>
                  <a:lnTo>
                    <a:pt x="340" y="544"/>
                  </a:lnTo>
                  <a:lnTo>
                    <a:pt x="342" y="540"/>
                  </a:lnTo>
                  <a:lnTo>
                    <a:pt x="344" y="538"/>
                  </a:lnTo>
                  <a:lnTo>
                    <a:pt x="344" y="536"/>
                  </a:lnTo>
                  <a:lnTo>
                    <a:pt x="344" y="536"/>
                  </a:lnTo>
                  <a:lnTo>
                    <a:pt x="346" y="534"/>
                  </a:lnTo>
                  <a:lnTo>
                    <a:pt x="346" y="532"/>
                  </a:lnTo>
                  <a:lnTo>
                    <a:pt x="346" y="530"/>
                  </a:lnTo>
                  <a:lnTo>
                    <a:pt x="346" y="528"/>
                  </a:lnTo>
                  <a:lnTo>
                    <a:pt x="346" y="524"/>
                  </a:lnTo>
                  <a:lnTo>
                    <a:pt x="346" y="518"/>
                  </a:lnTo>
                  <a:lnTo>
                    <a:pt x="346" y="514"/>
                  </a:lnTo>
                  <a:lnTo>
                    <a:pt x="346" y="512"/>
                  </a:lnTo>
                  <a:lnTo>
                    <a:pt x="346" y="510"/>
                  </a:lnTo>
                  <a:lnTo>
                    <a:pt x="346" y="508"/>
                  </a:lnTo>
                  <a:lnTo>
                    <a:pt x="346" y="506"/>
                  </a:lnTo>
                  <a:lnTo>
                    <a:pt x="346" y="504"/>
                  </a:lnTo>
                  <a:lnTo>
                    <a:pt x="348" y="502"/>
                  </a:lnTo>
                  <a:lnTo>
                    <a:pt x="348" y="502"/>
                  </a:lnTo>
                  <a:lnTo>
                    <a:pt x="348" y="500"/>
                  </a:lnTo>
                  <a:lnTo>
                    <a:pt x="350" y="500"/>
                  </a:lnTo>
                  <a:lnTo>
                    <a:pt x="352" y="498"/>
                  </a:lnTo>
                  <a:lnTo>
                    <a:pt x="356" y="498"/>
                  </a:lnTo>
                  <a:lnTo>
                    <a:pt x="358" y="496"/>
                  </a:lnTo>
                  <a:lnTo>
                    <a:pt x="362" y="496"/>
                  </a:lnTo>
                  <a:lnTo>
                    <a:pt x="364" y="496"/>
                  </a:lnTo>
                  <a:lnTo>
                    <a:pt x="368" y="496"/>
                  </a:lnTo>
                  <a:lnTo>
                    <a:pt x="374" y="494"/>
                  </a:lnTo>
                  <a:lnTo>
                    <a:pt x="380" y="494"/>
                  </a:lnTo>
                  <a:lnTo>
                    <a:pt x="386" y="494"/>
                  </a:lnTo>
                  <a:lnTo>
                    <a:pt x="388" y="492"/>
                  </a:lnTo>
                  <a:lnTo>
                    <a:pt x="390" y="492"/>
                  </a:lnTo>
                  <a:lnTo>
                    <a:pt x="392" y="492"/>
                  </a:lnTo>
                  <a:lnTo>
                    <a:pt x="396" y="492"/>
                  </a:lnTo>
                  <a:lnTo>
                    <a:pt x="400" y="490"/>
                  </a:lnTo>
                  <a:lnTo>
                    <a:pt x="408" y="490"/>
                  </a:lnTo>
                  <a:lnTo>
                    <a:pt x="414" y="488"/>
                  </a:lnTo>
                  <a:lnTo>
                    <a:pt x="420" y="488"/>
                  </a:lnTo>
                  <a:lnTo>
                    <a:pt x="424" y="488"/>
                  </a:lnTo>
                  <a:lnTo>
                    <a:pt x="426" y="486"/>
                  </a:lnTo>
                  <a:lnTo>
                    <a:pt x="428" y="486"/>
                  </a:lnTo>
                  <a:lnTo>
                    <a:pt x="432" y="484"/>
                  </a:lnTo>
                  <a:lnTo>
                    <a:pt x="434" y="484"/>
                  </a:lnTo>
                  <a:lnTo>
                    <a:pt x="436" y="482"/>
                  </a:lnTo>
                  <a:lnTo>
                    <a:pt x="436" y="482"/>
                  </a:lnTo>
                  <a:lnTo>
                    <a:pt x="438" y="480"/>
                  </a:lnTo>
                  <a:lnTo>
                    <a:pt x="438" y="480"/>
                  </a:lnTo>
                  <a:lnTo>
                    <a:pt x="438" y="478"/>
                  </a:lnTo>
                  <a:lnTo>
                    <a:pt x="440" y="476"/>
                  </a:lnTo>
                  <a:lnTo>
                    <a:pt x="442" y="472"/>
                  </a:lnTo>
                  <a:lnTo>
                    <a:pt x="442" y="470"/>
                  </a:lnTo>
                  <a:lnTo>
                    <a:pt x="444" y="466"/>
                  </a:lnTo>
                  <a:lnTo>
                    <a:pt x="446" y="458"/>
                  </a:lnTo>
                  <a:lnTo>
                    <a:pt x="448" y="452"/>
                  </a:lnTo>
                  <a:lnTo>
                    <a:pt x="450" y="448"/>
                  </a:lnTo>
                  <a:lnTo>
                    <a:pt x="452" y="446"/>
                  </a:lnTo>
                  <a:lnTo>
                    <a:pt x="452" y="442"/>
                  </a:lnTo>
                  <a:lnTo>
                    <a:pt x="454" y="440"/>
                  </a:lnTo>
                  <a:lnTo>
                    <a:pt x="456" y="440"/>
                  </a:lnTo>
                  <a:lnTo>
                    <a:pt x="456" y="438"/>
                  </a:lnTo>
                  <a:lnTo>
                    <a:pt x="458" y="438"/>
                  </a:lnTo>
                  <a:lnTo>
                    <a:pt x="458" y="436"/>
                  </a:lnTo>
                  <a:lnTo>
                    <a:pt x="460" y="436"/>
                  </a:lnTo>
                  <a:lnTo>
                    <a:pt x="460" y="436"/>
                  </a:lnTo>
                  <a:lnTo>
                    <a:pt x="462" y="436"/>
                  </a:lnTo>
                  <a:lnTo>
                    <a:pt x="464" y="436"/>
                  </a:lnTo>
                  <a:lnTo>
                    <a:pt x="464" y="436"/>
                  </a:lnTo>
                  <a:lnTo>
                    <a:pt x="466" y="436"/>
                  </a:lnTo>
                  <a:lnTo>
                    <a:pt x="470" y="436"/>
                  </a:lnTo>
                  <a:lnTo>
                    <a:pt x="474" y="436"/>
                  </a:lnTo>
                  <a:lnTo>
                    <a:pt x="478" y="436"/>
                  </a:lnTo>
                  <a:lnTo>
                    <a:pt x="482" y="438"/>
                  </a:lnTo>
                  <a:lnTo>
                    <a:pt x="486" y="438"/>
                  </a:lnTo>
                  <a:lnTo>
                    <a:pt x="494" y="440"/>
                  </a:lnTo>
                  <a:lnTo>
                    <a:pt x="498" y="440"/>
                  </a:lnTo>
                  <a:lnTo>
                    <a:pt x="500" y="442"/>
                  </a:lnTo>
                  <a:lnTo>
                    <a:pt x="504" y="442"/>
                  </a:lnTo>
                  <a:lnTo>
                    <a:pt x="508" y="442"/>
                  </a:lnTo>
                  <a:lnTo>
                    <a:pt x="510" y="442"/>
                  </a:lnTo>
                  <a:lnTo>
                    <a:pt x="512" y="442"/>
                  </a:lnTo>
                  <a:lnTo>
                    <a:pt x="514" y="442"/>
                  </a:lnTo>
                  <a:lnTo>
                    <a:pt x="516" y="442"/>
                  </a:lnTo>
                  <a:lnTo>
                    <a:pt x="520" y="440"/>
                  </a:lnTo>
                  <a:lnTo>
                    <a:pt x="522" y="438"/>
                  </a:lnTo>
                  <a:lnTo>
                    <a:pt x="526" y="436"/>
                  </a:lnTo>
                  <a:lnTo>
                    <a:pt x="528" y="434"/>
                  </a:lnTo>
                  <a:lnTo>
                    <a:pt x="532" y="432"/>
                  </a:lnTo>
                  <a:lnTo>
                    <a:pt x="536" y="430"/>
                  </a:lnTo>
                  <a:lnTo>
                    <a:pt x="538" y="428"/>
                  </a:lnTo>
                  <a:lnTo>
                    <a:pt x="546" y="422"/>
                  </a:lnTo>
                  <a:lnTo>
                    <a:pt x="552" y="418"/>
                  </a:lnTo>
                  <a:lnTo>
                    <a:pt x="556" y="414"/>
                  </a:lnTo>
                  <a:lnTo>
                    <a:pt x="562" y="410"/>
                  </a:lnTo>
                  <a:lnTo>
                    <a:pt x="564" y="406"/>
                  </a:lnTo>
                  <a:lnTo>
                    <a:pt x="568" y="404"/>
                  </a:lnTo>
                  <a:lnTo>
                    <a:pt x="572" y="400"/>
                  </a:lnTo>
                  <a:lnTo>
                    <a:pt x="576" y="398"/>
                  </a:lnTo>
                  <a:lnTo>
                    <a:pt x="578" y="396"/>
                  </a:lnTo>
                  <a:lnTo>
                    <a:pt x="580" y="394"/>
                  </a:lnTo>
                  <a:lnTo>
                    <a:pt x="582" y="392"/>
                  </a:lnTo>
                  <a:lnTo>
                    <a:pt x="582" y="390"/>
                  </a:lnTo>
                  <a:lnTo>
                    <a:pt x="584" y="388"/>
                  </a:lnTo>
                  <a:lnTo>
                    <a:pt x="584" y="388"/>
                  </a:lnTo>
                  <a:lnTo>
                    <a:pt x="584" y="386"/>
                  </a:lnTo>
                  <a:lnTo>
                    <a:pt x="584" y="386"/>
                  </a:lnTo>
                  <a:lnTo>
                    <a:pt x="584" y="384"/>
                  </a:lnTo>
                  <a:lnTo>
                    <a:pt x="584" y="384"/>
                  </a:lnTo>
                  <a:lnTo>
                    <a:pt x="584" y="382"/>
                  </a:lnTo>
                  <a:lnTo>
                    <a:pt x="582" y="382"/>
                  </a:lnTo>
                  <a:lnTo>
                    <a:pt x="582" y="380"/>
                  </a:lnTo>
                  <a:lnTo>
                    <a:pt x="580" y="380"/>
                  </a:lnTo>
                  <a:lnTo>
                    <a:pt x="578" y="380"/>
                  </a:lnTo>
                  <a:lnTo>
                    <a:pt x="578" y="380"/>
                  </a:lnTo>
                  <a:lnTo>
                    <a:pt x="574" y="378"/>
                  </a:lnTo>
                  <a:lnTo>
                    <a:pt x="570" y="378"/>
                  </a:lnTo>
                  <a:lnTo>
                    <a:pt x="566" y="378"/>
                  </a:lnTo>
                  <a:lnTo>
                    <a:pt x="562" y="376"/>
                  </a:lnTo>
                  <a:lnTo>
                    <a:pt x="558" y="376"/>
                  </a:lnTo>
                  <a:lnTo>
                    <a:pt x="558" y="376"/>
                  </a:lnTo>
                  <a:lnTo>
                    <a:pt x="556" y="376"/>
                  </a:lnTo>
                  <a:lnTo>
                    <a:pt x="552" y="376"/>
                  </a:lnTo>
                  <a:lnTo>
                    <a:pt x="548" y="376"/>
                  </a:lnTo>
                  <a:lnTo>
                    <a:pt x="542" y="376"/>
                  </a:lnTo>
                  <a:lnTo>
                    <a:pt x="538" y="376"/>
                  </a:lnTo>
                  <a:lnTo>
                    <a:pt x="536" y="376"/>
                  </a:lnTo>
                  <a:lnTo>
                    <a:pt x="534" y="374"/>
                  </a:lnTo>
                  <a:lnTo>
                    <a:pt x="532" y="374"/>
                  </a:lnTo>
                  <a:lnTo>
                    <a:pt x="530" y="374"/>
                  </a:lnTo>
                  <a:lnTo>
                    <a:pt x="530" y="372"/>
                  </a:lnTo>
                  <a:lnTo>
                    <a:pt x="530" y="372"/>
                  </a:lnTo>
                  <a:lnTo>
                    <a:pt x="528" y="372"/>
                  </a:lnTo>
                  <a:lnTo>
                    <a:pt x="528" y="370"/>
                  </a:lnTo>
                  <a:lnTo>
                    <a:pt x="528" y="370"/>
                  </a:lnTo>
                  <a:lnTo>
                    <a:pt x="528" y="368"/>
                  </a:lnTo>
                  <a:lnTo>
                    <a:pt x="528" y="368"/>
                  </a:lnTo>
                  <a:lnTo>
                    <a:pt x="528" y="364"/>
                  </a:lnTo>
                  <a:lnTo>
                    <a:pt x="530" y="362"/>
                  </a:lnTo>
                  <a:lnTo>
                    <a:pt x="530" y="360"/>
                  </a:lnTo>
                  <a:lnTo>
                    <a:pt x="532" y="358"/>
                  </a:lnTo>
                  <a:lnTo>
                    <a:pt x="532" y="356"/>
                  </a:lnTo>
                  <a:lnTo>
                    <a:pt x="534" y="354"/>
                  </a:lnTo>
                  <a:lnTo>
                    <a:pt x="534" y="354"/>
                  </a:lnTo>
                  <a:lnTo>
                    <a:pt x="536" y="352"/>
                  </a:lnTo>
                  <a:lnTo>
                    <a:pt x="538" y="352"/>
                  </a:lnTo>
                  <a:lnTo>
                    <a:pt x="540" y="350"/>
                  </a:lnTo>
                  <a:lnTo>
                    <a:pt x="542" y="350"/>
                  </a:lnTo>
                  <a:lnTo>
                    <a:pt x="544" y="350"/>
                  </a:lnTo>
                  <a:lnTo>
                    <a:pt x="548" y="348"/>
                  </a:lnTo>
                  <a:lnTo>
                    <a:pt x="550" y="348"/>
                  </a:lnTo>
                  <a:lnTo>
                    <a:pt x="552" y="348"/>
                  </a:lnTo>
                  <a:lnTo>
                    <a:pt x="552" y="348"/>
                  </a:lnTo>
                  <a:lnTo>
                    <a:pt x="554" y="350"/>
                  </a:lnTo>
                  <a:lnTo>
                    <a:pt x="554" y="350"/>
                  </a:lnTo>
                  <a:lnTo>
                    <a:pt x="556" y="352"/>
                  </a:lnTo>
                  <a:lnTo>
                    <a:pt x="560" y="352"/>
                  </a:lnTo>
                  <a:lnTo>
                    <a:pt x="562" y="356"/>
                  </a:lnTo>
                  <a:lnTo>
                    <a:pt x="566" y="360"/>
                  </a:lnTo>
                  <a:lnTo>
                    <a:pt x="570" y="362"/>
                  </a:lnTo>
                  <a:lnTo>
                    <a:pt x="572" y="364"/>
                  </a:lnTo>
                  <a:lnTo>
                    <a:pt x="574" y="366"/>
                  </a:lnTo>
                  <a:lnTo>
                    <a:pt x="576" y="366"/>
                  </a:lnTo>
                  <a:lnTo>
                    <a:pt x="578" y="368"/>
                  </a:lnTo>
                  <a:lnTo>
                    <a:pt x="582" y="370"/>
                  </a:lnTo>
                  <a:lnTo>
                    <a:pt x="584" y="372"/>
                  </a:lnTo>
                  <a:lnTo>
                    <a:pt x="586" y="372"/>
                  </a:lnTo>
                  <a:lnTo>
                    <a:pt x="586" y="374"/>
                  </a:lnTo>
                  <a:lnTo>
                    <a:pt x="588" y="374"/>
                  </a:lnTo>
                  <a:lnTo>
                    <a:pt x="590" y="374"/>
                  </a:lnTo>
                  <a:lnTo>
                    <a:pt x="590" y="374"/>
                  </a:lnTo>
                  <a:lnTo>
                    <a:pt x="592" y="374"/>
                  </a:lnTo>
                  <a:lnTo>
                    <a:pt x="592" y="374"/>
                  </a:lnTo>
                  <a:lnTo>
                    <a:pt x="594" y="374"/>
                  </a:lnTo>
                  <a:lnTo>
                    <a:pt x="594" y="372"/>
                  </a:lnTo>
                  <a:lnTo>
                    <a:pt x="596" y="372"/>
                  </a:lnTo>
                  <a:lnTo>
                    <a:pt x="596" y="370"/>
                  </a:lnTo>
                  <a:lnTo>
                    <a:pt x="598" y="368"/>
                  </a:lnTo>
                  <a:lnTo>
                    <a:pt x="600" y="366"/>
                  </a:lnTo>
                  <a:lnTo>
                    <a:pt x="600" y="362"/>
                  </a:lnTo>
                  <a:lnTo>
                    <a:pt x="602" y="360"/>
                  </a:lnTo>
                  <a:lnTo>
                    <a:pt x="602" y="360"/>
                  </a:lnTo>
                  <a:lnTo>
                    <a:pt x="602" y="358"/>
                  </a:lnTo>
                  <a:lnTo>
                    <a:pt x="602" y="358"/>
                  </a:lnTo>
                  <a:lnTo>
                    <a:pt x="602" y="356"/>
                  </a:lnTo>
                  <a:lnTo>
                    <a:pt x="602" y="354"/>
                  </a:lnTo>
                  <a:lnTo>
                    <a:pt x="600" y="352"/>
                  </a:lnTo>
                  <a:lnTo>
                    <a:pt x="600" y="350"/>
                  </a:lnTo>
                  <a:lnTo>
                    <a:pt x="600" y="348"/>
                  </a:lnTo>
                  <a:lnTo>
                    <a:pt x="598" y="346"/>
                  </a:lnTo>
                  <a:lnTo>
                    <a:pt x="596" y="342"/>
                  </a:lnTo>
                  <a:lnTo>
                    <a:pt x="594" y="338"/>
                  </a:lnTo>
                  <a:lnTo>
                    <a:pt x="592" y="336"/>
                  </a:lnTo>
                  <a:lnTo>
                    <a:pt x="590" y="334"/>
                  </a:lnTo>
                  <a:lnTo>
                    <a:pt x="590" y="334"/>
                  </a:lnTo>
                  <a:lnTo>
                    <a:pt x="588" y="332"/>
                  </a:lnTo>
                  <a:lnTo>
                    <a:pt x="586" y="332"/>
                  </a:lnTo>
                  <a:lnTo>
                    <a:pt x="584" y="332"/>
                  </a:lnTo>
                  <a:lnTo>
                    <a:pt x="582" y="330"/>
                  </a:lnTo>
                  <a:lnTo>
                    <a:pt x="578" y="330"/>
                  </a:lnTo>
                  <a:lnTo>
                    <a:pt x="574" y="330"/>
                  </a:lnTo>
                  <a:lnTo>
                    <a:pt x="570" y="328"/>
                  </a:lnTo>
                  <a:lnTo>
                    <a:pt x="568" y="328"/>
                  </a:lnTo>
                  <a:lnTo>
                    <a:pt x="566" y="328"/>
                  </a:lnTo>
                  <a:lnTo>
                    <a:pt x="564" y="326"/>
                  </a:lnTo>
                  <a:lnTo>
                    <a:pt x="564" y="326"/>
                  </a:lnTo>
                  <a:lnTo>
                    <a:pt x="562" y="324"/>
                  </a:lnTo>
                  <a:lnTo>
                    <a:pt x="562" y="324"/>
                  </a:lnTo>
                  <a:lnTo>
                    <a:pt x="560" y="322"/>
                  </a:lnTo>
                  <a:lnTo>
                    <a:pt x="560" y="322"/>
                  </a:lnTo>
                  <a:lnTo>
                    <a:pt x="560" y="320"/>
                  </a:lnTo>
                  <a:lnTo>
                    <a:pt x="560" y="320"/>
                  </a:lnTo>
                  <a:lnTo>
                    <a:pt x="560" y="316"/>
                  </a:lnTo>
                  <a:lnTo>
                    <a:pt x="560" y="314"/>
                  </a:lnTo>
                  <a:lnTo>
                    <a:pt x="562" y="312"/>
                  </a:lnTo>
                  <a:lnTo>
                    <a:pt x="562" y="310"/>
                  </a:lnTo>
                  <a:lnTo>
                    <a:pt x="562" y="308"/>
                  </a:lnTo>
                  <a:lnTo>
                    <a:pt x="562" y="308"/>
                  </a:lnTo>
                  <a:lnTo>
                    <a:pt x="564" y="306"/>
                  </a:lnTo>
                  <a:lnTo>
                    <a:pt x="564" y="306"/>
                  </a:lnTo>
                  <a:lnTo>
                    <a:pt x="564" y="306"/>
                  </a:lnTo>
                  <a:lnTo>
                    <a:pt x="566" y="304"/>
                  </a:lnTo>
                  <a:lnTo>
                    <a:pt x="566" y="304"/>
                  </a:lnTo>
                  <a:lnTo>
                    <a:pt x="568" y="304"/>
                  </a:lnTo>
                  <a:lnTo>
                    <a:pt x="570" y="304"/>
                  </a:lnTo>
                  <a:lnTo>
                    <a:pt x="574" y="304"/>
                  </a:lnTo>
                  <a:lnTo>
                    <a:pt x="576" y="304"/>
                  </a:lnTo>
                  <a:lnTo>
                    <a:pt x="580" y="304"/>
                  </a:lnTo>
                  <a:lnTo>
                    <a:pt x="582" y="306"/>
                  </a:lnTo>
                  <a:lnTo>
                    <a:pt x="584" y="306"/>
                  </a:lnTo>
                  <a:lnTo>
                    <a:pt x="584" y="306"/>
                  </a:lnTo>
                  <a:lnTo>
                    <a:pt x="586" y="306"/>
                  </a:lnTo>
                  <a:lnTo>
                    <a:pt x="586" y="308"/>
                  </a:lnTo>
                  <a:lnTo>
                    <a:pt x="588" y="310"/>
                  </a:lnTo>
                  <a:lnTo>
                    <a:pt x="588" y="312"/>
                  </a:lnTo>
                  <a:lnTo>
                    <a:pt x="590" y="312"/>
                  </a:lnTo>
                  <a:lnTo>
                    <a:pt x="590" y="312"/>
                  </a:lnTo>
                  <a:lnTo>
                    <a:pt x="590" y="314"/>
                  </a:lnTo>
                  <a:lnTo>
                    <a:pt x="592" y="314"/>
                  </a:lnTo>
                  <a:lnTo>
                    <a:pt x="592" y="314"/>
                  </a:lnTo>
                  <a:lnTo>
                    <a:pt x="592" y="314"/>
                  </a:lnTo>
                  <a:lnTo>
                    <a:pt x="592" y="312"/>
                  </a:lnTo>
                  <a:lnTo>
                    <a:pt x="594" y="312"/>
                  </a:lnTo>
                  <a:lnTo>
                    <a:pt x="594" y="312"/>
                  </a:lnTo>
                  <a:lnTo>
                    <a:pt x="594" y="310"/>
                  </a:lnTo>
                  <a:lnTo>
                    <a:pt x="596" y="308"/>
                  </a:lnTo>
                  <a:lnTo>
                    <a:pt x="596" y="306"/>
                  </a:lnTo>
                  <a:lnTo>
                    <a:pt x="598" y="304"/>
                  </a:lnTo>
                  <a:lnTo>
                    <a:pt x="598" y="302"/>
                  </a:lnTo>
                  <a:lnTo>
                    <a:pt x="598" y="302"/>
                  </a:lnTo>
                  <a:lnTo>
                    <a:pt x="600" y="300"/>
                  </a:lnTo>
                  <a:lnTo>
                    <a:pt x="600" y="300"/>
                  </a:lnTo>
                  <a:lnTo>
                    <a:pt x="602" y="300"/>
                  </a:lnTo>
                  <a:lnTo>
                    <a:pt x="602" y="300"/>
                  </a:lnTo>
                  <a:lnTo>
                    <a:pt x="604" y="300"/>
                  </a:lnTo>
                  <a:lnTo>
                    <a:pt x="606" y="300"/>
                  </a:lnTo>
                  <a:lnTo>
                    <a:pt x="610" y="298"/>
                  </a:lnTo>
                  <a:lnTo>
                    <a:pt x="614" y="298"/>
                  </a:lnTo>
                  <a:lnTo>
                    <a:pt x="614" y="298"/>
                  </a:lnTo>
                  <a:lnTo>
                    <a:pt x="616" y="298"/>
                  </a:lnTo>
                  <a:lnTo>
                    <a:pt x="618" y="298"/>
                  </a:lnTo>
                  <a:lnTo>
                    <a:pt x="618" y="298"/>
                  </a:lnTo>
                  <a:lnTo>
                    <a:pt x="618" y="296"/>
                  </a:lnTo>
                  <a:lnTo>
                    <a:pt x="620" y="296"/>
                  </a:lnTo>
                  <a:lnTo>
                    <a:pt x="620" y="296"/>
                  </a:lnTo>
                  <a:lnTo>
                    <a:pt x="620" y="294"/>
                  </a:lnTo>
                  <a:lnTo>
                    <a:pt x="620" y="294"/>
                  </a:lnTo>
                  <a:lnTo>
                    <a:pt x="618" y="292"/>
                  </a:lnTo>
                  <a:lnTo>
                    <a:pt x="618" y="292"/>
                  </a:lnTo>
                  <a:lnTo>
                    <a:pt x="616" y="290"/>
                  </a:lnTo>
                  <a:lnTo>
                    <a:pt x="614" y="288"/>
                  </a:lnTo>
                  <a:lnTo>
                    <a:pt x="612" y="286"/>
                  </a:lnTo>
                  <a:lnTo>
                    <a:pt x="612" y="286"/>
                  </a:lnTo>
                  <a:lnTo>
                    <a:pt x="612" y="284"/>
                  </a:lnTo>
                  <a:lnTo>
                    <a:pt x="612" y="284"/>
                  </a:lnTo>
                  <a:lnTo>
                    <a:pt x="612" y="284"/>
                  </a:lnTo>
                  <a:lnTo>
                    <a:pt x="612" y="282"/>
                  </a:lnTo>
                  <a:lnTo>
                    <a:pt x="614" y="282"/>
                  </a:lnTo>
                  <a:lnTo>
                    <a:pt x="614" y="282"/>
                  </a:lnTo>
                  <a:lnTo>
                    <a:pt x="614" y="282"/>
                  </a:lnTo>
                  <a:lnTo>
                    <a:pt x="616" y="282"/>
                  </a:lnTo>
                  <a:lnTo>
                    <a:pt x="618" y="282"/>
                  </a:lnTo>
                  <a:lnTo>
                    <a:pt x="620" y="282"/>
                  </a:lnTo>
                  <a:lnTo>
                    <a:pt x="622" y="282"/>
                  </a:lnTo>
                  <a:lnTo>
                    <a:pt x="626" y="284"/>
                  </a:lnTo>
                  <a:lnTo>
                    <a:pt x="626" y="284"/>
                  </a:lnTo>
                  <a:lnTo>
                    <a:pt x="628" y="284"/>
                  </a:lnTo>
                  <a:lnTo>
                    <a:pt x="628" y="284"/>
                  </a:lnTo>
                  <a:lnTo>
                    <a:pt x="630" y="284"/>
                  </a:lnTo>
                  <a:lnTo>
                    <a:pt x="630" y="282"/>
                  </a:lnTo>
                  <a:lnTo>
                    <a:pt x="632" y="282"/>
                  </a:lnTo>
                  <a:lnTo>
                    <a:pt x="634" y="280"/>
                  </a:lnTo>
                  <a:lnTo>
                    <a:pt x="636" y="278"/>
                  </a:lnTo>
                  <a:lnTo>
                    <a:pt x="638" y="276"/>
                  </a:lnTo>
                  <a:lnTo>
                    <a:pt x="640" y="274"/>
                  </a:lnTo>
                  <a:lnTo>
                    <a:pt x="642" y="272"/>
                  </a:lnTo>
                  <a:lnTo>
                    <a:pt x="644" y="270"/>
                  </a:lnTo>
                  <a:lnTo>
                    <a:pt x="644" y="268"/>
                  </a:lnTo>
                  <a:lnTo>
                    <a:pt x="646" y="264"/>
                  </a:lnTo>
                  <a:lnTo>
                    <a:pt x="648" y="262"/>
                  </a:lnTo>
                  <a:lnTo>
                    <a:pt x="648" y="260"/>
                  </a:lnTo>
                  <a:lnTo>
                    <a:pt x="650" y="258"/>
                  </a:lnTo>
                  <a:lnTo>
                    <a:pt x="650" y="256"/>
                  </a:lnTo>
                  <a:lnTo>
                    <a:pt x="650" y="256"/>
                  </a:lnTo>
                  <a:lnTo>
                    <a:pt x="650" y="254"/>
                  </a:lnTo>
                  <a:lnTo>
                    <a:pt x="650" y="254"/>
                  </a:lnTo>
                  <a:lnTo>
                    <a:pt x="650" y="252"/>
                  </a:lnTo>
                  <a:lnTo>
                    <a:pt x="648" y="252"/>
                  </a:lnTo>
                  <a:lnTo>
                    <a:pt x="648" y="252"/>
                  </a:lnTo>
                  <a:lnTo>
                    <a:pt x="646" y="250"/>
                  </a:lnTo>
                  <a:lnTo>
                    <a:pt x="646" y="250"/>
                  </a:lnTo>
                  <a:lnTo>
                    <a:pt x="644" y="248"/>
                  </a:lnTo>
                  <a:lnTo>
                    <a:pt x="642" y="248"/>
                  </a:lnTo>
                  <a:lnTo>
                    <a:pt x="638" y="248"/>
                  </a:lnTo>
                  <a:lnTo>
                    <a:pt x="636" y="246"/>
                  </a:lnTo>
                  <a:lnTo>
                    <a:pt x="632" y="246"/>
                  </a:lnTo>
                  <a:lnTo>
                    <a:pt x="630" y="246"/>
                  </a:lnTo>
                  <a:lnTo>
                    <a:pt x="628" y="244"/>
                  </a:lnTo>
                  <a:lnTo>
                    <a:pt x="628" y="244"/>
                  </a:lnTo>
                  <a:lnTo>
                    <a:pt x="626" y="242"/>
                  </a:lnTo>
                  <a:lnTo>
                    <a:pt x="626" y="242"/>
                  </a:lnTo>
                  <a:lnTo>
                    <a:pt x="626" y="242"/>
                  </a:lnTo>
                  <a:lnTo>
                    <a:pt x="626" y="240"/>
                  </a:lnTo>
                  <a:lnTo>
                    <a:pt x="624" y="236"/>
                  </a:lnTo>
                  <a:lnTo>
                    <a:pt x="624" y="234"/>
                  </a:lnTo>
                  <a:lnTo>
                    <a:pt x="624" y="232"/>
                  </a:lnTo>
                  <a:lnTo>
                    <a:pt x="624" y="230"/>
                  </a:lnTo>
                  <a:lnTo>
                    <a:pt x="624" y="226"/>
                  </a:lnTo>
                  <a:lnTo>
                    <a:pt x="624" y="226"/>
                  </a:lnTo>
                  <a:lnTo>
                    <a:pt x="626" y="224"/>
                  </a:lnTo>
                  <a:lnTo>
                    <a:pt x="626" y="222"/>
                  </a:lnTo>
                  <a:lnTo>
                    <a:pt x="628" y="220"/>
                  </a:lnTo>
                  <a:lnTo>
                    <a:pt x="628" y="218"/>
                  </a:lnTo>
                  <a:lnTo>
                    <a:pt x="630" y="216"/>
                  </a:lnTo>
                  <a:lnTo>
                    <a:pt x="632" y="214"/>
                  </a:lnTo>
                  <a:lnTo>
                    <a:pt x="634" y="214"/>
                  </a:lnTo>
                  <a:lnTo>
                    <a:pt x="634" y="212"/>
                  </a:lnTo>
                  <a:lnTo>
                    <a:pt x="636" y="212"/>
                  </a:lnTo>
                  <a:lnTo>
                    <a:pt x="636" y="212"/>
                  </a:lnTo>
                  <a:lnTo>
                    <a:pt x="638" y="212"/>
                  </a:lnTo>
                  <a:lnTo>
                    <a:pt x="642" y="212"/>
                  </a:lnTo>
                  <a:lnTo>
                    <a:pt x="642" y="212"/>
                  </a:lnTo>
                  <a:lnTo>
                    <a:pt x="644" y="212"/>
                  </a:lnTo>
                  <a:lnTo>
                    <a:pt x="646" y="212"/>
                  </a:lnTo>
                  <a:lnTo>
                    <a:pt x="646" y="210"/>
                  </a:lnTo>
                  <a:lnTo>
                    <a:pt x="646" y="210"/>
                  </a:lnTo>
                  <a:lnTo>
                    <a:pt x="648" y="210"/>
                  </a:lnTo>
                  <a:lnTo>
                    <a:pt x="648" y="208"/>
                  </a:lnTo>
                  <a:lnTo>
                    <a:pt x="648" y="208"/>
                  </a:lnTo>
                  <a:lnTo>
                    <a:pt x="648" y="206"/>
                  </a:lnTo>
                  <a:lnTo>
                    <a:pt x="648" y="206"/>
                  </a:lnTo>
                  <a:lnTo>
                    <a:pt x="648" y="204"/>
                  </a:lnTo>
                  <a:lnTo>
                    <a:pt x="648" y="202"/>
                  </a:lnTo>
                  <a:lnTo>
                    <a:pt x="648" y="198"/>
                  </a:lnTo>
                  <a:lnTo>
                    <a:pt x="648" y="196"/>
                  </a:lnTo>
                  <a:lnTo>
                    <a:pt x="648" y="194"/>
                  </a:lnTo>
                  <a:lnTo>
                    <a:pt x="648" y="192"/>
                  </a:lnTo>
                  <a:lnTo>
                    <a:pt x="646" y="190"/>
                  </a:lnTo>
                  <a:lnTo>
                    <a:pt x="646" y="190"/>
                  </a:lnTo>
                  <a:lnTo>
                    <a:pt x="646" y="188"/>
                  </a:lnTo>
                  <a:lnTo>
                    <a:pt x="644" y="188"/>
                  </a:lnTo>
                  <a:lnTo>
                    <a:pt x="644" y="186"/>
                  </a:lnTo>
                  <a:lnTo>
                    <a:pt x="642" y="186"/>
                  </a:lnTo>
                  <a:lnTo>
                    <a:pt x="642" y="186"/>
                  </a:lnTo>
                  <a:lnTo>
                    <a:pt x="640" y="186"/>
                  </a:lnTo>
                  <a:lnTo>
                    <a:pt x="640" y="186"/>
                  </a:lnTo>
                  <a:lnTo>
                    <a:pt x="638" y="184"/>
                  </a:lnTo>
                  <a:lnTo>
                    <a:pt x="636" y="184"/>
                  </a:lnTo>
                  <a:lnTo>
                    <a:pt x="632" y="184"/>
                  </a:lnTo>
                  <a:lnTo>
                    <a:pt x="630" y="184"/>
                  </a:lnTo>
                  <a:lnTo>
                    <a:pt x="622" y="186"/>
                  </a:lnTo>
                  <a:lnTo>
                    <a:pt x="616" y="186"/>
                  </a:lnTo>
                  <a:lnTo>
                    <a:pt x="612" y="186"/>
                  </a:lnTo>
                  <a:lnTo>
                    <a:pt x="610" y="186"/>
                  </a:lnTo>
                  <a:lnTo>
                    <a:pt x="608" y="186"/>
                  </a:lnTo>
                  <a:lnTo>
                    <a:pt x="606" y="186"/>
                  </a:lnTo>
                  <a:lnTo>
                    <a:pt x="604" y="184"/>
                  </a:lnTo>
                  <a:lnTo>
                    <a:pt x="604" y="184"/>
                  </a:lnTo>
                  <a:lnTo>
                    <a:pt x="604" y="184"/>
                  </a:lnTo>
                  <a:lnTo>
                    <a:pt x="602" y="182"/>
                  </a:lnTo>
                  <a:lnTo>
                    <a:pt x="602" y="182"/>
                  </a:lnTo>
                  <a:lnTo>
                    <a:pt x="602" y="182"/>
                  </a:lnTo>
                  <a:lnTo>
                    <a:pt x="600" y="180"/>
                  </a:lnTo>
                  <a:lnTo>
                    <a:pt x="600" y="178"/>
                  </a:lnTo>
                  <a:lnTo>
                    <a:pt x="602" y="176"/>
                  </a:lnTo>
                  <a:lnTo>
                    <a:pt x="602" y="174"/>
                  </a:lnTo>
                  <a:lnTo>
                    <a:pt x="602" y="174"/>
                  </a:lnTo>
                  <a:lnTo>
                    <a:pt x="604" y="172"/>
                  </a:lnTo>
                  <a:lnTo>
                    <a:pt x="604" y="170"/>
                  </a:lnTo>
                  <a:lnTo>
                    <a:pt x="606" y="166"/>
                  </a:lnTo>
                  <a:lnTo>
                    <a:pt x="608" y="162"/>
                  </a:lnTo>
                  <a:lnTo>
                    <a:pt x="610" y="160"/>
                  </a:lnTo>
                  <a:lnTo>
                    <a:pt x="612" y="158"/>
                  </a:lnTo>
                  <a:lnTo>
                    <a:pt x="612" y="156"/>
                  </a:lnTo>
                  <a:lnTo>
                    <a:pt x="614" y="154"/>
                  </a:lnTo>
                  <a:lnTo>
                    <a:pt x="616" y="154"/>
                  </a:lnTo>
                  <a:lnTo>
                    <a:pt x="620" y="152"/>
                  </a:lnTo>
                  <a:lnTo>
                    <a:pt x="622" y="148"/>
                  </a:lnTo>
                  <a:lnTo>
                    <a:pt x="630" y="146"/>
                  </a:lnTo>
                  <a:lnTo>
                    <a:pt x="632" y="144"/>
                  </a:lnTo>
                  <a:lnTo>
                    <a:pt x="634" y="142"/>
                  </a:lnTo>
                  <a:lnTo>
                    <a:pt x="636" y="142"/>
                  </a:lnTo>
                  <a:lnTo>
                    <a:pt x="638" y="140"/>
                  </a:lnTo>
                  <a:lnTo>
                    <a:pt x="642" y="138"/>
                  </a:lnTo>
                  <a:lnTo>
                    <a:pt x="644" y="136"/>
                  </a:lnTo>
                  <a:lnTo>
                    <a:pt x="646" y="134"/>
                  </a:lnTo>
                  <a:lnTo>
                    <a:pt x="646" y="134"/>
                  </a:lnTo>
                  <a:lnTo>
                    <a:pt x="646" y="134"/>
                  </a:lnTo>
                  <a:lnTo>
                    <a:pt x="648" y="132"/>
                  </a:lnTo>
                  <a:lnTo>
                    <a:pt x="648" y="132"/>
                  </a:lnTo>
                  <a:lnTo>
                    <a:pt x="646" y="132"/>
                  </a:lnTo>
                  <a:lnTo>
                    <a:pt x="646" y="130"/>
                  </a:lnTo>
                  <a:lnTo>
                    <a:pt x="646" y="130"/>
                  </a:lnTo>
                  <a:lnTo>
                    <a:pt x="646" y="130"/>
                  </a:lnTo>
                  <a:lnTo>
                    <a:pt x="644" y="128"/>
                  </a:lnTo>
                  <a:lnTo>
                    <a:pt x="642" y="128"/>
                  </a:lnTo>
                  <a:lnTo>
                    <a:pt x="640" y="128"/>
                  </a:lnTo>
                  <a:lnTo>
                    <a:pt x="638" y="126"/>
                  </a:lnTo>
                  <a:lnTo>
                    <a:pt x="634" y="126"/>
                  </a:lnTo>
                  <a:lnTo>
                    <a:pt x="630" y="124"/>
                  </a:lnTo>
                  <a:lnTo>
                    <a:pt x="628" y="124"/>
                  </a:lnTo>
                  <a:lnTo>
                    <a:pt x="626" y="124"/>
                  </a:lnTo>
                  <a:lnTo>
                    <a:pt x="624" y="122"/>
                  </a:lnTo>
                  <a:lnTo>
                    <a:pt x="622" y="122"/>
                  </a:lnTo>
                  <a:lnTo>
                    <a:pt x="622" y="120"/>
                  </a:lnTo>
                  <a:lnTo>
                    <a:pt x="622" y="120"/>
                  </a:lnTo>
                  <a:lnTo>
                    <a:pt x="622" y="120"/>
                  </a:lnTo>
                  <a:lnTo>
                    <a:pt x="622" y="120"/>
                  </a:lnTo>
                  <a:lnTo>
                    <a:pt x="622" y="118"/>
                  </a:lnTo>
                  <a:lnTo>
                    <a:pt x="622" y="118"/>
                  </a:lnTo>
                  <a:lnTo>
                    <a:pt x="624" y="116"/>
                  </a:lnTo>
                  <a:lnTo>
                    <a:pt x="624" y="116"/>
                  </a:lnTo>
                  <a:lnTo>
                    <a:pt x="626" y="116"/>
                  </a:lnTo>
                  <a:lnTo>
                    <a:pt x="626" y="116"/>
                  </a:lnTo>
                  <a:lnTo>
                    <a:pt x="630" y="114"/>
                  </a:lnTo>
                  <a:lnTo>
                    <a:pt x="632" y="114"/>
                  </a:lnTo>
                  <a:lnTo>
                    <a:pt x="634" y="112"/>
                  </a:lnTo>
                  <a:lnTo>
                    <a:pt x="638" y="112"/>
                  </a:lnTo>
                  <a:lnTo>
                    <a:pt x="640" y="112"/>
                  </a:lnTo>
                  <a:lnTo>
                    <a:pt x="642" y="112"/>
                  </a:lnTo>
                  <a:lnTo>
                    <a:pt x="642" y="110"/>
                  </a:lnTo>
                  <a:lnTo>
                    <a:pt x="648" y="110"/>
                  </a:lnTo>
                  <a:lnTo>
                    <a:pt x="652" y="110"/>
                  </a:lnTo>
                  <a:lnTo>
                    <a:pt x="654" y="110"/>
                  </a:lnTo>
                  <a:lnTo>
                    <a:pt x="662" y="108"/>
                  </a:lnTo>
                  <a:lnTo>
                    <a:pt x="672" y="104"/>
                  </a:lnTo>
                  <a:lnTo>
                    <a:pt x="678" y="104"/>
                  </a:lnTo>
                  <a:lnTo>
                    <a:pt x="682" y="102"/>
                  </a:lnTo>
                  <a:lnTo>
                    <a:pt x="686" y="100"/>
                  </a:lnTo>
                  <a:lnTo>
                    <a:pt x="690" y="100"/>
                  </a:lnTo>
                  <a:lnTo>
                    <a:pt x="694" y="98"/>
                  </a:lnTo>
                  <a:lnTo>
                    <a:pt x="700" y="94"/>
                  </a:lnTo>
                  <a:lnTo>
                    <a:pt x="704" y="92"/>
                  </a:lnTo>
                  <a:lnTo>
                    <a:pt x="708" y="92"/>
                  </a:lnTo>
                  <a:lnTo>
                    <a:pt x="710" y="90"/>
                  </a:lnTo>
                  <a:lnTo>
                    <a:pt x="714" y="88"/>
                  </a:lnTo>
                  <a:lnTo>
                    <a:pt x="716" y="86"/>
                  </a:lnTo>
                  <a:lnTo>
                    <a:pt x="718" y="86"/>
                  </a:lnTo>
                  <a:lnTo>
                    <a:pt x="720" y="84"/>
                  </a:lnTo>
                  <a:lnTo>
                    <a:pt x="722" y="82"/>
                  </a:lnTo>
                  <a:lnTo>
                    <a:pt x="722" y="80"/>
                  </a:lnTo>
                  <a:lnTo>
                    <a:pt x="722" y="80"/>
                  </a:lnTo>
                  <a:lnTo>
                    <a:pt x="722" y="80"/>
                  </a:lnTo>
                  <a:lnTo>
                    <a:pt x="722" y="78"/>
                  </a:lnTo>
                  <a:lnTo>
                    <a:pt x="722" y="78"/>
                  </a:lnTo>
                  <a:lnTo>
                    <a:pt x="722" y="76"/>
                  </a:lnTo>
                  <a:lnTo>
                    <a:pt x="722" y="76"/>
                  </a:lnTo>
                  <a:lnTo>
                    <a:pt x="722" y="74"/>
                  </a:lnTo>
                  <a:lnTo>
                    <a:pt x="720" y="72"/>
                  </a:lnTo>
                  <a:lnTo>
                    <a:pt x="720" y="72"/>
                  </a:lnTo>
                  <a:lnTo>
                    <a:pt x="718" y="70"/>
                  </a:lnTo>
                  <a:lnTo>
                    <a:pt x="716" y="70"/>
                  </a:lnTo>
                  <a:lnTo>
                    <a:pt x="714" y="70"/>
                  </a:lnTo>
                  <a:lnTo>
                    <a:pt x="714" y="68"/>
                  </a:lnTo>
                  <a:lnTo>
                    <a:pt x="712" y="68"/>
                  </a:lnTo>
                  <a:lnTo>
                    <a:pt x="710" y="68"/>
                  </a:lnTo>
                  <a:lnTo>
                    <a:pt x="706" y="68"/>
                  </a:lnTo>
                  <a:lnTo>
                    <a:pt x="700" y="68"/>
                  </a:lnTo>
                  <a:lnTo>
                    <a:pt x="696" y="68"/>
                  </a:lnTo>
                  <a:lnTo>
                    <a:pt x="690" y="68"/>
                  </a:lnTo>
                  <a:lnTo>
                    <a:pt x="686" y="68"/>
                  </a:lnTo>
                  <a:lnTo>
                    <a:pt x="676" y="70"/>
                  </a:lnTo>
                  <a:lnTo>
                    <a:pt x="666" y="70"/>
                  </a:lnTo>
                  <a:lnTo>
                    <a:pt x="660" y="72"/>
                  </a:lnTo>
                  <a:lnTo>
                    <a:pt x="656" y="72"/>
                  </a:lnTo>
                  <a:lnTo>
                    <a:pt x="652" y="72"/>
                  </a:lnTo>
                  <a:lnTo>
                    <a:pt x="648" y="74"/>
                  </a:lnTo>
                  <a:lnTo>
                    <a:pt x="644" y="76"/>
                  </a:lnTo>
                  <a:lnTo>
                    <a:pt x="634" y="78"/>
                  </a:lnTo>
                  <a:lnTo>
                    <a:pt x="626" y="82"/>
                  </a:lnTo>
                  <a:lnTo>
                    <a:pt x="624" y="82"/>
                  </a:lnTo>
                  <a:lnTo>
                    <a:pt x="622" y="84"/>
                  </a:lnTo>
                  <a:lnTo>
                    <a:pt x="620" y="86"/>
                  </a:lnTo>
                  <a:lnTo>
                    <a:pt x="616" y="88"/>
                  </a:lnTo>
                  <a:lnTo>
                    <a:pt x="610" y="94"/>
                  </a:lnTo>
                  <a:lnTo>
                    <a:pt x="604" y="98"/>
                  </a:lnTo>
                  <a:lnTo>
                    <a:pt x="600" y="100"/>
                  </a:lnTo>
                  <a:lnTo>
                    <a:pt x="596" y="102"/>
                  </a:lnTo>
                  <a:lnTo>
                    <a:pt x="594" y="104"/>
                  </a:lnTo>
                  <a:lnTo>
                    <a:pt x="590" y="106"/>
                  </a:lnTo>
                  <a:lnTo>
                    <a:pt x="590" y="106"/>
                  </a:lnTo>
                  <a:lnTo>
                    <a:pt x="588" y="106"/>
                  </a:lnTo>
                  <a:lnTo>
                    <a:pt x="586" y="106"/>
                  </a:lnTo>
                  <a:lnTo>
                    <a:pt x="586" y="106"/>
                  </a:lnTo>
                  <a:lnTo>
                    <a:pt x="584" y="106"/>
                  </a:lnTo>
                  <a:lnTo>
                    <a:pt x="584" y="106"/>
                  </a:lnTo>
                  <a:lnTo>
                    <a:pt x="582" y="104"/>
                  </a:lnTo>
                  <a:lnTo>
                    <a:pt x="582" y="104"/>
                  </a:lnTo>
                  <a:lnTo>
                    <a:pt x="580" y="104"/>
                  </a:lnTo>
                  <a:lnTo>
                    <a:pt x="580" y="102"/>
                  </a:lnTo>
                  <a:lnTo>
                    <a:pt x="580" y="102"/>
                  </a:lnTo>
                  <a:lnTo>
                    <a:pt x="580" y="100"/>
                  </a:lnTo>
                  <a:lnTo>
                    <a:pt x="580" y="100"/>
                  </a:lnTo>
                  <a:lnTo>
                    <a:pt x="582" y="98"/>
                  </a:lnTo>
                  <a:lnTo>
                    <a:pt x="582" y="96"/>
                  </a:lnTo>
                  <a:lnTo>
                    <a:pt x="582" y="96"/>
                  </a:lnTo>
                  <a:lnTo>
                    <a:pt x="584" y="92"/>
                  </a:lnTo>
                  <a:lnTo>
                    <a:pt x="588" y="90"/>
                  </a:lnTo>
                  <a:lnTo>
                    <a:pt x="592" y="84"/>
                  </a:lnTo>
                  <a:lnTo>
                    <a:pt x="598" y="78"/>
                  </a:lnTo>
                  <a:lnTo>
                    <a:pt x="600" y="76"/>
                  </a:lnTo>
                  <a:lnTo>
                    <a:pt x="602" y="72"/>
                  </a:lnTo>
                  <a:lnTo>
                    <a:pt x="604" y="72"/>
                  </a:lnTo>
                  <a:lnTo>
                    <a:pt x="604" y="70"/>
                  </a:lnTo>
                  <a:lnTo>
                    <a:pt x="604" y="68"/>
                  </a:lnTo>
                  <a:lnTo>
                    <a:pt x="606" y="68"/>
                  </a:lnTo>
                  <a:lnTo>
                    <a:pt x="606" y="66"/>
                  </a:lnTo>
                  <a:lnTo>
                    <a:pt x="606" y="66"/>
                  </a:lnTo>
                  <a:lnTo>
                    <a:pt x="604" y="64"/>
                  </a:lnTo>
                  <a:lnTo>
                    <a:pt x="604" y="64"/>
                  </a:lnTo>
                  <a:lnTo>
                    <a:pt x="604" y="62"/>
                  </a:lnTo>
                  <a:lnTo>
                    <a:pt x="602" y="62"/>
                  </a:lnTo>
                  <a:lnTo>
                    <a:pt x="602" y="62"/>
                  </a:lnTo>
                  <a:lnTo>
                    <a:pt x="600" y="62"/>
                  </a:lnTo>
                  <a:lnTo>
                    <a:pt x="598" y="62"/>
                  </a:lnTo>
                  <a:lnTo>
                    <a:pt x="598" y="62"/>
                  </a:lnTo>
                  <a:lnTo>
                    <a:pt x="596" y="62"/>
                  </a:lnTo>
                  <a:lnTo>
                    <a:pt x="594" y="64"/>
                  </a:lnTo>
                  <a:lnTo>
                    <a:pt x="590" y="66"/>
                  </a:lnTo>
                  <a:lnTo>
                    <a:pt x="588" y="66"/>
                  </a:lnTo>
                  <a:lnTo>
                    <a:pt x="584" y="70"/>
                  </a:lnTo>
                  <a:lnTo>
                    <a:pt x="580" y="72"/>
                  </a:lnTo>
                  <a:lnTo>
                    <a:pt x="576" y="74"/>
                  </a:lnTo>
                  <a:lnTo>
                    <a:pt x="572" y="76"/>
                  </a:lnTo>
                  <a:lnTo>
                    <a:pt x="568" y="78"/>
                  </a:lnTo>
                  <a:lnTo>
                    <a:pt x="564" y="80"/>
                  </a:lnTo>
                  <a:lnTo>
                    <a:pt x="564" y="82"/>
                  </a:lnTo>
                  <a:lnTo>
                    <a:pt x="562" y="82"/>
                  </a:lnTo>
                  <a:lnTo>
                    <a:pt x="560" y="82"/>
                  </a:lnTo>
                  <a:lnTo>
                    <a:pt x="558" y="82"/>
                  </a:lnTo>
                  <a:lnTo>
                    <a:pt x="558" y="82"/>
                  </a:lnTo>
                  <a:lnTo>
                    <a:pt x="556" y="82"/>
                  </a:lnTo>
                  <a:lnTo>
                    <a:pt x="554" y="82"/>
                  </a:lnTo>
                  <a:lnTo>
                    <a:pt x="554" y="82"/>
                  </a:lnTo>
                  <a:lnTo>
                    <a:pt x="554" y="82"/>
                  </a:lnTo>
                  <a:lnTo>
                    <a:pt x="554" y="80"/>
                  </a:lnTo>
                  <a:lnTo>
                    <a:pt x="552" y="80"/>
                  </a:lnTo>
                  <a:lnTo>
                    <a:pt x="552" y="78"/>
                  </a:lnTo>
                  <a:lnTo>
                    <a:pt x="552" y="76"/>
                  </a:lnTo>
                  <a:lnTo>
                    <a:pt x="554" y="76"/>
                  </a:lnTo>
                  <a:lnTo>
                    <a:pt x="554" y="74"/>
                  </a:lnTo>
                  <a:lnTo>
                    <a:pt x="554" y="70"/>
                  </a:lnTo>
                  <a:lnTo>
                    <a:pt x="556" y="66"/>
                  </a:lnTo>
                  <a:lnTo>
                    <a:pt x="556" y="66"/>
                  </a:lnTo>
                  <a:lnTo>
                    <a:pt x="558" y="64"/>
                  </a:lnTo>
                  <a:lnTo>
                    <a:pt x="558" y="62"/>
                  </a:lnTo>
                  <a:lnTo>
                    <a:pt x="558" y="60"/>
                  </a:lnTo>
                  <a:lnTo>
                    <a:pt x="558" y="60"/>
                  </a:lnTo>
                  <a:lnTo>
                    <a:pt x="556" y="60"/>
                  </a:lnTo>
                  <a:lnTo>
                    <a:pt x="556" y="58"/>
                  </a:lnTo>
                  <a:lnTo>
                    <a:pt x="556" y="58"/>
                  </a:lnTo>
                  <a:lnTo>
                    <a:pt x="554" y="58"/>
                  </a:lnTo>
                  <a:lnTo>
                    <a:pt x="554" y="56"/>
                  </a:lnTo>
                  <a:lnTo>
                    <a:pt x="554" y="56"/>
                  </a:lnTo>
                  <a:lnTo>
                    <a:pt x="552" y="56"/>
                  </a:lnTo>
                  <a:lnTo>
                    <a:pt x="548" y="56"/>
                  </a:lnTo>
                  <a:lnTo>
                    <a:pt x="546" y="56"/>
                  </a:lnTo>
                  <a:lnTo>
                    <a:pt x="544" y="56"/>
                  </a:lnTo>
                  <a:lnTo>
                    <a:pt x="540" y="56"/>
                  </a:lnTo>
                  <a:lnTo>
                    <a:pt x="538" y="56"/>
                  </a:lnTo>
                  <a:lnTo>
                    <a:pt x="534" y="58"/>
                  </a:lnTo>
                  <a:lnTo>
                    <a:pt x="532" y="58"/>
                  </a:lnTo>
                  <a:lnTo>
                    <a:pt x="524" y="60"/>
                  </a:lnTo>
                  <a:lnTo>
                    <a:pt x="518" y="62"/>
                  </a:lnTo>
                  <a:lnTo>
                    <a:pt x="510" y="64"/>
                  </a:lnTo>
                  <a:lnTo>
                    <a:pt x="504" y="66"/>
                  </a:lnTo>
                  <a:lnTo>
                    <a:pt x="498" y="68"/>
                  </a:lnTo>
                  <a:lnTo>
                    <a:pt x="492" y="70"/>
                  </a:lnTo>
                  <a:lnTo>
                    <a:pt x="488" y="72"/>
                  </a:lnTo>
                  <a:lnTo>
                    <a:pt x="486" y="72"/>
                  </a:lnTo>
                  <a:lnTo>
                    <a:pt x="484" y="72"/>
                  </a:lnTo>
                  <a:lnTo>
                    <a:pt x="482" y="72"/>
                  </a:lnTo>
                  <a:lnTo>
                    <a:pt x="480" y="72"/>
                  </a:lnTo>
                  <a:lnTo>
                    <a:pt x="478" y="72"/>
                  </a:lnTo>
                  <a:lnTo>
                    <a:pt x="476" y="72"/>
                  </a:lnTo>
                  <a:lnTo>
                    <a:pt x="476" y="70"/>
                  </a:lnTo>
                  <a:lnTo>
                    <a:pt x="476" y="70"/>
                  </a:lnTo>
                  <a:lnTo>
                    <a:pt x="474" y="70"/>
                  </a:lnTo>
                  <a:lnTo>
                    <a:pt x="474" y="68"/>
                  </a:lnTo>
                  <a:lnTo>
                    <a:pt x="474" y="68"/>
                  </a:lnTo>
                  <a:lnTo>
                    <a:pt x="474" y="68"/>
                  </a:lnTo>
                  <a:lnTo>
                    <a:pt x="474" y="66"/>
                  </a:lnTo>
                  <a:lnTo>
                    <a:pt x="474" y="66"/>
                  </a:lnTo>
                  <a:lnTo>
                    <a:pt x="474" y="64"/>
                  </a:lnTo>
                  <a:lnTo>
                    <a:pt x="474" y="64"/>
                  </a:lnTo>
                  <a:lnTo>
                    <a:pt x="474" y="62"/>
                  </a:lnTo>
                  <a:lnTo>
                    <a:pt x="474" y="62"/>
                  </a:lnTo>
                  <a:lnTo>
                    <a:pt x="476" y="60"/>
                  </a:lnTo>
                  <a:lnTo>
                    <a:pt x="476" y="60"/>
                  </a:lnTo>
                  <a:lnTo>
                    <a:pt x="478" y="60"/>
                  </a:lnTo>
                  <a:lnTo>
                    <a:pt x="480" y="58"/>
                  </a:lnTo>
                  <a:lnTo>
                    <a:pt x="480" y="58"/>
                  </a:lnTo>
                  <a:lnTo>
                    <a:pt x="484" y="56"/>
                  </a:lnTo>
                  <a:lnTo>
                    <a:pt x="488" y="56"/>
                  </a:lnTo>
                  <a:lnTo>
                    <a:pt x="492" y="56"/>
                  </a:lnTo>
                  <a:lnTo>
                    <a:pt x="496" y="54"/>
                  </a:lnTo>
                  <a:lnTo>
                    <a:pt x="500" y="54"/>
                  </a:lnTo>
                  <a:lnTo>
                    <a:pt x="508" y="54"/>
                  </a:lnTo>
                  <a:lnTo>
                    <a:pt x="516" y="52"/>
                  </a:lnTo>
                  <a:lnTo>
                    <a:pt x="518" y="52"/>
                  </a:lnTo>
                  <a:lnTo>
                    <a:pt x="522" y="52"/>
                  </a:lnTo>
                  <a:lnTo>
                    <a:pt x="528" y="50"/>
                  </a:lnTo>
                  <a:lnTo>
                    <a:pt x="534" y="48"/>
                  </a:lnTo>
                  <a:lnTo>
                    <a:pt x="542" y="48"/>
                  </a:lnTo>
                  <a:lnTo>
                    <a:pt x="552" y="46"/>
                  </a:lnTo>
                  <a:lnTo>
                    <a:pt x="568" y="44"/>
                  </a:lnTo>
                  <a:lnTo>
                    <a:pt x="576" y="42"/>
                  </a:lnTo>
                  <a:lnTo>
                    <a:pt x="582" y="42"/>
                  </a:lnTo>
                  <a:lnTo>
                    <a:pt x="584" y="40"/>
                  </a:lnTo>
                  <a:lnTo>
                    <a:pt x="586" y="40"/>
                  </a:lnTo>
                  <a:lnTo>
                    <a:pt x="590" y="40"/>
                  </a:lnTo>
                  <a:lnTo>
                    <a:pt x="594" y="40"/>
                  </a:lnTo>
                  <a:lnTo>
                    <a:pt x="596" y="40"/>
                  </a:lnTo>
                  <a:lnTo>
                    <a:pt x="598" y="40"/>
                  </a:lnTo>
                  <a:lnTo>
                    <a:pt x="600" y="38"/>
                  </a:lnTo>
                  <a:lnTo>
                    <a:pt x="600" y="38"/>
                  </a:lnTo>
                  <a:lnTo>
                    <a:pt x="600" y="38"/>
                  </a:lnTo>
                  <a:lnTo>
                    <a:pt x="602" y="36"/>
                  </a:lnTo>
                  <a:lnTo>
                    <a:pt x="602" y="36"/>
                  </a:lnTo>
                  <a:lnTo>
                    <a:pt x="602" y="36"/>
                  </a:lnTo>
                  <a:lnTo>
                    <a:pt x="602" y="34"/>
                  </a:lnTo>
                  <a:lnTo>
                    <a:pt x="602" y="34"/>
                  </a:lnTo>
                  <a:lnTo>
                    <a:pt x="600" y="32"/>
                  </a:lnTo>
                  <a:lnTo>
                    <a:pt x="600" y="32"/>
                  </a:lnTo>
                  <a:lnTo>
                    <a:pt x="600" y="30"/>
                  </a:lnTo>
                  <a:lnTo>
                    <a:pt x="598" y="30"/>
                  </a:lnTo>
                  <a:lnTo>
                    <a:pt x="598" y="30"/>
                  </a:lnTo>
                  <a:lnTo>
                    <a:pt x="594" y="28"/>
                  </a:lnTo>
                  <a:lnTo>
                    <a:pt x="592" y="26"/>
                  </a:lnTo>
                  <a:lnTo>
                    <a:pt x="588" y="26"/>
                  </a:lnTo>
                  <a:lnTo>
                    <a:pt x="586" y="24"/>
                  </a:lnTo>
                  <a:lnTo>
                    <a:pt x="582" y="24"/>
                  </a:lnTo>
                  <a:lnTo>
                    <a:pt x="580" y="24"/>
                  </a:lnTo>
                  <a:lnTo>
                    <a:pt x="572" y="22"/>
                  </a:lnTo>
                  <a:lnTo>
                    <a:pt x="566" y="22"/>
                  </a:lnTo>
                  <a:lnTo>
                    <a:pt x="562" y="20"/>
                  </a:lnTo>
                  <a:lnTo>
                    <a:pt x="560" y="20"/>
                  </a:lnTo>
                  <a:lnTo>
                    <a:pt x="556" y="20"/>
                  </a:lnTo>
                  <a:lnTo>
                    <a:pt x="554" y="22"/>
                  </a:lnTo>
                  <a:lnTo>
                    <a:pt x="552" y="22"/>
                  </a:lnTo>
                  <a:lnTo>
                    <a:pt x="548" y="22"/>
                  </a:lnTo>
                  <a:lnTo>
                    <a:pt x="546" y="24"/>
                  </a:lnTo>
                  <a:lnTo>
                    <a:pt x="540" y="24"/>
                  </a:lnTo>
                  <a:lnTo>
                    <a:pt x="532" y="28"/>
                  </a:lnTo>
                  <a:lnTo>
                    <a:pt x="526" y="30"/>
                  </a:lnTo>
                  <a:lnTo>
                    <a:pt x="512" y="34"/>
                  </a:lnTo>
                  <a:lnTo>
                    <a:pt x="504" y="36"/>
                  </a:lnTo>
                  <a:lnTo>
                    <a:pt x="498" y="38"/>
                  </a:lnTo>
                  <a:lnTo>
                    <a:pt x="494" y="38"/>
                  </a:lnTo>
                  <a:lnTo>
                    <a:pt x="492" y="40"/>
                  </a:lnTo>
                  <a:lnTo>
                    <a:pt x="490" y="40"/>
                  </a:lnTo>
                  <a:lnTo>
                    <a:pt x="486" y="40"/>
                  </a:lnTo>
                  <a:lnTo>
                    <a:pt x="484" y="40"/>
                  </a:lnTo>
                  <a:lnTo>
                    <a:pt x="482" y="40"/>
                  </a:lnTo>
                  <a:lnTo>
                    <a:pt x="480" y="40"/>
                  </a:lnTo>
                  <a:lnTo>
                    <a:pt x="478" y="38"/>
                  </a:lnTo>
                  <a:lnTo>
                    <a:pt x="476" y="38"/>
                  </a:lnTo>
                  <a:lnTo>
                    <a:pt x="476" y="38"/>
                  </a:lnTo>
                  <a:lnTo>
                    <a:pt x="474" y="36"/>
                  </a:lnTo>
                  <a:lnTo>
                    <a:pt x="474" y="36"/>
                  </a:lnTo>
                  <a:lnTo>
                    <a:pt x="474" y="36"/>
                  </a:lnTo>
                  <a:lnTo>
                    <a:pt x="474" y="34"/>
                  </a:lnTo>
                  <a:lnTo>
                    <a:pt x="474" y="34"/>
                  </a:lnTo>
                  <a:lnTo>
                    <a:pt x="474" y="32"/>
                  </a:lnTo>
                  <a:lnTo>
                    <a:pt x="474" y="32"/>
                  </a:lnTo>
                  <a:lnTo>
                    <a:pt x="474" y="30"/>
                  </a:lnTo>
                  <a:lnTo>
                    <a:pt x="474" y="30"/>
                  </a:lnTo>
                  <a:lnTo>
                    <a:pt x="476" y="28"/>
                  </a:lnTo>
                  <a:lnTo>
                    <a:pt x="476" y="28"/>
                  </a:lnTo>
                  <a:lnTo>
                    <a:pt x="478" y="28"/>
                  </a:lnTo>
                  <a:lnTo>
                    <a:pt x="480" y="26"/>
                  </a:lnTo>
                  <a:lnTo>
                    <a:pt x="484" y="26"/>
                  </a:lnTo>
                  <a:lnTo>
                    <a:pt x="488" y="24"/>
                  </a:lnTo>
                  <a:lnTo>
                    <a:pt x="492" y="24"/>
                  </a:lnTo>
                  <a:lnTo>
                    <a:pt x="496" y="24"/>
                  </a:lnTo>
                  <a:lnTo>
                    <a:pt x="502" y="22"/>
                  </a:lnTo>
                  <a:lnTo>
                    <a:pt x="506" y="22"/>
                  </a:lnTo>
                  <a:lnTo>
                    <a:pt x="510" y="22"/>
                  </a:lnTo>
                  <a:lnTo>
                    <a:pt x="514" y="20"/>
                  </a:lnTo>
                  <a:lnTo>
                    <a:pt x="516" y="20"/>
                  </a:lnTo>
                  <a:lnTo>
                    <a:pt x="518" y="18"/>
                  </a:lnTo>
                  <a:lnTo>
                    <a:pt x="518" y="18"/>
                  </a:lnTo>
                  <a:lnTo>
                    <a:pt x="520" y="18"/>
                  </a:lnTo>
                  <a:lnTo>
                    <a:pt x="520" y="16"/>
                  </a:lnTo>
                  <a:lnTo>
                    <a:pt x="520" y="16"/>
                  </a:lnTo>
                  <a:lnTo>
                    <a:pt x="522" y="14"/>
                  </a:lnTo>
                  <a:lnTo>
                    <a:pt x="522" y="14"/>
                  </a:lnTo>
                  <a:lnTo>
                    <a:pt x="520" y="12"/>
                  </a:lnTo>
                  <a:lnTo>
                    <a:pt x="520" y="12"/>
                  </a:lnTo>
                  <a:lnTo>
                    <a:pt x="520" y="10"/>
                  </a:lnTo>
                  <a:lnTo>
                    <a:pt x="520" y="10"/>
                  </a:lnTo>
                  <a:lnTo>
                    <a:pt x="518" y="8"/>
                  </a:lnTo>
                  <a:lnTo>
                    <a:pt x="518" y="8"/>
                  </a:lnTo>
                  <a:lnTo>
                    <a:pt x="516" y="6"/>
                  </a:lnTo>
                  <a:lnTo>
                    <a:pt x="516" y="6"/>
                  </a:lnTo>
                  <a:lnTo>
                    <a:pt x="514" y="4"/>
                  </a:lnTo>
                  <a:lnTo>
                    <a:pt x="512" y="4"/>
                  </a:lnTo>
                  <a:lnTo>
                    <a:pt x="508" y="2"/>
                  </a:lnTo>
                  <a:lnTo>
                    <a:pt x="506" y="2"/>
                  </a:lnTo>
                  <a:lnTo>
                    <a:pt x="502" y="0"/>
                  </a:lnTo>
                  <a:lnTo>
                    <a:pt x="498" y="0"/>
                  </a:lnTo>
                  <a:lnTo>
                    <a:pt x="496" y="0"/>
                  </a:lnTo>
                  <a:lnTo>
                    <a:pt x="492" y="0"/>
                  </a:lnTo>
                  <a:lnTo>
                    <a:pt x="488" y="0"/>
                  </a:lnTo>
                  <a:lnTo>
                    <a:pt x="484" y="0"/>
                  </a:lnTo>
                  <a:lnTo>
                    <a:pt x="480" y="0"/>
                  </a:lnTo>
                  <a:lnTo>
                    <a:pt x="476" y="2"/>
                  </a:lnTo>
                  <a:lnTo>
                    <a:pt x="466" y="2"/>
                  </a:lnTo>
                  <a:lnTo>
                    <a:pt x="458" y="4"/>
                  </a:lnTo>
                  <a:lnTo>
                    <a:pt x="450" y="6"/>
                  </a:lnTo>
                  <a:lnTo>
                    <a:pt x="442" y="8"/>
                  </a:lnTo>
                  <a:lnTo>
                    <a:pt x="434" y="10"/>
                  </a:lnTo>
                  <a:lnTo>
                    <a:pt x="426" y="12"/>
                  </a:lnTo>
                  <a:lnTo>
                    <a:pt x="420" y="14"/>
                  </a:lnTo>
                  <a:lnTo>
                    <a:pt x="416" y="16"/>
                  </a:lnTo>
                  <a:lnTo>
                    <a:pt x="414" y="16"/>
                  </a:lnTo>
                  <a:lnTo>
                    <a:pt x="412" y="18"/>
                  </a:lnTo>
                  <a:lnTo>
                    <a:pt x="410" y="20"/>
                  </a:lnTo>
                  <a:lnTo>
                    <a:pt x="408" y="22"/>
                  </a:lnTo>
                  <a:lnTo>
                    <a:pt x="406" y="24"/>
                  </a:lnTo>
                  <a:lnTo>
                    <a:pt x="404" y="26"/>
                  </a:lnTo>
                  <a:lnTo>
                    <a:pt x="400" y="30"/>
                  </a:lnTo>
                  <a:lnTo>
                    <a:pt x="396" y="34"/>
                  </a:lnTo>
                  <a:lnTo>
                    <a:pt x="394" y="38"/>
                  </a:lnTo>
                  <a:lnTo>
                    <a:pt x="392" y="38"/>
                  </a:lnTo>
                  <a:lnTo>
                    <a:pt x="390" y="40"/>
                  </a:lnTo>
                  <a:lnTo>
                    <a:pt x="388" y="42"/>
                  </a:lnTo>
                  <a:lnTo>
                    <a:pt x="386" y="44"/>
                  </a:lnTo>
                  <a:lnTo>
                    <a:pt x="386" y="44"/>
                  </a:lnTo>
                  <a:lnTo>
                    <a:pt x="386" y="44"/>
                  </a:lnTo>
                  <a:lnTo>
                    <a:pt x="384" y="44"/>
                  </a:lnTo>
                  <a:lnTo>
                    <a:pt x="382" y="44"/>
                  </a:lnTo>
                  <a:lnTo>
                    <a:pt x="382" y="44"/>
                  </a:lnTo>
                  <a:lnTo>
                    <a:pt x="380" y="44"/>
                  </a:lnTo>
                  <a:lnTo>
                    <a:pt x="378" y="42"/>
                  </a:lnTo>
                  <a:lnTo>
                    <a:pt x="374" y="42"/>
                  </a:lnTo>
                  <a:lnTo>
                    <a:pt x="372" y="40"/>
                  </a:lnTo>
                  <a:lnTo>
                    <a:pt x="368" y="38"/>
                  </a:lnTo>
                  <a:lnTo>
                    <a:pt x="362" y="34"/>
                  </a:lnTo>
                  <a:lnTo>
                    <a:pt x="360" y="32"/>
                  </a:lnTo>
                  <a:lnTo>
                    <a:pt x="358" y="30"/>
                  </a:lnTo>
                  <a:lnTo>
                    <a:pt x="354" y="30"/>
                  </a:lnTo>
                  <a:lnTo>
                    <a:pt x="352" y="28"/>
                  </a:lnTo>
                  <a:lnTo>
                    <a:pt x="348" y="28"/>
                  </a:lnTo>
                  <a:lnTo>
                    <a:pt x="348" y="28"/>
                  </a:lnTo>
                  <a:lnTo>
                    <a:pt x="346" y="28"/>
                  </a:lnTo>
                  <a:lnTo>
                    <a:pt x="346" y="28"/>
                  </a:lnTo>
                  <a:lnTo>
                    <a:pt x="344" y="28"/>
                  </a:lnTo>
                  <a:lnTo>
                    <a:pt x="344" y="28"/>
                  </a:lnTo>
                  <a:lnTo>
                    <a:pt x="342" y="28"/>
                  </a:lnTo>
                  <a:lnTo>
                    <a:pt x="342" y="30"/>
                  </a:lnTo>
                  <a:lnTo>
                    <a:pt x="340" y="30"/>
                  </a:lnTo>
                  <a:lnTo>
                    <a:pt x="340" y="30"/>
                  </a:lnTo>
                  <a:lnTo>
                    <a:pt x="340" y="32"/>
                  </a:lnTo>
                  <a:lnTo>
                    <a:pt x="340" y="34"/>
                  </a:lnTo>
                  <a:lnTo>
                    <a:pt x="340" y="34"/>
                  </a:lnTo>
                  <a:lnTo>
                    <a:pt x="340" y="38"/>
                  </a:lnTo>
                  <a:lnTo>
                    <a:pt x="342" y="44"/>
                  </a:lnTo>
                  <a:lnTo>
                    <a:pt x="342" y="46"/>
                  </a:lnTo>
                  <a:lnTo>
                    <a:pt x="342" y="48"/>
                  </a:lnTo>
                  <a:lnTo>
                    <a:pt x="342" y="48"/>
                  </a:lnTo>
                  <a:lnTo>
                    <a:pt x="342" y="54"/>
                  </a:lnTo>
                  <a:lnTo>
                    <a:pt x="340" y="58"/>
                  </a:lnTo>
                  <a:lnTo>
                    <a:pt x="340" y="62"/>
                  </a:lnTo>
                  <a:lnTo>
                    <a:pt x="340" y="66"/>
                  </a:lnTo>
                  <a:lnTo>
                    <a:pt x="338" y="66"/>
                  </a:lnTo>
                  <a:lnTo>
                    <a:pt x="338" y="68"/>
                  </a:lnTo>
                  <a:lnTo>
                    <a:pt x="338" y="70"/>
                  </a:lnTo>
                  <a:lnTo>
                    <a:pt x="336" y="70"/>
                  </a:lnTo>
                  <a:lnTo>
                    <a:pt x="336" y="72"/>
                  </a:lnTo>
                  <a:lnTo>
                    <a:pt x="334" y="72"/>
                  </a:lnTo>
                  <a:lnTo>
                    <a:pt x="334" y="72"/>
                  </a:lnTo>
                  <a:lnTo>
                    <a:pt x="334" y="72"/>
                  </a:lnTo>
                  <a:lnTo>
                    <a:pt x="332" y="72"/>
                  </a:lnTo>
                  <a:lnTo>
                    <a:pt x="332" y="70"/>
                  </a:lnTo>
                  <a:lnTo>
                    <a:pt x="330" y="70"/>
                  </a:lnTo>
                  <a:lnTo>
                    <a:pt x="330" y="68"/>
                  </a:lnTo>
                  <a:lnTo>
                    <a:pt x="328" y="66"/>
                  </a:lnTo>
                  <a:lnTo>
                    <a:pt x="328" y="64"/>
                  </a:lnTo>
                  <a:lnTo>
                    <a:pt x="326" y="60"/>
                  </a:lnTo>
                  <a:lnTo>
                    <a:pt x="324" y="58"/>
                  </a:lnTo>
                  <a:lnTo>
                    <a:pt x="322" y="56"/>
                  </a:lnTo>
                  <a:lnTo>
                    <a:pt x="322" y="56"/>
                  </a:lnTo>
                  <a:lnTo>
                    <a:pt x="320" y="54"/>
                  </a:lnTo>
                  <a:lnTo>
                    <a:pt x="320" y="54"/>
                  </a:lnTo>
                  <a:lnTo>
                    <a:pt x="318" y="54"/>
                  </a:lnTo>
                  <a:lnTo>
                    <a:pt x="318" y="54"/>
                  </a:lnTo>
                  <a:lnTo>
                    <a:pt x="316" y="54"/>
                  </a:lnTo>
                  <a:lnTo>
                    <a:pt x="314" y="54"/>
                  </a:lnTo>
                  <a:lnTo>
                    <a:pt x="312" y="54"/>
                  </a:lnTo>
                  <a:lnTo>
                    <a:pt x="308" y="54"/>
                  </a:lnTo>
                  <a:lnTo>
                    <a:pt x="304" y="54"/>
                  </a:lnTo>
                  <a:lnTo>
                    <a:pt x="302" y="54"/>
                  </a:lnTo>
                  <a:lnTo>
                    <a:pt x="300" y="54"/>
                  </a:lnTo>
                  <a:lnTo>
                    <a:pt x="294" y="52"/>
                  </a:lnTo>
                  <a:lnTo>
                    <a:pt x="290" y="52"/>
                  </a:lnTo>
                  <a:lnTo>
                    <a:pt x="290" y="52"/>
                  </a:lnTo>
                  <a:lnTo>
                    <a:pt x="288" y="52"/>
                  </a:lnTo>
                  <a:lnTo>
                    <a:pt x="288" y="52"/>
                  </a:lnTo>
                  <a:lnTo>
                    <a:pt x="286" y="52"/>
                  </a:lnTo>
                  <a:lnTo>
                    <a:pt x="284" y="54"/>
                  </a:lnTo>
                  <a:lnTo>
                    <a:pt x="284" y="54"/>
                  </a:lnTo>
                  <a:lnTo>
                    <a:pt x="284" y="54"/>
                  </a:lnTo>
                  <a:lnTo>
                    <a:pt x="284" y="54"/>
                  </a:lnTo>
                  <a:lnTo>
                    <a:pt x="284" y="56"/>
                  </a:lnTo>
                  <a:lnTo>
                    <a:pt x="284" y="58"/>
                  </a:lnTo>
                  <a:lnTo>
                    <a:pt x="284" y="58"/>
                  </a:lnTo>
                  <a:lnTo>
                    <a:pt x="284" y="60"/>
                  </a:lnTo>
                  <a:lnTo>
                    <a:pt x="284" y="62"/>
                  </a:lnTo>
                  <a:lnTo>
                    <a:pt x="284" y="66"/>
                  </a:lnTo>
                  <a:lnTo>
                    <a:pt x="284" y="70"/>
                  </a:lnTo>
                  <a:lnTo>
                    <a:pt x="286" y="72"/>
                  </a:lnTo>
                  <a:lnTo>
                    <a:pt x="286" y="74"/>
                  </a:lnTo>
                  <a:lnTo>
                    <a:pt x="286" y="76"/>
                  </a:lnTo>
                  <a:lnTo>
                    <a:pt x="286" y="76"/>
                  </a:lnTo>
                  <a:lnTo>
                    <a:pt x="284" y="78"/>
                  </a:lnTo>
                  <a:lnTo>
                    <a:pt x="284" y="78"/>
                  </a:lnTo>
                  <a:lnTo>
                    <a:pt x="284" y="78"/>
                  </a:lnTo>
                  <a:lnTo>
                    <a:pt x="284" y="80"/>
                  </a:lnTo>
                  <a:lnTo>
                    <a:pt x="282" y="80"/>
                  </a:lnTo>
                  <a:lnTo>
                    <a:pt x="282" y="80"/>
                  </a:lnTo>
                  <a:lnTo>
                    <a:pt x="280" y="82"/>
                  </a:lnTo>
                  <a:lnTo>
                    <a:pt x="278" y="82"/>
                  </a:lnTo>
                  <a:lnTo>
                    <a:pt x="276" y="82"/>
                  </a:lnTo>
                  <a:lnTo>
                    <a:pt x="274" y="82"/>
                  </a:lnTo>
                  <a:lnTo>
                    <a:pt x="270" y="82"/>
                  </a:lnTo>
                  <a:lnTo>
                    <a:pt x="268" y="82"/>
                  </a:lnTo>
                  <a:lnTo>
                    <a:pt x="266" y="82"/>
                  </a:lnTo>
                  <a:lnTo>
                    <a:pt x="264" y="80"/>
                  </a:lnTo>
                  <a:lnTo>
                    <a:pt x="264" y="80"/>
                  </a:lnTo>
                  <a:lnTo>
                    <a:pt x="262" y="80"/>
                  </a:lnTo>
                  <a:lnTo>
                    <a:pt x="262" y="78"/>
                  </a:lnTo>
                  <a:lnTo>
                    <a:pt x="262" y="78"/>
                  </a:lnTo>
                  <a:lnTo>
                    <a:pt x="260" y="78"/>
                  </a:lnTo>
                  <a:lnTo>
                    <a:pt x="260" y="76"/>
                  </a:lnTo>
                  <a:lnTo>
                    <a:pt x="260" y="74"/>
                  </a:lnTo>
                  <a:lnTo>
                    <a:pt x="260" y="72"/>
                  </a:lnTo>
                  <a:lnTo>
                    <a:pt x="260" y="68"/>
                  </a:lnTo>
                  <a:lnTo>
                    <a:pt x="260" y="66"/>
                  </a:lnTo>
                  <a:lnTo>
                    <a:pt x="260" y="62"/>
                  </a:lnTo>
                  <a:lnTo>
                    <a:pt x="260" y="62"/>
                  </a:lnTo>
                  <a:lnTo>
                    <a:pt x="260" y="60"/>
                  </a:lnTo>
                  <a:lnTo>
                    <a:pt x="260" y="60"/>
                  </a:lnTo>
                  <a:lnTo>
                    <a:pt x="260" y="58"/>
                  </a:lnTo>
                  <a:lnTo>
                    <a:pt x="258" y="58"/>
                  </a:lnTo>
                  <a:lnTo>
                    <a:pt x="258" y="58"/>
                  </a:lnTo>
                  <a:lnTo>
                    <a:pt x="256" y="56"/>
                  </a:lnTo>
                  <a:lnTo>
                    <a:pt x="254" y="56"/>
                  </a:lnTo>
                  <a:lnTo>
                    <a:pt x="252" y="56"/>
                  </a:lnTo>
                  <a:lnTo>
                    <a:pt x="252" y="56"/>
                  </a:lnTo>
                  <a:lnTo>
                    <a:pt x="250" y="54"/>
                  </a:lnTo>
                  <a:lnTo>
                    <a:pt x="248" y="54"/>
                  </a:lnTo>
                  <a:lnTo>
                    <a:pt x="246" y="54"/>
                  </a:lnTo>
                  <a:lnTo>
                    <a:pt x="244" y="54"/>
                  </a:lnTo>
                  <a:lnTo>
                    <a:pt x="242" y="54"/>
                  </a:lnTo>
                  <a:lnTo>
                    <a:pt x="240" y="54"/>
                  </a:lnTo>
                  <a:lnTo>
                    <a:pt x="240" y="54"/>
                  </a:lnTo>
                  <a:lnTo>
                    <a:pt x="238" y="54"/>
                  </a:lnTo>
                  <a:lnTo>
                    <a:pt x="238" y="56"/>
                  </a:lnTo>
                  <a:lnTo>
                    <a:pt x="236" y="56"/>
                  </a:lnTo>
                  <a:lnTo>
                    <a:pt x="236" y="56"/>
                  </a:lnTo>
                  <a:lnTo>
                    <a:pt x="236" y="58"/>
                  </a:lnTo>
                  <a:lnTo>
                    <a:pt x="236" y="58"/>
                  </a:lnTo>
                  <a:lnTo>
                    <a:pt x="236" y="60"/>
                  </a:lnTo>
                  <a:lnTo>
                    <a:pt x="238" y="60"/>
                  </a:lnTo>
                  <a:lnTo>
                    <a:pt x="240" y="62"/>
                  </a:lnTo>
                  <a:lnTo>
                    <a:pt x="240" y="64"/>
                  </a:lnTo>
                  <a:lnTo>
                    <a:pt x="242" y="66"/>
                  </a:lnTo>
                  <a:lnTo>
                    <a:pt x="242" y="66"/>
                  </a:lnTo>
                  <a:lnTo>
                    <a:pt x="242" y="68"/>
                  </a:lnTo>
                  <a:lnTo>
                    <a:pt x="242" y="68"/>
                  </a:lnTo>
                  <a:lnTo>
                    <a:pt x="242" y="68"/>
                  </a:lnTo>
                  <a:lnTo>
                    <a:pt x="240" y="70"/>
                  </a:lnTo>
                  <a:lnTo>
                    <a:pt x="240" y="70"/>
                  </a:lnTo>
                  <a:lnTo>
                    <a:pt x="240" y="70"/>
                  </a:lnTo>
                  <a:lnTo>
                    <a:pt x="238" y="70"/>
                  </a:lnTo>
                  <a:lnTo>
                    <a:pt x="238" y="70"/>
                  </a:lnTo>
                  <a:lnTo>
                    <a:pt x="236" y="70"/>
                  </a:lnTo>
                  <a:lnTo>
                    <a:pt x="234" y="70"/>
                  </a:lnTo>
                  <a:lnTo>
                    <a:pt x="234" y="70"/>
                  </a:lnTo>
                  <a:lnTo>
                    <a:pt x="230" y="68"/>
                  </a:lnTo>
                  <a:lnTo>
                    <a:pt x="228" y="68"/>
                  </a:lnTo>
                  <a:lnTo>
                    <a:pt x="226" y="66"/>
                  </a:lnTo>
                  <a:lnTo>
                    <a:pt x="222" y="64"/>
                  </a:lnTo>
                  <a:lnTo>
                    <a:pt x="216" y="60"/>
                  </a:lnTo>
                  <a:lnTo>
                    <a:pt x="214" y="58"/>
                  </a:lnTo>
                  <a:lnTo>
                    <a:pt x="212" y="56"/>
                  </a:lnTo>
                  <a:lnTo>
                    <a:pt x="208" y="56"/>
                  </a:lnTo>
                  <a:lnTo>
                    <a:pt x="206" y="54"/>
                  </a:lnTo>
                  <a:lnTo>
                    <a:pt x="204" y="54"/>
                  </a:lnTo>
                  <a:lnTo>
                    <a:pt x="204" y="54"/>
                  </a:lnTo>
                  <a:lnTo>
                    <a:pt x="202" y="54"/>
                  </a:lnTo>
                  <a:lnTo>
                    <a:pt x="202" y="54"/>
                  </a:lnTo>
                  <a:lnTo>
                    <a:pt x="200" y="54"/>
                  </a:lnTo>
                  <a:lnTo>
                    <a:pt x="200" y="54"/>
                  </a:lnTo>
                  <a:lnTo>
                    <a:pt x="198" y="54"/>
                  </a:lnTo>
                  <a:lnTo>
                    <a:pt x="196" y="56"/>
                  </a:lnTo>
                  <a:lnTo>
                    <a:pt x="194" y="56"/>
                  </a:lnTo>
                  <a:lnTo>
                    <a:pt x="192" y="58"/>
                  </a:lnTo>
                  <a:lnTo>
                    <a:pt x="190" y="60"/>
                  </a:lnTo>
                  <a:lnTo>
                    <a:pt x="188" y="62"/>
                  </a:lnTo>
                  <a:lnTo>
                    <a:pt x="186" y="62"/>
                  </a:lnTo>
                  <a:lnTo>
                    <a:pt x="184" y="64"/>
                  </a:lnTo>
                  <a:lnTo>
                    <a:pt x="184" y="64"/>
                  </a:lnTo>
                  <a:lnTo>
                    <a:pt x="182" y="64"/>
                  </a:lnTo>
                  <a:lnTo>
                    <a:pt x="180" y="64"/>
                  </a:lnTo>
                  <a:lnTo>
                    <a:pt x="176" y="64"/>
                  </a:lnTo>
                  <a:lnTo>
                    <a:pt x="174" y="64"/>
                  </a:lnTo>
                  <a:lnTo>
                    <a:pt x="172" y="64"/>
                  </a:lnTo>
                  <a:lnTo>
                    <a:pt x="170" y="64"/>
                  </a:lnTo>
                  <a:lnTo>
                    <a:pt x="170" y="64"/>
                  </a:lnTo>
                  <a:lnTo>
                    <a:pt x="168" y="64"/>
                  </a:lnTo>
                  <a:lnTo>
                    <a:pt x="168" y="64"/>
                  </a:lnTo>
                  <a:lnTo>
                    <a:pt x="166" y="64"/>
                  </a:lnTo>
                  <a:lnTo>
                    <a:pt x="164" y="66"/>
                  </a:lnTo>
                  <a:lnTo>
                    <a:pt x="162" y="68"/>
                  </a:lnTo>
                  <a:lnTo>
                    <a:pt x="160" y="70"/>
                  </a:lnTo>
                  <a:lnTo>
                    <a:pt x="156" y="72"/>
                  </a:lnTo>
                  <a:lnTo>
                    <a:pt x="154" y="76"/>
                  </a:lnTo>
                  <a:lnTo>
                    <a:pt x="150" y="7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2" name="Freeform 600"/>
            <p:cNvSpPr>
              <a:spLocks/>
            </p:cNvSpPr>
            <p:nvPr/>
          </p:nvSpPr>
          <p:spPr bwMode="auto">
            <a:xfrm>
              <a:off x="2357001" y="3939524"/>
              <a:ext cx="24249" cy="48498"/>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3" name="Freeform 603"/>
            <p:cNvSpPr>
              <a:spLocks/>
            </p:cNvSpPr>
            <p:nvPr/>
          </p:nvSpPr>
          <p:spPr bwMode="auto">
            <a:xfrm>
              <a:off x="5090215" y="4220120"/>
              <a:ext cx="356807" cy="336023"/>
            </a:xfrm>
            <a:custGeom>
              <a:avLst/>
              <a:gdLst>
                <a:gd name="T0" fmla="*/ 202 w 206"/>
                <a:gd name="T1" fmla="*/ 116 h 194"/>
                <a:gd name="T2" fmla="*/ 190 w 206"/>
                <a:gd name="T3" fmla="*/ 108 h 194"/>
                <a:gd name="T4" fmla="*/ 176 w 206"/>
                <a:gd name="T5" fmla="*/ 112 h 194"/>
                <a:gd name="T6" fmla="*/ 168 w 206"/>
                <a:gd name="T7" fmla="*/ 106 h 194"/>
                <a:gd name="T8" fmla="*/ 144 w 206"/>
                <a:gd name="T9" fmla="*/ 80 h 194"/>
                <a:gd name="T10" fmla="*/ 126 w 206"/>
                <a:gd name="T11" fmla="*/ 76 h 194"/>
                <a:gd name="T12" fmla="*/ 122 w 206"/>
                <a:gd name="T13" fmla="*/ 72 h 194"/>
                <a:gd name="T14" fmla="*/ 122 w 206"/>
                <a:gd name="T15" fmla="*/ 58 h 194"/>
                <a:gd name="T16" fmla="*/ 128 w 206"/>
                <a:gd name="T17" fmla="*/ 42 h 194"/>
                <a:gd name="T18" fmla="*/ 120 w 206"/>
                <a:gd name="T19" fmla="*/ 46 h 194"/>
                <a:gd name="T20" fmla="*/ 114 w 206"/>
                <a:gd name="T21" fmla="*/ 38 h 194"/>
                <a:gd name="T22" fmla="*/ 104 w 206"/>
                <a:gd name="T23" fmla="*/ 22 h 194"/>
                <a:gd name="T24" fmla="*/ 88 w 206"/>
                <a:gd name="T25" fmla="*/ 8 h 194"/>
                <a:gd name="T26" fmla="*/ 82 w 206"/>
                <a:gd name="T27" fmla="*/ 6 h 194"/>
                <a:gd name="T28" fmla="*/ 70 w 206"/>
                <a:gd name="T29" fmla="*/ 4 h 194"/>
                <a:gd name="T30" fmla="*/ 54 w 206"/>
                <a:gd name="T31" fmla="*/ 4 h 194"/>
                <a:gd name="T32" fmla="*/ 56 w 206"/>
                <a:gd name="T33" fmla="*/ 18 h 194"/>
                <a:gd name="T34" fmla="*/ 54 w 206"/>
                <a:gd name="T35" fmla="*/ 36 h 194"/>
                <a:gd name="T36" fmla="*/ 48 w 206"/>
                <a:gd name="T37" fmla="*/ 40 h 194"/>
                <a:gd name="T38" fmla="*/ 36 w 206"/>
                <a:gd name="T39" fmla="*/ 42 h 194"/>
                <a:gd name="T40" fmla="*/ 32 w 206"/>
                <a:gd name="T41" fmla="*/ 46 h 194"/>
                <a:gd name="T42" fmla="*/ 34 w 206"/>
                <a:gd name="T43" fmla="*/ 66 h 194"/>
                <a:gd name="T44" fmla="*/ 32 w 206"/>
                <a:gd name="T45" fmla="*/ 74 h 194"/>
                <a:gd name="T46" fmla="*/ 28 w 206"/>
                <a:gd name="T47" fmla="*/ 76 h 194"/>
                <a:gd name="T48" fmla="*/ 20 w 206"/>
                <a:gd name="T49" fmla="*/ 76 h 194"/>
                <a:gd name="T50" fmla="*/ 18 w 206"/>
                <a:gd name="T51" fmla="*/ 82 h 194"/>
                <a:gd name="T52" fmla="*/ 18 w 206"/>
                <a:gd name="T53" fmla="*/ 102 h 194"/>
                <a:gd name="T54" fmla="*/ 14 w 206"/>
                <a:gd name="T55" fmla="*/ 110 h 194"/>
                <a:gd name="T56" fmla="*/ 6 w 206"/>
                <a:gd name="T57" fmla="*/ 108 h 194"/>
                <a:gd name="T58" fmla="*/ 0 w 206"/>
                <a:gd name="T59" fmla="*/ 110 h 194"/>
                <a:gd name="T60" fmla="*/ 2 w 206"/>
                <a:gd name="T61" fmla="*/ 118 h 194"/>
                <a:gd name="T62" fmla="*/ 10 w 206"/>
                <a:gd name="T63" fmla="*/ 126 h 194"/>
                <a:gd name="T64" fmla="*/ 16 w 206"/>
                <a:gd name="T65" fmla="*/ 126 h 194"/>
                <a:gd name="T66" fmla="*/ 16 w 206"/>
                <a:gd name="T67" fmla="*/ 136 h 194"/>
                <a:gd name="T68" fmla="*/ 22 w 206"/>
                <a:gd name="T69" fmla="*/ 142 h 194"/>
                <a:gd name="T70" fmla="*/ 32 w 206"/>
                <a:gd name="T71" fmla="*/ 152 h 194"/>
                <a:gd name="T72" fmla="*/ 36 w 206"/>
                <a:gd name="T73" fmla="*/ 160 h 194"/>
                <a:gd name="T74" fmla="*/ 48 w 206"/>
                <a:gd name="T75" fmla="*/ 170 h 194"/>
                <a:gd name="T76" fmla="*/ 60 w 206"/>
                <a:gd name="T77" fmla="*/ 178 h 194"/>
                <a:gd name="T78" fmla="*/ 64 w 206"/>
                <a:gd name="T79" fmla="*/ 186 h 194"/>
                <a:gd name="T80" fmla="*/ 66 w 206"/>
                <a:gd name="T81" fmla="*/ 192 h 194"/>
                <a:gd name="T82" fmla="*/ 80 w 206"/>
                <a:gd name="T83" fmla="*/ 194 h 194"/>
                <a:gd name="T84" fmla="*/ 92 w 206"/>
                <a:gd name="T85" fmla="*/ 192 h 194"/>
                <a:gd name="T86" fmla="*/ 98 w 206"/>
                <a:gd name="T87" fmla="*/ 186 h 194"/>
                <a:gd name="T88" fmla="*/ 100 w 206"/>
                <a:gd name="T89" fmla="*/ 180 h 194"/>
                <a:gd name="T90" fmla="*/ 114 w 206"/>
                <a:gd name="T91" fmla="*/ 180 h 194"/>
                <a:gd name="T92" fmla="*/ 122 w 206"/>
                <a:gd name="T93" fmla="*/ 186 h 194"/>
                <a:gd name="T94" fmla="*/ 134 w 206"/>
                <a:gd name="T95" fmla="*/ 182 h 194"/>
                <a:gd name="T96" fmla="*/ 140 w 206"/>
                <a:gd name="T97" fmla="*/ 176 h 194"/>
                <a:gd name="T98" fmla="*/ 154 w 206"/>
                <a:gd name="T99" fmla="*/ 176 h 194"/>
                <a:gd name="T100" fmla="*/ 174 w 206"/>
                <a:gd name="T101" fmla="*/ 172 h 194"/>
                <a:gd name="T102" fmla="*/ 186 w 206"/>
                <a:gd name="T103" fmla="*/ 160 h 194"/>
                <a:gd name="T104" fmla="*/ 190 w 206"/>
                <a:gd name="T105" fmla="*/ 148 h 194"/>
                <a:gd name="T106" fmla="*/ 192 w 206"/>
                <a:gd name="T107" fmla="*/ 136 h 194"/>
                <a:gd name="T108" fmla="*/ 200 w 206"/>
                <a:gd name="T109" fmla="*/ 130 h 194"/>
                <a:gd name="T110" fmla="*/ 206 w 206"/>
                <a:gd name="T111" fmla="*/ 1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 h="194">
                  <a:moveTo>
                    <a:pt x="206" y="122"/>
                  </a:moveTo>
                  <a:lnTo>
                    <a:pt x="206" y="120"/>
                  </a:lnTo>
                  <a:lnTo>
                    <a:pt x="204" y="120"/>
                  </a:lnTo>
                  <a:lnTo>
                    <a:pt x="204" y="118"/>
                  </a:lnTo>
                  <a:lnTo>
                    <a:pt x="204" y="118"/>
                  </a:lnTo>
                  <a:lnTo>
                    <a:pt x="202" y="116"/>
                  </a:lnTo>
                  <a:lnTo>
                    <a:pt x="198" y="114"/>
                  </a:lnTo>
                  <a:lnTo>
                    <a:pt x="196" y="112"/>
                  </a:lnTo>
                  <a:lnTo>
                    <a:pt x="194" y="110"/>
                  </a:lnTo>
                  <a:lnTo>
                    <a:pt x="192" y="110"/>
                  </a:lnTo>
                  <a:lnTo>
                    <a:pt x="192" y="110"/>
                  </a:lnTo>
                  <a:lnTo>
                    <a:pt x="190" y="108"/>
                  </a:lnTo>
                  <a:lnTo>
                    <a:pt x="188" y="110"/>
                  </a:lnTo>
                  <a:lnTo>
                    <a:pt x="186" y="110"/>
                  </a:lnTo>
                  <a:lnTo>
                    <a:pt x="184" y="110"/>
                  </a:lnTo>
                  <a:lnTo>
                    <a:pt x="180" y="110"/>
                  </a:lnTo>
                  <a:lnTo>
                    <a:pt x="178" y="110"/>
                  </a:lnTo>
                  <a:lnTo>
                    <a:pt x="176" y="112"/>
                  </a:lnTo>
                  <a:lnTo>
                    <a:pt x="176" y="110"/>
                  </a:lnTo>
                  <a:lnTo>
                    <a:pt x="174" y="110"/>
                  </a:lnTo>
                  <a:lnTo>
                    <a:pt x="174" y="110"/>
                  </a:lnTo>
                  <a:lnTo>
                    <a:pt x="172" y="108"/>
                  </a:lnTo>
                  <a:lnTo>
                    <a:pt x="170" y="108"/>
                  </a:lnTo>
                  <a:lnTo>
                    <a:pt x="168" y="106"/>
                  </a:lnTo>
                  <a:lnTo>
                    <a:pt x="166" y="104"/>
                  </a:lnTo>
                  <a:lnTo>
                    <a:pt x="162" y="100"/>
                  </a:lnTo>
                  <a:lnTo>
                    <a:pt x="156" y="92"/>
                  </a:lnTo>
                  <a:lnTo>
                    <a:pt x="154" y="90"/>
                  </a:lnTo>
                  <a:lnTo>
                    <a:pt x="150" y="86"/>
                  </a:lnTo>
                  <a:lnTo>
                    <a:pt x="144" y="80"/>
                  </a:lnTo>
                  <a:lnTo>
                    <a:pt x="140" y="76"/>
                  </a:lnTo>
                  <a:lnTo>
                    <a:pt x="138" y="76"/>
                  </a:lnTo>
                  <a:lnTo>
                    <a:pt x="134" y="76"/>
                  </a:lnTo>
                  <a:lnTo>
                    <a:pt x="132" y="76"/>
                  </a:lnTo>
                  <a:lnTo>
                    <a:pt x="130" y="76"/>
                  </a:lnTo>
                  <a:lnTo>
                    <a:pt x="126" y="76"/>
                  </a:lnTo>
                  <a:lnTo>
                    <a:pt x="126" y="76"/>
                  </a:lnTo>
                  <a:lnTo>
                    <a:pt x="124" y="76"/>
                  </a:lnTo>
                  <a:lnTo>
                    <a:pt x="124" y="74"/>
                  </a:lnTo>
                  <a:lnTo>
                    <a:pt x="122" y="74"/>
                  </a:lnTo>
                  <a:lnTo>
                    <a:pt x="122" y="74"/>
                  </a:lnTo>
                  <a:lnTo>
                    <a:pt x="122" y="72"/>
                  </a:lnTo>
                  <a:lnTo>
                    <a:pt x="122" y="72"/>
                  </a:lnTo>
                  <a:lnTo>
                    <a:pt x="122" y="70"/>
                  </a:lnTo>
                  <a:lnTo>
                    <a:pt x="122" y="68"/>
                  </a:lnTo>
                  <a:lnTo>
                    <a:pt x="122" y="66"/>
                  </a:lnTo>
                  <a:lnTo>
                    <a:pt x="122" y="62"/>
                  </a:lnTo>
                  <a:lnTo>
                    <a:pt x="122" y="58"/>
                  </a:lnTo>
                  <a:lnTo>
                    <a:pt x="124" y="54"/>
                  </a:lnTo>
                  <a:lnTo>
                    <a:pt x="124" y="50"/>
                  </a:lnTo>
                  <a:lnTo>
                    <a:pt x="126" y="46"/>
                  </a:lnTo>
                  <a:lnTo>
                    <a:pt x="126" y="46"/>
                  </a:lnTo>
                  <a:lnTo>
                    <a:pt x="128" y="42"/>
                  </a:lnTo>
                  <a:lnTo>
                    <a:pt x="128" y="42"/>
                  </a:lnTo>
                  <a:lnTo>
                    <a:pt x="128" y="42"/>
                  </a:lnTo>
                  <a:lnTo>
                    <a:pt x="126" y="44"/>
                  </a:lnTo>
                  <a:lnTo>
                    <a:pt x="122" y="44"/>
                  </a:lnTo>
                  <a:lnTo>
                    <a:pt x="122" y="44"/>
                  </a:lnTo>
                  <a:lnTo>
                    <a:pt x="122" y="46"/>
                  </a:lnTo>
                  <a:lnTo>
                    <a:pt x="120" y="46"/>
                  </a:lnTo>
                  <a:lnTo>
                    <a:pt x="120" y="46"/>
                  </a:lnTo>
                  <a:lnTo>
                    <a:pt x="120" y="44"/>
                  </a:lnTo>
                  <a:lnTo>
                    <a:pt x="118" y="44"/>
                  </a:lnTo>
                  <a:lnTo>
                    <a:pt x="118" y="44"/>
                  </a:lnTo>
                  <a:lnTo>
                    <a:pt x="116" y="40"/>
                  </a:lnTo>
                  <a:lnTo>
                    <a:pt x="114" y="38"/>
                  </a:lnTo>
                  <a:lnTo>
                    <a:pt x="114" y="38"/>
                  </a:lnTo>
                  <a:lnTo>
                    <a:pt x="110" y="30"/>
                  </a:lnTo>
                  <a:lnTo>
                    <a:pt x="110" y="30"/>
                  </a:lnTo>
                  <a:lnTo>
                    <a:pt x="106" y="26"/>
                  </a:lnTo>
                  <a:lnTo>
                    <a:pt x="106" y="26"/>
                  </a:lnTo>
                  <a:lnTo>
                    <a:pt x="104" y="22"/>
                  </a:lnTo>
                  <a:lnTo>
                    <a:pt x="100" y="18"/>
                  </a:lnTo>
                  <a:lnTo>
                    <a:pt x="100" y="18"/>
                  </a:lnTo>
                  <a:lnTo>
                    <a:pt x="94" y="12"/>
                  </a:lnTo>
                  <a:lnTo>
                    <a:pt x="94" y="10"/>
                  </a:lnTo>
                  <a:lnTo>
                    <a:pt x="92" y="12"/>
                  </a:lnTo>
                  <a:lnTo>
                    <a:pt x="88" y="8"/>
                  </a:lnTo>
                  <a:lnTo>
                    <a:pt x="86" y="10"/>
                  </a:lnTo>
                  <a:lnTo>
                    <a:pt x="84" y="8"/>
                  </a:lnTo>
                  <a:lnTo>
                    <a:pt x="82" y="10"/>
                  </a:lnTo>
                  <a:lnTo>
                    <a:pt x="82" y="10"/>
                  </a:lnTo>
                  <a:lnTo>
                    <a:pt x="82" y="6"/>
                  </a:lnTo>
                  <a:lnTo>
                    <a:pt x="82" y="6"/>
                  </a:lnTo>
                  <a:lnTo>
                    <a:pt x="76" y="8"/>
                  </a:lnTo>
                  <a:lnTo>
                    <a:pt x="76" y="8"/>
                  </a:lnTo>
                  <a:lnTo>
                    <a:pt x="72" y="8"/>
                  </a:lnTo>
                  <a:lnTo>
                    <a:pt x="72" y="8"/>
                  </a:lnTo>
                  <a:lnTo>
                    <a:pt x="70" y="4"/>
                  </a:lnTo>
                  <a:lnTo>
                    <a:pt x="70" y="4"/>
                  </a:lnTo>
                  <a:lnTo>
                    <a:pt x="68" y="4"/>
                  </a:lnTo>
                  <a:lnTo>
                    <a:pt x="66" y="0"/>
                  </a:lnTo>
                  <a:lnTo>
                    <a:pt x="60" y="8"/>
                  </a:lnTo>
                  <a:lnTo>
                    <a:pt x="58" y="4"/>
                  </a:lnTo>
                  <a:lnTo>
                    <a:pt x="54" y="4"/>
                  </a:lnTo>
                  <a:lnTo>
                    <a:pt x="54" y="4"/>
                  </a:lnTo>
                  <a:lnTo>
                    <a:pt x="54" y="4"/>
                  </a:lnTo>
                  <a:lnTo>
                    <a:pt x="54" y="8"/>
                  </a:lnTo>
                  <a:lnTo>
                    <a:pt x="54" y="10"/>
                  </a:lnTo>
                  <a:lnTo>
                    <a:pt x="56" y="12"/>
                  </a:lnTo>
                  <a:lnTo>
                    <a:pt x="56" y="16"/>
                  </a:lnTo>
                  <a:lnTo>
                    <a:pt x="56" y="18"/>
                  </a:lnTo>
                  <a:lnTo>
                    <a:pt x="56" y="22"/>
                  </a:lnTo>
                  <a:lnTo>
                    <a:pt x="56" y="24"/>
                  </a:lnTo>
                  <a:lnTo>
                    <a:pt x="56" y="28"/>
                  </a:lnTo>
                  <a:lnTo>
                    <a:pt x="56" y="30"/>
                  </a:lnTo>
                  <a:lnTo>
                    <a:pt x="54" y="32"/>
                  </a:lnTo>
                  <a:lnTo>
                    <a:pt x="54" y="36"/>
                  </a:lnTo>
                  <a:lnTo>
                    <a:pt x="54" y="38"/>
                  </a:lnTo>
                  <a:lnTo>
                    <a:pt x="52" y="38"/>
                  </a:lnTo>
                  <a:lnTo>
                    <a:pt x="52" y="40"/>
                  </a:lnTo>
                  <a:lnTo>
                    <a:pt x="50" y="40"/>
                  </a:lnTo>
                  <a:lnTo>
                    <a:pt x="50" y="40"/>
                  </a:lnTo>
                  <a:lnTo>
                    <a:pt x="48" y="40"/>
                  </a:lnTo>
                  <a:lnTo>
                    <a:pt x="46" y="40"/>
                  </a:lnTo>
                  <a:lnTo>
                    <a:pt x="44" y="40"/>
                  </a:lnTo>
                  <a:lnTo>
                    <a:pt x="40" y="40"/>
                  </a:lnTo>
                  <a:lnTo>
                    <a:pt x="38" y="40"/>
                  </a:lnTo>
                  <a:lnTo>
                    <a:pt x="36" y="40"/>
                  </a:lnTo>
                  <a:lnTo>
                    <a:pt x="36" y="42"/>
                  </a:lnTo>
                  <a:lnTo>
                    <a:pt x="34" y="42"/>
                  </a:lnTo>
                  <a:lnTo>
                    <a:pt x="34" y="42"/>
                  </a:lnTo>
                  <a:lnTo>
                    <a:pt x="34" y="42"/>
                  </a:lnTo>
                  <a:lnTo>
                    <a:pt x="34" y="44"/>
                  </a:lnTo>
                  <a:lnTo>
                    <a:pt x="32" y="44"/>
                  </a:lnTo>
                  <a:lnTo>
                    <a:pt x="32" y="46"/>
                  </a:lnTo>
                  <a:lnTo>
                    <a:pt x="32" y="48"/>
                  </a:lnTo>
                  <a:lnTo>
                    <a:pt x="32" y="52"/>
                  </a:lnTo>
                  <a:lnTo>
                    <a:pt x="32" y="54"/>
                  </a:lnTo>
                  <a:lnTo>
                    <a:pt x="32" y="58"/>
                  </a:lnTo>
                  <a:lnTo>
                    <a:pt x="34" y="64"/>
                  </a:lnTo>
                  <a:lnTo>
                    <a:pt x="34" y="66"/>
                  </a:lnTo>
                  <a:lnTo>
                    <a:pt x="34" y="68"/>
                  </a:lnTo>
                  <a:lnTo>
                    <a:pt x="34" y="70"/>
                  </a:lnTo>
                  <a:lnTo>
                    <a:pt x="32" y="72"/>
                  </a:lnTo>
                  <a:lnTo>
                    <a:pt x="32" y="74"/>
                  </a:lnTo>
                  <a:lnTo>
                    <a:pt x="32" y="74"/>
                  </a:lnTo>
                  <a:lnTo>
                    <a:pt x="32" y="74"/>
                  </a:lnTo>
                  <a:lnTo>
                    <a:pt x="32" y="76"/>
                  </a:lnTo>
                  <a:lnTo>
                    <a:pt x="30" y="76"/>
                  </a:lnTo>
                  <a:lnTo>
                    <a:pt x="30" y="76"/>
                  </a:lnTo>
                  <a:lnTo>
                    <a:pt x="30" y="76"/>
                  </a:lnTo>
                  <a:lnTo>
                    <a:pt x="28" y="76"/>
                  </a:lnTo>
                  <a:lnTo>
                    <a:pt x="28" y="76"/>
                  </a:lnTo>
                  <a:lnTo>
                    <a:pt x="26" y="76"/>
                  </a:lnTo>
                  <a:lnTo>
                    <a:pt x="24" y="76"/>
                  </a:lnTo>
                  <a:lnTo>
                    <a:pt x="22" y="76"/>
                  </a:lnTo>
                  <a:lnTo>
                    <a:pt x="22" y="76"/>
                  </a:lnTo>
                  <a:lnTo>
                    <a:pt x="20" y="76"/>
                  </a:lnTo>
                  <a:lnTo>
                    <a:pt x="20" y="76"/>
                  </a:lnTo>
                  <a:lnTo>
                    <a:pt x="20" y="76"/>
                  </a:lnTo>
                  <a:lnTo>
                    <a:pt x="18" y="76"/>
                  </a:lnTo>
                  <a:lnTo>
                    <a:pt x="18" y="78"/>
                  </a:lnTo>
                  <a:lnTo>
                    <a:pt x="18" y="78"/>
                  </a:lnTo>
                  <a:lnTo>
                    <a:pt x="18" y="80"/>
                  </a:lnTo>
                  <a:lnTo>
                    <a:pt x="18" y="82"/>
                  </a:lnTo>
                  <a:lnTo>
                    <a:pt x="16" y="84"/>
                  </a:lnTo>
                  <a:lnTo>
                    <a:pt x="18" y="88"/>
                  </a:lnTo>
                  <a:lnTo>
                    <a:pt x="18" y="92"/>
                  </a:lnTo>
                  <a:lnTo>
                    <a:pt x="18" y="98"/>
                  </a:lnTo>
                  <a:lnTo>
                    <a:pt x="18" y="100"/>
                  </a:lnTo>
                  <a:lnTo>
                    <a:pt x="18" y="102"/>
                  </a:lnTo>
                  <a:lnTo>
                    <a:pt x="18" y="104"/>
                  </a:lnTo>
                  <a:lnTo>
                    <a:pt x="18" y="106"/>
                  </a:lnTo>
                  <a:lnTo>
                    <a:pt x="16" y="108"/>
                  </a:lnTo>
                  <a:lnTo>
                    <a:pt x="16" y="108"/>
                  </a:lnTo>
                  <a:lnTo>
                    <a:pt x="16" y="108"/>
                  </a:lnTo>
                  <a:lnTo>
                    <a:pt x="14" y="110"/>
                  </a:lnTo>
                  <a:lnTo>
                    <a:pt x="14" y="110"/>
                  </a:lnTo>
                  <a:lnTo>
                    <a:pt x="14" y="110"/>
                  </a:lnTo>
                  <a:lnTo>
                    <a:pt x="12" y="110"/>
                  </a:lnTo>
                  <a:lnTo>
                    <a:pt x="10" y="110"/>
                  </a:lnTo>
                  <a:lnTo>
                    <a:pt x="8" y="110"/>
                  </a:lnTo>
                  <a:lnTo>
                    <a:pt x="6" y="108"/>
                  </a:lnTo>
                  <a:lnTo>
                    <a:pt x="4" y="108"/>
                  </a:lnTo>
                  <a:lnTo>
                    <a:pt x="2" y="108"/>
                  </a:lnTo>
                  <a:lnTo>
                    <a:pt x="2" y="110"/>
                  </a:lnTo>
                  <a:lnTo>
                    <a:pt x="0" y="110"/>
                  </a:lnTo>
                  <a:lnTo>
                    <a:pt x="0" y="110"/>
                  </a:lnTo>
                  <a:lnTo>
                    <a:pt x="0" y="110"/>
                  </a:lnTo>
                  <a:lnTo>
                    <a:pt x="0" y="112"/>
                  </a:lnTo>
                  <a:lnTo>
                    <a:pt x="0" y="112"/>
                  </a:lnTo>
                  <a:lnTo>
                    <a:pt x="0" y="114"/>
                  </a:lnTo>
                  <a:lnTo>
                    <a:pt x="0" y="114"/>
                  </a:lnTo>
                  <a:lnTo>
                    <a:pt x="2" y="116"/>
                  </a:lnTo>
                  <a:lnTo>
                    <a:pt x="2" y="118"/>
                  </a:lnTo>
                  <a:lnTo>
                    <a:pt x="4" y="120"/>
                  </a:lnTo>
                  <a:lnTo>
                    <a:pt x="6" y="122"/>
                  </a:lnTo>
                  <a:lnTo>
                    <a:pt x="8" y="124"/>
                  </a:lnTo>
                  <a:lnTo>
                    <a:pt x="8" y="124"/>
                  </a:lnTo>
                  <a:lnTo>
                    <a:pt x="10" y="124"/>
                  </a:lnTo>
                  <a:lnTo>
                    <a:pt x="10" y="126"/>
                  </a:lnTo>
                  <a:lnTo>
                    <a:pt x="12" y="126"/>
                  </a:lnTo>
                  <a:lnTo>
                    <a:pt x="14" y="126"/>
                  </a:lnTo>
                  <a:lnTo>
                    <a:pt x="14" y="126"/>
                  </a:lnTo>
                  <a:lnTo>
                    <a:pt x="16" y="126"/>
                  </a:lnTo>
                  <a:lnTo>
                    <a:pt x="16" y="126"/>
                  </a:lnTo>
                  <a:lnTo>
                    <a:pt x="16" y="126"/>
                  </a:lnTo>
                  <a:lnTo>
                    <a:pt x="16" y="128"/>
                  </a:lnTo>
                  <a:lnTo>
                    <a:pt x="16" y="128"/>
                  </a:lnTo>
                  <a:lnTo>
                    <a:pt x="16" y="130"/>
                  </a:lnTo>
                  <a:lnTo>
                    <a:pt x="16" y="132"/>
                  </a:lnTo>
                  <a:lnTo>
                    <a:pt x="16" y="136"/>
                  </a:lnTo>
                  <a:lnTo>
                    <a:pt x="16" y="136"/>
                  </a:lnTo>
                  <a:lnTo>
                    <a:pt x="16" y="138"/>
                  </a:lnTo>
                  <a:lnTo>
                    <a:pt x="16" y="138"/>
                  </a:lnTo>
                  <a:lnTo>
                    <a:pt x="18" y="138"/>
                  </a:lnTo>
                  <a:lnTo>
                    <a:pt x="18" y="140"/>
                  </a:lnTo>
                  <a:lnTo>
                    <a:pt x="20" y="140"/>
                  </a:lnTo>
                  <a:lnTo>
                    <a:pt x="22" y="142"/>
                  </a:lnTo>
                  <a:lnTo>
                    <a:pt x="24" y="144"/>
                  </a:lnTo>
                  <a:lnTo>
                    <a:pt x="26" y="146"/>
                  </a:lnTo>
                  <a:lnTo>
                    <a:pt x="28" y="146"/>
                  </a:lnTo>
                  <a:lnTo>
                    <a:pt x="28" y="148"/>
                  </a:lnTo>
                  <a:lnTo>
                    <a:pt x="30" y="150"/>
                  </a:lnTo>
                  <a:lnTo>
                    <a:pt x="32" y="152"/>
                  </a:lnTo>
                  <a:lnTo>
                    <a:pt x="34" y="154"/>
                  </a:lnTo>
                  <a:lnTo>
                    <a:pt x="34" y="156"/>
                  </a:lnTo>
                  <a:lnTo>
                    <a:pt x="36" y="158"/>
                  </a:lnTo>
                  <a:lnTo>
                    <a:pt x="36" y="158"/>
                  </a:lnTo>
                  <a:lnTo>
                    <a:pt x="36" y="160"/>
                  </a:lnTo>
                  <a:lnTo>
                    <a:pt x="36" y="160"/>
                  </a:lnTo>
                  <a:lnTo>
                    <a:pt x="36" y="164"/>
                  </a:lnTo>
                  <a:lnTo>
                    <a:pt x="34" y="168"/>
                  </a:lnTo>
                  <a:lnTo>
                    <a:pt x="36" y="168"/>
                  </a:lnTo>
                  <a:lnTo>
                    <a:pt x="42" y="168"/>
                  </a:lnTo>
                  <a:lnTo>
                    <a:pt x="46" y="170"/>
                  </a:lnTo>
                  <a:lnTo>
                    <a:pt x="48" y="170"/>
                  </a:lnTo>
                  <a:lnTo>
                    <a:pt x="50" y="172"/>
                  </a:lnTo>
                  <a:lnTo>
                    <a:pt x="52" y="172"/>
                  </a:lnTo>
                  <a:lnTo>
                    <a:pt x="54" y="174"/>
                  </a:lnTo>
                  <a:lnTo>
                    <a:pt x="56" y="174"/>
                  </a:lnTo>
                  <a:lnTo>
                    <a:pt x="58" y="176"/>
                  </a:lnTo>
                  <a:lnTo>
                    <a:pt x="60" y="178"/>
                  </a:lnTo>
                  <a:lnTo>
                    <a:pt x="62" y="178"/>
                  </a:lnTo>
                  <a:lnTo>
                    <a:pt x="62" y="180"/>
                  </a:lnTo>
                  <a:lnTo>
                    <a:pt x="64" y="182"/>
                  </a:lnTo>
                  <a:lnTo>
                    <a:pt x="64" y="182"/>
                  </a:lnTo>
                  <a:lnTo>
                    <a:pt x="64" y="184"/>
                  </a:lnTo>
                  <a:lnTo>
                    <a:pt x="64" y="186"/>
                  </a:lnTo>
                  <a:lnTo>
                    <a:pt x="64" y="188"/>
                  </a:lnTo>
                  <a:lnTo>
                    <a:pt x="64" y="190"/>
                  </a:lnTo>
                  <a:lnTo>
                    <a:pt x="64" y="190"/>
                  </a:lnTo>
                  <a:lnTo>
                    <a:pt x="66" y="192"/>
                  </a:lnTo>
                  <a:lnTo>
                    <a:pt x="66" y="192"/>
                  </a:lnTo>
                  <a:lnTo>
                    <a:pt x="66" y="192"/>
                  </a:lnTo>
                  <a:lnTo>
                    <a:pt x="68" y="192"/>
                  </a:lnTo>
                  <a:lnTo>
                    <a:pt x="70" y="194"/>
                  </a:lnTo>
                  <a:lnTo>
                    <a:pt x="72" y="194"/>
                  </a:lnTo>
                  <a:lnTo>
                    <a:pt x="74" y="194"/>
                  </a:lnTo>
                  <a:lnTo>
                    <a:pt x="76" y="194"/>
                  </a:lnTo>
                  <a:lnTo>
                    <a:pt x="80" y="194"/>
                  </a:lnTo>
                  <a:lnTo>
                    <a:pt x="82" y="194"/>
                  </a:lnTo>
                  <a:lnTo>
                    <a:pt x="84" y="194"/>
                  </a:lnTo>
                  <a:lnTo>
                    <a:pt x="86" y="194"/>
                  </a:lnTo>
                  <a:lnTo>
                    <a:pt x="88" y="192"/>
                  </a:lnTo>
                  <a:lnTo>
                    <a:pt x="90" y="192"/>
                  </a:lnTo>
                  <a:lnTo>
                    <a:pt x="92" y="192"/>
                  </a:lnTo>
                  <a:lnTo>
                    <a:pt x="94" y="190"/>
                  </a:lnTo>
                  <a:lnTo>
                    <a:pt x="96" y="190"/>
                  </a:lnTo>
                  <a:lnTo>
                    <a:pt x="98" y="188"/>
                  </a:lnTo>
                  <a:lnTo>
                    <a:pt x="98" y="188"/>
                  </a:lnTo>
                  <a:lnTo>
                    <a:pt x="98" y="188"/>
                  </a:lnTo>
                  <a:lnTo>
                    <a:pt x="98" y="186"/>
                  </a:lnTo>
                  <a:lnTo>
                    <a:pt x="96" y="184"/>
                  </a:lnTo>
                  <a:lnTo>
                    <a:pt x="96" y="184"/>
                  </a:lnTo>
                  <a:lnTo>
                    <a:pt x="98" y="182"/>
                  </a:lnTo>
                  <a:lnTo>
                    <a:pt x="98" y="182"/>
                  </a:lnTo>
                  <a:lnTo>
                    <a:pt x="98" y="182"/>
                  </a:lnTo>
                  <a:lnTo>
                    <a:pt x="100" y="180"/>
                  </a:lnTo>
                  <a:lnTo>
                    <a:pt x="100" y="180"/>
                  </a:lnTo>
                  <a:lnTo>
                    <a:pt x="104" y="180"/>
                  </a:lnTo>
                  <a:lnTo>
                    <a:pt x="106" y="180"/>
                  </a:lnTo>
                  <a:lnTo>
                    <a:pt x="110" y="180"/>
                  </a:lnTo>
                  <a:lnTo>
                    <a:pt x="112" y="180"/>
                  </a:lnTo>
                  <a:lnTo>
                    <a:pt x="114" y="180"/>
                  </a:lnTo>
                  <a:lnTo>
                    <a:pt x="116" y="182"/>
                  </a:lnTo>
                  <a:lnTo>
                    <a:pt x="118" y="182"/>
                  </a:lnTo>
                  <a:lnTo>
                    <a:pt x="118" y="182"/>
                  </a:lnTo>
                  <a:lnTo>
                    <a:pt x="120" y="184"/>
                  </a:lnTo>
                  <a:lnTo>
                    <a:pt x="120" y="186"/>
                  </a:lnTo>
                  <a:lnTo>
                    <a:pt x="122" y="186"/>
                  </a:lnTo>
                  <a:lnTo>
                    <a:pt x="124" y="188"/>
                  </a:lnTo>
                  <a:lnTo>
                    <a:pt x="126" y="190"/>
                  </a:lnTo>
                  <a:lnTo>
                    <a:pt x="128" y="192"/>
                  </a:lnTo>
                  <a:lnTo>
                    <a:pt x="130" y="190"/>
                  </a:lnTo>
                  <a:lnTo>
                    <a:pt x="132" y="184"/>
                  </a:lnTo>
                  <a:lnTo>
                    <a:pt x="134" y="182"/>
                  </a:lnTo>
                  <a:lnTo>
                    <a:pt x="136" y="180"/>
                  </a:lnTo>
                  <a:lnTo>
                    <a:pt x="138" y="178"/>
                  </a:lnTo>
                  <a:lnTo>
                    <a:pt x="138" y="176"/>
                  </a:lnTo>
                  <a:lnTo>
                    <a:pt x="140" y="176"/>
                  </a:lnTo>
                  <a:lnTo>
                    <a:pt x="140" y="176"/>
                  </a:lnTo>
                  <a:lnTo>
                    <a:pt x="140" y="176"/>
                  </a:lnTo>
                  <a:lnTo>
                    <a:pt x="142" y="176"/>
                  </a:lnTo>
                  <a:lnTo>
                    <a:pt x="144" y="176"/>
                  </a:lnTo>
                  <a:lnTo>
                    <a:pt x="146" y="176"/>
                  </a:lnTo>
                  <a:lnTo>
                    <a:pt x="152" y="176"/>
                  </a:lnTo>
                  <a:lnTo>
                    <a:pt x="152" y="176"/>
                  </a:lnTo>
                  <a:lnTo>
                    <a:pt x="154" y="176"/>
                  </a:lnTo>
                  <a:lnTo>
                    <a:pt x="158" y="176"/>
                  </a:lnTo>
                  <a:lnTo>
                    <a:pt x="164" y="174"/>
                  </a:lnTo>
                  <a:lnTo>
                    <a:pt x="166" y="174"/>
                  </a:lnTo>
                  <a:lnTo>
                    <a:pt x="170" y="172"/>
                  </a:lnTo>
                  <a:lnTo>
                    <a:pt x="172" y="172"/>
                  </a:lnTo>
                  <a:lnTo>
                    <a:pt x="174" y="172"/>
                  </a:lnTo>
                  <a:lnTo>
                    <a:pt x="176" y="170"/>
                  </a:lnTo>
                  <a:lnTo>
                    <a:pt x="178" y="168"/>
                  </a:lnTo>
                  <a:lnTo>
                    <a:pt x="180" y="166"/>
                  </a:lnTo>
                  <a:lnTo>
                    <a:pt x="182" y="164"/>
                  </a:lnTo>
                  <a:lnTo>
                    <a:pt x="184" y="162"/>
                  </a:lnTo>
                  <a:lnTo>
                    <a:pt x="186" y="160"/>
                  </a:lnTo>
                  <a:lnTo>
                    <a:pt x="188" y="158"/>
                  </a:lnTo>
                  <a:lnTo>
                    <a:pt x="188" y="156"/>
                  </a:lnTo>
                  <a:lnTo>
                    <a:pt x="188" y="156"/>
                  </a:lnTo>
                  <a:lnTo>
                    <a:pt x="190" y="154"/>
                  </a:lnTo>
                  <a:lnTo>
                    <a:pt x="190" y="152"/>
                  </a:lnTo>
                  <a:lnTo>
                    <a:pt x="190" y="148"/>
                  </a:lnTo>
                  <a:lnTo>
                    <a:pt x="190" y="146"/>
                  </a:lnTo>
                  <a:lnTo>
                    <a:pt x="190" y="142"/>
                  </a:lnTo>
                  <a:lnTo>
                    <a:pt x="190" y="140"/>
                  </a:lnTo>
                  <a:lnTo>
                    <a:pt x="190" y="138"/>
                  </a:lnTo>
                  <a:lnTo>
                    <a:pt x="190" y="136"/>
                  </a:lnTo>
                  <a:lnTo>
                    <a:pt x="192" y="136"/>
                  </a:lnTo>
                  <a:lnTo>
                    <a:pt x="192" y="136"/>
                  </a:lnTo>
                  <a:lnTo>
                    <a:pt x="192" y="134"/>
                  </a:lnTo>
                  <a:lnTo>
                    <a:pt x="194" y="134"/>
                  </a:lnTo>
                  <a:lnTo>
                    <a:pt x="194" y="132"/>
                  </a:lnTo>
                  <a:lnTo>
                    <a:pt x="198" y="132"/>
                  </a:lnTo>
                  <a:lnTo>
                    <a:pt x="200" y="130"/>
                  </a:lnTo>
                  <a:lnTo>
                    <a:pt x="202" y="128"/>
                  </a:lnTo>
                  <a:lnTo>
                    <a:pt x="204" y="128"/>
                  </a:lnTo>
                  <a:lnTo>
                    <a:pt x="204" y="126"/>
                  </a:lnTo>
                  <a:lnTo>
                    <a:pt x="204" y="126"/>
                  </a:lnTo>
                  <a:lnTo>
                    <a:pt x="206" y="126"/>
                  </a:lnTo>
                  <a:lnTo>
                    <a:pt x="206" y="124"/>
                  </a:lnTo>
                  <a:lnTo>
                    <a:pt x="206" y="124"/>
                  </a:lnTo>
                  <a:lnTo>
                    <a:pt x="206" y="122"/>
                  </a:lnTo>
                  <a:lnTo>
                    <a:pt x="206" y="12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4" name="Freeform 604"/>
            <p:cNvSpPr>
              <a:spLocks/>
            </p:cNvSpPr>
            <p:nvPr/>
          </p:nvSpPr>
          <p:spPr bwMode="auto">
            <a:xfrm>
              <a:off x="5180283" y="4223585"/>
              <a:ext cx="3464" cy="3464"/>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5" name="Freeform 605"/>
            <p:cNvSpPr>
              <a:spLocks/>
            </p:cNvSpPr>
            <p:nvPr/>
          </p:nvSpPr>
          <p:spPr bwMode="auto">
            <a:xfrm>
              <a:off x="5090215" y="4220120"/>
              <a:ext cx="356807" cy="336023"/>
            </a:xfrm>
            <a:custGeom>
              <a:avLst/>
              <a:gdLst>
                <a:gd name="T0" fmla="*/ 202 w 206"/>
                <a:gd name="T1" fmla="*/ 116 h 194"/>
                <a:gd name="T2" fmla="*/ 190 w 206"/>
                <a:gd name="T3" fmla="*/ 108 h 194"/>
                <a:gd name="T4" fmla="*/ 176 w 206"/>
                <a:gd name="T5" fmla="*/ 112 h 194"/>
                <a:gd name="T6" fmla="*/ 168 w 206"/>
                <a:gd name="T7" fmla="*/ 106 h 194"/>
                <a:gd name="T8" fmla="*/ 144 w 206"/>
                <a:gd name="T9" fmla="*/ 80 h 194"/>
                <a:gd name="T10" fmla="*/ 126 w 206"/>
                <a:gd name="T11" fmla="*/ 76 h 194"/>
                <a:gd name="T12" fmla="*/ 122 w 206"/>
                <a:gd name="T13" fmla="*/ 72 h 194"/>
                <a:gd name="T14" fmla="*/ 122 w 206"/>
                <a:gd name="T15" fmla="*/ 58 h 194"/>
                <a:gd name="T16" fmla="*/ 128 w 206"/>
                <a:gd name="T17" fmla="*/ 42 h 194"/>
                <a:gd name="T18" fmla="*/ 120 w 206"/>
                <a:gd name="T19" fmla="*/ 46 h 194"/>
                <a:gd name="T20" fmla="*/ 114 w 206"/>
                <a:gd name="T21" fmla="*/ 38 h 194"/>
                <a:gd name="T22" fmla="*/ 104 w 206"/>
                <a:gd name="T23" fmla="*/ 22 h 194"/>
                <a:gd name="T24" fmla="*/ 88 w 206"/>
                <a:gd name="T25" fmla="*/ 8 h 194"/>
                <a:gd name="T26" fmla="*/ 82 w 206"/>
                <a:gd name="T27" fmla="*/ 6 h 194"/>
                <a:gd name="T28" fmla="*/ 70 w 206"/>
                <a:gd name="T29" fmla="*/ 4 h 194"/>
                <a:gd name="T30" fmla="*/ 54 w 206"/>
                <a:gd name="T31" fmla="*/ 4 h 194"/>
                <a:gd name="T32" fmla="*/ 56 w 206"/>
                <a:gd name="T33" fmla="*/ 18 h 194"/>
                <a:gd name="T34" fmla="*/ 54 w 206"/>
                <a:gd name="T35" fmla="*/ 36 h 194"/>
                <a:gd name="T36" fmla="*/ 48 w 206"/>
                <a:gd name="T37" fmla="*/ 40 h 194"/>
                <a:gd name="T38" fmla="*/ 36 w 206"/>
                <a:gd name="T39" fmla="*/ 42 h 194"/>
                <a:gd name="T40" fmla="*/ 32 w 206"/>
                <a:gd name="T41" fmla="*/ 46 h 194"/>
                <a:gd name="T42" fmla="*/ 34 w 206"/>
                <a:gd name="T43" fmla="*/ 66 h 194"/>
                <a:gd name="T44" fmla="*/ 32 w 206"/>
                <a:gd name="T45" fmla="*/ 74 h 194"/>
                <a:gd name="T46" fmla="*/ 28 w 206"/>
                <a:gd name="T47" fmla="*/ 76 h 194"/>
                <a:gd name="T48" fmla="*/ 20 w 206"/>
                <a:gd name="T49" fmla="*/ 76 h 194"/>
                <a:gd name="T50" fmla="*/ 18 w 206"/>
                <a:gd name="T51" fmla="*/ 82 h 194"/>
                <a:gd name="T52" fmla="*/ 18 w 206"/>
                <a:gd name="T53" fmla="*/ 102 h 194"/>
                <a:gd name="T54" fmla="*/ 14 w 206"/>
                <a:gd name="T55" fmla="*/ 110 h 194"/>
                <a:gd name="T56" fmla="*/ 6 w 206"/>
                <a:gd name="T57" fmla="*/ 108 h 194"/>
                <a:gd name="T58" fmla="*/ 0 w 206"/>
                <a:gd name="T59" fmla="*/ 110 h 194"/>
                <a:gd name="T60" fmla="*/ 2 w 206"/>
                <a:gd name="T61" fmla="*/ 118 h 194"/>
                <a:gd name="T62" fmla="*/ 10 w 206"/>
                <a:gd name="T63" fmla="*/ 126 h 194"/>
                <a:gd name="T64" fmla="*/ 16 w 206"/>
                <a:gd name="T65" fmla="*/ 126 h 194"/>
                <a:gd name="T66" fmla="*/ 16 w 206"/>
                <a:gd name="T67" fmla="*/ 136 h 194"/>
                <a:gd name="T68" fmla="*/ 22 w 206"/>
                <a:gd name="T69" fmla="*/ 142 h 194"/>
                <a:gd name="T70" fmla="*/ 32 w 206"/>
                <a:gd name="T71" fmla="*/ 152 h 194"/>
                <a:gd name="T72" fmla="*/ 36 w 206"/>
                <a:gd name="T73" fmla="*/ 160 h 194"/>
                <a:gd name="T74" fmla="*/ 48 w 206"/>
                <a:gd name="T75" fmla="*/ 170 h 194"/>
                <a:gd name="T76" fmla="*/ 60 w 206"/>
                <a:gd name="T77" fmla="*/ 178 h 194"/>
                <a:gd name="T78" fmla="*/ 64 w 206"/>
                <a:gd name="T79" fmla="*/ 186 h 194"/>
                <a:gd name="T80" fmla="*/ 66 w 206"/>
                <a:gd name="T81" fmla="*/ 192 h 194"/>
                <a:gd name="T82" fmla="*/ 80 w 206"/>
                <a:gd name="T83" fmla="*/ 194 h 194"/>
                <a:gd name="T84" fmla="*/ 92 w 206"/>
                <a:gd name="T85" fmla="*/ 192 h 194"/>
                <a:gd name="T86" fmla="*/ 98 w 206"/>
                <a:gd name="T87" fmla="*/ 186 h 194"/>
                <a:gd name="T88" fmla="*/ 100 w 206"/>
                <a:gd name="T89" fmla="*/ 180 h 194"/>
                <a:gd name="T90" fmla="*/ 114 w 206"/>
                <a:gd name="T91" fmla="*/ 180 h 194"/>
                <a:gd name="T92" fmla="*/ 122 w 206"/>
                <a:gd name="T93" fmla="*/ 186 h 194"/>
                <a:gd name="T94" fmla="*/ 134 w 206"/>
                <a:gd name="T95" fmla="*/ 182 h 194"/>
                <a:gd name="T96" fmla="*/ 140 w 206"/>
                <a:gd name="T97" fmla="*/ 176 h 194"/>
                <a:gd name="T98" fmla="*/ 154 w 206"/>
                <a:gd name="T99" fmla="*/ 176 h 194"/>
                <a:gd name="T100" fmla="*/ 174 w 206"/>
                <a:gd name="T101" fmla="*/ 172 h 194"/>
                <a:gd name="T102" fmla="*/ 186 w 206"/>
                <a:gd name="T103" fmla="*/ 160 h 194"/>
                <a:gd name="T104" fmla="*/ 190 w 206"/>
                <a:gd name="T105" fmla="*/ 148 h 194"/>
                <a:gd name="T106" fmla="*/ 192 w 206"/>
                <a:gd name="T107" fmla="*/ 136 h 194"/>
                <a:gd name="T108" fmla="*/ 200 w 206"/>
                <a:gd name="T109" fmla="*/ 130 h 194"/>
                <a:gd name="T110" fmla="*/ 206 w 206"/>
                <a:gd name="T111" fmla="*/ 1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 h="194">
                  <a:moveTo>
                    <a:pt x="206" y="122"/>
                  </a:moveTo>
                  <a:lnTo>
                    <a:pt x="206" y="120"/>
                  </a:lnTo>
                  <a:lnTo>
                    <a:pt x="204" y="120"/>
                  </a:lnTo>
                  <a:lnTo>
                    <a:pt x="204" y="118"/>
                  </a:lnTo>
                  <a:lnTo>
                    <a:pt x="204" y="118"/>
                  </a:lnTo>
                  <a:lnTo>
                    <a:pt x="202" y="116"/>
                  </a:lnTo>
                  <a:lnTo>
                    <a:pt x="198" y="114"/>
                  </a:lnTo>
                  <a:lnTo>
                    <a:pt x="196" y="112"/>
                  </a:lnTo>
                  <a:lnTo>
                    <a:pt x="194" y="110"/>
                  </a:lnTo>
                  <a:lnTo>
                    <a:pt x="192" y="110"/>
                  </a:lnTo>
                  <a:lnTo>
                    <a:pt x="192" y="110"/>
                  </a:lnTo>
                  <a:lnTo>
                    <a:pt x="190" y="108"/>
                  </a:lnTo>
                  <a:lnTo>
                    <a:pt x="188" y="110"/>
                  </a:lnTo>
                  <a:lnTo>
                    <a:pt x="186" y="110"/>
                  </a:lnTo>
                  <a:lnTo>
                    <a:pt x="184" y="110"/>
                  </a:lnTo>
                  <a:lnTo>
                    <a:pt x="180" y="110"/>
                  </a:lnTo>
                  <a:lnTo>
                    <a:pt x="178" y="110"/>
                  </a:lnTo>
                  <a:lnTo>
                    <a:pt x="176" y="112"/>
                  </a:lnTo>
                  <a:lnTo>
                    <a:pt x="176" y="110"/>
                  </a:lnTo>
                  <a:lnTo>
                    <a:pt x="174" y="110"/>
                  </a:lnTo>
                  <a:lnTo>
                    <a:pt x="174" y="110"/>
                  </a:lnTo>
                  <a:lnTo>
                    <a:pt x="172" y="108"/>
                  </a:lnTo>
                  <a:lnTo>
                    <a:pt x="170" y="108"/>
                  </a:lnTo>
                  <a:lnTo>
                    <a:pt x="168" y="106"/>
                  </a:lnTo>
                  <a:lnTo>
                    <a:pt x="166" y="104"/>
                  </a:lnTo>
                  <a:lnTo>
                    <a:pt x="162" y="100"/>
                  </a:lnTo>
                  <a:lnTo>
                    <a:pt x="156" y="92"/>
                  </a:lnTo>
                  <a:lnTo>
                    <a:pt x="154" y="90"/>
                  </a:lnTo>
                  <a:lnTo>
                    <a:pt x="150" y="86"/>
                  </a:lnTo>
                  <a:lnTo>
                    <a:pt x="144" y="80"/>
                  </a:lnTo>
                  <a:lnTo>
                    <a:pt x="140" y="76"/>
                  </a:lnTo>
                  <a:lnTo>
                    <a:pt x="138" y="76"/>
                  </a:lnTo>
                  <a:lnTo>
                    <a:pt x="134" y="76"/>
                  </a:lnTo>
                  <a:lnTo>
                    <a:pt x="132" y="76"/>
                  </a:lnTo>
                  <a:lnTo>
                    <a:pt x="130" y="76"/>
                  </a:lnTo>
                  <a:lnTo>
                    <a:pt x="126" y="76"/>
                  </a:lnTo>
                  <a:lnTo>
                    <a:pt x="126" y="76"/>
                  </a:lnTo>
                  <a:lnTo>
                    <a:pt x="124" y="76"/>
                  </a:lnTo>
                  <a:lnTo>
                    <a:pt x="124" y="74"/>
                  </a:lnTo>
                  <a:lnTo>
                    <a:pt x="122" y="74"/>
                  </a:lnTo>
                  <a:lnTo>
                    <a:pt x="122" y="74"/>
                  </a:lnTo>
                  <a:lnTo>
                    <a:pt x="122" y="72"/>
                  </a:lnTo>
                  <a:lnTo>
                    <a:pt x="122" y="72"/>
                  </a:lnTo>
                  <a:lnTo>
                    <a:pt x="122" y="70"/>
                  </a:lnTo>
                  <a:lnTo>
                    <a:pt x="122" y="68"/>
                  </a:lnTo>
                  <a:lnTo>
                    <a:pt x="122" y="66"/>
                  </a:lnTo>
                  <a:lnTo>
                    <a:pt x="122" y="62"/>
                  </a:lnTo>
                  <a:lnTo>
                    <a:pt x="122" y="58"/>
                  </a:lnTo>
                  <a:lnTo>
                    <a:pt x="124" y="54"/>
                  </a:lnTo>
                  <a:lnTo>
                    <a:pt x="124" y="50"/>
                  </a:lnTo>
                  <a:lnTo>
                    <a:pt x="126" y="46"/>
                  </a:lnTo>
                  <a:lnTo>
                    <a:pt x="126" y="46"/>
                  </a:lnTo>
                  <a:lnTo>
                    <a:pt x="128" y="42"/>
                  </a:lnTo>
                  <a:lnTo>
                    <a:pt x="128" y="42"/>
                  </a:lnTo>
                  <a:lnTo>
                    <a:pt x="128" y="42"/>
                  </a:lnTo>
                  <a:lnTo>
                    <a:pt x="126" y="44"/>
                  </a:lnTo>
                  <a:lnTo>
                    <a:pt x="122" y="44"/>
                  </a:lnTo>
                  <a:lnTo>
                    <a:pt x="122" y="44"/>
                  </a:lnTo>
                  <a:lnTo>
                    <a:pt x="122" y="46"/>
                  </a:lnTo>
                  <a:lnTo>
                    <a:pt x="120" y="46"/>
                  </a:lnTo>
                  <a:lnTo>
                    <a:pt x="120" y="46"/>
                  </a:lnTo>
                  <a:lnTo>
                    <a:pt x="120" y="44"/>
                  </a:lnTo>
                  <a:lnTo>
                    <a:pt x="118" y="44"/>
                  </a:lnTo>
                  <a:lnTo>
                    <a:pt x="118" y="44"/>
                  </a:lnTo>
                  <a:lnTo>
                    <a:pt x="116" y="40"/>
                  </a:lnTo>
                  <a:lnTo>
                    <a:pt x="114" y="38"/>
                  </a:lnTo>
                  <a:lnTo>
                    <a:pt x="114" y="38"/>
                  </a:lnTo>
                  <a:lnTo>
                    <a:pt x="110" y="30"/>
                  </a:lnTo>
                  <a:lnTo>
                    <a:pt x="110" y="30"/>
                  </a:lnTo>
                  <a:lnTo>
                    <a:pt x="106" y="26"/>
                  </a:lnTo>
                  <a:lnTo>
                    <a:pt x="106" y="26"/>
                  </a:lnTo>
                  <a:lnTo>
                    <a:pt x="104" y="22"/>
                  </a:lnTo>
                  <a:lnTo>
                    <a:pt x="100" y="18"/>
                  </a:lnTo>
                  <a:lnTo>
                    <a:pt x="100" y="18"/>
                  </a:lnTo>
                  <a:lnTo>
                    <a:pt x="94" y="12"/>
                  </a:lnTo>
                  <a:lnTo>
                    <a:pt x="94" y="10"/>
                  </a:lnTo>
                  <a:lnTo>
                    <a:pt x="92" y="12"/>
                  </a:lnTo>
                  <a:lnTo>
                    <a:pt x="88" y="8"/>
                  </a:lnTo>
                  <a:lnTo>
                    <a:pt x="86" y="10"/>
                  </a:lnTo>
                  <a:lnTo>
                    <a:pt x="84" y="8"/>
                  </a:lnTo>
                  <a:lnTo>
                    <a:pt x="82" y="10"/>
                  </a:lnTo>
                  <a:lnTo>
                    <a:pt x="82" y="10"/>
                  </a:lnTo>
                  <a:lnTo>
                    <a:pt x="82" y="6"/>
                  </a:lnTo>
                  <a:lnTo>
                    <a:pt x="82" y="6"/>
                  </a:lnTo>
                  <a:lnTo>
                    <a:pt x="76" y="8"/>
                  </a:lnTo>
                  <a:lnTo>
                    <a:pt x="76" y="8"/>
                  </a:lnTo>
                  <a:lnTo>
                    <a:pt x="72" y="8"/>
                  </a:lnTo>
                  <a:lnTo>
                    <a:pt x="72" y="8"/>
                  </a:lnTo>
                  <a:lnTo>
                    <a:pt x="70" y="4"/>
                  </a:lnTo>
                  <a:lnTo>
                    <a:pt x="70" y="4"/>
                  </a:lnTo>
                  <a:lnTo>
                    <a:pt x="68" y="4"/>
                  </a:lnTo>
                  <a:lnTo>
                    <a:pt x="66" y="0"/>
                  </a:lnTo>
                  <a:lnTo>
                    <a:pt x="60" y="8"/>
                  </a:lnTo>
                  <a:lnTo>
                    <a:pt x="58" y="4"/>
                  </a:lnTo>
                  <a:lnTo>
                    <a:pt x="54" y="4"/>
                  </a:lnTo>
                  <a:lnTo>
                    <a:pt x="54" y="4"/>
                  </a:lnTo>
                  <a:lnTo>
                    <a:pt x="54" y="4"/>
                  </a:lnTo>
                  <a:lnTo>
                    <a:pt x="54" y="8"/>
                  </a:lnTo>
                  <a:lnTo>
                    <a:pt x="54" y="10"/>
                  </a:lnTo>
                  <a:lnTo>
                    <a:pt x="56" y="12"/>
                  </a:lnTo>
                  <a:lnTo>
                    <a:pt x="56" y="16"/>
                  </a:lnTo>
                  <a:lnTo>
                    <a:pt x="56" y="18"/>
                  </a:lnTo>
                  <a:lnTo>
                    <a:pt x="56" y="22"/>
                  </a:lnTo>
                  <a:lnTo>
                    <a:pt x="56" y="24"/>
                  </a:lnTo>
                  <a:lnTo>
                    <a:pt x="56" y="28"/>
                  </a:lnTo>
                  <a:lnTo>
                    <a:pt x="56" y="30"/>
                  </a:lnTo>
                  <a:lnTo>
                    <a:pt x="54" y="32"/>
                  </a:lnTo>
                  <a:lnTo>
                    <a:pt x="54" y="36"/>
                  </a:lnTo>
                  <a:lnTo>
                    <a:pt x="54" y="38"/>
                  </a:lnTo>
                  <a:lnTo>
                    <a:pt x="52" y="38"/>
                  </a:lnTo>
                  <a:lnTo>
                    <a:pt x="52" y="40"/>
                  </a:lnTo>
                  <a:lnTo>
                    <a:pt x="50" y="40"/>
                  </a:lnTo>
                  <a:lnTo>
                    <a:pt x="50" y="40"/>
                  </a:lnTo>
                  <a:lnTo>
                    <a:pt x="48" y="40"/>
                  </a:lnTo>
                  <a:lnTo>
                    <a:pt x="46" y="40"/>
                  </a:lnTo>
                  <a:lnTo>
                    <a:pt x="44" y="40"/>
                  </a:lnTo>
                  <a:lnTo>
                    <a:pt x="40" y="40"/>
                  </a:lnTo>
                  <a:lnTo>
                    <a:pt x="38" y="40"/>
                  </a:lnTo>
                  <a:lnTo>
                    <a:pt x="36" y="40"/>
                  </a:lnTo>
                  <a:lnTo>
                    <a:pt x="36" y="42"/>
                  </a:lnTo>
                  <a:lnTo>
                    <a:pt x="34" y="42"/>
                  </a:lnTo>
                  <a:lnTo>
                    <a:pt x="34" y="42"/>
                  </a:lnTo>
                  <a:lnTo>
                    <a:pt x="34" y="42"/>
                  </a:lnTo>
                  <a:lnTo>
                    <a:pt x="34" y="44"/>
                  </a:lnTo>
                  <a:lnTo>
                    <a:pt x="32" y="44"/>
                  </a:lnTo>
                  <a:lnTo>
                    <a:pt x="32" y="46"/>
                  </a:lnTo>
                  <a:lnTo>
                    <a:pt x="32" y="48"/>
                  </a:lnTo>
                  <a:lnTo>
                    <a:pt x="32" y="52"/>
                  </a:lnTo>
                  <a:lnTo>
                    <a:pt x="32" y="54"/>
                  </a:lnTo>
                  <a:lnTo>
                    <a:pt x="32" y="58"/>
                  </a:lnTo>
                  <a:lnTo>
                    <a:pt x="34" y="64"/>
                  </a:lnTo>
                  <a:lnTo>
                    <a:pt x="34" y="66"/>
                  </a:lnTo>
                  <a:lnTo>
                    <a:pt x="34" y="68"/>
                  </a:lnTo>
                  <a:lnTo>
                    <a:pt x="34" y="70"/>
                  </a:lnTo>
                  <a:lnTo>
                    <a:pt x="32" y="72"/>
                  </a:lnTo>
                  <a:lnTo>
                    <a:pt x="32" y="74"/>
                  </a:lnTo>
                  <a:lnTo>
                    <a:pt x="32" y="74"/>
                  </a:lnTo>
                  <a:lnTo>
                    <a:pt x="32" y="74"/>
                  </a:lnTo>
                  <a:lnTo>
                    <a:pt x="32" y="76"/>
                  </a:lnTo>
                  <a:lnTo>
                    <a:pt x="30" y="76"/>
                  </a:lnTo>
                  <a:lnTo>
                    <a:pt x="30" y="76"/>
                  </a:lnTo>
                  <a:lnTo>
                    <a:pt x="30" y="76"/>
                  </a:lnTo>
                  <a:lnTo>
                    <a:pt x="28" y="76"/>
                  </a:lnTo>
                  <a:lnTo>
                    <a:pt x="28" y="76"/>
                  </a:lnTo>
                  <a:lnTo>
                    <a:pt x="26" y="76"/>
                  </a:lnTo>
                  <a:lnTo>
                    <a:pt x="24" y="76"/>
                  </a:lnTo>
                  <a:lnTo>
                    <a:pt x="22" y="76"/>
                  </a:lnTo>
                  <a:lnTo>
                    <a:pt x="22" y="76"/>
                  </a:lnTo>
                  <a:lnTo>
                    <a:pt x="20" y="76"/>
                  </a:lnTo>
                  <a:lnTo>
                    <a:pt x="20" y="76"/>
                  </a:lnTo>
                  <a:lnTo>
                    <a:pt x="20" y="76"/>
                  </a:lnTo>
                  <a:lnTo>
                    <a:pt x="18" y="76"/>
                  </a:lnTo>
                  <a:lnTo>
                    <a:pt x="18" y="78"/>
                  </a:lnTo>
                  <a:lnTo>
                    <a:pt x="18" y="78"/>
                  </a:lnTo>
                  <a:lnTo>
                    <a:pt x="18" y="80"/>
                  </a:lnTo>
                  <a:lnTo>
                    <a:pt x="18" y="82"/>
                  </a:lnTo>
                  <a:lnTo>
                    <a:pt x="16" y="84"/>
                  </a:lnTo>
                  <a:lnTo>
                    <a:pt x="18" y="88"/>
                  </a:lnTo>
                  <a:lnTo>
                    <a:pt x="18" y="92"/>
                  </a:lnTo>
                  <a:lnTo>
                    <a:pt x="18" y="98"/>
                  </a:lnTo>
                  <a:lnTo>
                    <a:pt x="18" y="100"/>
                  </a:lnTo>
                  <a:lnTo>
                    <a:pt x="18" y="102"/>
                  </a:lnTo>
                  <a:lnTo>
                    <a:pt x="18" y="104"/>
                  </a:lnTo>
                  <a:lnTo>
                    <a:pt x="18" y="106"/>
                  </a:lnTo>
                  <a:lnTo>
                    <a:pt x="16" y="108"/>
                  </a:lnTo>
                  <a:lnTo>
                    <a:pt x="16" y="108"/>
                  </a:lnTo>
                  <a:lnTo>
                    <a:pt x="16" y="108"/>
                  </a:lnTo>
                  <a:lnTo>
                    <a:pt x="14" y="110"/>
                  </a:lnTo>
                  <a:lnTo>
                    <a:pt x="14" y="110"/>
                  </a:lnTo>
                  <a:lnTo>
                    <a:pt x="14" y="110"/>
                  </a:lnTo>
                  <a:lnTo>
                    <a:pt x="12" y="110"/>
                  </a:lnTo>
                  <a:lnTo>
                    <a:pt x="10" y="110"/>
                  </a:lnTo>
                  <a:lnTo>
                    <a:pt x="8" y="110"/>
                  </a:lnTo>
                  <a:lnTo>
                    <a:pt x="6" y="108"/>
                  </a:lnTo>
                  <a:lnTo>
                    <a:pt x="4" y="108"/>
                  </a:lnTo>
                  <a:lnTo>
                    <a:pt x="2" y="108"/>
                  </a:lnTo>
                  <a:lnTo>
                    <a:pt x="2" y="110"/>
                  </a:lnTo>
                  <a:lnTo>
                    <a:pt x="0" y="110"/>
                  </a:lnTo>
                  <a:lnTo>
                    <a:pt x="0" y="110"/>
                  </a:lnTo>
                  <a:lnTo>
                    <a:pt x="0" y="110"/>
                  </a:lnTo>
                  <a:lnTo>
                    <a:pt x="0" y="112"/>
                  </a:lnTo>
                  <a:lnTo>
                    <a:pt x="0" y="112"/>
                  </a:lnTo>
                  <a:lnTo>
                    <a:pt x="0" y="114"/>
                  </a:lnTo>
                  <a:lnTo>
                    <a:pt x="0" y="114"/>
                  </a:lnTo>
                  <a:lnTo>
                    <a:pt x="2" y="116"/>
                  </a:lnTo>
                  <a:lnTo>
                    <a:pt x="2" y="118"/>
                  </a:lnTo>
                  <a:lnTo>
                    <a:pt x="4" y="120"/>
                  </a:lnTo>
                  <a:lnTo>
                    <a:pt x="6" y="122"/>
                  </a:lnTo>
                  <a:lnTo>
                    <a:pt x="8" y="124"/>
                  </a:lnTo>
                  <a:lnTo>
                    <a:pt x="8" y="124"/>
                  </a:lnTo>
                  <a:lnTo>
                    <a:pt x="10" y="124"/>
                  </a:lnTo>
                  <a:lnTo>
                    <a:pt x="10" y="126"/>
                  </a:lnTo>
                  <a:lnTo>
                    <a:pt x="12" y="126"/>
                  </a:lnTo>
                  <a:lnTo>
                    <a:pt x="14" y="126"/>
                  </a:lnTo>
                  <a:lnTo>
                    <a:pt x="14" y="126"/>
                  </a:lnTo>
                  <a:lnTo>
                    <a:pt x="16" y="126"/>
                  </a:lnTo>
                  <a:lnTo>
                    <a:pt x="16" y="126"/>
                  </a:lnTo>
                  <a:lnTo>
                    <a:pt x="16" y="126"/>
                  </a:lnTo>
                  <a:lnTo>
                    <a:pt x="16" y="128"/>
                  </a:lnTo>
                  <a:lnTo>
                    <a:pt x="16" y="128"/>
                  </a:lnTo>
                  <a:lnTo>
                    <a:pt x="16" y="130"/>
                  </a:lnTo>
                  <a:lnTo>
                    <a:pt x="16" y="132"/>
                  </a:lnTo>
                  <a:lnTo>
                    <a:pt x="16" y="136"/>
                  </a:lnTo>
                  <a:lnTo>
                    <a:pt x="16" y="136"/>
                  </a:lnTo>
                  <a:lnTo>
                    <a:pt x="16" y="138"/>
                  </a:lnTo>
                  <a:lnTo>
                    <a:pt x="16" y="138"/>
                  </a:lnTo>
                  <a:lnTo>
                    <a:pt x="18" y="138"/>
                  </a:lnTo>
                  <a:lnTo>
                    <a:pt x="18" y="140"/>
                  </a:lnTo>
                  <a:lnTo>
                    <a:pt x="20" y="140"/>
                  </a:lnTo>
                  <a:lnTo>
                    <a:pt x="22" y="142"/>
                  </a:lnTo>
                  <a:lnTo>
                    <a:pt x="24" y="144"/>
                  </a:lnTo>
                  <a:lnTo>
                    <a:pt x="26" y="146"/>
                  </a:lnTo>
                  <a:lnTo>
                    <a:pt x="28" y="146"/>
                  </a:lnTo>
                  <a:lnTo>
                    <a:pt x="28" y="148"/>
                  </a:lnTo>
                  <a:lnTo>
                    <a:pt x="30" y="150"/>
                  </a:lnTo>
                  <a:lnTo>
                    <a:pt x="32" y="152"/>
                  </a:lnTo>
                  <a:lnTo>
                    <a:pt x="34" y="154"/>
                  </a:lnTo>
                  <a:lnTo>
                    <a:pt x="34" y="156"/>
                  </a:lnTo>
                  <a:lnTo>
                    <a:pt x="36" y="158"/>
                  </a:lnTo>
                  <a:lnTo>
                    <a:pt x="36" y="158"/>
                  </a:lnTo>
                  <a:lnTo>
                    <a:pt x="36" y="160"/>
                  </a:lnTo>
                  <a:lnTo>
                    <a:pt x="36" y="160"/>
                  </a:lnTo>
                  <a:lnTo>
                    <a:pt x="36" y="164"/>
                  </a:lnTo>
                  <a:lnTo>
                    <a:pt x="34" y="168"/>
                  </a:lnTo>
                  <a:lnTo>
                    <a:pt x="36" y="168"/>
                  </a:lnTo>
                  <a:lnTo>
                    <a:pt x="42" y="168"/>
                  </a:lnTo>
                  <a:lnTo>
                    <a:pt x="46" y="170"/>
                  </a:lnTo>
                  <a:lnTo>
                    <a:pt x="48" y="170"/>
                  </a:lnTo>
                  <a:lnTo>
                    <a:pt x="50" y="172"/>
                  </a:lnTo>
                  <a:lnTo>
                    <a:pt x="52" y="172"/>
                  </a:lnTo>
                  <a:lnTo>
                    <a:pt x="54" y="174"/>
                  </a:lnTo>
                  <a:lnTo>
                    <a:pt x="56" y="174"/>
                  </a:lnTo>
                  <a:lnTo>
                    <a:pt x="58" y="176"/>
                  </a:lnTo>
                  <a:lnTo>
                    <a:pt x="60" y="178"/>
                  </a:lnTo>
                  <a:lnTo>
                    <a:pt x="62" y="178"/>
                  </a:lnTo>
                  <a:lnTo>
                    <a:pt x="62" y="180"/>
                  </a:lnTo>
                  <a:lnTo>
                    <a:pt x="64" y="182"/>
                  </a:lnTo>
                  <a:lnTo>
                    <a:pt x="64" y="182"/>
                  </a:lnTo>
                  <a:lnTo>
                    <a:pt x="64" y="184"/>
                  </a:lnTo>
                  <a:lnTo>
                    <a:pt x="64" y="186"/>
                  </a:lnTo>
                  <a:lnTo>
                    <a:pt x="64" y="188"/>
                  </a:lnTo>
                  <a:lnTo>
                    <a:pt x="64" y="190"/>
                  </a:lnTo>
                  <a:lnTo>
                    <a:pt x="64" y="190"/>
                  </a:lnTo>
                  <a:lnTo>
                    <a:pt x="66" y="192"/>
                  </a:lnTo>
                  <a:lnTo>
                    <a:pt x="66" y="192"/>
                  </a:lnTo>
                  <a:lnTo>
                    <a:pt x="66" y="192"/>
                  </a:lnTo>
                  <a:lnTo>
                    <a:pt x="68" y="192"/>
                  </a:lnTo>
                  <a:lnTo>
                    <a:pt x="70" y="194"/>
                  </a:lnTo>
                  <a:lnTo>
                    <a:pt x="72" y="194"/>
                  </a:lnTo>
                  <a:lnTo>
                    <a:pt x="74" y="194"/>
                  </a:lnTo>
                  <a:lnTo>
                    <a:pt x="76" y="194"/>
                  </a:lnTo>
                  <a:lnTo>
                    <a:pt x="80" y="194"/>
                  </a:lnTo>
                  <a:lnTo>
                    <a:pt x="82" y="194"/>
                  </a:lnTo>
                  <a:lnTo>
                    <a:pt x="84" y="194"/>
                  </a:lnTo>
                  <a:lnTo>
                    <a:pt x="86" y="194"/>
                  </a:lnTo>
                  <a:lnTo>
                    <a:pt x="88" y="192"/>
                  </a:lnTo>
                  <a:lnTo>
                    <a:pt x="90" y="192"/>
                  </a:lnTo>
                  <a:lnTo>
                    <a:pt x="92" y="192"/>
                  </a:lnTo>
                  <a:lnTo>
                    <a:pt x="94" y="190"/>
                  </a:lnTo>
                  <a:lnTo>
                    <a:pt x="96" y="190"/>
                  </a:lnTo>
                  <a:lnTo>
                    <a:pt x="98" y="188"/>
                  </a:lnTo>
                  <a:lnTo>
                    <a:pt x="98" y="188"/>
                  </a:lnTo>
                  <a:lnTo>
                    <a:pt x="98" y="188"/>
                  </a:lnTo>
                  <a:lnTo>
                    <a:pt x="98" y="186"/>
                  </a:lnTo>
                  <a:lnTo>
                    <a:pt x="96" y="184"/>
                  </a:lnTo>
                  <a:lnTo>
                    <a:pt x="96" y="184"/>
                  </a:lnTo>
                  <a:lnTo>
                    <a:pt x="98" y="182"/>
                  </a:lnTo>
                  <a:lnTo>
                    <a:pt x="98" y="182"/>
                  </a:lnTo>
                  <a:lnTo>
                    <a:pt x="98" y="182"/>
                  </a:lnTo>
                  <a:lnTo>
                    <a:pt x="100" y="180"/>
                  </a:lnTo>
                  <a:lnTo>
                    <a:pt x="100" y="180"/>
                  </a:lnTo>
                  <a:lnTo>
                    <a:pt x="104" y="180"/>
                  </a:lnTo>
                  <a:lnTo>
                    <a:pt x="106" y="180"/>
                  </a:lnTo>
                  <a:lnTo>
                    <a:pt x="110" y="180"/>
                  </a:lnTo>
                  <a:lnTo>
                    <a:pt x="112" y="180"/>
                  </a:lnTo>
                  <a:lnTo>
                    <a:pt x="114" y="180"/>
                  </a:lnTo>
                  <a:lnTo>
                    <a:pt x="116" y="182"/>
                  </a:lnTo>
                  <a:lnTo>
                    <a:pt x="118" y="182"/>
                  </a:lnTo>
                  <a:lnTo>
                    <a:pt x="118" y="182"/>
                  </a:lnTo>
                  <a:lnTo>
                    <a:pt x="120" y="184"/>
                  </a:lnTo>
                  <a:lnTo>
                    <a:pt x="120" y="186"/>
                  </a:lnTo>
                  <a:lnTo>
                    <a:pt x="122" y="186"/>
                  </a:lnTo>
                  <a:lnTo>
                    <a:pt x="124" y="188"/>
                  </a:lnTo>
                  <a:lnTo>
                    <a:pt x="126" y="190"/>
                  </a:lnTo>
                  <a:lnTo>
                    <a:pt x="128" y="192"/>
                  </a:lnTo>
                  <a:lnTo>
                    <a:pt x="130" y="190"/>
                  </a:lnTo>
                  <a:lnTo>
                    <a:pt x="132" y="184"/>
                  </a:lnTo>
                  <a:lnTo>
                    <a:pt x="134" y="182"/>
                  </a:lnTo>
                  <a:lnTo>
                    <a:pt x="136" y="180"/>
                  </a:lnTo>
                  <a:lnTo>
                    <a:pt x="138" y="178"/>
                  </a:lnTo>
                  <a:lnTo>
                    <a:pt x="138" y="176"/>
                  </a:lnTo>
                  <a:lnTo>
                    <a:pt x="140" y="176"/>
                  </a:lnTo>
                  <a:lnTo>
                    <a:pt x="140" y="176"/>
                  </a:lnTo>
                  <a:lnTo>
                    <a:pt x="140" y="176"/>
                  </a:lnTo>
                  <a:lnTo>
                    <a:pt x="142" y="176"/>
                  </a:lnTo>
                  <a:lnTo>
                    <a:pt x="144" y="176"/>
                  </a:lnTo>
                  <a:lnTo>
                    <a:pt x="146" y="176"/>
                  </a:lnTo>
                  <a:lnTo>
                    <a:pt x="152" y="176"/>
                  </a:lnTo>
                  <a:lnTo>
                    <a:pt x="152" y="176"/>
                  </a:lnTo>
                  <a:lnTo>
                    <a:pt x="154" y="176"/>
                  </a:lnTo>
                  <a:lnTo>
                    <a:pt x="158" y="176"/>
                  </a:lnTo>
                  <a:lnTo>
                    <a:pt x="164" y="174"/>
                  </a:lnTo>
                  <a:lnTo>
                    <a:pt x="166" y="174"/>
                  </a:lnTo>
                  <a:lnTo>
                    <a:pt x="170" y="172"/>
                  </a:lnTo>
                  <a:lnTo>
                    <a:pt x="172" y="172"/>
                  </a:lnTo>
                  <a:lnTo>
                    <a:pt x="174" y="172"/>
                  </a:lnTo>
                  <a:lnTo>
                    <a:pt x="176" y="170"/>
                  </a:lnTo>
                  <a:lnTo>
                    <a:pt x="178" y="168"/>
                  </a:lnTo>
                  <a:lnTo>
                    <a:pt x="180" y="166"/>
                  </a:lnTo>
                  <a:lnTo>
                    <a:pt x="182" y="164"/>
                  </a:lnTo>
                  <a:lnTo>
                    <a:pt x="184" y="162"/>
                  </a:lnTo>
                  <a:lnTo>
                    <a:pt x="186" y="160"/>
                  </a:lnTo>
                  <a:lnTo>
                    <a:pt x="188" y="158"/>
                  </a:lnTo>
                  <a:lnTo>
                    <a:pt x="188" y="156"/>
                  </a:lnTo>
                  <a:lnTo>
                    <a:pt x="188" y="156"/>
                  </a:lnTo>
                  <a:lnTo>
                    <a:pt x="190" y="154"/>
                  </a:lnTo>
                  <a:lnTo>
                    <a:pt x="190" y="152"/>
                  </a:lnTo>
                  <a:lnTo>
                    <a:pt x="190" y="148"/>
                  </a:lnTo>
                  <a:lnTo>
                    <a:pt x="190" y="146"/>
                  </a:lnTo>
                  <a:lnTo>
                    <a:pt x="190" y="142"/>
                  </a:lnTo>
                  <a:lnTo>
                    <a:pt x="190" y="140"/>
                  </a:lnTo>
                  <a:lnTo>
                    <a:pt x="190" y="138"/>
                  </a:lnTo>
                  <a:lnTo>
                    <a:pt x="190" y="136"/>
                  </a:lnTo>
                  <a:lnTo>
                    <a:pt x="192" y="136"/>
                  </a:lnTo>
                  <a:lnTo>
                    <a:pt x="192" y="136"/>
                  </a:lnTo>
                  <a:lnTo>
                    <a:pt x="192" y="134"/>
                  </a:lnTo>
                  <a:lnTo>
                    <a:pt x="194" y="134"/>
                  </a:lnTo>
                  <a:lnTo>
                    <a:pt x="194" y="132"/>
                  </a:lnTo>
                  <a:lnTo>
                    <a:pt x="198" y="132"/>
                  </a:lnTo>
                  <a:lnTo>
                    <a:pt x="200" y="130"/>
                  </a:lnTo>
                  <a:lnTo>
                    <a:pt x="202" y="128"/>
                  </a:lnTo>
                  <a:lnTo>
                    <a:pt x="204" y="128"/>
                  </a:lnTo>
                  <a:lnTo>
                    <a:pt x="204" y="126"/>
                  </a:lnTo>
                  <a:lnTo>
                    <a:pt x="204" y="126"/>
                  </a:lnTo>
                  <a:lnTo>
                    <a:pt x="206" y="126"/>
                  </a:lnTo>
                  <a:lnTo>
                    <a:pt x="206" y="124"/>
                  </a:lnTo>
                  <a:lnTo>
                    <a:pt x="206" y="124"/>
                  </a:lnTo>
                  <a:lnTo>
                    <a:pt x="206" y="122"/>
                  </a:lnTo>
                  <a:lnTo>
                    <a:pt x="206" y="12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6" name="Freeform 606"/>
            <p:cNvSpPr>
              <a:spLocks/>
            </p:cNvSpPr>
            <p:nvPr/>
          </p:nvSpPr>
          <p:spPr bwMode="auto">
            <a:xfrm>
              <a:off x="5180283" y="4223585"/>
              <a:ext cx="3464" cy="3464"/>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7" name="Freeform 607"/>
            <p:cNvSpPr>
              <a:spLocks/>
            </p:cNvSpPr>
            <p:nvPr/>
          </p:nvSpPr>
          <p:spPr bwMode="auto">
            <a:xfrm>
              <a:off x="5159498" y="4067698"/>
              <a:ext cx="155887" cy="232098"/>
            </a:xfrm>
            <a:custGeom>
              <a:avLst/>
              <a:gdLst>
                <a:gd name="T0" fmla="*/ 0 w 90"/>
                <a:gd name="T1" fmla="*/ 84 h 134"/>
                <a:gd name="T2" fmla="*/ 4 w 90"/>
                <a:gd name="T3" fmla="*/ 86 h 134"/>
                <a:gd name="T4" fmla="*/ 8 w 90"/>
                <a:gd name="T5" fmla="*/ 86 h 134"/>
                <a:gd name="T6" fmla="*/ 10 w 90"/>
                <a:gd name="T7" fmla="*/ 88 h 134"/>
                <a:gd name="T8" fmla="*/ 14 w 90"/>
                <a:gd name="T9" fmla="*/ 92 h 134"/>
                <a:gd name="T10" fmla="*/ 20 w 90"/>
                <a:gd name="T11" fmla="*/ 96 h 134"/>
                <a:gd name="T12" fmla="*/ 28 w 90"/>
                <a:gd name="T13" fmla="*/ 92 h 134"/>
                <a:gd name="T14" fmla="*/ 32 w 90"/>
                <a:gd name="T15" fmla="*/ 96 h 134"/>
                <a:gd name="T16" fmla="*/ 36 w 90"/>
                <a:gd name="T17" fmla="*/ 96 h 134"/>
                <a:gd name="T18" fmla="*/ 42 w 90"/>
                <a:gd name="T19" fmla="*/ 98 h 134"/>
                <a:gd name="T20" fmla="*/ 48 w 90"/>
                <a:gd name="T21" fmla="*/ 96 h 134"/>
                <a:gd name="T22" fmla="*/ 54 w 90"/>
                <a:gd name="T23" fmla="*/ 100 h 134"/>
                <a:gd name="T24" fmla="*/ 60 w 90"/>
                <a:gd name="T25" fmla="*/ 106 h 134"/>
                <a:gd name="T26" fmla="*/ 66 w 90"/>
                <a:gd name="T27" fmla="*/ 114 h 134"/>
                <a:gd name="T28" fmla="*/ 74 w 90"/>
                <a:gd name="T29" fmla="*/ 126 h 134"/>
                <a:gd name="T30" fmla="*/ 78 w 90"/>
                <a:gd name="T31" fmla="*/ 132 h 134"/>
                <a:gd name="T32" fmla="*/ 80 w 90"/>
                <a:gd name="T33" fmla="*/ 134 h 134"/>
                <a:gd name="T34" fmla="*/ 82 w 90"/>
                <a:gd name="T35" fmla="*/ 132 h 134"/>
                <a:gd name="T36" fmla="*/ 88 w 90"/>
                <a:gd name="T37" fmla="*/ 130 h 134"/>
                <a:gd name="T38" fmla="*/ 88 w 90"/>
                <a:gd name="T39" fmla="*/ 126 h 134"/>
                <a:gd name="T40" fmla="*/ 90 w 90"/>
                <a:gd name="T41" fmla="*/ 122 h 134"/>
                <a:gd name="T42" fmla="*/ 88 w 90"/>
                <a:gd name="T43" fmla="*/ 118 h 134"/>
                <a:gd name="T44" fmla="*/ 80 w 90"/>
                <a:gd name="T45" fmla="*/ 106 h 134"/>
                <a:gd name="T46" fmla="*/ 78 w 90"/>
                <a:gd name="T47" fmla="*/ 100 h 134"/>
                <a:gd name="T48" fmla="*/ 74 w 90"/>
                <a:gd name="T49" fmla="*/ 90 h 134"/>
                <a:gd name="T50" fmla="*/ 70 w 90"/>
                <a:gd name="T51" fmla="*/ 84 h 134"/>
                <a:gd name="T52" fmla="*/ 68 w 90"/>
                <a:gd name="T53" fmla="*/ 82 h 134"/>
                <a:gd name="T54" fmla="*/ 64 w 90"/>
                <a:gd name="T55" fmla="*/ 82 h 134"/>
                <a:gd name="T56" fmla="*/ 56 w 90"/>
                <a:gd name="T57" fmla="*/ 80 h 134"/>
                <a:gd name="T58" fmla="*/ 52 w 90"/>
                <a:gd name="T59" fmla="*/ 78 h 134"/>
                <a:gd name="T60" fmla="*/ 52 w 90"/>
                <a:gd name="T61" fmla="*/ 76 h 134"/>
                <a:gd name="T62" fmla="*/ 50 w 90"/>
                <a:gd name="T63" fmla="*/ 72 h 134"/>
                <a:gd name="T64" fmla="*/ 50 w 90"/>
                <a:gd name="T65" fmla="*/ 66 h 134"/>
                <a:gd name="T66" fmla="*/ 48 w 90"/>
                <a:gd name="T67" fmla="*/ 58 h 134"/>
                <a:gd name="T68" fmla="*/ 38 w 90"/>
                <a:gd name="T69" fmla="*/ 38 h 134"/>
                <a:gd name="T70" fmla="*/ 34 w 90"/>
                <a:gd name="T71" fmla="*/ 32 h 134"/>
                <a:gd name="T72" fmla="*/ 30 w 90"/>
                <a:gd name="T73" fmla="*/ 26 h 134"/>
                <a:gd name="T74" fmla="*/ 22 w 90"/>
                <a:gd name="T75" fmla="*/ 12 h 134"/>
                <a:gd name="T76" fmla="*/ 14 w 90"/>
                <a:gd name="T77" fmla="*/ 4 h 134"/>
                <a:gd name="T78" fmla="*/ 8 w 90"/>
                <a:gd name="T79" fmla="*/ 22 h 134"/>
                <a:gd name="T80" fmla="*/ 6 w 90"/>
                <a:gd name="T81" fmla="*/ 28 h 134"/>
                <a:gd name="T82" fmla="*/ 6 w 90"/>
                <a:gd name="T83" fmla="*/ 36 h 134"/>
                <a:gd name="T84" fmla="*/ 8 w 90"/>
                <a:gd name="T85" fmla="*/ 48 h 134"/>
                <a:gd name="T86" fmla="*/ 10 w 90"/>
                <a:gd name="T87" fmla="*/ 54 h 134"/>
                <a:gd name="T88" fmla="*/ 12 w 90"/>
                <a:gd name="T89" fmla="*/ 62 h 134"/>
                <a:gd name="T90" fmla="*/ 14 w 90"/>
                <a:gd name="T91" fmla="*/ 70 h 134"/>
                <a:gd name="T92" fmla="*/ 14 w 90"/>
                <a:gd name="T93" fmla="*/ 72 h 134"/>
                <a:gd name="T94" fmla="*/ 14 w 90"/>
                <a:gd name="T95" fmla="*/ 74 h 134"/>
                <a:gd name="T96" fmla="*/ 12 w 90"/>
                <a:gd name="T97" fmla="*/ 74 h 134"/>
                <a:gd name="T98" fmla="*/ 6 w 90"/>
                <a:gd name="T99" fmla="*/ 74 h 134"/>
                <a:gd name="T100" fmla="*/ 2 w 90"/>
                <a:gd name="T101" fmla="*/ 72 h 134"/>
                <a:gd name="T102" fmla="*/ 0 w 90"/>
                <a:gd name="T103" fmla="*/ 74 h 134"/>
                <a:gd name="T104" fmla="*/ 0 w 90"/>
                <a:gd name="T105" fmla="*/ 76 h 134"/>
                <a:gd name="T106" fmla="*/ 0 w 90"/>
                <a:gd name="T107"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134">
                  <a:moveTo>
                    <a:pt x="0" y="84"/>
                  </a:moveTo>
                  <a:lnTo>
                    <a:pt x="0" y="84"/>
                  </a:lnTo>
                  <a:lnTo>
                    <a:pt x="0" y="84"/>
                  </a:lnTo>
                  <a:lnTo>
                    <a:pt x="0" y="86"/>
                  </a:lnTo>
                  <a:lnTo>
                    <a:pt x="2" y="86"/>
                  </a:lnTo>
                  <a:lnTo>
                    <a:pt x="4" y="86"/>
                  </a:lnTo>
                  <a:lnTo>
                    <a:pt x="6" y="86"/>
                  </a:lnTo>
                  <a:lnTo>
                    <a:pt x="6" y="86"/>
                  </a:lnTo>
                  <a:lnTo>
                    <a:pt x="8" y="86"/>
                  </a:lnTo>
                  <a:lnTo>
                    <a:pt x="10" y="86"/>
                  </a:lnTo>
                  <a:lnTo>
                    <a:pt x="10" y="86"/>
                  </a:lnTo>
                  <a:lnTo>
                    <a:pt x="10" y="88"/>
                  </a:lnTo>
                  <a:lnTo>
                    <a:pt x="12" y="88"/>
                  </a:lnTo>
                  <a:lnTo>
                    <a:pt x="12" y="90"/>
                  </a:lnTo>
                  <a:lnTo>
                    <a:pt x="14" y="92"/>
                  </a:lnTo>
                  <a:lnTo>
                    <a:pt x="14" y="92"/>
                  </a:lnTo>
                  <a:lnTo>
                    <a:pt x="18" y="92"/>
                  </a:lnTo>
                  <a:lnTo>
                    <a:pt x="20" y="96"/>
                  </a:lnTo>
                  <a:lnTo>
                    <a:pt x="26" y="88"/>
                  </a:lnTo>
                  <a:lnTo>
                    <a:pt x="28" y="92"/>
                  </a:lnTo>
                  <a:lnTo>
                    <a:pt x="28" y="92"/>
                  </a:lnTo>
                  <a:lnTo>
                    <a:pt x="30" y="92"/>
                  </a:lnTo>
                  <a:lnTo>
                    <a:pt x="30" y="92"/>
                  </a:lnTo>
                  <a:lnTo>
                    <a:pt x="32" y="96"/>
                  </a:lnTo>
                  <a:lnTo>
                    <a:pt x="32" y="96"/>
                  </a:lnTo>
                  <a:lnTo>
                    <a:pt x="36" y="96"/>
                  </a:lnTo>
                  <a:lnTo>
                    <a:pt x="36" y="96"/>
                  </a:lnTo>
                  <a:lnTo>
                    <a:pt x="42" y="94"/>
                  </a:lnTo>
                  <a:lnTo>
                    <a:pt x="42" y="94"/>
                  </a:lnTo>
                  <a:lnTo>
                    <a:pt x="42" y="98"/>
                  </a:lnTo>
                  <a:lnTo>
                    <a:pt x="44" y="96"/>
                  </a:lnTo>
                  <a:lnTo>
                    <a:pt x="46" y="98"/>
                  </a:lnTo>
                  <a:lnTo>
                    <a:pt x="48" y="96"/>
                  </a:lnTo>
                  <a:lnTo>
                    <a:pt x="52" y="100"/>
                  </a:lnTo>
                  <a:lnTo>
                    <a:pt x="54" y="98"/>
                  </a:lnTo>
                  <a:lnTo>
                    <a:pt x="54" y="100"/>
                  </a:lnTo>
                  <a:lnTo>
                    <a:pt x="54" y="100"/>
                  </a:lnTo>
                  <a:lnTo>
                    <a:pt x="60" y="106"/>
                  </a:lnTo>
                  <a:lnTo>
                    <a:pt x="60" y="106"/>
                  </a:lnTo>
                  <a:lnTo>
                    <a:pt x="64" y="110"/>
                  </a:lnTo>
                  <a:lnTo>
                    <a:pt x="66" y="114"/>
                  </a:lnTo>
                  <a:lnTo>
                    <a:pt x="66" y="114"/>
                  </a:lnTo>
                  <a:lnTo>
                    <a:pt x="70" y="118"/>
                  </a:lnTo>
                  <a:lnTo>
                    <a:pt x="70" y="118"/>
                  </a:lnTo>
                  <a:lnTo>
                    <a:pt x="74" y="126"/>
                  </a:lnTo>
                  <a:lnTo>
                    <a:pt x="76" y="128"/>
                  </a:lnTo>
                  <a:lnTo>
                    <a:pt x="76" y="128"/>
                  </a:lnTo>
                  <a:lnTo>
                    <a:pt x="78" y="132"/>
                  </a:lnTo>
                  <a:lnTo>
                    <a:pt x="78" y="132"/>
                  </a:lnTo>
                  <a:lnTo>
                    <a:pt x="80" y="132"/>
                  </a:lnTo>
                  <a:lnTo>
                    <a:pt x="80" y="134"/>
                  </a:lnTo>
                  <a:lnTo>
                    <a:pt x="80" y="134"/>
                  </a:lnTo>
                  <a:lnTo>
                    <a:pt x="82" y="134"/>
                  </a:lnTo>
                  <a:lnTo>
                    <a:pt x="82" y="132"/>
                  </a:lnTo>
                  <a:lnTo>
                    <a:pt x="82" y="132"/>
                  </a:lnTo>
                  <a:lnTo>
                    <a:pt x="86" y="132"/>
                  </a:lnTo>
                  <a:lnTo>
                    <a:pt x="88" y="130"/>
                  </a:lnTo>
                  <a:lnTo>
                    <a:pt x="88" y="130"/>
                  </a:lnTo>
                  <a:lnTo>
                    <a:pt x="88" y="128"/>
                  </a:lnTo>
                  <a:lnTo>
                    <a:pt x="88" y="126"/>
                  </a:lnTo>
                  <a:lnTo>
                    <a:pt x="90" y="124"/>
                  </a:lnTo>
                  <a:lnTo>
                    <a:pt x="90" y="124"/>
                  </a:lnTo>
                  <a:lnTo>
                    <a:pt x="90" y="122"/>
                  </a:lnTo>
                  <a:lnTo>
                    <a:pt x="88" y="122"/>
                  </a:lnTo>
                  <a:lnTo>
                    <a:pt x="88" y="120"/>
                  </a:lnTo>
                  <a:lnTo>
                    <a:pt x="88" y="118"/>
                  </a:lnTo>
                  <a:lnTo>
                    <a:pt x="86" y="116"/>
                  </a:lnTo>
                  <a:lnTo>
                    <a:pt x="84" y="112"/>
                  </a:lnTo>
                  <a:lnTo>
                    <a:pt x="80" y="106"/>
                  </a:lnTo>
                  <a:lnTo>
                    <a:pt x="80" y="104"/>
                  </a:lnTo>
                  <a:lnTo>
                    <a:pt x="78" y="102"/>
                  </a:lnTo>
                  <a:lnTo>
                    <a:pt x="78" y="100"/>
                  </a:lnTo>
                  <a:lnTo>
                    <a:pt x="76" y="98"/>
                  </a:lnTo>
                  <a:lnTo>
                    <a:pt x="74" y="92"/>
                  </a:lnTo>
                  <a:lnTo>
                    <a:pt x="74" y="90"/>
                  </a:lnTo>
                  <a:lnTo>
                    <a:pt x="72" y="86"/>
                  </a:lnTo>
                  <a:lnTo>
                    <a:pt x="72" y="84"/>
                  </a:lnTo>
                  <a:lnTo>
                    <a:pt x="70" y="84"/>
                  </a:lnTo>
                  <a:lnTo>
                    <a:pt x="70" y="84"/>
                  </a:lnTo>
                  <a:lnTo>
                    <a:pt x="70" y="82"/>
                  </a:lnTo>
                  <a:lnTo>
                    <a:pt x="68" y="82"/>
                  </a:lnTo>
                  <a:lnTo>
                    <a:pt x="68" y="82"/>
                  </a:lnTo>
                  <a:lnTo>
                    <a:pt x="66" y="82"/>
                  </a:lnTo>
                  <a:lnTo>
                    <a:pt x="64" y="82"/>
                  </a:lnTo>
                  <a:lnTo>
                    <a:pt x="62" y="82"/>
                  </a:lnTo>
                  <a:lnTo>
                    <a:pt x="58" y="80"/>
                  </a:lnTo>
                  <a:lnTo>
                    <a:pt x="56" y="80"/>
                  </a:lnTo>
                  <a:lnTo>
                    <a:pt x="54" y="80"/>
                  </a:lnTo>
                  <a:lnTo>
                    <a:pt x="54" y="80"/>
                  </a:lnTo>
                  <a:lnTo>
                    <a:pt x="52" y="78"/>
                  </a:lnTo>
                  <a:lnTo>
                    <a:pt x="52" y="78"/>
                  </a:lnTo>
                  <a:lnTo>
                    <a:pt x="52" y="78"/>
                  </a:lnTo>
                  <a:lnTo>
                    <a:pt x="52" y="76"/>
                  </a:lnTo>
                  <a:lnTo>
                    <a:pt x="50" y="76"/>
                  </a:lnTo>
                  <a:lnTo>
                    <a:pt x="50" y="74"/>
                  </a:lnTo>
                  <a:lnTo>
                    <a:pt x="50" y="72"/>
                  </a:lnTo>
                  <a:lnTo>
                    <a:pt x="50" y="68"/>
                  </a:lnTo>
                  <a:lnTo>
                    <a:pt x="50" y="66"/>
                  </a:lnTo>
                  <a:lnTo>
                    <a:pt x="50" y="66"/>
                  </a:lnTo>
                  <a:lnTo>
                    <a:pt x="50" y="64"/>
                  </a:lnTo>
                  <a:lnTo>
                    <a:pt x="50" y="62"/>
                  </a:lnTo>
                  <a:lnTo>
                    <a:pt x="48" y="58"/>
                  </a:lnTo>
                  <a:lnTo>
                    <a:pt x="46" y="54"/>
                  </a:lnTo>
                  <a:lnTo>
                    <a:pt x="40" y="44"/>
                  </a:lnTo>
                  <a:lnTo>
                    <a:pt x="38" y="38"/>
                  </a:lnTo>
                  <a:lnTo>
                    <a:pt x="38" y="36"/>
                  </a:lnTo>
                  <a:lnTo>
                    <a:pt x="36" y="34"/>
                  </a:lnTo>
                  <a:lnTo>
                    <a:pt x="34" y="32"/>
                  </a:lnTo>
                  <a:lnTo>
                    <a:pt x="32" y="30"/>
                  </a:lnTo>
                  <a:lnTo>
                    <a:pt x="30" y="28"/>
                  </a:lnTo>
                  <a:lnTo>
                    <a:pt x="30" y="26"/>
                  </a:lnTo>
                  <a:lnTo>
                    <a:pt x="28" y="22"/>
                  </a:lnTo>
                  <a:lnTo>
                    <a:pt x="26" y="20"/>
                  </a:lnTo>
                  <a:lnTo>
                    <a:pt x="22" y="12"/>
                  </a:lnTo>
                  <a:lnTo>
                    <a:pt x="18" y="6"/>
                  </a:lnTo>
                  <a:lnTo>
                    <a:pt x="16" y="0"/>
                  </a:lnTo>
                  <a:lnTo>
                    <a:pt x="14" y="4"/>
                  </a:lnTo>
                  <a:lnTo>
                    <a:pt x="12" y="12"/>
                  </a:lnTo>
                  <a:lnTo>
                    <a:pt x="10" y="16"/>
                  </a:lnTo>
                  <a:lnTo>
                    <a:pt x="8" y="22"/>
                  </a:lnTo>
                  <a:lnTo>
                    <a:pt x="6" y="26"/>
                  </a:lnTo>
                  <a:lnTo>
                    <a:pt x="6" y="26"/>
                  </a:lnTo>
                  <a:lnTo>
                    <a:pt x="6" y="28"/>
                  </a:lnTo>
                  <a:lnTo>
                    <a:pt x="6" y="30"/>
                  </a:lnTo>
                  <a:lnTo>
                    <a:pt x="6" y="32"/>
                  </a:lnTo>
                  <a:lnTo>
                    <a:pt x="6" y="36"/>
                  </a:lnTo>
                  <a:lnTo>
                    <a:pt x="6" y="38"/>
                  </a:lnTo>
                  <a:lnTo>
                    <a:pt x="6" y="44"/>
                  </a:lnTo>
                  <a:lnTo>
                    <a:pt x="8" y="48"/>
                  </a:lnTo>
                  <a:lnTo>
                    <a:pt x="8" y="48"/>
                  </a:lnTo>
                  <a:lnTo>
                    <a:pt x="8" y="50"/>
                  </a:lnTo>
                  <a:lnTo>
                    <a:pt x="10" y="54"/>
                  </a:lnTo>
                  <a:lnTo>
                    <a:pt x="12" y="58"/>
                  </a:lnTo>
                  <a:lnTo>
                    <a:pt x="12" y="60"/>
                  </a:lnTo>
                  <a:lnTo>
                    <a:pt x="12" y="62"/>
                  </a:lnTo>
                  <a:lnTo>
                    <a:pt x="14" y="64"/>
                  </a:lnTo>
                  <a:lnTo>
                    <a:pt x="14" y="68"/>
                  </a:lnTo>
                  <a:lnTo>
                    <a:pt x="14" y="70"/>
                  </a:lnTo>
                  <a:lnTo>
                    <a:pt x="14" y="72"/>
                  </a:lnTo>
                  <a:lnTo>
                    <a:pt x="14" y="72"/>
                  </a:lnTo>
                  <a:lnTo>
                    <a:pt x="14" y="72"/>
                  </a:lnTo>
                  <a:lnTo>
                    <a:pt x="14" y="74"/>
                  </a:lnTo>
                  <a:lnTo>
                    <a:pt x="14" y="74"/>
                  </a:lnTo>
                  <a:lnTo>
                    <a:pt x="14" y="74"/>
                  </a:lnTo>
                  <a:lnTo>
                    <a:pt x="12" y="74"/>
                  </a:lnTo>
                  <a:lnTo>
                    <a:pt x="12" y="74"/>
                  </a:lnTo>
                  <a:lnTo>
                    <a:pt x="12" y="74"/>
                  </a:lnTo>
                  <a:lnTo>
                    <a:pt x="10" y="74"/>
                  </a:lnTo>
                  <a:lnTo>
                    <a:pt x="8" y="74"/>
                  </a:lnTo>
                  <a:lnTo>
                    <a:pt x="6" y="74"/>
                  </a:lnTo>
                  <a:lnTo>
                    <a:pt x="4" y="72"/>
                  </a:lnTo>
                  <a:lnTo>
                    <a:pt x="2" y="72"/>
                  </a:lnTo>
                  <a:lnTo>
                    <a:pt x="2" y="72"/>
                  </a:lnTo>
                  <a:lnTo>
                    <a:pt x="2" y="72"/>
                  </a:lnTo>
                  <a:lnTo>
                    <a:pt x="0" y="74"/>
                  </a:lnTo>
                  <a:lnTo>
                    <a:pt x="0" y="74"/>
                  </a:lnTo>
                  <a:lnTo>
                    <a:pt x="0" y="74"/>
                  </a:lnTo>
                  <a:lnTo>
                    <a:pt x="0" y="76"/>
                  </a:lnTo>
                  <a:lnTo>
                    <a:pt x="0" y="76"/>
                  </a:lnTo>
                  <a:lnTo>
                    <a:pt x="0" y="78"/>
                  </a:lnTo>
                  <a:lnTo>
                    <a:pt x="0" y="80"/>
                  </a:lnTo>
                  <a:lnTo>
                    <a:pt x="0" y="82"/>
                  </a:lnTo>
                  <a:lnTo>
                    <a:pt x="0" y="8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8" name="Freeform 609"/>
            <p:cNvSpPr>
              <a:spLocks/>
            </p:cNvSpPr>
            <p:nvPr/>
          </p:nvSpPr>
          <p:spPr bwMode="auto">
            <a:xfrm>
              <a:off x="5159498" y="4067698"/>
              <a:ext cx="155887" cy="232098"/>
            </a:xfrm>
            <a:custGeom>
              <a:avLst/>
              <a:gdLst>
                <a:gd name="T0" fmla="*/ 0 w 90"/>
                <a:gd name="T1" fmla="*/ 84 h 134"/>
                <a:gd name="T2" fmla="*/ 4 w 90"/>
                <a:gd name="T3" fmla="*/ 86 h 134"/>
                <a:gd name="T4" fmla="*/ 8 w 90"/>
                <a:gd name="T5" fmla="*/ 86 h 134"/>
                <a:gd name="T6" fmla="*/ 10 w 90"/>
                <a:gd name="T7" fmla="*/ 88 h 134"/>
                <a:gd name="T8" fmla="*/ 14 w 90"/>
                <a:gd name="T9" fmla="*/ 92 h 134"/>
                <a:gd name="T10" fmla="*/ 20 w 90"/>
                <a:gd name="T11" fmla="*/ 96 h 134"/>
                <a:gd name="T12" fmla="*/ 28 w 90"/>
                <a:gd name="T13" fmla="*/ 92 h 134"/>
                <a:gd name="T14" fmla="*/ 32 w 90"/>
                <a:gd name="T15" fmla="*/ 96 h 134"/>
                <a:gd name="T16" fmla="*/ 36 w 90"/>
                <a:gd name="T17" fmla="*/ 96 h 134"/>
                <a:gd name="T18" fmla="*/ 42 w 90"/>
                <a:gd name="T19" fmla="*/ 98 h 134"/>
                <a:gd name="T20" fmla="*/ 48 w 90"/>
                <a:gd name="T21" fmla="*/ 96 h 134"/>
                <a:gd name="T22" fmla="*/ 54 w 90"/>
                <a:gd name="T23" fmla="*/ 100 h 134"/>
                <a:gd name="T24" fmla="*/ 60 w 90"/>
                <a:gd name="T25" fmla="*/ 106 h 134"/>
                <a:gd name="T26" fmla="*/ 66 w 90"/>
                <a:gd name="T27" fmla="*/ 114 h 134"/>
                <a:gd name="T28" fmla="*/ 74 w 90"/>
                <a:gd name="T29" fmla="*/ 126 h 134"/>
                <a:gd name="T30" fmla="*/ 78 w 90"/>
                <a:gd name="T31" fmla="*/ 132 h 134"/>
                <a:gd name="T32" fmla="*/ 80 w 90"/>
                <a:gd name="T33" fmla="*/ 134 h 134"/>
                <a:gd name="T34" fmla="*/ 82 w 90"/>
                <a:gd name="T35" fmla="*/ 132 h 134"/>
                <a:gd name="T36" fmla="*/ 88 w 90"/>
                <a:gd name="T37" fmla="*/ 130 h 134"/>
                <a:gd name="T38" fmla="*/ 88 w 90"/>
                <a:gd name="T39" fmla="*/ 126 h 134"/>
                <a:gd name="T40" fmla="*/ 90 w 90"/>
                <a:gd name="T41" fmla="*/ 122 h 134"/>
                <a:gd name="T42" fmla="*/ 88 w 90"/>
                <a:gd name="T43" fmla="*/ 118 h 134"/>
                <a:gd name="T44" fmla="*/ 80 w 90"/>
                <a:gd name="T45" fmla="*/ 106 h 134"/>
                <a:gd name="T46" fmla="*/ 78 w 90"/>
                <a:gd name="T47" fmla="*/ 100 h 134"/>
                <a:gd name="T48" fmla="*/ 74 w 90"/>
                <a:gd name="T49" fmla="*/ 90 h 134"/>
                <a:gd name="T50" fmla="*/ 70 w 90"/>
                <a:gd name="T51" fmla="*/ 84 h 134"/>
                <a:gd name="T52" fmla="*/ 68 w 90"/>
                <a:gd name="T53" fmla="*/ 82 h 134"/>
                <a:gd name="T54" fmla="*/ 64 w 90"/>
                <a:gd name="T55" fmla="*/ 82 h 134"/>
                <a:gd name="T56" fmla="*/ 56 w 90"/>
                <a:gd name="T57" fmla="*/ 80 h 134"/>
                <a:gd name="T58" fmla="*/ 52 w 90"/>
                <a:gd name="T59" fmla="*/ 78 h 134"/>
                <a:gd name="T60" fmla="*/ 52 w 90"/>
                <a:gd name="T61" fmla="*/ 76 h 134"/>
                <a:gd name="T62" fmla="*/ 50 w 90"/>
                <a:gd name="T63" fmla="*/ 72 h 134"/>
                <a:gd name="T64" fmla="*/ 50 w 90"/>
                <a:gd name="T65" fmla="*/ 66 h 134"/>
                <a:gd name="T66" fmla="*/ 48 w 90"/>
                <a:gd name="T67" fmla="*/ 58 h 134"/>
                <a:gd name="T68" fmla="*/ 38 w 90"/>
                <a:gd name="T69" fmla="*/ 38 h 134"/>
                <a:gd name="T70" fmla="*/ 34 w 90"/>
                <a:gd name="T71" fmla="*/ 32 h 134"/>
                <a:gd name="T72" fmla="*/ 30 w 90"/>
                <a:gd name="T73" fmla="*/ 26 h 134"/>
                <a:gd name="T74" fmla="*/ 22 w 90"/>
                <a:gd name="T75" fmla="*/ 12 h 134"/>
                <a:gd name="T76" fmla="*/ 14 w 90"/>
                <a:gd name="T77" fmla="*/ 4 h 134"/>
                <a:gd name="T78" fmla="*/ 8 w 90"/>
                <a:gd name="T79" fmla="*/ 22 h 134"/>
                <a:gd name="T80" fmla="*/ 6 w 90"/>
                <a:gd name="T81" fmla="*/ 28 h 134"/>
                <a:gd name="T82" fmla="*/ 6 w 90"/>
                <a:gd name="T83" fmla="*/ 36 h 134"/>
                <a:gd name="T84" fmla="*/ 8 w 90"/>
                <a:gd name="T85" fmla="*/ 48 h 134"/>
                <a:gd name="T86" fmla="*/ 10 w 90"/>
                <a:gd name="T87" fmla="*/ 54 h 134"/>
                <a:gd name="T88" fmla="*/ 12 w 90"/>
                <a:gd name="T89" fmla="*/ 62 h 134"/>
                <a:gd name="T90" fmla="*/ 14 w 90"/>
                <a:gd name="T91" fmla="*/ 70 h 134"/>
                <a:gd name="T92" fmla="*/ 14 w 90"/>
                <a:gd name="T93" fmla="*/ 72 h 134"/>
                <a:gd name="T94" fmla="*/ 14 w 90"/>
                <a:gd name="T95" fmla="*/ 74 h 134"/>
                <a:gd name="T96" fmla="*/ 12 w 90"/>
                <a:gd name="T97" fmla="*/ 74 h 134"/>
                <a:gd name="T98" fmla="*/ 6 w 90"/>
                <a:gd name="T99" fmla="*/ 74 h 134"/>
                <a:gd name="T100" fmla="*/ 2 w 90"/>
                <a:gd name="T101" fmla="*/ 72 h 134"/>
                <a:gd name="T102" fmla="*/ 0 w 90"/>
                <a:gd name="T103" fmla="*/ 74 h 134"/>
                <a:gd name="T104" fmla="*/ 0 w 90"/>
                <a:gd name="T105" fmla="*/ 76 h 134"/>
                <a:gd name="T106" fmla="*/ 0 w 90"/>
                <a:gd name="T107"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134">
                  <a:moveTo>
                    <a:pt x="0" y="84"/>
                  </a:moveTo>
                  <a:lnTo>
                    <a:pt x="0" y="84"/>
                  </a:lnTo>
                  <a:lnTo>
                    <a:pt x="0" y="84"/>
                  </a:lnTo>
                  <a:lnTo>
                    <a:pt x="0" y="86"/>
                  </a:lnTo>
                  <a:lnTo>
                    <a:pt x="2" y="86"/>
                  </a:lnTo>
                  <a:lnTo>
                    <a:pt x="4" y="86"/>
                  </a:lnTo>
                  <a:lnTo>
                    <a:pt x="6" y="86"/>
                  </a:lnTo>
                  <a:lnTo>
                    <a:pt x="6" y="86"/>
                  </a:lnTo>
                  <a:lnTo>
                    <a:pt x="8" y="86"/>
                  </a:lnTo>
                  <a:lnTo>
                    <a:pt x="10" y="86"/>
                  </a:lnTo>
                  <a:lnTo>
                    <a:pt x="10" y="86"/>
                  </a:lnTo>
                  <a:lnTo>
                    <a:pt x="10" y="88"/>
                  </a:lnTo>
                  <a:lnTo>
                    <a:pt x="12" y="88"/>
                  </a:lnTo>
                  <a:lnTo>
                    <a:pt x="12" y="90"/>
                  </a:lnTo>
                  <a:lnTo>
                    <a:pt x="14" y="92"/>
                  </a:lnTo>
                  <a:lnTo>
                    <a:pt x="14" y="92"/>
                  </a:lnTo>
                  <a:lnTo>
                    <a:pt x="18" y="92"/>
                  </a:lnTo>
                  <a:lnTo>
                    <a:pt x="20" y="96"/>
                  </a:lnTo>
                  <a:lnTo>
                    <a:pt x="26" y="88"/>
                  </a:lnTo>
                  <a:lnTo>
                    <a:pt x="28" y="92"/>
                  </a:lnTo>
                  <a:lnTo>
                    <a:pt x="28" y="92"/>
                  </a:lnTo>
                  <a:lnTo>
                    <a:pt x="30" y="92"/>
                  </a:lnTo>
                  <a:lnTo>
                    <a:pt x="30" y="92"/>
                  </a:lnTo>
                  <a:lnTo>
                    <a:pt x="32" y="96"/>
                  </a:lnTo>
                  <a:lnTo>
                    <a:pt x="32" y="96"/>
                  </a:lnTo>
                  <a:lnTo>
                    <a:pt x="36" y="96"/>
                  </a:lnTo>
                  <a:lnTo>
                    <a:pt x="36" y="96"/>
                  </a:lnTo>
                  <a:lnTo>
                    <a:pt x="42" y="94"/>
                  </a:lnTo>
                  <a:lnTo>
                    <a:pt x="42" y="94"/>
                  </a:lnTo>
                  <a:lnTo>
                    <a:pt x="42" y="98"/>
                  </a:lnTo>
                  <a:lnTo>
                    <a:pt x="44" y="96"/>
                  </a:lnTo>
                  <a:lnTo>
                    <a:pt x="46" y="98"/>
                  </a:lnTo>
                  <a:lnTo>
                    <a:pt x="48" y="96"/>
                  </a:lnTo>
                  <a:lnTo>
                    <a:pt x="52" y="100"/>
                  </a:lnTo>
                  <a:lnTo>
                    <a:pt x="54" y="98"/>
                  </a:lnTo>
                  <a:lnTo>
                    <a:pt x="54" y="100"/>
                  </a:lnTo>
                  <a:lnTo>
                    <a:pt x="54" y="100"/>
                  </a:lnTo>
                  <a:lnTo>
                    <a:pt x="60" y="106"/>
                  </a:lnTo>
                  <a:lnTo>
                    <a:pt x="60" y="106"/>
                  </a:lnTo>
                  <a:lnTo>
                    <a:pt x="64" y="110"/>
                  </a:lnTo>
                  <a:lnTo>
                    <a:pt x="66" y="114"/>
                  </a:lnTo>
                  <a:lnTo>
                    <a:pt x="66" y="114"/>
                  </a:lnTo>
                  <a:lnTo>
                    <a:pt x="70" y="118"/>
                  </a:lnTo>
                  <a:lnTo>
                    <a:pt x="70" y="118"/>
                  </a:lnTo>
                  <a:lnTo>
                    <a:pt x="74" y="126"/>
                  </a:lnTo>
                  <a:lnTo>
                    <a:pt x="76" y="128"/>
                  </a:lnTo>
                  <a:lnTo>
                    <a:pt x="76" y="128"/>
                  </a:lnTo>
                  <a:lnTo>
                    <a:pt x="78" y="132"/>
                  </a:lnTo>
                  <a:lnTo>
                    <a:pt x="78" y="132"/>
                  </a:lnTo>
                  <a:lnTo>
                    <a:pt x="80" y="132"/>
                  </a:lnTo>
                  <a:lnTo>
                    <a:pt x="80" y="134"/>
                  </a:lnTo>
                  <a:lnTo>
                    <a:pt x="80" y="134"/>
                  </a:lnTo>
                  <a:lnTo>
                    <a:pt x="82" y="134"/>
                  </a:lnTo>
                  <a:lnTo>
                    <a:pt x="82" y="132"/>
                  </a:lnTo>
                  <a:lnTo>
                    <a:pt x="82" y="132"/>
                  </a:lnTo>
                  <a:lnTo>
                    <a:pt x="86" y="132"/>
                  </a:lnTo>
                  <a:lnTo>
                    <a:pt x="88" y="130"/>
                  </a:lnTo>
                  <a:lnTo>
                    <a:pt x="88" y="130"/>
                  </a:lnTo>
                  <a:lnTo>
                    <a:pt x="88" y="128"/>
                  </a:lnTo>
                  <a:lnTo>
                    <a:pt x="88" y="126"/>
                  </a:lnTo>
                  <a:lnTo>
                    <a:pt x="90" y="124"/>
                  </a:lnTo>
                  <a:lnTo>
                    <a:pt x="90" y="124"/>
                  </a:lnTo>
                  <a:lnTo>
                    <a:pt x="90" y="122"/>
                  </a:lnTo>
                  <a:lnTo>
                    <a:pt x="88" y="122"/>
                  </a:lnTo>
                  <a:lnTo>
                    <a:pt x="88" y="120"/>
                  </a:lnTo>
                  <a:lnTo>
                    <a:pt x="88" y="118"/>
                  </a:lnTo>
                  <a:lnTo>
                    <a:pt x="86" y="116"/>
                  </a:lnTo>
                  <a:lnTo>
                    <a:pt x="84" y="112"/>
                  </a:lnTo>
                  <a:lnTo>
                    <a:pt x="80" y="106"/>
                  </a:lnTo>
                  <a:lnTo>
                    <a:pt x="80" y="104"/>
                  </a:lnTo>
                  <a:lnTo>
                    <a:pt x="78" y="102"/>
                  </a:lnTo>
                  <a:lnTo>
                    <a:pt x="78" y="100"/>
                  </a:lnTo>
                  <a:lnTo>
                    <a:pt x="76" y="98"/>
                  </a:lnTo>
                  <a:lnTo>
                    <a:pt x="74" y="92"/>
                  </a:lnTo>
                  <a:lnTo>
                    <a:pt x="74" y="90"/>
                  </a:lnTo>
                  <a:lnTo>
                    <a:pt x="72" y="86"/>
                  </a:lnTo>
                  <a:lnTo>
                    <a:pt x="72" y="84"/>
                  </a:lnTo>
                  <a:lnTo>
                    <a:pt x="70" y="84"/>
                  </a:lnTo>
                  <a:lnTo>
                    <a:pt x="70" y="84"/>
                  </a:lnTo>
                  <a:lnTo>
                    <a:pt x="70" y="82"/>
                  </a:lnTo>
                  <a:lnTo>
                    <a:pt x="68" y="82"/>
                  </a:lnTo>
                  <a:lnTo>
                    <a:pt x="68" y="82"/>
                  </a:lnTo>
                  <a:lnTo>
                    <a:pt x="66" y="82"/>
                  </a:lnTo>
                  <a:lnTo>
                    <a:pt x="64" y="82"/>
                  </a:lnTo>
                  <a:lnTo>
                    <a:pt x="62" y="82"/>
                  </a:lnTo>
                  <a:lnTo>
                    <a:pt x="58" y="80"/>
                  </a:lnTo>
                  <a:lnTo>
                    <a:pt x="56" y="80"/>
                  </a:lnTo>
                  <a:lnTo>
                    <a:pt x="54" y="80"/>
                  </a:lnTo>
                  <a:lnTo>
                    <a:pt x="54" y="80"/>
                  </a:lnTo>
                  <a:lnTo>
                    <a:pt x="52" y="78"/>
                  </a:lnTo>
                  <a:lnTo>
                    <a:pt x="52" y="78"/>
                  </a:lnTo>
                  <a:lnTo>
                    <a:pt x="52" y="78"/>
                  </a:lnTo>
                  <a:lnTo>
                    <a:pt x="52" y="76"/>
                  </a:lnTo>
                  <a:lnTo>
                    <a:pt x="50" y="76"/>
                  </a:lnTo>
                  <a:lnTo>
                    <a:pt x="50" y="74"/>
                  </a:lnTo>
                  <a:lnTo>
                    <a:pt x="50" y="72"/>
                  </a:lnTo>
                  <a:lnTo>
                    <a:pt x="50" y="68"/>
                  </a:lnTo>
                  <a:lnTo>
                    <a:pt x="50" y="66"/>
                  </a:lnTo>
                  <a:lnTo>
                    <a:pt x="50" y="66"/>
                  </a:lnTo>
                  <a:lnTo>
                    <a:pt x="50" y="64"/>
                  </a:lnTo>
                  <a:lnTo>
                    <a:pt x="50" y="62"/>
                  </a:lnTo>
                  <a:lnTo>
                    <a:pt x="48" y="58"/>
                  </a:lnTo>
                  <a:lnTo>
                    <a:pt x="46" y="54"/>
                  </a:lnTo>
                  <a:lnTo>
                    <a:pt x="40" y="44"/>
                  </a:lnTo>
                  <a:lnTo>
                    <a:pt x="38" y="38"/>
                  </a:lnTo>
                  <a:lnTo>
                    <a:pt x="38" y="36"/>
                  </a:lnTo>
                  <a:lnTo>
                    <a:pt x="36" y="34"/>
                  </a:lnTo>
                  <a:lnTo>
                    <a:pt x="34" y="32"/>
                  </a:lnTo>
                  <a:lnTo>
                    <a:pt x="32" y="30"/>
                  </a:lnTo>
                  <a:lnTo>
                    <a:pt x="30" y="28"/>
                  </a:lnTo>
                  <a:lnTo>
                    <a:pt x="30" y="26"/>
                  </a:lnTo>
                  <a:lnTo>
                    <a:pt x="28" y="22"/>
                  </a:lnTo>
                  <a:lnTo>
                    <a:pt x="26" y="20"/>
                  </a:lnTo>
                  <a:lnTo>
                    <a:pt x="22" y="12"/>
                  </a:lnTo>
                  <a:lnTo>
                    <a:pt x="18" y="6"/>
                  </a:lnTo>
                  <a:lnTo>
                    <a:pt x="16" y="0"/>
                  </a:lnTo>
                  <a:lnTo>
                    <a:pt x="14" y="4"/>
                  </a:lnTo>
                  <a:lnTo>
                    <a:pt x="12" y="12"/>
                  </a:lnTo>
                  <a:lnTo>
                    <a:pt x="10" y="16"/>
                  </a:lnTo>
                  <a:lnTo>
                    <a:pt x="8" y="22"/>
                  </a:lnTo>
                  <a:lnTo>
                    <a:pt x="6" y="26"/>
                  </a:lnTo>
                  <a:lnTo>
                    <a:pt x="6" y="26"/>
                  </a:lnTo>
                  <a:lnTo>
                    <a:pt x="6" y="28"/>
                  </a:lnTo>
                  <a:lnTo>
                    <a:pt x="6" y="30"/>
                  </a:lnTo>
                  <a:lnTo>
                    <a:pt x="6" y="32"/>
                  </a:lnTo>
                  <a:lnTo>
                    <a:pt x="6" y="36"/>
                  </a:lnTo>
                  <a:lnTo>
                    <a:pt x="6" y="38"/>
                  </a:lnTo>
                  <a:lnTo>
                    <a:pt x="6" y="44"/>
                  </a:lnTo>
                  <a:lnTo>
                    <a:pt x="8" y="48"/>
                  </a:lnTo>
                  <a:lnTo>
                    <a:pt x="8" y="48"/>
                  </a:lnTo>
                  <a:lnTo>
                    <a:pt x="8" y="50"/>
                  </a:lnTo>
                  <a:lnTo>
                    <a:pt x="10" y="54"/>
                  </a:lnTo>
                  <a:lnTo>
                    <a:pt x="12" y="58"/>
                  </a:lnTo>
                  <a:lnTo>
                    <a:pt x="12" y="60"/>
                  </a:lnTo>
                  <a:lnTo>
                    <a:pt x="12" y="62"/>
                  </a:lnTo>
                  <a:lnTo>
                    <a:pt x="14" y="64"/>
                  </a:lnTo>
                  <a:lnTo>
                    <a:pt x="14" y="68"/>
                  </a:lnTo>
                  <a:lnTo>
                    <a:pt x="14" y="70"/>
                  </a:lnTo>
                  <a:lnTo>
                    <a:pt x="14" y="72"/>
                  </a:lnTo>
                  <a:lnTo>
                    <a:pt x="14" y="72"/>
                  </a:lnTo>
                  <a:lnTo>
                    <a:pt x="14" y="72"/>
                  </a:lnTo>
                  <a:lnTo>
                    <a:pt x="14" y="74"/>
                  </a:lnTo>
                  <a:lnTo>
                    <a:pt x="14" y="74"/>
                  </a:lnTo>
                  <a:lnTo>
                    <a:pt x="14" y="74"/>
                  </a:lnTo>
                  <a:lnTo>
                    <a:pt x="12" y="74"/>
                  </a:lnTo>
                  <a:lnTo>
                    <a:pt x="12" y="74"/>
                  </a:lnTo>
                  <a:lnTo>
                    <a:pt x="12" y="74"/>
                  </a:lnTo>
                  <a:lnTo>
                    <a:pt x="10" y="74"/>
                  </a:lnTo>
                  <a:lnTo>
                    <a:pt x="8" y="74"/>
                  </a:lnTo>
                  <a:lnTo>
                    <a:pt x="6" y="74"/>
                  </a:lnTo>
                  <a:lnTo>
                    <a:pt x="4" y="72"/>
                  </a:lnTo>
                  <a:lnTo>
                    <a:pt x="2" y="72"/>
                  </a:lnTo>
                  <a:lnTo>
                    <a:pt x="2" y="72"/>
                  </a:lnTo>
                  <a:lnTo>
                    <a:pt x="2" y="72"/>
                  </a:lnTo>
                  <a:lnTo>
                    <a:pt x="0" y="74"/>
                  </a:lnTo>
                  <a:lnTo>
                    <a:pt x="0" y="74"/>
                  </a:lnTo>
                  <a:lnTo>
                    <a:pt x="0" y="74"/>
                  </a:lnTo>
                  <a:lnTo>
                    <a:pt x="0" y="76"/>
                  </a:lnTo>
                  <a:lnTo>
                    <a:pt x="0" y="76"/>
                  </a:lnTo>
                  <a:lnTo>
                    <a:pt x="0" y="78"/>
                  </a:lnTo>
                  <a:lnTo>
                    <a:pt x="0" y="80"/>
                  </a:lnTo>
                  <a:lnTo>
                    <a:pt x="0" y="82"/>
                  </a:lnTo>
                  <a:lnTo>
                    <a:pt x="0" y="8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69" name="Freeform 610"/>
            <p:cNvSpPr>
              <a:spLocks/>
            </p:cNvSpPr>
            <p:nvPr/>
          </p:nvSpPr>
          <p:spPr bwMode="auto">
            <a:xfrm>
              <a:off x="2357001" y="3939524"/>
              <a:ext cx="24249" cy="48498"/>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grpSp>
          <p:nvGrpSpPr>
            <p:cNvPr id="970" name="Gruppieren 26632"/>
            <p:cNvGrpSpPr/>
            <p:nvPr/>
          </p:nvGrpSpPr>
          <p:grpSpPr>
            <a:xfrm>
              <a:off x="1075265" y="1725933"/>
              <a:ext cx="1957245" cy="1693969"/>
              <a:chOff x="1383003" y="2114717"/>
              <a:chExt cx="1793875" cy="1552575"/>
            </a:xfrm>
            <a:solidFill>
              <a:srgbClr val="778888">
                <a:lumMod val="20000"/>
                <a:lumOff val="80000"/>
              </a:srgbClr>
            </a:solidFill>
          </p:grpSpPr>
          <p:sp>
            <p:nvSpPr>
              <p:cNvPr id="971" name="Freeform 585"/>
              <p:cNvSpPr>
                <a:spLocks/>
              </p:cNvSpPr>
              <p:nvPr/>
            </p:nvSpPr>
            <p:spPr bwMode="auto">
              <a:xfrm>
                <a:off x="1586203" y="3391067"/>
                <a:ext cx="53975" cy="57150"/>
              </a:xfrm>
              <a:custGeom>
                <a:avLst/>
                <a:gdLst>
                  <a:gd name="T0" fmla="*/ 0 w 34"/>
                  <a:gd name="T1" fmla="*/ 8 h 36"/>
                  <a:gd name="T2" fmla="*/ 0 w 34"/>
                  <a:gd name="T3" fmla="*/ 8 h 36"/>
                  <a:gd name="T4" fmla="*/ 0 w 34"/>
                  <a:gd name="T5" fmla="*/ 8 h 36"/>
                  <a:gd name="T6" fmla="*/ 0 w 34"/>
                  <a:gd name="T7" fmla="*/ 6 h 36"/>
                  <a:gd name="T8" fmla="*/ 2 w 34"/>
                  <a:gd name="T9" fmla="*/ 4 h 36"/>
                  <a:gd name="T10" fmla="*/ 2 w 34"/>
                  <a:gd name="T11" fmla="*/ 4 h 36"/>
                  <a:gd name="T12" fmla="*/ 4 w 34"/>
                  <a:gd name="T13" fmla="*/ 2 h 36"/>
                  <a:gd name="T14" fmla="*/ 6 w 34"/>
                  <a:gd name="T15" fmla="*/ 2 h 36"/>
                  <a:gd name="T16" fmla="*/ 6 w 34"/>
                  <a:gd name="T17" fmla="*/ 0 h 36"/>
                  <a:gd name="T18" fmla="*/ 8 w 34"/>
                  <a:gd name="T19" fmla="*/ 0 h 36"/>
                  <a:gd name="T20" fmla="*/ 8 w 34"/>
                  <a:gd name="T21" fmla="*/ 0 h 36"/>
                  <a:gd name="T22" fmla="*/ 8 w 34"/>
                  <a:gd name="T23" fmla="*/ 0 h 36"/>
                  <a:gd name="T24" fmla="*/ 10 w 34"/>
                  <a:gd name="T25" fmla="*/ 0 h 36"/>
                  <a:gd name="T26" fmla="*/ 12 w 34"/>
                  <a:gd name="T27" fmla="*/ 2 h 36"/>
                  <a:gd name="T28" fmla="*/ 12 w 34"/>
                  <a:gd name="T29" fmla="*/ 2 h 36"/>
                  <a:gd name="T30" fmla="*/ 14 w 34"/>
                  <a:gd name="T31" fmla="*/ 4 h 36"/>
                  <a:gd name="T32" fmla="*/ 16 w 34"/>
                  <a:gd name="T33" fmla="*/ 4 h 36"/>
                  <a:gd name="T34" fmla="*/ 18 w 34"/>
                  <a:gd name="T35" fmla="*/ 8 h 36"/>
                  <a:gd name="T36" fmla="*/ 20 w 34"/>
                  <a:gd name="T37" fmla="*/ 12 h 36"/>
                  <a:gd name="T38" fmla="*/ 22 w 34"/>
                  <a:gd name="T39" fmla="*/ 14 h 36"/>
                  <a:gd name="T40" fmla="*/ 26 w 34"/>
                  <a:gd name="T41" fmla="*/ 20 h 36"/>
                  <a:gd name="T42" fmla="*/ 28 w 34"/>
                  <a:gd name="T43" fmla="*/ 22 h 36"/>
                  <a:gd name="T44" fmla="*/ 30 w 34"/>
                  <a:gd name="T45" fmla="*/ 24 h 36"/>
                  <a:gd name="T46" fmla="*/ 32 w 34"/>
                  <a:gd name="T47" fmla="*/ 26 h 36"/>
                  <a:gd name="T48" fmla="*/ 32 w 34"/>
                  <a:gd name="T49" fmla="*/ 28 h 36"/>
                  <a:gd name="T50" fmla="*/ 34 w 34"/>
                  <a:gd name="T51" fmla="*/ 30 h 36"/>
                  <a:gd name="T52" fmla="*/ 34 w 34"/>
                  <a:gd name="T53" fmla="*/ 30 h 36"/>
                  <a:gd name="T54" fmla="*/ 34 w 34"/>
                  <a:gd name="T55" fmla="*/ 30 h 36"/>
                  <a:gd name="T56" fmla="*/ 34 w 34"/>
                  <a:gd name="T57" fmla="*/ 32 h 36"/>
                  <a:gd name="T58" fmla="*/ 34 w 34"/>
                  <a:gd name="T59" fmla="*/ 32 h 36"/>
                  <a:gd name="T60" fmla="*/ 34 w 34"/>
                  <a:gd name="T61" fmla="*/ 32 h 36"/>
                  <a:gd name="T62" fmla="*/ 32 w 34"/>
                  <a:gd name="T63" fmla="*/ 34 h 36"/>
                  <a:gd name="T64" fmla="*/ 32 w 34"/>
                  <a:gd name="T65" fmla="*/ 34 h 36"/>
                  <a:gd name="T66" fmla="*/ 32 w 34"/>
                  <a:gd name="T67" fmla="*/ 34 h 36"/>
                  <a:gd name="T68" fmla="*/ 30 w 34"/>
                  <a:gd name="T69" fmla="*/ 36 h 36"/>
                  <a:gd name="T70" fmla="*/ 28 w 34"/>
                  <a:gd name="T71" fmla="*/ 36 h 36"/>
                  <a:gd name="T72" fmla="*/ 26 w 34"/>
                  <a:gd name="T73" fmla="*/ 36 h 36"/>
                  <a:gd name="T74" fmla="*/ 24 w 34"/>
                  <a:gd name="T75" fmla="*/ 36 h 36"/>
                  <a:gd name="T76" fmla="*/ 22 w 34"/>
                  <a:gd name="T77" fmla="*/ 36 h 36"/>
                  <a:gd name="T78" fmla="*/ 20 w 34"/>
                  <a:gd name="T79" fmla="*/ 36 h 36"/>
                  <a:gd name="T80" fmla="*/ 18 w 34"/>
                  <a:gd name="T81" fmla="*/ 36 h 36"/>
                  <a:gd name="T82" fmla="*/ 18 w 34"/>
                  <a:gd name="T83" fmla="*/ 36 h 36"/>
                  <a:gd name="T84" fmla="*/ 16 w 34"/>
                  <a:gd name="T85" fmla="*/ 34 h 36"/>
                  <a:gd name="T86" fmla="*/ 16 w 34"/>
                  <a:gd name="T87" fmla="*/ 34 h 36"/>
                  <a:gd name="T88" fmla="*/ 14 w 34"/>
                  <a:gd name="T89" fmla="*/ 32 h 36"/>
                  <a:gd name="T90" fmla="*/ 12 w 34"/>
                  <a:gd name="T91" fmla="*/ 30 h 36"/>
                  <a:gd name="T92" fmla="*/ 10 w 34"/>
                  <a:gd name="T93" fmla="*/ 28 h 36"/>
                  <a:gd name="T94" fmla="*/ 8 w 34"/>
                  <a:gd name="T95" fmla="*/ 26 h 36"/>
                  <a:gd name="T96" fmla="*/ 4 w 34"/>
                  <a:gd name="T97" fmla="*/ 22 h 36"/>
                  <a:gd name="T98" fmla="*/ 2 w 34"/>
                  <a:gd name="T99" fmla="*/ 18 h 36"/>
                  <a:gd name="T100" fmla="*/ 0 w 34"/>
                  <a:gd name="T101" fmla="*/ 16 h 36"/>
                  <a:gd name="T102" fmla="*/ 0 w 34"/>
                  <a:gd name="T103" fmla="*/ 14 h 36"/>
                  <a:gd name="T104" fmla="*/ 0 w 34"/>
                  <a:gd name="T105" fmla="*/ 12 h 36"/>
                  <a:gd name="T106" fmla="*/ 0 w 34"/>
                  <a:gd name="T107" fmla="*/ 10 h 36"/>
                  <a:gd name="T108" fmla="*/ 0 w 34"/>
                  <a:gd name="T109" fmla="*/ 10 h 36"/>
                  <a:gd name="T110" fmla="*/ 0 w 34"/>
                  <a:gd name="T11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36">
                    <a:moveTo>
                      <a:pt x="0" y="8"/>
                    </a:moveTo>
                    <a:lnTo>
                      <a:pt x="0" y="8"/>
                    </a:lnTo>
                    <a:lnTo>
                      <a:pt x="0" y="8"/>
                    </a:lnTo>
                    <a:lnTo>
                      <a:pt x="0" y="6"/>
                    </a:lnTo>
                    <a:lnTo>
                      <a:pt x="2" y="4"/>
                    </a:lnTo>
                    <a:lnTo>
                      <a:pt x="2" y="4"/>
                    </a:lnTo>
                    <a:lnTo>
                      <a:pt x="4" y="2"/>
                    </a:lnTo>
                    <a:lnTo>
                      <a:pt x="6" y="2"/>
                    </a:lnTo>
                    <a:lnTo>
                      <a:pt x="6" y="0"/>
                    </a:lnTo>
                    <a:lnTo>
                      <a:pt x="8" y="0"/>
                    </a:lnTo>
                    <a:lnTo>
                      <a:pt x="8" y="0"/>
                    </a:lnTo>
                    <a:lnTo>
                      <a:pt x="8" y="0"/>
                    </a:lnTo>
                    <a:lnTo>
                      <a:pt x="10" y="0"/>
                    </a:lnTo>
                    <a:lnTo>
                      <a:pt x="12" y="2"/>
                    </a:lnTo>
                    <a:lnTo>
                      <a:pt x="12" y="2"/>
                    </a:lnTo>
                    <a:lnTo>
                      <a:pt x="14" y="4"/>
                    </a:lnTo>
                    <a:lnTo>
                      <a:pt x="16" y="4"/>
                    </a:lnTo>
                    <a:lnTo>
                      <a:pt x="18" y="8"/>
                    </a:lnTo>
                    <a:lnTo>
                      <a:pt x="20" y="12"/>
                    </a:lnTo>
                    <a:lnTo>
                      <a:pt x="22" y="14"/>
                    </a:lnTo>
                    <a:lnTo>
                      <a:pt x="26" y="20"/>
                    </a:lnTo>
                    <a:lnTo>
                      <a:pt x="28" y="22"/>
                    </a:lnTo>
                    <a:lnTo>
                      <a:pt x="30" y="24"/>
                    </a:lnTo>
                    <a:lnTo>
                      <a:pt x="32" y="26"/>
                    </a:lnTo>
                    <a:lnTo>
                      <a:pt x="32" y="28"/>
                    </a:lnTo>
                    <a:lnTo>
                      <a:pt x="34" y="30"/>
                    </a:lnTo>
                    <a:lnTo>
                      <a:pt x="34" y="30"/>
                    </a:lnTo>
                    <a:lnTo>
                      <a:pt x="34" y="30"/>
                    </a:lnTo>
                    <a:lnTo>
                      <a:pt x="34" y="32"/>
                    </a:lnTo>
                    <a:lnTo>
                      <a:pt x="34" y="32"/>
                    </a:lnTo>
                    <a:lnTo>
                      <a:pt x="34" y="32"/>
                    </a:lnTo>
                    <a:lnTo>
                      <a:pt x="32" y="34"/>
                    </a:lnTo>
                    <a:lnTo>
                      <a:pt x="32" y="34"/>
                    </a:lnTo>
                    <a:lnTo>
                      <a:pt x="32" y="34"/>
                    </a:lnTo>
                    <a:lnTo>
                      <a:pt x="30" y="36"/>
                    </a:lnTo>
                    <a:lnTo>
                      <a:pt x="28" y="36"/>
                    </a:lnTo>
                    <a:lnTo>
                      <a:pt x="26" y="36"/>
                    </a:lnTo>
                    <a:lnTo>
                      <a:pt x="24" y="36"/>
                    </a:lnTo>
                    <a:lnTo>
                      <a:pt x="22" y="36"/>
                    </a:lnTo>
                    <a:lnTo>
                      <a:pt x="20" y="36"/>
                    </a:lnTo>
                    <a:lnTo>
                      <a:pt x="18" y="36"/>
                    </a:lnTo>
                    <a:lnTo>
                      <a:pt x="18" y="36"/>
                    </a:lnTo>
                    <a:lnTo>
                      <a:pt x="16" y="34"/>
                    </a:lnTo>
                    <a:lnTo>
                      <a:pt x="16" y="34"/>
                    </a:lnTo>
                    <a:lnTo>
                      <a:pt x="14" y="32"/>
                    </a:lnTo>
                    <a:lnTo>
                      <a:pt x="12" y="30"/>
                    </a:lnTo>
                    <a:lnTo>
                      <a:pt x="10" y="28"/>
                    </a:lnTo>
                    <a:lnTo>
                      <a:pt x="8" y="26"/>
                    </a:lnTo>
                    <a:lnTo>
                      <a:pt x="4" y="22"/>
                    </a:lnTo>
                    <a:lnTo>
                      <a:pt x="2" y="18"/>
                    </a:lnTo>
                    <a:lnTo>
                      <a:pt x="0" y="16"/>
                    </a:lnTo>
                    <a:lnTo>
                      <a:pt x="0" y="14"/>
                    </a:lnTo>
                    <a:lnTo>
                      <a:pt x="0" y="12"/>
                    </a:lnTo>
                    <a:lnTo>
                      <a:pt x="0" y="10"/>
                    </a:lnTo>
                    <a:lnTo>
                      <a:pt x="0" y="10"/>
                    </a:lnTo>
                    <a:lnTo>
                      <a:pt x="0"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72" name="Freeform 530"/>
              <p:cNvSpPr>
                <a:spLocks/>
              </p:cNvSpPr>
              <p:nvPr/>
            </p:nvSpPr>
            <p:spPr bwMode="auto">
              <a:xfrm>
                <a:off x="1383003" y="2629067"/>
                <a:ext cx="1746250" cy="1038225"/>
              </a:xfrm>
              <a:custGeom>
                <a:avLst/>
                <a:gdLst>
                  <a:gd name="T0" fmla="*/ 1028 w 1100"/>
                  <a:gd name="T1" fmla="*/ 304 h 654"/>
                  <a:gd name="T2" fmla="*/ 1038 w 1100"/>
                  <a:gd name="T3" fmla="*/ 338 h 654"/>
                  <a:gd name="T4" fmla="*/ 1044 w 1100"/>
                  <a:gd name="T5" fmla="*/ 374 h 654"/>
                  <a:gd name="T6" fmla="*/ 1066 w 1100"/>
                  <a:gd name="T7" fmla="*/ 388 h 654"/>
                  <a:gd name="T8" fmla="*/ 1054 w 1100"/>
                  <a:gd name="T9" fmla="*/ 410 h 654"/>
                  <a:gd name="T10" fmla="*/ 1086 w 1100"/>
                  <a:gd name="T11" fmla="*/ 406 h 654"/>
                  <a:gd name="T12" fmla="*/ 1092 w 1100"/>
                  <a:gd name="T13" fmla="*/ 458 h 654"/>
                  <a:gd name="T14" fmla="*/ 1012 w 1100"/>
                  <a:gd name="T15" fmla="*/ 480 h 654"/>
                  <a:gd name="T16" fmla="*/ 912 w 1100"/>
                  <a:gd name="T17" fmla="*/ 512 h 654"/>
                  <a:gd name="T18" fmla="*/ 958 w 1100"/>
                  <a:gd name="T19" fmla="*/ 500 h 654"/>
                  <a:gd name="T20" fmla="*/ 976 w 1100"/>
                  <a:gd name="T21" fmla="*/ 542 h 654"/>
                  <a:gd name="T22" fmla="*/ 988 w 1100"/>
                  <a:gd name="T23" fmla="*/ 582 h 654"/>
                  <a:gd name="T24" fmla="*/ 946 w 1100"/>
                  <a:gd name="T25" fmla="*/ 592 h 654"/>
                  <a:gd name="T26" fmla="*/ 966 w 1100"/>
                  <a:gd name="T27" fmla="*/ 554 h 654"/>
                  <a:gd name="T28" fmla="*/ 920 w 1100"/>
                  <a:gd name="T29" fmla="*/ 540 h 654"/>
                  <a:gd name="T30" fmla="*/ 874 w 1100"/>
                  <a:gd name="T31" fmla="*/ 586 h 654"/>
                  <a:gd name="T32" fmla="*/ 800 w 1100"/>
                  <a:gd name="T33" fmla="*/ 610 h 654"/>
                  <a:gd name="T34" fmla="*/ 732 w 1100"/>
                  <a:gd name="T35" fmla="*/ 646 h 654"/>
                  <a:gd name="T36" fmla="*/ 720 w 1100"/>
                  <a:gd name="T37" fmla="*/ 616 h 654"/>
                  <a:gd name="T38" fmla="*/ 670 w 1100"/>
                  <a:gd name="T39" fmla="*/ 538 h 654"/>
                  <a:gd name="T40" fmla="*/ 560 w 1100"/>
                  <a:gd name="T41" fmla="*/ 520 h 654"/>
                  <a:gd name="T42" fmla="*/ 122 w 1100"/>
                  <a:gd name="T43" fmla="*/ 448 h 654"/>
                  <a:gd name="T44" fmla="*/ 106 w 1100"/>
                  <a:gd name="T45" fmla="*/ 408 h 654"/>
                  <a:gd name="T46" fmla="*/ 116 w 1100"/>
                  <a:gd name="T47" fmla="*/ 360 h 654"/>
                  <a:gd name="T48" fmla="*/ 84 w 1100"/>
                  <a:gd name="T49" fmla="*/ 326 h 654"/>
                  <a:gd name="T50" fmla="*/ 48 w 1100"/>
                  <a:gd name="T51" fmla="*/ 292 h 654"/>
                  <a:gd name="T52" fmla="*/ 20 w 1100"/>
                  <a:gd name="T53" fmla="*/ 290 h 654"/>
                  <a:gd name="T54" fmla="*/ 118 w 1100"/>
                  <a:gd name="T55" fmla="*/ 66 h 654"/>
                  <a:gd name="T56" fmla="*/ 172 w 1100"/>
                  <a:gd name="T57" fmla="*/ 54 h 654"/>
                  <a:gd name="T58" fmla="*/ 198 w 1100"/>
                  <a:gd name="T59" fmla="*/ 48 h 654"/>
                  <a:gd name="T60" fmla="*/ 234 w 1100"/>
                  <a:gd name="T61" fmla="*/ 32 h 654"/>
                  <a:gd name="T62" fmla="*/ 276 w 1100"/>
                  <a:gd name="T63" fmla="*/ 48 h 654"/>
                  <a:gd name="T64" fmla="*/ 306 w 1100"/>
                  <a:gd name="T65" fmla="*/ 46 h 654"/>
                  <a:gd name="T66" fmla="*/ 416 w 1100"/>
                  <a:gd name="T67" fmla="*/ 76 h 654"/>
                  <a:gd name="T68" fmla="*/ 446 w 1100"/>
                  <a:gd name="T69" fmla="*/ 86 h 654"/>
                  <a:gd name="T70" fmla="*/ 486 w 1100"/>
                  <a:gd name="T71" fmla="*/ 96 h 654"/>
                  <a:gd name="T72" fmla="*/ 546 w 1100"/>
                  <a:gd name="T73" fmla="*/ 98 h 654"/>
                  <a:gd name="T74" fmla="*/ 622 w 1100"/>
                  <a:gd name="T75" fmla="*/ 80 h 654"/>
                  <a:gd name="T76" fmla="*/ 660 w 1100"/>
                  <a:gd name="T77" fmla="*/ 68 h 654"/>
                  <a:gd name="T78" fmla="*/ 654 w 1100"/>
                  <a:gd name="T79" fmla="*/ 16 h 654"/>
                  <a:gd name="T80" fmla="*/ 694 w 1100"/>
                  <a:gd name="T81" fmla="*/ 26 h 654"/>
                  <a:gd name="T82" fmla="*/ 714 w 1100"/>
                  <a:gd name="T83" fmla="*/ 80 h 654"/>
                  <a:gd name="T84" fmla="*/ 734 w 1100"/>
                  <a:gd name="T85" fmla="*/ 96 h 654"/>
                  <a:gd name="T86" fmla="*/ 768 w 1100"/>
                  <a:gd name="T87" fmla="*/ 76 h 654"/>
                  <a:gd name="T88" fmla="*/ 812 w 1100"/>
                  <a:gd name="T89" fmla="*/ 54 h 654"/>
                  <a:gd name="T90" fmla="*/ 812 w 1100"/>
                  <a:gd name="T91" fmla="*/ 104 h 654"/>
                  <a:gd name="T92" fmla="*/ 766 w 1100"/>
                  <a:gd name="T93" fmla="*/ 124 h 654"/>
                  <a:gd name="T94" fmla="*/ 722 w 1100"/>
                  <a:gd name="T95" fmla="*/ 144 h 654"/>
                  <a:gd name="T96" fmla="*/ 712 w 1100"/>
                  <a:gd name="T97" fmla="*/ 150 h 654"/>
                  <a:gd name="T98" fmla="*/ 688 w 1100"/>
                  <a:gd name="T99" fmla="*/ 186 h 654"/>
                  <a:gd name="T100" fmla="*/ 604 w 1100"/>
                  <a:gd name="T101" fmla="*/ 274 h 654"/>
                  <a:gd name="T102" fmla="*/ 624 w 1100"/>
                  <a:gd name="T103" fmla="*/ 320 h 654"/>
                  <a:gd name="T104" fmla="*/ 692 w 1100"/>
                  <a:gd name="T105" fmla="*/ 364 h 654"/>
                  <a:gd name="T106" fmla="*/ 750 w 1100"/>
                  <a:gd name="T107" fmla="*/ 382 h 654"/>
                  <a:gd name="T108" fmla="*/ 754 w 1100"/>
                  <a:gd name="T109" fmla="*/ 462 h 654"/>
                  <a:gd name="T110" fmla="*/ 788 w 1100"/>
                  <a:gd name="T111" fmla="*/ 460 h 654"/>
                  <a:gd name="T112" fmla="*/ 806 w 1100"/>
                  <a:gd name="T113" fmla="*/ 380 h 654"/>
                  <a:gd name="T114" fmla="*/ 822 w 1100"/>
                  <a:gd name="T115" fmla="*/ 296 h 654"/>
                  <a:gd name="T116" fmla="*/ 840 w 1100"/>
                  <a:gd name="T117" fmla="*/ 216 h 654"/>
                  <a:gd name="T118" fmla="*/ 902 w 1100"/>
                  <a:gd name="T119" fmla="*/ 224 h 654"/>
                  <a:gd name="T120" fmla="*/ 936 w 1100"/>
                  <a:gd name="T121" fmla="*/ 270 h 654"/>
                  <a:gd name="T122" fmla="*/ 986 w 1100"/>
                  <a:gd name="T123" fmla="*/ 30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0" h="654">
                    <a:moveTo>
                      <a:pt x="1004" y="272"/>
                    </a:moveTo>
                    <a:lnTo>
                      <a:pt x="1004" y="272"/>
                    </a:lnTo>
                    <a:lnTo>
                      <a:pt x="1004" y="272"/>
                    </a:lnTo>
                    <a:lnTo>
                      <a:pt x="1006" y="272"/>
                    </a:lnTo>
                    <a:lnTo>
                      <a:pt x="1006" y="272"/>
                    </a:lnTo>
                    <a:lnTo>
                      <a:pt x="1006" y="272"/>
                    </a:lnTo>
                    <a:lnTo>
                      <a:pt x="1008" y="274"/>
                    </a:lnTo>
                    <a:lnTo>
                      <a:pt x="1008" y="276"/>
                    </a:lnTo>
                    <a:lnTo>
                      <a:pt x="1010" y="278"/>
                    </a:lnTo>
                    <a:lnTo>
                      <a:pt x="1010" y="280"/>
                    </a:lnTo>
                    <a:lnTo>
                      <a:pt x="1012" y="284"/>
                    </a:lnTo>
                    <a:lnTo>
                      <a:pt x="1012" y="284"/>
                    </a:lnTo>
                    <a:lnTo>
                      <a:pt x="1012" y="286"/>
                    </a:lnTo>
                    <a:lnTo>
                      <a:pt x="1012" y="288"/>
                    </a:lnTo>
                    <a:lnTo>
                      <a:pt x="1012" y="294"/>
                    </a:lnTo>
                    <a:lnTo>
                      <a:pt x="1012" y="296"/>
                    </a:lnTo>
                    <a:lnTo>
                      <a:pt x="1014" y="298"/>
                    </a:lnTo>
                    <a:lnTo>
                      <a:pt x="1014" y="300"/>
                    </a:lnTo>
                    <a:lnTo>
                      <a:pt x="1014" y="302"/>
                    </a:lnTo>
                    <a:lnTo>
                      <a:pt x="1014" y="302"/>
                    </a:lnTo>
                    <a:lnTo>
                      <a:pt x="1016" y="302"/>
                    </a:lnTo>
                    <a:lnTo>
                      <a:pt x="1016" y="302"/>
                    </a:lnTo>
                    <a:lnTo>
                      <a:pt x="1016" y="304"/>
                    </a:lnTo>
                    <a:lnTo>
                      <a:pt x="1018" y="304"/>
                    </a:lnTo>
                    <a:lnTo>
                      <a:pt x="1020" y="302"/>
                    </a:lnTo>
                    <a:lnTo>
                      <a:pt x="1022" y="302"/>
                    </a:lnTo>
                    <a:lnTo>
                      <a:pt x="1022" y="302"/>
                    </a:lnTo>
                    <a:lnTo>
                      <a:pt x="1024" y="302"/>
                    </a:lnTo>
                    <a:lnTo>
                      <a:pt x="1026" y="302"/>
                    </a:lnTo>
                    <a:lnTo>
                      <a:pt x="1026" y="302"/>
                    </a:lnTo>
                    <a:lnTo>
                      <a:pt x="1026" y="302"/>
                    </a:lnTo>
                    <a:lnTo>
                      <a:pt x="1028" y="304"/>
                    </a:lnTo>
                    <a:lnTo>
                      <a:pt x="1028" y="304"/>
                    </a:lnTo>
                    <a:lnTo>
                      <a:pt x="1028" y="304"/>
                    </a:lnTo>
                    <a:lnTo>
                      <a:pt x="1028" y="306"/>
                    </a:lnTo>
                    <a:lnTo>
                      <a:pt x="1028" y="308"/>
                    </a:lnTo>
                    <a:lnTo>
                      <a:pt x="1028" y="310"/>
                    </a:lnTo>
                    <a:lnTo>
                      <a:pt x="1028" y="312"/>
                    </a:lnTo>
                    <a:lnTo>
                      <a:pt x="1028" y="316"/>
                    </a:lnTo>
                    <a:lnTo>
                      <a:pt x="1028" y="320"/>
                    </a:lnTo>
                    <a:lnTo>
                      <a:pt x="1028" y="322"/>
                    </a:lnTo>
                    <a:lnTo>
                      <a:pt x="1028" y="324"/>
                    </a:lnTo>
                    <a:lnTo>
                      <a:pt x="1028" y="324"/>
                    </a:lnTo>
                    <a:lnTo>
                      <a:pt x="1030" y="326"/>
                    </a:lnTo>
                    <a:lnTo>
                      <a:pt x="1030" y="328"/>
                    </a:lnTo>
                    <a:lnTo>
                      <a:pt x="1030" y="328"/>
                    </a:lnTo>
                    <a:lnTo>
                      <a:pt x="1030" y="328"/>
                    </a:lnTo>
                    <a:lnTo>
                      <a:pt x="1030" y="328"/>
                    </a:lnTo>
                    <a:lnTo>
                      <a:pt x="1032" y="328"/>
                    </a:lnTo>
                    <a:lnTo>
                      <a:pt x="1032" y="328"/>
                    </a:lnTo>
                    <a:lnTo>
                      <a:pt x="1034" y="328"/>
                    </a:lnTo>
                    <a:lnTo>
                      <a:pt x="1034" y="328"/>
                    </a:lnTo>
                    <a:lnTo>
                      <a:pt x="1036" y="326"/>
                    </a:lnTo>
                    <a:lnTo>
                      <a:pt x="1036" y="326"/>
                    </a:lnTo>
                    <a:lnTo>
                      <a:pt x="1038" y="326"/>
                    </a:lnTo>
                    <a:lnTo>
                      <a:pt x="1038" y="326"/>
                    </a:lnTo>
                    <a:lnTo>
                      <a:pt x="1038" y="326"/>
                    </a:lnTo>
                    <a:lnTo>
                      <a:pt x="1038" y="328"/>
                    </a:lnTo>
                    <a:lnTo>
                      <a:pt x="1038" y="328"/>
                    </a:lnTo>
                    <a:lnTo>
                      <a:pt x="1040" y="328"/>
                    </a:lnTo>
                    <a:lnTo>
                      <a:pt x="1040" y="330"/>
                    </a:lnTo>
                    <a:lnTo>
                      <a:pt x="1040" y="332"/>
                    </a:lnTo>
                    <a:lnTo>
                      <a:pt x="1040" y="334"/>
                    </a:lnTo>
                    <a:lnTo>
                      <a:pt x="1040" y="336"/>
                    </a:lnTo>
                    <a:lnTo>
                      <a:pt x="1038" y="336"/>
                    </a:lnTo>
                    <a:lnTo>
                      <a:pt x="1038" y="338"/>
                    </a:lnTo>
                    <a:lnTo>
                      <a:pt x="1038" y="338"/>
                    </a:lnTo>
                    <a:lnTo>
                      <a:pt x="1036" y="340"/>
                    </a:lnTo>
                    <a:lnTo>
                      <a:pt x="1034" y="340"/>
                    </a:lnTo>
                    <a:lnTo>
                      <a:pt x="1034" y="342"/>
                    </a:lnTo>
                    <a:lnTo>
                      <a:pt x="1032" y="342"/>
                    </a:lnTo>
                    <a:lnTo>
                      <a:pt x="1032" y="342"/>
                    </a:lnTo>
                    <a:lnTo>
                      <a:pt x="1030" y="342"/>
                    </a:lnTo>
                    <a:lnTo>
                      <a:pt x="1030" y="344"/>
                    </a:lnTo>
                    <a:lnTo>
                      <a:pt x="1030" y="346"/>
                    </a:lnTo>
                    <a:lnTo>
                      <a:pt x="1030" y="346"/>
                    </a:lnTo>
                    <a:lnTo>
                      <a:pt x="1030" y="348"/>
                    </a:lnTo>
                    <a:lnTo>
                      <a:pt x="1030" y="350"/>
                    </a:lnTo>
                    <a:lnTo>
                      <a:pt x="1030" y="352"/>
                    </a:lnTo>
                    <a:lnTo>
                      <a:pt x="1032" y="352"/>
                    </a:lnTo>
                    <a:lnTo>
                      <a:pt x="1032" y="352"/>
                    </a:lnTo>
                    <a:lnTo>
                      <a:pt x="1032" y="354"/>
                    </a:lnTo>
                    <a:lnTo>
                      <a:pt x="1032" y="354"/>
                    </a:lnTo>
                    <a:lnTo>
                      <a:pt x="1034" y="354"/>
                    </a:lnTo>
                    <a:lnTo>
                      <a:pt x="1036" y="354"/>
                    </a:lnTo>
                    <a:lnTo>
                      <a:pt x="1036" y="354"/>
                    </a:lnTo>
                    <a:lnTo>
                      <a:pt x="1038" y="354"/>
                    </a:lnTo>
                    <a:lnTo>
                      <a:pt x="1040" y="354"/>
                    </a:lnTo>
                    <a:lnTo>
                      <a:pt x="1042" y="356"/>
                    </a:lnTo>
                    <a:lnTo>
                      <a:pt x="1042" y="356"/>
                    </a:lnTo>
                    <a:lnTo>
                      <a:pt x="1042" y="356"/>
                    </a:lnTo>
                    <a:lnTo>
                      <a:pt x="1042" y="356"/>
                    </a:lnTo>
                    <a:lnTo>
                      <a:pt x="1044" y="358"/>
                    </a:lnTo>
                    <a:lnTo>
                      <a:pt x="1044" y="360"/>
                    </a:lnTo>
                    <a:lnTo>
                      <a:pt x="1044" y="360"/>
                    </a:lnTo>
                    <a:lnTo>
                      <a:pt x="1044" y="364"/>
                    </a:lnTo>
                    <a:lnTo>
                      <a:pt x="1044" y="368"/>
                    </a:lnTo>
                    <a:lnTo>
                      <a:pt x="1044" y="372"/>
                    </a:lnTo>
                    <a:lnTo>
                      <a:pt x="1044" y="374"/>
                    </a:lnTo>
                    <a:lnTo>
                      <a:pt x="1044" y="374"/>
                    </a:lnTo>
                    <a:lnTo>
                      <a:pt x="1044" y="376"/>
                    </a:lnTo>
                    <a:lnTo>
                      <a:pt x="1046" y="378"/>
                    </a:lnTo>
                    <a:lnTo>
                      <a:pt x="1046" y="378"/>
                    </a:lnTo>
                    <a:lnTo>
                      <a:pt x="1046" y="380"/>
                    </a:lnTo>
                    <a:lnTo>
                      <a:pt x="1048" y="380"/>
                    </a:lnTo>
                    <a:lnTo>
                      <a:pt x="1048" y="380"/>
                    </a:lnTo>
                    <a:lnTo>
                      <a:pt x="1050" y="380"/>
                    </a:lnTo>
                    <a:lnTo>
                      <a:pt x="1052" y="380"/>
                    </a:lnTo>
                    <a:lnTo>
                      <a:pt x="1054" y="380"/>
                    </a:lnTo>
                    <a:lnTo>
                      <a:pt x="1056" y="378"/>
                    </a:lnTo>
                    <a:lnTo>
                      <a:pt x="1060" y="376"/>
                    </a:lnTo>
                    <a:lnTo>
                      <a:pt x="1060" y="376"/>
                    </a:lnTo>
                    <a:lnTo>
                      <a:pt x="1062" y="376"/>
                    </a:lnTo>
                    <a:lnTo>
                      <a:pt x="1064" y="376"/>
                    </a:lnTo>
                    <a:lnTo>
                      <a:pt x="1064" y="376"/>
                    </a:lnTo>
                    <a:lnTo>
                      <a:pt x="1066" y="376"/>
                    </a:lnTo>
                    <a:lnTo>
                      <a:pt x="1066" y="378"/>
                    </a:lnTo>
                    <a:lnTo>
                      <a:pt x="1066" y="378"/>
                    </a:lnTo>
                    <a:lnTo>
                      <a:pt x="1066" y="378"/>
                    </a:lnTo>
                    <a:lnTo>
                      <a:pt x="1066" y="378"/>
                    </a:lnTo>
                    <a:lnTo>
                      <a:pt x="1066" y="380"/>
                    </a:lnTo>
                    <a:lnTo>
                      <a:pt x="1066" y="380"/>
                    </a:lnTo>
                    <a:lnTo>
                      <a:pt x="1064" y="382"/>
                    </a:lnTo>
                    <a:lnTo>
                      <a:pt x="1064" y="384"/>
                    </a:lnTo>
                    <a:lnTo>
                      <a:pt x="1064" y="384"/>
                    </a:lnTo>
                    <a:lnTo>
                      <a:pt x="1064" y="386"/>
                    </a:lnTo>
                    <a:lnTo>
                      <a:pt x="1062" y="386"/>
                    </a:lnTo>
                    <a:lnTo>
                      <a:pt x="1064" y="386"/>
                    </a:lnTo>
                    <a:lnTo>
                      <a:pt x="1064" y="388"/>
                    </a:lnTo>
                    <a:lnTo>
                      <a:pt x="1064" y="388"/>
                    </a:lnTo>
                    <a:lnTo>
                      <a:pt x="1064" y="388"/>
                    </a:lnTo>
                    <a:lnTo>
                      <a:pt x="1066" y="388"/>
                    </a:lnTo>
                    <a:lnTo>
                      <a:pt x="1066" y="388"/>
                    </a:lnTo>
                    <a:lnTo>
                      <a:pt x="1068" y="386"/>
                    </a:lnTo>
                    <a:lnTo>
                      <a:pt x="1072" y="386"/>
                    </a:lnTo>
                    <a:lnTo>
                      <a:pt x="1074" y="384"/>
                    </a:lnTo>
                    <a:lnTo>
                      <a:pt x="1076" y="384"/>
                    </a:lnTo>
                    <a:lnTo>
                      <a:pt x="1076" y="384"/>
                    </a:lnTo>
                    <a:lnTo>
                      <a:pt x="1078" y="384"/>
                    </a:lnTo>
                    <a:lnTo>
                      <a:pt x="1078" y="384"/>
                    </a:lnTo>
                    <a:lnTo>
                      <a:pt x="1078" y="384"/>
                    </a:lnTo>
                    <a:lnTo>
                      <a:pt x="1078" y="386"/>
                    </a:lnTo>
                    <a:lnTo>
                      <a:pt x="1078" y="386"/>
                    </a:lnTo>
                    <a:lnTo>
                      <a:pt x="1078" y="386"/>
                    </a:lnTo>
                    <a:lnTo>
                      <a:pt x="1078" y="388"/>
                    </a:lnTo>
                    <a:lnTo>
                      <a:pt x="1078" y="388"/>
                    </a:lnTo>
                    <a:lnTo>
                      <a:pt x="1076" y="390"/>
                    </a:lnTo>
                    <a:lnTo>
                      <a:pt x="1076" y="392"/>
                    </a:lnTo>
                    <a:lnTo>
                      <a:pt x="1072" y="396"/>
                    </a:lnTo>
                    <a:lnTo>
                      <a:pt x="1070" y="396"/>
                    </a:lnTo>
                    <a:lnTo>
                      <a:pt x="1068" y="398"/>
                    </a:lnTo>
                    <a:lnTo>
                      <a:pt x="1068" y="398"/>
                    </a:lnTo>
                    <a:lnTo>
                      <a:pt x="1068" y="400"/>
                    </a:lnTo>
                    <a:lnTo>
                      <a:pt x="1068" y="400"/>
                    </a:lnTo>
                    <a:lnTo>
                      <a:pt x="1066" y="404"/>
                    </a:lnTo>
                    <a:lnTo>
                      <a:pt x="1066" y="406"/>
                    </a:lnTo>
                    <a:lnTo>
                      <a:pt x="1066" y="406"/>
                    </a:lnTo>
                    <a:lnTo>
                      <a:pt x="1066" y="408"/>
                    </a:lnTo>
                    <a:lnTo>
                      <a:pt x="1064" y="408"/>
                    </a:lnTo>
                    <a:lnTo>
                      <a:pt x="1064" y="408"/>
                    </a:lnTo>
                    <a:lnTo>
                      <a:pt x="1062" y="410"/>
                    </a:lnTo>
                    <a:lnTo>
                      <a:pt x="1062" y="410"/>
                    </a:lnTo>
                    <a:lnTo>
                      <a:pt x="1060" y="410"/>
                    </a:lnTo>
                    <a:lnTo>
                      <a:pt x="1056" y="410"/>
                    </a:lnTo>
                    <a:lnTo>
                      <a:pt x="1054" y="410"/>
                    </a:lnTo>
                    <a:lnTo>
                      <a:pt x="1050" y="410"/>
                    </a:lnTo>
                    <a:lnTo>
                      <a:pt x="1048" y="410"/>
                    </a:lnTo>
                    <a:lnTo>
                      <a:pt x="1048" y="412"/>
                    </a:lnTo>
                    <a:lnTo>
                      <a:pt x="1046" y="412"/>
                    </a:lnTo>
                    <a:lnTo>
                      <a:pt x="1046" y="412"/>
                    </a:lnTo>
                    <a:lnTo>
                      <a:pt x="1044" y="412"/>
                    </a:lnTo>
                    <a:lnTo>
                      <a:pt x="1044" y="414"/>
                    </a:lnTo>
                    <a:lnTo>
                      <a:pt x="1044" y="414"/>
                    </a:lnTo>
                    <a:lnTo>
                      <a:pt x="1044" y="414"/>
                    </a:lnTo>
                    <a:lnTo>
                      <a:pt x="1044" y="414"/>
                    </a:lnTo>
                    <a:lnTo>
                      <a:pt x="1044" y="414"/>
                    </a:lnTo>
                    <a:lnTo>
                      <a:pt x="1046" y="416"/>
                    </a:lnTo>
                    <a:lnTo>
                      <a:pt x="1046" y="416"/>
                    </a:lnTo>
                    <a:lnTo>
                      <a:pt x="1048" y="416"/>
                    </a:lnTo>
                    <a:lnTo>
                      <a:pt x="1050" y="418"/>
                    </a:lnTo>
                    <a:lnTo>
                      <a:pt x="1050" y="418"/>
                    </a:lnTo>
                    <a:lnTo>
                      <a:pt x="1052" y="418"/>
                    </a:lnTo>
                    <a:lnTo>
                      <a:pt x="1054" y="418"/>
                    </a:lnTo>
                    <a:lnTo>
                      <a:pt x="1054" y="418"/>
                    </a:lnTo>
                    <a:lnTo>
                      <a:pt x="1056" y="418"/>
                    </a:lnTo>
                    <a:lnTo>
                      <a:pt x="1058" y="418"/>
                    </a:lnTo>
                    <a:lnTo>
                      <a:pt x="1060" y="416"/>
                    </a:lnTo>
                    <a:lnTo>
                      <a:pt x="1064" y="414"/>
                    </a:lnTo>
                    <a:lnTo>
                      <a:pt x="1068" y="414"/>
                    </a:lnTo>
                    <a:lnTo>
                      <a:pt x="1070" y="412"/>
                    </a:lnTo>
                    <a:lnTo>
                      <a:pt x="1072" y="412"/>
                    </a:lnTo>
                    <a:lnTo>
                      <a:pt x="1076" y="410"/>
                    </a:lnTo>
                    <a:lnTo>
                      <a:pt x="1078" y="408"/>
                    </a:lnTo>
                    <a:lnTo>
                      <a:pt x="1078" y="408"/>
                    </a:lnTo>
                    <a:lnTo>
                      <a:pt x="1080" y="406"/>
                    </a:lnTo>
                    <a:lnTo>
                      <a:pt x="1082" y="406"/>
                    </a:lnTo>
                    <a:lnTo>
                      <a:pt x="1084" y="406"/>
                    </a:lnTo>
                    <a:lnTo>
                      <a:pt x="1086" y="406"/>
                    </a:lnTo>
                    <a:lnTo>
                      <a:pt x="1088" y="406"/>
                    </a:lnTo>
                    <a:lnTo>
                      <a:pt x="1090" y="406"/>
                    </a:lnTo>
                    <a:lnTo>
                      <a:pt x="1092" y="406"/>
                    </a:lnTo>
                    <a:lnTo>
                      <a:pt x="1094" y="406"/>
                    </a:lnTo>
                    <a:lnTo>
                      <a:pt x="1094" y="406"/>
                    </a:lnTo>
                    <a:lnTo>
                      <a:pt x="1096" y="406"/>
                    </a:lnTo>
                    <a:lnTo>
                      <a:pt x="1096" y="408"/>
                    </a:lnTo>
                    <a:lnTo>
                      <a:pt x="1096" y="408"/>
                    </a:lnTo>
                    <a:lnTo>
                      <a:pt x="1096" y="408"/>
                    </a:lnTo>
                    <a:lnTo>
                      <a:pt x="1098" y="410"/>
                    </a:lnTo>
                    <a:lnTo>
                      <a:pt x="1098" y="412"/>
                    </a:lnTo>
                    <a:lnTo>
                      <a:pt x="1098" y="414"/>
                    </a:lnTo>
                    <a:lnTo>
                      <a:pt x="1098" y="416"/>
                    </a:lnTo>
                    <a:lnTo>
                      <a:pt x="1098" y="420"/>
                    </a:lnTo>
                    <a:lnTo>
                      <a:pt x="1098" y="422"/>
                    </a:lnTo>
                    <a:lnTo>
                      <a:pt x="1098" y="424"/>
                    </a:lnTo>
                    <a:lnTo>
                      <a:pt x="1098" y="428"/>
                    </a:lnTo>
                    <a:lnTo>
                      <a:pt x="1098" y="434"/>
                    </a:lnTo>
                    <a:lnTo>
                      <a:pt x="1098" y="438"/>
                    </a:lnTo>
                    <a:lnTo>
                      <a:pt x="1098" y="440"/>
                    </a:lnTo>
                    <a:lnTo>
                      <a:pt x="1100" y="442"/>
                    </a:lnTo>
                    <a:lnTo>
                      <a:pt x="1100" y="446"/>
                    </a:lnTo>
                    <a:lnTo>
                      <a:pt x="1100" y="448"/>
                    </a:lnTo>
                    <a:lnTo>
                      <a:pt x="1100" y="450"/>
                    </a:lnTo>
                    <a:lnTo>
                      <a:pt x="1100" y="452"/>
                    </a:lnTo>
                    <a:lnTo>
                      <a:pt x="1100" y="452"/>
                    </a:lnTo>
                    <a:lnTo>
                      <a:pt x="1100" y="454"/>
                    </a:lnTo>
                    <a:lnTo>
                      <a:pt x="1098" y="454"/>
                    </a:lnTo>
                    <a:lnTo>
                      <a:pt x="1098" y="456"/>
                    </a:lnTo>
                    <a:lnTo>
                      <a:pt x="1098" y="456"/>
                    </a:lnTo>
                    <a:lnTo>
                      <a:pt x="1098" y="456"/>
                    </a:lnTo>
                    <a:lnTo>
                      <a:pt x="1096" y="458"/>
                    </a:lnTo>
                    <a:lnTo>
                      <a:pt x="1092" y="458"/>
                    </a:lnTo>
                    <a:lnTo>
                      <a:pt x="1090" y="458"/>
                    </a:lnTo>
                    <a:lnTo>
                      <a:pt x="1088" y="460"/>
                    </a:lnTo>
                    <a:lnTo>
                      <a:pt x="1086" y="460"/>
                    </a:lnTo>
                    <a:lnTo>
                      <a:pt x="1082" y="460"/>
                    </a:lnTo>
                    <a:lnTo>
                      <a:pt x="1080" y="460"/>
                    </a:lnTo>
                    <a:lnTo>
                      <a:pt x="1078" y="460"/>
                    </a:lnTo>
                    <a:lnTo>
                      <a:pt x="1074" y="460"/>
                    </a:lnTo>
                    <a:lnTo>
                      <a:pt x="1072" y="458"/>
                    </a:lnTo>
                    <a:lnTo>
                      <a:pt x="1070" y="458"/>
                    </a:lnTo>
                    <a:lnTo>
                      <a:pt x="1068" y="458"/>
                    </a:lnTo>
                    <a:lnTo>
                      <a:pt x="1066" y="458"/>
                    </a:lnTo>
                    <a:lnTo>
                      <a:pt x="1066" y="458"/>
                    </a:lnTo>
                    <a:lnTo>
                      <a:pt x="1064" y="460"/>
                    </a:lnTo>
                    <a:lnTo>
                      <a:pt x="1064" y="460"/>
                    </a:lnTo>
                    <a:lnTo>
                      <a:pt x="1062" y="462"/>
                    </a:lnTo>
                    <a:lnTo>
                      <a:pt x="1060" y="462"/>
                    </a:lnTo>
                    <a:lnTo>
                      <a:pt x="1058" y="464"/>
                    </a:lnTo>
                    <a:lnTo>
                      <a:pt x="1056" y="468"/>
                    </a:lnTo>
                    <a:lnTo>
                      <a:pt x="1054" y="470"/>
                    </a:lnTo>
                    <a:lnTo>
                      <a:pt x="1050" y="472"/>
                    </a:lnTo>
                    <a:lnTo>
                      <a:pt x="1050" y="474"/>
                    </a:lnTo>
                    <a:lnTo>
                      <a:pt x="1048" y="474"/>
                    </a:lnTo>
                    <a:lnTo>
                      <a:pt x="1046" y="476"/>
                    </a:lnTo>
                    <a:lnTo>
                      <a:pt x="1046" y="476"/>
                    </a:lnTo>
                    <a:lnTo>
                      <a:pt x="1044" y="478"/>
                    </a:lnTo>
                    <a:lnTo>
                      <a:pt x="1042" y="478"/>
                    </a:lnTo>
                    <a:lnTo>
                      <a:pt x="1040" y="478"/>
                    </a:lnTo>
                    <a:lnTo>
                      <a:pt x="1038" y="478"/>
                    </a:lnTo>
                    <a:lnTo>
                      <a:pt x="1034" y="480"/>
                    </a:lnTo>
                    <a:lnTo>
                      <a:pt x="1028" y="480"/>
                    </a:lnTo>
                    <a:lnTo>
                      <a:pt x="1024" y="480"/>
                    </a:lnTo>
                    <a:lnTo>
                      <a:pt x="1020" y="480"/>
                    </a:lnTo>
                    <a:lnTo>
                      <a:pt x="1012" y="480"/>
                    </a:lnTo>
                    <a:lnTo>
                      <a:pt x="1004" y="480"/>
                    </a:lnTo>
                    <a:lnTo>
                      <a:pt x="994" y="480"/>
                    </a:lnTo>
                    <a:lnTo>
                      <a:pt x="984" y="480"/>
                    </a:lnTo>
                    <a:lnTo>
                      <a:pt x="980" y="480"/>
                    </a:lnTo>
                    <a:lnTo>
                      <a:pt x="976" y="480"/>
                    </a:lnTo>
                    <a:lnTo>
                      <a:pt x="974" y="480"/>
                    </a:lnTo>
                    <a:lnTo>
                      <a:pt x="972" y="480"/>
                    </a:lnTo>
                    <a:lnTo>
                      <a:pt x="968" y="478"/>
                    </a:lnTo>
                    <a:lnTo>
                      <a:pt x="966" y="478"/>
                    </a:lnTo>
                    <a:lnTo>
                      <a:pt x="962" y="478"/>
                    </a:lnTo>
                    <a:lnTo>
                      <a:pt x="960" y="478"/>
                    </a:lnTo>
                    <a:lnTo>
                      <a:pt x="960" y="478"/>
                    </a:lnTo>
                    <a:lnTo>
                      <a:pt x="958" y="478"/>
                    </a:lnTo>
                    <a:lnTo>
                      <a:pt x="958" y="478"/>
                    </a:lnTo>
                    <a:lnTo>
                      <a:pt x="958" y="478"/>
                    </a:lnTo>
                    <a:lnTo>
                      <a:pt x="956" y="480"/>
                    </a:lnTo>
                    <a:lnTo>
                      <a:pt x="954" y="482"/>
                    </a:lnTo>
                    <a:lnTo>
                      <a:pt x="952" y="484"/>
                    </a:lnTo>
                    <a:lnTo>
                      <a:pt x="950" y="486"/>
                    </a:lnTo>
                    <a:lnTo>
                      <a:pt x="948" y="488"/>
                    </a:lnTo>
                    <a:lnTo>
                      <a:pt x="946" y="490"/>
                    </a:lnTo>
                    <a:lnTo>
                      <a:pt x="944" y="490"/>
                    </a:lnTo>
                    <a:lnTo>
                      <a:pt x="942" y="492"/>
                    </a:lnTo>
                    <a:lnTo>
                      <a:pt x="936" y="494"/>
                    </a:lnTo>
                    <a:lnTo>
                      <a:pt x="934" y="494"/>
                    </a:lnTo>
                    <a:lnTo>
                      <a:pt x="932" y="496"/>
                    </a:lnTo>
                    <a:lnTo>
                      <a:pt x="930" y="496"/>
                    </a:lnTo>
                    <a:lnTo>
                      <a:pt x="928" y="498"/>
                    </a:lnTo>
                    <a:lnTo>
                      <a:pt x="922" y="502"/>
                    </a:lnTo>
                    <a:lnTo>
                      <a:pt x="918" y="506"/>
                    </a:lnTo>
                    <a:lnTo>
                      <a:pt x="914" y="508"/>
                    </a:lnTo>
                    <a:lnTo>
                      <a:pt x="914" y="510"/>
                    </a:lnTo>
                    <a:lnTo>
                      <a:pt x="912" y="512"/>
                    </a:lnTo>
                    <a:lnTo>
                      <a:pt x="910" y="514"/>
                    </a:lnTo>
                    <a:lnTo>
                      <a:pt x="910" y="516"/>
                    </a:lnTo>
                    <a:lnTo>
                      <a:pt x="910" y="516"/>
                    </a:lnTo>
                    <a:lnTo>
                      <a:pt x="908" y="518"/>
                    </a:lnTo>
                    <a:lnTo>
                      <a:pt x="908" y="518"/>
                    </a:lnTo>
                    <a:lnTo>
                      <a:pt x="910" y="520"/>
                    </a:lnTo>
                    <a:lnTo>
                      <a:pt x="910" y="520"/>
                    </a:lnTo>
                    <a:lnTo>
                      <a:pt x="910" y="520"/>
                    </a:lnTo>
                    <a:lnTo>
                      <a:pt x="910" y="522"/>
                    </a:lnTo>
                    <a:lnTo>
                      <a:pt x="910" y="522"/>
                    </a:lnTo>
                    <a:lnTo>
                      <a:pt x="912" y="522"/>
                    </a:lnTo>
                    <a:lnTo>
                      <a:pt x="912" y="522"/>
                    </a:lnTo>
                    <a:lnTo>
                      <a:pt x="912" y="522"/>
                    </a:lnTo>
                    <a:lnTo>
                      <a:pt x="914" y="522"/>
                    </a:lnTo>
                    <a:lnTo>
                      <a:pt x="916" y="522"/>
                    </a:lnTo>
                    <a:lnTo>
                      <a:pt x="918" y="522"/>
                    </a:lnTo>
                    <a:lnTo>
                      <a:pt x="920" y="520"/>
                    </a:lnTo>
                    <a:lnTo>
                      <a:pt x="922" y="520"/>
                    </a:lnTo>
                    <a:lnTo>
                      <a:pt x="924" y="518"/>
                    </a:lnTo>
                    <a:lnTo>
                      <a:pt x="928" y="516"/>
                    </a:lnTo>
                    <a:lnTo>
                      <a:pt x="932" y="512"/>
                    </a:lnTo>
                    <a:lnTo>
                      <a:pt x="936" y="510"/>
                    </a:lnTo>
                    <a:lnTo>
                      <a:pt x="938" y="508"/>
                    </a:lnTo>
                    <a:lnTo>
                      <a:pt x="940" y="508"/>
                    </a:lnTo>
                    <a:lnTo>
                      <a:pt x="942" y="506"/>
                    </a:lnTo>
                    <a:lnTo>
                      <a:pt x="944" y="506"/>
                    </a:lnTo>
                    <a:lnTo>
                      <a:pt x="948" y="502"/>
                    </a:lnTo>
                    <a:lnTo>
                      <a:pt x="950" y="502"/>
                    </a:lnTo>
                    <a:lnTo>
                      <a:pt x="954" y="500"/>
                    </a:lnTo>
                    <a:lnTo>
                      <a:pt x="954" y="500"/>
                    </a:lnTo>
                    <a:lnTo>
                      <a:pt x="956" y="500"/>
                    </a:lnTo>
                    <a:lnTo>
                      <a:pt x="956" y="500"/>
                    </a:lnTo>
                    <a:lnTo>
                      <a:pt x="958" y="500"/>
                    </a:lnTo>
                    <a:lnTo>
                      <a:pt x="960" y="500"/>
                    </a:lnTo>
                    <a:lnTo>
                      <a:pt x="962" y="500"/>
                    </a:lnTo>
                    <a:lnTo>
                      <a:pt x="966" y="502"/>
                    </a:lnTo>
                    <a:lnTo>
                      <a:pt x="968" y="502"/>
                    </a:lnTo>
                    <a:lnTo>
                      <a:pt x="970" y="504"/>
                    </a:lnTo>
                    <a:lnTo>
                      <a:pt x="972" y="504"/>
                    </a:lnTo>
                    <a:lnTo>
                      <a:pt x="972" y="506"/>
                    </a:lnTo>
                    <a:lnTo>
                      <a:pt x="974" y="506"/>
                    </a:lnTo>
                    <a:lnTo>
                      <a:pt x="974" y="508"/>
                    </a:lnTo>
                    <a:lnTo>
                      <a:pt x="974" y="508"/>
                    </a:lnTo>
                    <a:lnTo>
                      <a:pt x="976" y="510"/>
                    </a:lnTo>
                    <a:lnTo>
                      <a:pt x="976" y="510"/>
                    </a:lnTo>
                    <a:lnTo>
                      <a:pt x="974" y="512"/>
                    </a:lnTo>
                    <a:lnTo>
                      <a:pt x="974" y="512"/>
                    </a:lnTo>
                    <a:lnTo>
                      <a:pt x="974" y="514"/>
                    </a:lnTo>
                    <a:lnTo>
                      <a:pt x="972" y="514"/>
                    </a:lnTo>
                    <a:lnTo>
                      <a:pt x="972" y="516"/>
                    </a:lnTo>
                    <a:lnTo>
                      <a:pt x="970" y="518"/>
                    </a:lnTo>
                    <a:lnTo>
                      <a:pt x="968" y="520"/>
                    </a:lnTo>
                    <a:lnTo>
                      <a:pt x="966" y="522"/>
                    </a:lnTo>
                    <a:lnTo>
                      <a:pt x="964" y="524"/>
                    </a:lnTo>
                    <a:lnTo>
                      <a:pt x="964" y="524"/>
                    </a:lnTo>
                    <a:lnTo>
                      <a:pt x="964" y="526"/>
                    </a:lnTo>
                    <a:lnTo>
                      <a:pt x="964" y="526"/>
                    </a:lnTo>
                    <a:lnTo>
                      <a:pt x="964" y="528"/>
                    </a:lnTo>
                    <a:lnTo>
                      <a:pt x="964" y="530"/>
                    </a:lnTo>
                    <a:lnTo>
                      <a:pt x="966" y="530"/>
                    </a:lnTo>
                    <a:lnTo>
                      <a:pt x="966" y="532"/>
                    </a:lnTo>
                    <a:lnTo>
                      <a:pt x="966" y="532"/>
                    </a:lnTo>
                    <a:lnTo>
                      <a:pt x="968" y="534"/>
                    </a:lnTo>
                    <a:lnTo>
                      <a:pt x="970" y="536"/>
                    </a:lnTo>
                    <a:lnTo>
                      <a:pt x="974" y="538"/>
                    </a:lnTo>
                    <a:lnTo>
                      <a:pt x="976" y="542"/>
                    </a:lnTo>
                    <a:lnTo>
                      <a:pt x="980" y="544"/>
                    </a:lnTo>
                    <a:lnTo>
                      <a:pt x="982" y="546"/>
                    </a:lnTo>
                    <a:lnTo>
                      <a:pt x="984" y="546"/>
                    </a:lnTo>
                    <a:lnTo>
                      <a:pt x="988" y="548"/>
                    </a:lnTo>
                    <a:lnTo>
                      <a:pt x="990" y="548"/>
                    </a:lnTo>
                    <a:lnTo>
                      <a:pt x="996" y="550"/>
                    </a:lnTo>
                    <a:lnTo>
                      <a:pt x="1004" y="552"/>
                    </a:lnTo>
                    <a:lnTo>
                      <a:pt x="1006" y="554"/>
                    </a:lnTo>
                    <a:lnTo>
                      <a:pt x="1010" y="556"/>
                    </a:lnTo>
                    <a:lnTo>
                      <a:pt x="1012" y="556"/>
                    </a:lnTo>
                    <a:lnTo>
                      <a:pt x="1016" y="558"/>
                    </a:lnTo>
                    <a:lnTo>
                      <a:pt x="1016" y="558"/>
                    </a:lnTo>
                    <a:lnTo>
                      <a:pt x="1018" y="560"/>
                    </a:lnTo>
                    <a:lnTo>
                      <a:pt x="1018" y="560"/>
                    </a:lnTo>
                    <a:lnTo>
                      <a:pt x="1020" y="560"/>
                    </a:lnTo>
                    <a:lnTo>
                      <a:pt x="1020" y="562"/>
                    </a:lnTo>
                    <a:lnTo>
                      <a:pt x="1020" y="562"/>
                    </a:lnTo>
                    <a:lnTo>
                      <a:pt x="1020" y="564"/>
                    </a:lnTo>
                    <a:lnTo>
                      <a:pt x="1020" y="564"/>
                    </a:lnTo>
                    <a:lnTo>
                      <a:pt x="1020" y="566"/>
                    </a:lnTo>
                    <a:lnTo>
                      <a:pt x="1020" y="566"/>
                    </a:lnTo>
                    <a:lnTo>
                      <a:pt x="1020" y="568"/>
                    </a:lnTo>
                    <a:lnTo>
                      <a:pt x="1020" y="568"/>
                    </a:lnTo>
                    <a:lnTo>
                      <a:pt x="1018" y="570"/>
                    </a:lnTo>
                    <a:lnTo>
                      <a:pt x="1018" y="570"/>
                    </a:lnTo>
                    <a:lnTo>
                      <a:pt x="1016" y="572"/>
                    </a:lnTo>
                    <a:lnTo>
                      <a:pt x="1014" y="572"/>
                    </a:lnTo>
                    <a:lnTo>
                      <a:pt x="1012" y="574"/>
                    </a:lnTo>
                    <a:lnTo>
                      <a:pt x="1008" y="576"/>
                    </a:lnTo>
                    <a:lnTo>
                      <a:pt x="1006" y="576"/>
                    </a:lnTo>
                    <a:lnTo>
                      <a:pt x="1000" y="578"/>
                    </a:lnTo>
                    <a:lnTo>
                      <a:pt x="994" y="580"/>
                    </a:lnTo>
                    <a:lnTo>
                      <a:pt x="988" y="582"/>
                    </a:lnTo>
                    <a:lnTo>
                      <a:pt x="986" y="584"/>
                    </a:lnTo>
                    <a:lnTo>
                      <a:pt x="984" y="584"/>
                    </a:lnTo>
                    <a:lnTo>
                      <a:pt x="982" y="586"/>
                    </a:lnTo>
                    <a:lnTo>
                      <a:pt x="980" y="588"/>
                    </a:lnTo>
                    <a:lnTo>
                      <a:pt x="976" y="592"/>
                    </a:lnTo>
                    <a:lnTo>
                      <a:pt x="972" y="596"/>
                    </a:lnTo>
                    <a:lnTo>
                      <a:pt x="966" y="600"/>
                    </a:lnTo>
                    <a:lnTo>
                      <a:pt x="964" y="602"/>
                    </a:lnTo>
                    <a:lnTo>
                      <a:pt x="962" y="604"/>
                    </a:lnTo>
                    <a:lnTo>
                      <a:pt x="960" y="604"/>
                    </a:lnTo>
                    <a:lnTo>
                      <a:pt x="958" y="606"/>
                    </a:lnTo>
                    <a:lnTo>
                      <a:pt x="956" y="608"/>
                    </a:lnTo>
                    <a:lnTo>
                      <a:pt x="952" y="608"/>
                    </a:lnTo>
                    <a:lnTo>
                      <a:pt x="952" y="608"/>
                    </a:lnTo>
                    <a:lnTo>
                      <a:pt x="950" y="608"/>
                    </a:lnTo>
                    <a:lnTo>
                      <a:pt x="950" y="608"/>
                    </a:lnTo>
                    <a:lnTo>
                      <a:pt x="948" y="608"/>
                    </a:lnTo>
                    <a:lnTo>
                      <a:pt x="948" y="608"/>
                    </a:lnTo>
                    <a:lnTo>
                      <a:pt x="948" y="608"/>
                    </a:lnTo>
                    <a:lnTo>
                      <a:pt x="946" y="608"/>
                    </a:lnTo>
                    <a:lnTo>
                      <a:pt x="944" y="606"/>
                    </a:lnTo>
                    <a:lnTo>
                      <a:pt x="944" y="606"/>
                    </a:lnTo>
                    <a:lnTo>
                      <a:pt x="942" y="604"/>
                    </a:lnTo>
                    <a:lnTo>
                      <a:pt x="942" y="602"/>
                    </a:lnTo>
                    <a:lnTo>
                      <a:pt x="942" y="602"/>
                    </a:lnTo>
                    <a:lnTo>
                      <a:pt x="942" y="600"/>
                    </a:lnTo>
                    <a:lnTo>
                      <a:pt x="942" y="600"/>
                    </a:lnTo>
                    <a:lnTo>
                      <a:pt x="942" y="598"/>
                    </a:lnTo>
                    <a:lnTo>
                      <a:pt x="942" y="598"/>
                    </a:lnTo>
                    <a:lnTo>
                      <a:pt x="942" y="596"/>
                    </a:lnTo>
                    <a:lnTo>
                      <a:pt x="944" y="594"/>
                    </a:lnTo>
                    <a:lnTo>
                      <a:pt x="944" y="594"/>
                    </a:lnTo>
                    <a:lnTo>
                      <a:pt x="946" y="592"/>
                    </a:lnTo>
                    <a:lnTo>
                      <a:pt x="946" y="590"/>
                    </a:lnTo>
                    <a:lnTo>
                      <a:pt x="948" y="590"/>
                    </a:lnTo>
                    <a:lnTo>
                      <a:pt x="950" y="586"/>
                    </a:lnTo>
                    <a:lnTo>
                      <a:pt x="954" y="584"/>
                    </a:lnTo>
                    <a:lnTo>
                      <a:pt x="958" y="582"/>
                    </a:lnTo>
                    <a:lnTo>
                      <a:pt x="962" y="580"/>
                    </a:lnTo>
                    <a:lnTo>
                      <a:pt x="970" y="574"/>
                    </a:lnTo>
                    <a:lnTo>
                      <a:pt x="972" y="572"/>
                    </a:lnTo>
                    <a:lnTo>
                      <a:pt x="976" y="570"/>
                    </a:lnTo>
                    <a:lnTo>
                      <a:pt x="978" y="568"/>
                    </a:lnTo>
                    <a:lnTo>
                      <a:pt x="980" y="566"/>
                    </a:lnTo>
                    <a:lnTo>
                      <a:pt x="982" y="564"/>
                    </a:lnTo>
                    <a:lnTo>
                      <a:pt x="982" y="564"/>
                    </a:lnTo>
                    <a:lnTo>
                      <a:pt x="984" y="562"/>
                    </a:lnTo>
                    <a:lnTo>
                      <a:pt x="984" y="560"/>
                    </a:lnTo>
                    <a:lnTo>
                      <a:pt x="984" y="560"/>
                    </a:lnTo>
                    <a:lnTo>
                      <a:pt x="984" y="558"/>
                    </a:lnTo>
                    <a:lnTo>
                      <a:pt x="984" y="558"/>
                    </a:lnTo>
                    <a:lnTo>
                      <a:pt x="984" y="558"/>
                    </a:lnTo>
                    <a:lnTo>
                      <a:pt x="984" y="556"/>
                    </a:lnTo>
                    <a:lnTo>
                      <a:pt x="984" y="556"/>
                    </a:lnTo>
                    <a:lnTo>
                      <a:pt x="982" y="554"/>
                    </a:lnTo>
                    <a:lnTo>
                      <a:pt x="982" y="554"/>
                    </a:lnTo>
                    <a:lnTo>
                      <a:pt x="982" y="554"/>
                    </a:lnTo>
                    <a:lnTo>
                      <a:pt x="980" y="552"/>
                    </a:lnTo>
                    <a:lnTo>
                      <a:pt x="978" y="552"/>
                    </a:lnTo>
                    <a:lnTo>
                      <a:pt x="978" y="552"/>
                    </a:lnTo>
                    <a:lnTo>
                      <a:pt x="976" y="552"/>
                    </a:lnTo>
                    <a:lnTo>
                      <a:pt x="974" y="552"/>
                    </a:lnTo>
                    <a:lnTo>
                      <a:pt x="972" y="552"/>
                    </a:lnTo>
                    <a:lnTo>
                      <a:pt x="970" y="552"/>
                    </a:lnTo>
                    <a:lnTo>
                      <a:pt x="968" y="554"/>
                    </a:lnTo>
                    <a:lnTo>
                      <a:pt x="966" y="554"/>
                    </a:lnTo>
                    <a:lnTo>
                      <a:pt x="964" y="556"/>
                    </a:lnTo>
                    <a:lnTo>
                      <a:pt x="962" y="558"/>
                    </a:lnTo>
                    <a:lnTo>
                      <a:pt x="958" y="560"/>
                    </a:lnTo>
                    <a:lnTo>
                      <a:pt x="956" y="562"/>
                    </a:lnTo>
                    <a:lnTo>
                      <a:pt x="952" y="566"/>
                    </a:lnTo>
                    <a:lnTo>
                      <a:pt x="946" y="570"/>
                    </a:lnTo>
                    <a:lnTo>
                      <a:pt x="940" y="576"/>
                    </a:lnTo>
                    <a:lnTo>
                      <a:pt x="936" y="580"/>
                    </a:lnTo>
                    <a:lnTo>
                      <a:pt x="932" y="584"/>
                    </a:lnTo>
                    <a:lnTo>
                      <a:pt x="930" y="584"/>
                    </a:lnTo>
                    <a:lnTo>
                      <a:pt x="928" y="584"/>
                    </a:lnTo>
                    <a:lnTo>
                      <a:pt x="926" y="582"/>
                    </a:lnTo>
                    <a:lnTo>
                      <a:pt x="924" y="582"/>
                    </a:lnTo>
                    <a:lnTo>
                      <a:pt x="924" y="580"/>
                    </a:lnTo>
                    <a:lnTo>
                      <a:pt x="922" y="580"/>
                    </a:lnTo>
                    <a:lnTo>
                      <a:pt x="922" y="580"/>
                    </a:lnTo>
                    <a:lnTo>
                      <a:pt x="922" y="578"/>
                    </a:lnTo>
                    <a:lnTo>
                      <a:pt x="922" y="578"/>
                    </a:lnTo>
                    <a:lnTo>
                      <a:pt x="920" y="576"/>
                    </a:lnTo>
                    <a:lnTo>
                      <a:pt x="920" y="574"/>
                    </a:lnTo>
                    <a:lnTo>
                      <a:pt x="920" y="570"/>
                    </a:lnTo>
                    <a:lnTo>
                      <a:pt x="920" y="568"/>
                    </a:lnTo>
                    <a:lnTo>
                      <a:pt x="920" y="566"/>
                    </a:lnTo>
                    <a:lnTo>
                      <a:pt x="922" y="560"/>
                    </a:lnTo>
                    <a:lnTo>
                      <a:pt x="922" y="554"/>
                    </a:lnTo>
                    <a:lnTo>
                      <a:pt x="922" y="550"/>
                    </a:lnTo>
                    <a:lnTo>
                      <a:pt x="922" y="548"/>
                    </a:lnTo>
                    <a:lnTo>
                      <a:pt x="922" y="546"/>
                    </a:lnTo>
                    <a:lnTo>
                      <a:pt x="922" y="542"/>
                    </a:lnTo>
                    <a:lnTo>
                      <a:pt x="922" y="542"/>
                    </a:lnTo>
                    <a:lnTo>
                      <a:pt x="920" y="542"/>
                    </a:lnTo>
                    <a:lnTo>
                      <a:pt x="920" y="540"/>
                    </a:lnTo>
                    <a:lnTo>
                      <a:pt x="920" y="540"/>
                    </a:lnTo>
                    <a:lnTo>
                      <a:pt x="918" y="538"/>
                    </a:lnTo>
                    <a:lnTo>
                      <a:pt x="918" y="538"/>
                    </a:lnTo>
                    <a:lnTo>
                      <a:pt x="916" y="538"/>
                    </a:lnTo>
                    <a:lnTo>
                      <a:pt x="916" y="536"/>
                    </a:lnTo>
                    <a:lnTo>
                      <a:pt x="912" y="536"/>
                    </a:lnTo>
                    <a:lnTo>
                      <a:pt x="910" y="536"/>
                    </a:lnTo>
                    <a:lnTo>
                      <a:pt x="906" y="534"/>
                    </a:lnTo>
                    <a:lnTo>
                      <a:pt x="904" y="534"/>
                    </a:lnTo>
                    <a:lnTo>
                      <a:pt x="902" y="534"/>
                    </a:lnTo>
                    <a:lnTo>
                      <a:pt x="902" y="534"/>
                    </a:lnTo>
                    <a:lnTo>
                      <a:pt x="900" y="536"/>
                    </a:lnTo>
                    <a:lnTo>
                      <a:pt x="900" y="536"/>
                    </a:lnTo>
                    <a:lnTo>
                      <a:pt x="898" y="536"/>
                    </a:lnTo>
                    <a:lnTo>
                      <a:pt x="898" y="538"/>
                    </a:lnTo>
                    <a:lnTo>
                      <a:pt x="896" y="538"/>
                    </a:lnTo>
                    <a:lnTo>
                      <a:pt x="896" y="540"/>
                    </a:lnTo>
                    <a:lnTo>
                      <a:pt x="896" y="542"/>
                    </a:lnTo>
                    <a:lnTo>
                      <a:pt x="896" y="544"/>
                    </a:lnTo>
                    <a:lnTo>
                      <a:pt x="894" y="546"/>
                    </a:lnTo>
                    <a:lnTo>
                      <a:pt x="892" y="554"/>
                    </a:lnTo>
                    <a:lnTo>
                      <a:pt x="892" y="556"/>
                    </a:lnTo>
                    <a:lnTo>
                      <a:pt x="892" y="558"/>
                    </a:lnTo>
                    <a:lnTo>
                      <a:pt x="890" y="560"/>
                    </a:lnTo>
                    <a:lnTo>
                      <a:pt x="890" y="562"/>
                    </a:lnTo>
                    <a:lnTo>
                      <a:pt x="888" y="566"/>
                    </a:lnTo>
                    <a:lnTo>
                      <a:pt x="884" y="570"/>
                    </a:lnTo>
                    <a:lnTo>
                      <a:pt x="884" y="574"/>
                    </a:lnTo>
                    <a:lnTo>
                      <a:pt x="882" y="576"/>
                    </a:lnTo>
                    <a:lnTo>
                      <a:pt x="878" y="580"/>
                    </a:lnTo>
                    <a:lnTo>
                      <a:pt x="878" y="584"/>
                    </a:lnTo>
                    <a:lnTo>
                      <a:pt x="876" y="584"/>
                    </a:lnTo>
                    <a:lnTo>
                      <a:pt x="874" y="586"/>
                    </a:lnTo>
                    <a:lnTo>
                      <a:pt x="874" y="586"/>
                    </a:lnTo>
                    <a:lnTo>
                      <a:pt x="872" y="588"/>
                    </a:lnTo>
                    <a:lnTo>
                      <a:pt x="872" y="588"/>
                    </a:lnTo>
                    <a:lnTo>
                      <a:pt x="870" y="588"/>
                    </a:lnTo>
                    <a:lnTo>
                      <a:pt x="868" y="588"/>
                    </a:lnTo>
                    <a:lnTo>
                      <a:pt x="868" y="588"/>
                    </a:lnTo>
                    <a:lnTo>
                      <a:pt x="864" y="588"/>
                    </a:lnTo>
                    <a:lnTo>
                      <a:pt x="860" y="588"/>
                    </a:lnTo>
                    <a:lnTo>
                      <a:pt x="856" y="588"/>
                    </a:lnTo>
                    <a:lnTo>
                      <a:pt x="852" y="588"/>
                    </a:lnTo>
                    <a:lnTo>
                      <a:pt x="844" y="586"/>
                    </a:lnTo>
                    <a:lnTo>
                      <a:pt x="836" y="584"/>
                    </a:lnTo>
                    <a:lnTo>
                      <a:pt x="832" y="584"/>
                    </a:lnTo>
                    <a:lnTo>
                      <a:pt x="828" y="582"/>
                    </a:lnTo>
                    <a:lnTo>
                      <a:pt x="824" y="582"/>
                    </a:lnTo>
                    <a:lnTo>
                      <a:pt x="820" y="582"/>
                    </a:lnTo>
                    <a:lnTo>
                      <a:pt x="818" y="582"/>
                    </a:lnTo>
                    <a:lnTo>
                      <a:pt x="816" y="582"/>
                    </a:lnTo>
                    <a:lnTo>
                      <a:pt x="816" y="584"/>
                    </a:lnTo>
                    <a:lnTo>
                      <a:pt x="814" y="584"/>
                    </a:lnTo>
                    <a:lnTo>
                      <a:pt x="812" y="584"/>
                    </a:lnTo>
                    <a:lnTo>
                      <a:pt x="810" y="586"/>
                    </a:lnTo>
                    <a:lnTo>
                      <a:pt x="810" y="586"/>
                    </a:lnTo>
                    <a:lnTo>
                      <a:pt x="808" y="588"/>
                    </a:lnTo>
                    <a:lnTo>
                      <a:pt x="806" y="590"/>
                    </a:lnTo>
                    <a:lnTo>
                      <a:pt x="804" y="592"/>
                    </a:lnTo>
                    <a:lnTo>
                      <a:pt x="804" y="594"/>
                    </a:lnTo>
                    <a:lnTo>
                      <a:pt x="802" y="594"/>
                    </a:lnTo>
                    <a:lnTo>
                      <a:pt x="802" y="596"/>
                    </a:lnTo>
                    <a:lnTo>
                      <a:pt x="802" y="598"/>
                    </a:lnTo>
                    <a:lnTo>
                      <a:pt x="800" y="600"/>
                    </a:lnTo>
                    <a:lnTo>
                      <a:pt x="800" y="602"/>
                    </a:lnTo>
                    <a:lnTo>
                      <a:pt x="800" y="606"/>
                    </a:lnTo>
                    <a:lnTo>
                      <a:pt x="800" y="610"/>
                    </a:lnTo>
                    <a:lnTo>
                      <a:pt x="798" y="612"/>
                    </a:lnTo>
                    <a:lnTo>
                      <a:pt x="798" y="614"/>
                    </a:lnTo>
                    <a:lnTo>
                      <a:pt x="798" y="614"/>
                    </a:lnTo>
                    <a:lnTo>
                      <a:pt x="798" y="616"/>
                    </a:lnTo>
                    <a:lnTo>
                      <a:pt x="796" y="616"/>
                    </a:lnTo>
                    <a:lnTo>
                      <a:pt x="796" y="616"/>
                    </a:lnTo>
                    <a:lnTo>
                      <a:pt x="794" y="616"/>
                    </a:lnTo>
                    <a:lnTo>
                      <a:pt x="794" y="618"/>
                    </a:lnTo>
                    <a:lnTo>
                      <a:pt x="792" y="618"/>
                    </a:lnTo>
                    <a:lnTo>
                      <a:pt x="790" y="618"/>
                    </a:lnTo>
                    <a:lnTo>
                      <a:pt x="788" y="618"/>
                    </a:lnTo>
                    <a:lnTo>
                      <a:pt x="786" y="618"/>
                    </a:lnTo>
                    <a:lnTo>
                      <a:pt x="780" y="616"/>
                    </a:lnTo>
                    <a:lnTo>
                      <a:pt x="776" y="616"/>
                    </a:lnTo>
                    <a:lnTo>
                      <a:pt x="770" y="614"/>
                    </a:lnTo>
                    <a:lnTo>
                      <a:pt x="768" y="614"/>
                    </a:lnTo>
                    <a:lnTo>
                      <a:pt x="766" y="614"/>
                    </a:lnTo>
                    <a:lnTo>
                      <a:pt x="766" y="614"/>
                    </a:lnTo>
                    <a:lnTo>
                      <a:pt x="764" y="614"/>
                    </a:lnTo>
                    <a:lnTo>
                      <a:pt x="762" y="616"/>
                    </a:lnTo>
                    <a:lnTo>
                      <a:pt x="762" y="616"/>
                    </a:lnTo>
                    <a:lnTo>
                      <a:pt x="760" y="616"/>
                    </a:lnTo>
                    <a:lnTo>
                      <a:pt x="758" y="618"/>
                    </a:lnTo>
                    <a:lnTo>
                      <a:pt x="756" y="620"/>
                    </a:lnTo>
                    <a:lnTo>
                      <a:pt x="754" y="624"/>
                    </a:lnTo>
                    <a:lnTo>
                      <a:pt x="752" y="626"/>
                    </a:lnTo>
                    <a:lnTo>
                      <a:pt x="750" y="626"/>
                    </a:lnTo>
                    <a:lnTo>
                      <a:pt x="750" y="628"/>
                    </a:lnTo>
                    <a:lnTo>
                      <a:pt x="748" y="630"/>
                    </a:lnTo>
                    <a:lnTo>
                      <a:pt x="744" y="634"/>
                    </a:lnTo>
                    <a:lnTo>
                      <a:pt x="740" y="638"/>
                    </a:lnTo>
                    <a:lnTo>
                      <a:pt x="736" y="642"/>
                    </a:lnTo>
                    <a:lnTo>
                      <a:pt x="732" y="646"/>
                    </a:lnTo>
                    <a:lnTo>
                      <a:pt x="730" y="648"/>
                    </a:lnTo>
                    <a:lnTo>
                      <a:pt x="728" y="650"/>
                    </a:lnTo>
                    <a:lnTo>
                      <a:pt x="726" y="652"/>
                    </a:lnTo>
                    <a:lnTo>
                      <a:pt x="724" y="652"/>
                    </a:lnTo>
                    <a:lnTo>
                      <a:pt x="722" y="654"/>
                    </a:lnTo>
                    <a:lnTo>
                      <a:pt x="720" y="654"/>
                    </a:lnTo>
                    <a:lnTo>
                      <a:pt x="718" y="654"/>
                    </a:lnTo>
                    <a:lnTo>
                      <a:pt x="716" y="654"/>
                    </a:lnTo>
                    <a:lnTo>
                      <a:pt x="714" y="654"/>
                    </a:lnTo>
                    <a:lnTo>
                      <a:pt x="710" y="654"/>
                    </a:lnTo>
                    <a:lnTo>
                      <a:pt x="708" y="652"/>
                    </a:lnTo>
                    <a:lnTo>
                      <a:pt x="706" y="652"/>
                    </a:lnTo>
                    <a:lnTo>
                      <a:pt x="704" y="650"/>
                    </a:lnTo>
                    <a:lnTo>
                      <a:pt x="702" y="650"/>
                    </a:lnTo>
                    <a:lnTo>
                      <a:pt x="702" y="650"/>
                    </a:lnTo>
                    <a:lnTo>
                      <a:pt x="700" y="648"/>
                    </a:lnTo>
                    <a:lnTo>
                      <a:pt x="700" y="648"/>
                    </a:lnTo>
                    <a:lnTo>
                      <a:pt x="698" y="646"/>
                    </a:lnTo>
                    <a:lnTo>
                      <a:pt x="698" y="646"/>
                    </a:lnTo>
                    <a:lnTo>
                      <a:pt x="698" y="644"/>
                    </a:lnTo>
                    <a:lnTo>
                      <a:pt x="698" y="644"/>
                    </a:lnTo>
                    <a:lnTo>
                      <a:pt x="698" y="644"/>
                    </a:lnTo>
                    <a:lnTo>
                      <a:pt x="698" y="642"/>
                    </a:lnTo>
                    <a:lnTo>
                      <a:pt x="700" y="640"/>
                    </a:lnTo>
                    <a:lnTo>
                      <a:pt x="700" y="640"/>
                    </a:lnTo>
                    <a:lnTo>
                      <a:pt x="704" y="636"/>
                    </a:lnTo>
                    <a:lnTo>
                      <a:pt x="704" y="636"/>
                    </a:lnTo>
                    <a:lnTo>
                      <a:pt x="706" y="634"/>
                    </a:lnTo>
                    <a:lnTo>
                      <a:pt x="708" y="632"/>
                    </a:lnTo>
                    <a:lnTo>
                      <a:pt x="710" y="628"/>
                    </a:lnTo>
                    <a:lnTo>
                      <a:pt x="716" y="622"/>
                    </a:lnTo>
                    <a:lnTo>
                      <a:pt x="718" y="618"/>
                    </a:lnTo>
                    <a:lnTo>
                      <a:pt x="720" y="616"/>
                    </a:lnTo>
                    <a:lnTo>
                      <a:pt x="720" y="614"/>
                    </a:lnTo>
                    <a:lnTo>
                      <a:pt x="722" y="614"/>
                    </a:lnTo>
                    <a:lnTo>
                      <a:pt x="722" y="612"/>
                    </a:lnTo>
                    <a:lnTo>
                      <a:pt x="722" y="610"/>
                    </a:lnTo>
                    <a:lnTo>
                      <a:pt x="724" y="608"/>
                    </a:lnTo>
                    <a:lnTo>
                      <a:pt x="724" y="608"/>
                    </a:lnTo>
                    <a:lnTo>
                      <a:pt x="722" y="606"/>
                    </a:lnTo>
                    <a:lnTo>
                      <a:pt x="722" y="604"/>
                    </a:lnTo>
                    <a:lnTo>
                      <a:pt x="722" y="602"/>
                    </a:lnTo>
                    <a:lnTo>
                      <a:pt x="720" y="600"/>
                    </a:lnTo>
                    <a:lnTo>
                      <a:pt x="720" y="598"/>
                    </a:lnTo>
                    <a:lnTo>
                      <a:pt x="718" y="594"/>
                    </a:lnTo>
                    <a:lnTo>
                      <a:pt x="716" y="590"/>
                    </a:lnTo>
                    <a:lnTo>
                      <a:pt x="714" y="586"/>
                    </a:lnTo>
                    <a:lnTo>
                      <a:pt x="710" y="582"/>
                    </a:lnTo>
                    <a:lnTo>
                      <a:pt x="710" y="580"/>
                    </a:lnTo>
                    <a:lnTo>
                      <a:pt x="708" y="576"/>
                    </a:lnTo>
                    <a:lnTo>
                      <a:pt x="706" y="572"/>
                    </a:lnTo>
                    <a:lnTo>
                      <a:pt x="702" y="564"/>
                    </a:lnTo>
                    <a:lnTo>
                      <a:pt x="700" y="560"/>
                    </a:lnTo>
                    <a:lnTo>
                      <a:pt x="698" y="556"/>
                    </a:lnTo>
                    <a:lnTo>
                      <a:pt x="698" y="554"/>
                    </a:lnTo>
                    <a:lnTo>
                      <a:pt x="696" y="554"/>
                    </a:lnTo>
                    <a:lnTo>
                      <a:pt x="696" y="552"/>
                    </a:lnTo>
                    <a:lnTo>
                      <a:pt x="694" y="550"/>
                    </a:lnTo>
                    <a:lnTo>
                      <a:pt x="694" y="550"/>
                    </a:lnTo>
                    <a:lnTo>
                      <a:pt x="692" y="548"/>
                    </a:lnTo>
                    <a:lnTo>
                      <a:pt x="690" y="548"/>
                    </a:lnTo>
                    <a:lnTo>
                      <a:pt x="686" y="546"/>
                    </a:lnTo>
                    <a:lnTo>
                      <a:pt x="682" y="544"/>
                    </a:lnTo>
                    <a:lnTo>
                      <a:pt x="676" y="542"/>
                    </a:lnTo>
                    <a:lnTo>
                      <a:pt x="672" y="540"/>
                    </a:lnTo>
                    <a:lnTo>
                      <a:pt x="670" y="538"/>
                    </a:lnTo>
                    <a:lnTo>
                      <a:pt x="668" y="536"/>
                    </a:lnTo>
                    <a:lnTo>
                      <a:pt x="666" y="534"/>
                    </a:lnTo>
                    <a:lnTo>
                      <a:pt x="660" y="530"/>
                    </a:lnTo>
                    <a:lnTo>
                      <a:pt x="658" y="528"/>
                    </a:lnTo>
                    <a:lnTo>
                      <a:pt x="656" y="526"/>
                    </a:lnTo>
                    <a:lnTo>
                      <a:pt x="652" y="524"/>
                    </a:lnTo>
                    <a:lnTo>
                      <a:pt x="652" y="524"/>
                    </a:lnTo>
                    <a:lnTo>
                      <a:pt x="650" y="524"/>
                    </a:lnTo>
                    <a:lnTo>
                      <a:pt x="648" y="522"/>
                    </a:lnTo>
                    <a:lnTo>
                      <a:pt x="648" y="522"/>
                    </a:lnTo>
                    <a:lnTo>
                      <a:pt x="644" y="522"/>
                    </a:lnTo>
                    <a:lnTo>
                      <a:pt x="642" y="522"/>
                    </a:lnTo>
                    <a:lnTo>
                      <a:pt x="638" y="522"/>
                    </a:lnTo>
                    <a:lnTo>
                      <a:pt x="630" y="522"/>
                    </a:lnTo>
                    <a:lnTo>
                      <a:pt x="628" y="524"/>
                    </a:lnTo>
                    <a:lnTo>
                      <a:pt x="624" y="524"/>
                    </a:lnTo>
                    <a:lnTo>
                      <a:pt x="620" y="522"/>
                    </a:lnTo>
                    <a:lnTo>
                      <a:pt x="616" y="522"/>
                    </a:lnTo>
                    <a:lnTo>
                      <a:pt x="604" y="522"/>
                    </a:lnTo>
                    <a:lnTo>
                      <a:pt x="594" y="520"/>
                    </a:lnTo>
                    <a:lnTo>
                      <a:pt x="588" y="520"/>
                    </a:lnTo>
                    <a:lnTo>
                      <a:pt x="584" y="520"/>
                    </a:lnTo>
                    <a:lnTo>
                      <a:pt x="584" y="520"/>
                    </a:lnTo>
                    <a:lnTo>
                      <a:pt x="582" y="520"/>
                    </a:lnTo>
                    <a:lnTo>
                      <a:pt x="578" y="520"/>
                    </a:lnTo>
                    <a:lnTo>
                      <a:pt x="574" y="520"/>
                    </a:lnTo>
                    <a:lnTo>
                      <a:pt x="570" y="522"/>
                    </a:lnTo>
                    <a:lnTo>
                      <a:pt x="566" y="522"/>
                    </a:lnTo>
                    <a:lnTo>
                      <a:pt x="564" y="522"/>
                    </a:lnTo>
                    <a:lnTo>
                      <a:pt x="564" y="522"/>
                    </a:lnTo>
                    <a:lnTo>
                      <a:pt x="562" y="522"/>
                    </a:lnTo>
                    <a:lnTo>
                      <a:pt x="560" y="520"/>
                    </a:lnTo>
                    <a:lnTo>
                      <a:pt x="560" y="520"/>
                    </a:lnTo>
                    <a:lnTo>
                      <a:pt x="558" y="520"/>
                    </a:lnTo>
                    <a:lnTo>
                      <a:pt x="558" y="518"/>
                    </a:lnTo>
                    <a:lnTo>
                      <a:pt x="558" y="518"/>
                    </a:lnTo>
                    <a:lnTo>
                      <a:pt x="558" y="516"/>
                    </a:lnTo>
                    <a:lnTo>
                      <a:pt x="558" y="516"/>
                    </a:lnTo>
                    <a:lnTo>
                      <a:pt x="558" y="514"/>
                    </a:lnTo>
                    <a:lnTo>
                      <a:pt x="558" y="510"/>
                    </a:lnTo>
                    <a:lnTo>
                      <a:pt x="560" y="510"/>
                    </a:lnTo>
                    <a:lnTo>
                      <a:pt x="176" y="510"/>
                    </a:lnTo>
                    <a:lnTo>
                      <a:pt x="174" y="508"/>
                    </a:lnTo>
                    <a:lnTo>
                      <a:pt x="170" y="500"/>
                    </a:lnTo>
                    <a:lnTo>
                      <a:pt x="166" y="496"/>
                    </a:lnTo>
                    <a:lnTo>
                      <a:pt x="162" y="492"/>
                    </a:lnTo>
                    <a:lnTo>
                      <a:pt x="160" y="490"/>
                    </a:lnTo>
                    <a:lnTo>
                      <a:pt x="158" y="486"/>
                    </a:lnTo>
                    <a:lnTo>
                      <a:pt x="156" y="486"/>
                    </a:lnTo>
                    <a:lnTo>
                      <a:pt x="154" y="484"/>
                    </a:lnTo>
                    <a:lnTo>
                      <a:pt x="148" y="480"/>
                    </a:lnTo>
                    <a:lnTo>
                      <a:pt x="142" y="476"/>
                    </a:lnTo>
                    <a:lnTo>
                      <a:pt x="140" y="476"/>
                    </a:lnTo>
                    <a:lnTo>
                      <a:pt x="138" y="474"/>
                    </a:lnTo>
                    <a:lnTo>
                      <a:pt x="134" y="470"/>
                    </a:lnTo>
                    <a:lnTo>
                      <a:pt x="132" y="468"/>
                    </a:lnTo>
                    <a:lnTo>
                      <a:pt x="130" y="466"/>
                    </a:lnTo>
                    <a:lnTo>
                      <a:pt x="128" y="464"/>
                    </a:lnTo>
                    <a:lnTo>
                      <a:pt x="126" y="460"/>
                    </a:lnTo>
                    <a:lnTo>
                      <a:pt x="124" y="458"/>
                    </a:lnTo>
                    <a:lnTo>
                      <a:pt x="124" y="458"/>
                    </a:lnTo>
                    <a:lnTo>
                      <a:pt x="124" y="456"/>
                    </a:lnTo>
                    <a:lnTo>
                      <a:pt x="124" y="456"/>
                    </a:lnTo>
                    <a:lnTo>
                      <a:pt x="124" y="454"/>
                    </a:lnTo>
                    <a:lnTo>
                      <a:pt x="122" y="452"/>
                    </a:lnTo>
                    <a:lnTo>
                      <a:pt x="122" y="448"/>
                    </a:lnTo>
                    <a:lnTo>
                      <a:pt x="122" y="446"/>
                    </a:lnTo>
                    <a:lnTo>
                      <a:pt x="122" y="440"/>
                    </a:lnTo>
                    <a:lnTo>
                      <a:pt x="122" y="438"/>
                    </a:lnTo>
                    <a:lnTo>
                      <a:pt x="122" y="434"/>
                    </a:lnTo>
                    <a:lnTo>
                      <a:pt x="122" y="434"/>
                    </a:lnTo>
                    <a:lnTo>
                      <a:pt x="122" y="430"/>
                    </a:lnTo>
                    <a:lnTo>
                      <a:pt x="122" y="426"/>
                    </a:lnTo>
                    <a:lnTo>
                      <a:pt x="122" y="424"/>
                    </a:lnTo>
                    <a:lnTo>
                      <a:pt x="122" y="420"/>
                    </a:lnTo>
                    <a:lnTo>
                      <a:pt x="122" y="420"/>
                    </a:lnTo>
                    <a:lnTo>
                      <a:pt x="122" y="418"/>
                    </a:lnTo>
                    <a:lnTo>
                      <a:pt x="122" y="418"/>
                    </a:lnTo>
                    <a:lnTo>
                      <a:pt x="122" y="418"/>
                    </a:lnTo>
                    <a:lnTo>
                      <a:pt x="120" y="418"/>
                    </a:lnTo>
                    <a:lnTo>
                      <a:pt x="120" y="416"/>
                    </a:lnTo>
                    <a:lnTo>
                      <a:pt x="120" y="416"/>
                    </a:lnTo>
                    <a:lnTo>
                      <a:pt x="118" y="416"/>
                    </a:lnTo>
                    <a:lnTo>
                      <a:pt x="116" y="418"/>
                    </a:lnTo>
                    <a:lnTo>
                      <a:pt x="114" y="418"/>
                    </a:lnTo>
                    <a:lnTo>
                      <a:pt x="112" y="418"/>
                    </a:lnTo>
                    <a:lnTo>
                      <a:pt x="110" y="418"/>
                    </a:lnTo>
                    <a:lnTo>
                      <a:pt x="110" y="418"/>
                    </a:lnTo>
                    <a:lnTo>
                      <a:pt x="108" y="418"/>
                    </a:lnTo>
                    <a:lnTo>
                      <a:pt x="108" y="418"/>
                    </a:lnTo>
                    <a:lnTo>
                      <a:pt x="108" y="418"/>
                    </a:lnTo>
                    <a:lnTo>
                      <a:pt x="106" y="418"/>
                    </a:lnTo>
                    <a:lnTo>
                      <a:pt x="106" y="418"/>
                    </a:lnTo>
                    <a:lnTo>
                      <a:pt x="106" y="416"/>
                    </a:lnTo>
                    <a:lnTo>
                      <a:pt x="106" y="416"/>
                    </a:lnTo>
                    <a:lnTo>
                      <a:pt x="106" y="414"/>
                    </a:lnTo>
                    <a:lnTo>
                      <a:pt x="106" y="412"/>
                    </a:lnTo>
                    <a:lnTo>
                      <a:pt x="106" y="410"/>
                    </a:lnTo>
                    <a:lnTo>
                      <a:pt x="106" y="408"/>
                    </a:lnTo>
                    <a:lnTo>
                      <a:pt x="106" y="406"/>
                    </a:lnTo>
                    <a:lnTo>
                      <a:pt x="106" y="406"/>
                    </a:lnTo>
                    <a:lnTo>
                      <a:pt x="106" y="404"/>
                    </a:lnTo>
                    <a:lnTo>
                      <a:pt x="106" y="404"/>
                    </a:lnTo>
                    <a:lnTo>
                      <a:pt x="106" y="404"/>
                    </a:lnTo>
                    <a:lnTo>
                      <a:pt x="104" y="404"/>
                    </a:lnTo>
                    <a:lnTo>
                      <a:pt x="102" y="404"/>
                    </a:lnTo>
                    <a:lnTo>
                      <a:pt x="102" y="402"/>
                    </a:lnTo>
                    <a:lnTo>
                      <a:pt x="100" y="402"/>
                    </a:lnTo>
                    <a:lnTo>
                      <a:pt x="98" y="402"/>
                    </a:lnTo>
                    <a:lnTo>
                      <a:pt x="98" y="402"/>
                    </a:lnTo>
                    <a:lnTo>
                      <a:pt x="98" y="402"/>
                    </a:lnTo>
                    <a:lnTo>
                      <a:pt x="98" y="402"/>
                    </a:lnTo>
                    <a:lnTo>
                      <a:pt x="96" y="400"/>
                    </a:lnTo>
                    <a:lnTo>
                      <a:pt x="96" y="398"/>
                    </a:lnTo>
                    <a:lnTo>
                      <a:pt x="96" y="398"/>
                    </a:lnTo>
                    <a:lnTo>
                      <a:pt x="96" y="396"/>
                    </a:lnTo>
                    <a:lnTo>
                      <a:pt x="96" y="394"/>
                    </a:lnTo>
                    <a:lnTo>
                      <a:pt x="96" y="390"/>
                    </a:lnTo>
                    <a:lnTo>
                      <a:pt x="98" y="388"/>
                    </a:lnTo>
                    <a:lnTo>
                      <a:pt x="98" y="384"/>
                    </a:lnTo>
                    <a:lnTo>
                      <a:pt x="100" y="380"/>
                    </a:lnTo>
                    <a:lnTo>
                      <a:pt x="100" y="378"/>
                    </a:lnTo>
                    <a:lnTo>
                      <a:pt x="100" y="376"/>
                    </a:lnTo>
                    <a:lnTo>
                      <a:pt x="104" y="372"/>
                    </a:lnTo>
                    <a:lnTo>
                      <a:pt x="106" y="368"/>
                    </a:lnTo>
                    <a:lnTo>
                      <a:pt x="108" y="368"/>
                    </a:lnTo>
                    <a:lnTo>
                      <a:pt x="110" y="366"/>
                    </a:lnTo>
                    <a:lnTo>
                      <a:pt x="112" y="364"/>
                    </a:lnTo>
                    <a:lnTo>
                      <a:pt x="114" y="362"/>
                    </a:lnTo>
                    <a:lnTo>
                      <a:pt x="114" y="362"/>
                    </a:lnTo>
                    <a:lnTo>
                      <a:pt x="116" y="360"/>
                    </a:lnTo>
                    <a:lnTo>
                      <a:pt x="116" y="360"/>
                    </a:lnTo>
                    <a:lnTo>
                      <a:pt x="116" y="358"/>
                    </a:lnTo>
                    <a:lnTo>
                      <a:pt x="116" y="358"/>
                    </a:lnTo>
                    <a:lnTo>
                      <a:pt x="116" y="358"/>
                    </a:lnTo>
                    <a:lnTo>
                      <a:pt x="114" y="356"/>
                    </a:lnTo>
                    <a:lnTo>
                      <a:pt x="114" y="356"/>
                    </a:lnTo>
                    <a:lnTo>
                      <a:pt x="112" y="356"/>
                    </a:lnTo>
                    <a:lnTo>
                      <a:pt x="112" y="356"/>
                    </a:lnTo>
                    <a:lnTo>
                      <a:pt x="110" y="356"/>
                    </a:lnTo>
                    <a:lnTo>
                      <a:pt x="106" y="356"/>
                    </a:lnTo>
                    <a:lnTo>
                      <a:pt x="104" y="356"/>
                    </a:lnTo>
                    <a:lnTo>
                      <a:pt x="100" y="354"/>
                    </a:lnTo>
                    <a:lnTo>
                      <a:pt x="100" y="354"/>
                    </a:lnTo>
                    <a:lnTo>
                      <a:pt x="98" y="354"/>
                    </a:lnTo>
                    <a:lnTo>
                      <a:pt x="96" y="354"/>
                    </a:lnTo>
                    <a:lnTo>
                      <a:pt x="96" y="352"/>
                    </a:lnTo>
                    <a:lnTo>
                      <a:pt x="96" y="352"/>
                    </a:lnTo>
                    <a:lnTo>
                      <a:pt x="94" y="352"/>
                    </a:lnTo>
                    <a:lnTo>
                      <a:pt x="94" y="350"/>
                    </a:lnTo>
                    <a:lnTo>
                      <a:pt x="94" y="348"/>
                    </a:lnTo>
                    <a:lnTo>
                      <a:pt x="94" y="344"/>
                    </a:lnTo>
                    <a:lnTo>
                      <a:pt x="94" y="342"/>
                    </a:lnTo>
                    <a:lnTo>
                      <a:pt x="94" y="338"/>
                    </a:lnTo>
                    <a:lnTo>
                      <a:pt x="92" y="334"/>
                    </a:lnTo>
                    <a:lnTo>
                      <a:pt x="92" y="332"/>
                    </a:lnTo>
                    <a:lnTo>
                      <a:pt x="92" y="332"/>
                    </a:lnTo>
                    <a:lnTo>
                      <a:pt x="92" y="330"/>
                    </a:lnTo>
                    <a:lnTo>
                      <a:pt x="90" y="330"/>
                    </a:lnTo>
                    <a:lnTo>
                      <a:pt x="90" y="328"/>
                    </a:lnTo>
                    <a:lnTo>
                      <a:pt x="90" y="328"/>
                    </a:lnTo>
                    <a:lnTo>
                      <a:pt x="88" y="328"/>
                    </a:lnTo>
                    <a:lnTo>
                      <a:pt x="84" y="326"/>
                    </a:lnTo>
                    <a:lnTo>
                      <a:pt x="84" y="326"/>
                    </a:lnTo>
                    <a:lnTo>
                      <a:pt x="84" y="326"/>
                    </a:lnTo>
                    <a:lnTo>
                      <a:pt x="82" y="324"/>
                    </a:lnTo>
                    <a:lnTo>
                      <a:pt x="82" y="324"/>
                    </a:lnTo>
                    <a:lnTo>
                      <a:pt x="82" y="322"/>
                    </a:lnTo>
                    <a:lnTo>
                      <a:pt x="82" y="320"/>
                    </a:lnTo>
                    <a:lnTo>
                      <a:pt x="82" y="316"/>
                    </a:lnTo>
                    <a:lnTo>
                      <a:pt x="80" y="312"/>
                    </a:lnTo>
                    <a:lnTo>
                      <a:pt x="80" y="310"/>
                    </a:lnTo>
                    <a:lnTo>
                      <a:pt x="80" y="308"/>
                    </a:lnTo>
                    <a:lnTo>
                      <a:pt x="80" y="308"/>
                    </a:lnTo>
                    <a:lnTo>
                      <a:pt x="78" y="304"/>
                    </a:lnTo>
                    <a:lnTo>
                      <a:pt x="76" y="302"/>
                    </a:lnTo>
                    <a:lnTo>
                      <a:pt x="72" y="298"/>
                    </a:lnTo>
                    <a:lnTo>
                      <a:pt x="70" y="294"/>
                    </a:lnTo>
                    <a:lnTo>
                      <a:pt x="68" y="292"/>
                    </a:lnTo>
                    <a:lnTo>
                      <a:pt x="64" y="288"/>
                    </a:lnTo>
                    <a:lnTo>
                      <a:pt x="62" y="286"/>
                    </a:lnTo>
                    <a:lnTo>
                      <a:pt x="60" y="284"/>
                    </a:lnTo>
                    <a:lnTo>
                      <a:pt x="58" y="284"/>
                    </a:lnTo>
                    <a:lnTo>
                      <a:pt x="56" y="284"/>
                    </a:lnTo>
                    <a:lnTo>
                      <a:pt x="54" y="282"/>
                    </a:lnTo>
                    <a:lnTo>
                      <a:pt x="52" y="282"/>
                    </a:lnTo>
                    <a:lnTo>
                      <a:pt x="52" y="282"/>
                    </a:lnTo>
                    <a:lnTo>
                      <a:pt x="50" y="282"/>
                    </a:lnTo>
                    <a:lnTo>
                      <a:pt x="50" y="282"/>
                    </a:lnTo>
                    <a:lnTo>
                      <a:pt x="50" y="282"/>
                    </a:lnTo>
                    <a:lnTo>
                      <a:pt x="48" y="284"/>
                    </a:lnTo>
                    <a:lnTo>
                      <a:pt x="48" y="284"/>
                    </a:lnTo>
                    <a:lnTo>
                      <a:pt x="48" y="286"/>
                    </a:lnTo>
                    <a:lnTo>
                      <a:pt x="48" y="288"/>
                    </a:lnTo>
                    <a:lnTo>
                      <a:pt x="48" y="290"/>
                    </a:lnTo>
                    <a:lnTo>
                      <a:pt x="48" y="290"/>
                    </a:lnTo>
                    <a:lnTo>
                      <a:pt x="48" y="292"/>
                    </a:lnTo>
                    <a:lnTo>
                      <a:pt x="48" y="292"/>
                    </a:lnTo>
                    <a:lnTo>
                      <a:pt x="46" y="292"/>
                    </a:lnTo>
                    <a:lnTo>
                      <a:pt x="46" y="292"/>
                    </a:lnTo>
                    <a:lnTo>
                      <a:pt x="46" y="292"/>
                    </a:lnTo>
                    <a:lnTo>
                      <a:pt x="44" y="294"/>
                    </a:lnTo>
                    <a:lnTo>
                      <a:pt x="44" y="292"/>
                    </a:lnTo>
                    <a:lnTo>
                      <a:pt x="42" y="292"/>
                    </a:lnTo>
                    <a:lnTo>
                      <a:pt x="42" y="292"/>
                    </a:lnTo>
                    <a:lnTo>
                      <a:pt x="40" y="292"/>
                    </a:lnTo>
                    <a:lnTo>
                      <a:pt x="38" y="292"/>
                    </a:lnTo>
                    <a:lnTo>
                      <a:pt x="38" y="292"/>
                    </a:lnTo>
                    <a:lnTo>
                      <a:pt x="38" y="292"/>
                    </a:lnTo>
                    <a:lnTo>
                      <a:pt x="38" y="292"/>
                    </a:lnTo>
                    <a:lnTo>
                      <a:pt x="38" y="294"/>
                    </a:lnTo>
                    <a:lnTo>
                      <a:pt x="36" y="294"/>
                    </a:lnTo>
                    <a:lnTo>
                      <a:pt x="36" y="296"/>
                    </a:lnTo>
                    <a:lnTo>
                      <a:pt x="36" y="298"/>
                    </a:lnTo>
                    <a:lnTo>
                      <a:pt x="36" y="298"/>
                    </a:lnTo>
                    <a:lnTo>
                      <a:pt x="36" y="300"/>
                    </a:lnTo>
                    <a:lnTo>
                      <a:pt x="34" y="302"/>
                    </a:lnTo>
                    <a:lnTo>
                      <a:pt x="34" y="302"/>
                    </a:lnTo>
                    <a:lnTo>
                      <a:pt x="34" y="302"/>
                    </a:lnTo>
                    <a:lnTo>
                      <a:pt x="34" y="302"/>
                    </a:lnTo>
                    <a:lnTo>
                      <a:pt x="32" y="302"/>
                    </a:lnTo>
                    <a:lnTo>
                      <a:pt x="32" y="302"/>
                    </a:lnTo>
                    <a:lnTo>
                      <a:pt x="30" y="302"/>
                    </a:lnTo>
                    <a:lnTo>
                      <a:pt x="30" y="300"/>
                    </a:lnTo>
                    <a:lnTo>
                      <a:pt x="28" y="298"/>
                    </a:lnTo>
                    <a:lnTo>
                      <a:pt x="26" y="298"/>
                    </a:lnTo>
                    <a:lnTo>
                      <a:pt x="24" y="296"/>
                    </a:lnTo>
                    <a:lnTo>
                      <a:pt x="22" y="294"/>
                    </a:lnTo>
                    <a:lnTo>
                      <a:pt x="22" y="292"/>
                    </a:lnTo>
                    <a:lnTo>
                      <a:pt x="22" y="292"/>
                    </a:lnTo>
                    <a:lnTo>
                      <a:pt x="20" y="290"/>
                    </a:lnTo>
                    <a:lnTo>
                      <a:pt x="20" y="288"/>
                    </a:lnTo>
                    <a:lnTo>
                      <a:pt x="20" y="286"/>
                    </a:lnTo>
                    <a:lnTo>
                      <a:pt x="20" y="284"/>
                    </a:lnTo>
                    <a:lnTo>
                      <a:pt x="20" y="280"/>
                    </a:lnTo>
                    <a:lnTo>
                      <a:pt x="20" y="278"/>
                    </a:lnTo>
                    <a:lnTo>
                      <a:pt x="18" y="276"/>
                    </a:lnTo>
                    <a:lnTo>
                      <a:pt x="18" y="274"/>
                    </a:lnTo>
                    <a:lnTo>
                      <a:pt x="18" y="274"/>
                    </a:lnTo>
                    <a:lnTo>
                      <a:pt x="16" y="272"/>
                    </a:lnTo>
                    <a:lnTo>
                      <a:pt x="16" y="270"/>
                    </a:lnTo>
                    <a:lnTo>
                      <a:pt x="14" y="270"/>
                    </a:lnTo>
                    <a:lnTo>
                      <a:pt x="14" y="270"/>
                    </a:lnTo>
                    <a:lnTo>
                      <a:pt x="12" y="268"/>
                    </a:lnTo>
                    <a:lnTo>
                      <a:pt x="12" y="268"/>
                    </a:lnTo>
                    <a:lnTo>
                      <a:pt x="10" y="268"/>
                    </a:lnTo>
                    <a:lnTo>
                      <a:pt x="10" y="268"/>
                    </a:lnTo>
                    <a:lnTo>
                      <a:pt x="8" y="270"/>
                    </a:lnTo>
                    <a:lnTo>
                      <a:pt x="6" y="270"/>
                    </a:lnTo>
                    <a:lnTo>
                      <a:pt x="4" y="272"/>
                    </a:lnTo>
                    <a:lnTo>
                      <a:pt x="0" y="272"/>
                    </a:lnTo>
                    <a:lnTo>
                      <a:pt x="0" y="274"/>
                    </a:lnTo>
                    <a:lnTo>
                      <a:pt x="64" y="52"/>
                    </a:lnTo>
                    <a:lnTo>
                      <a:pt x="68" y="52"/>
                    </a:lnTo>
                    <a:lnTo>
                      <a:pt x="80" y="54"/>
                    </a:lnTo>
                    <a:lnTo>
                      <a:pt x="88" y="56"/>
                    </a:lnTo>
                    <a:lnTo>
                      <a:pt x="94" y="58"/>
                    </a:lnTo>
                    <a:lnTo>
                      <a:pt x="100" y="58"/>
                    </a:lnTo>
                    <a:lnTo>
                      <a:pt x="102" y="60"/>
                    </a:lnTo>
                    <a:lnTo>
                      <a:pt x="104" y="60"/>
                    </a:lnTo>
                    <a:lnTo>
                      <a:pt x="106" y="60"/>
                    </a:lnTo>
                    <a:lnTo>
                      <a:pt x="108" y="62"/>
                    </a:lnTo>
                    <a:lnTo>
                      <a:pt x="114" y="64"/>
                    </a:lnTo>
                    <a:lnTo>
                      <a:pt x="118" y="66"/>
                    </a:lnTo>
                    <a:lnTo>
                      <a:pt x="124" y="68"/>
                    </a:lnTo>
                    <a:lnTo>
                      <a:pt x="128" y="72"/>
                    </a:lnTo>
                    <a:lnTo>
                      <a:pt x="134" y="74"/>
                    </a:lnTo>
                    <a:lnTo>
                      <a:pt x="138" y="76"/>
                    </a:lnTo>
                    <a:lnTo>
                      <a:pt x="140" y="76"/>
                    </a:lnTo>
                    <a:lnTo>
                      <a:pt x="142" y="78"/>
                    </a:lnTo>
                    <a:lnTo>
                      <a:pt x="146" y="78"/>
                    </a:lnTo>
                    <a:lnTo>
                      <a:pt x="148" y="78"/>
                    </a:lnTo>
                    <a:lnTo>
                      <a:pt x="150" y="80"/>
                    </a:lnTo>
                    <a:lnTo>
                      <a:pt x="152" y="80"/>
                    </a:lnTo>
                    <a:lnTo>
                      <a:pt x="154" y="80"/>
                    </a:lnTo>
                    <a:lnTo>
                      <a:pt x="156" y="80"/>
                    </a:lnTo>
                    <a:lnTo>
                      <a:pt x="156" y="80"/>
                    </a:lnTo>
                    <a:lnTo>
                      <a:pt x="156" y="78"/>
                    </a:lnTo>
                    <a:lnTo>
                      <a:pt x="158" y="78"/>
                    </a:lnTo>
                    <a:lnTo>
                      <a:pt x="158" y="78"/>
                    </a:lnTo>
                    <a:lnTo>
                      <a:pt x="158" y="78"/>
                    </a:lnTo>
                    <a:lnTo>
                      <a:pt x="158" y="76"/>
                    </a:lnTo>
                    <a:lnTo>
                      <a:pt x="158" y="76"/>
                    </a:lnTo>
                    <a:lnTo>
                      <a:pt x="158" y="74"/>
                    </a:lnTo>
                    <a:lnTo>
                      <a:pt x="158" y="72"/>
                    </a:lnTo>
                    <a:lnTo>
                      <a:pt x="158" y="70"/>
                    </a:lnTo>
                    <a:lnTo>
                      <a:pt x="158" y="66"/>
                    </a:lnTo>
                    <a:lnTo>
                      <a:pt x="158" y="66"/>
                    </a:lnTo>
                    <a:lnTo>
                      <a:pt x="158" y="64"/>
                    </a:lnTo>
                    <a:lnTo>
                      <a:pt x="158" y="64"/>
                    </a:lnTo>
                    <a:lnTo>
                      <a:pt x="160" y="62"/>
                    </a:lnTo>
                    <a:lnTo>
                      <a:pt x="160" y="62"/>
                    </a:lnTo>
                    <a:lnTo>
                      <a:pt x="162" y="60"/>
                    </a:lnTo>
                    <a:lnTo>
                      <a:pt x="164" y="60"/>
                    </a:lnTo>
                    <a:lnTo>
                      <a:pt x="166" y="58"/>
                    </a:lnTo>
                    <a:lnTo>
                      <a:pt x="170" y="56"/>
                    </a:lnTo>
                    <a:lnTo>
                      <a:pt x="172" y="54"/>
                    </a:lnTo>
                    <a:lnTo>
                      <a:pt x="176" y="50"/>
                    </a:lnTo>
                    <a:lnTo>
                      <a:pt x="180" y="48"/>
                    </a:lnTo>
                    <a:lnTo>
                      <a:pt x="184" y="44"/>
                    </a:lnTo>
                    <a:lnTo>
                      <a:pt x="190" y="40"/>
                    </a:lnTo>
                    <a:lnTo>
                      <a:pt x="192" y="38"/>
                    </a:lnTo>
                    <a:lnTo>
                      <a:pt x="194" y="36"/>
                    </a:lnTo>
                    <a:lnTo>
                      <a:pt x="196" y="34"/>
                    </a:lnTo>
                    <a:lnTo>
                      <a:pt x="200" y="34"/>
                    </a:lnTo>
                    <a:lnTo>
                      <a:pt x="202" y="32"/>
                    </a:lnTo>
                    <a:lnTo>
                      <a:pt x="204" y="32"/>
                    </a:lnTo>
                    <a:lnTo>
                      <a:pt x="206" y="32"/>
                    </a:lnTo>
                    <a:lnTo>
                      <a:pt x="208" y="30"/>
                    </a:lnTo>
                    <a:lnTo>
                      <a:pt x="210" y="30"/>
                    </a:lnTo>
                    <a:lnTo>
                      <a:pt x="210" y="32"/>
                    </a:lnTo>
                    <a:lnTo>
                      <a:pt x="212" y="32"/>
                    </a:lnTo>
                    <a:lnTo>
                      <a:pt x="214" y="32"/>
                    </a:lnTo>
                    <a:lnTo>
                      <a:pt x="216" y="34"/>
                    </a:lnTo>
                    <a:lnTo>
                      <a:pt x="218" y="34"/>
                    </a:lnTo>
                    <a:lnTo>
                      <a:pt x="218" y="36"/>
                    </a:lnTo>
                    <a:lnTo>
                      <a:pt x="218" y="36"/>
                    </a:lnTo>
                    <a:lnTo>
                      <a:pt x="218" y="36"/>
                    </a:lnTo>
                    <a:lnTo>
                      <a:pt x="218" y="38"/>
                    </a:lnTo>
                    <a:lnTo>
                      <a:pt x="218" y="38"/>
                    </a:lnTo>
                    <a:lnTo>
                      <a:pt x="218" y="38"/>
                    </a:lnTo>
                    <a:lnTo>
                      <a:pt x="218" y="40"/>
                    </a:lnTo>
                    <a:lnTo>
                      <a:pt x="218" y="40"/>
                    </a:lnTo>
                    <a:lnTo>
                      <a:pt x="216" y="40"/>
                    </a:lnTo>
                    <a:lnTo>
                      <a:pt x="214" y="42"/>
                    </a:lnTo>
                    <a:lnTo>
                      <a:pt x="212" y="42"/>
                    </a:lnTo>
                    <a:lnTo>
                      <a:pt x="210" y="44"/>
                    </a:lnTo>
                    <a:lnTo>
                      <a:pt x="204" y="46"/>
                    </a:lnTo>
                    <a:lnTo>
                      <a:pt x="200" y="48"/>
                    </a:lnTo>
                    <a:lnTo>
                      <a:pt x="198" y="48"/>
                    </a:lnTo>
                    <a:lnTo>
                      <a:pt x="196" y="50"/>
                    </a:lnTo>
                    <a:lnTo>
                      <a:pt x="194" y="50"/>
                    </a:lnTo>
                    <a:lnTo>
                      <a:pt x="194" y="50"/>
                    </a:lnTo>
                    <a:lnTo>
                      <a:pt x="194" y="50"/>
                    </a:lnTo>
                    <a:lnTo>
                      <a:pt x="192" y="52"/>
                    </a:lnTo>
                    <a:lnTo>
                      <a:pt x="192" y="52"/>
                    </a:lnTo>
                    <a:lnTo>
                      <a:pt x="192" y="52"/>
                    </a:lnTo>
                    <a:lnTo>
                      <a:pt x="192" y="54"/>
                    </a:lnTo>
                    <a:lnTo>
                      <a:pt x="194" y="54"/>
                    </a:lnTo>
                    <a:lnTo>
                      <a:pt x="194" y="54"/>
                    </a:lnTo>
                    <a:lnTo>
                      <a:pt x="194" y="54"/>
                    </a:lnTo>
                    <a:lnTo>
                      <a:pt x="194" y="56"/>
                    </a:lnTo>
                    <a:lnTo>
                      <a:pt x="196" y="56"/>
                    </a:lnTo>
                    <a:lnTo>
                      <a:pt x="196" y="56"/>
                    </a:lnTo>
                    <a:lnTo>
                      <a:pt x="198" y="56"/>
                    </a:lnTo>
                    <a:lnTo>
                      <a:pt x="200" y="56"/>
                    </a:lnTo>
                    <a:lnTo>
                      <a:pt x="202" y="56"/>
                    </a:lnTo>
                    <a:lnTo>
                      <a:pt x="204" y="56"/>
                    </a:lnTo>
                    <a:lnTo>
                      <a:pt x="208" y="56"/>
                    </a:lnTo>
                    <a:lnTo>
                      <a:pt x="212" y="54"/>
                    </a:lnTo>
                    <a:lnTo>
                      <a:pt x="216" y="54"/>
                    </a:lnTo>
                    <a:lnTo>
                      <a:pt x="220" y="52"/>
                    </a:lnTo>
                    <a:lnTo>
                      <a:pt x="220" y="52"/>
                    </a:lnTo>
                    <a:lnTo>
                      <a:pt x="222" y="50"/>
                    </a:lnTo>
                    <a:lnTo>
                      <a:pt x="224" y="50"/>
                    </a:lnTo>
                    <a:lnTo>
                      <a:pt x="224" y="48"/>
                    </a:lnTo>
                    <a:lnTo>
                      <a:pt x="228" y="44"/>
                    </a:lnTo>
                    <a:lnTo>
                      <a:pt x="230" y="42"/>
                    </a:lnTo>
                    <a:lnTo>
                      <a:pt x="230" y="40"/>
                    </a:lnTo>
                    <a:lnTo>
                      <a:pt x="230" y="40"/>
                    </a:lnTo>
                    <a:lnTo>
                      <a:pt x="232" y="36"/>
                    </a:lnTo>
                    <a:lnTo>
                      <a:pt x="234" y="34"/>
                    </a:lnTo>
                    <a:lnTo>
                      <a:pt x="234" y="32"/>
                    </a:lnTo>
                    <a:lnTo>
                      <a:pt x="236" y="30"/>
                    </a:lnTo>
                    <a:lnTo>
                      <a:pt x="238" y="30"/>
                    </a:lnTo>
                    <a:lnTo>
                      <a:pt x="238" y="28"/>
                    </a:lnTo>
                    <a:lnTo>
                      <a:pt x="240" y="28"/>
                    </a:lnTo>
                    <a:lnTo>
                      <a:pt x="242" y="28"/>
                    </a:lnTo>
                    <a:lnTo>
                      <a:pt x="242" y="28"/>
                    </a:lnTo>
                    <a:lnTo>
                      <a:pt x="244" y="28"/>
                    </a:lnTo>
                    <a:lnTo>
                      <a:pt x="244" y="28"/>
                    </a:lnTo>
                    <a:lnTo>
                      <a:pt x="246" y="28"/>
                    </a:lnTo>
                    <a:lnTo>
                      <a:pt x="246" y="28"/>
                    </a:lnTo>
                    <a:lnTo>
                      <a:pt x="248" y="30"/>
                    </a:lnTo>
                    <a:lnTo>
                      <a:pt x="248" y="30"/>
                    </a:lnTo>
                    <a:lnTo>
                      <a:pt x="250" y="32"/>
                    </a:lnTo>
                    <a:lnTo>
                      <a:pt x="250" y="34"/>
                    </a:lnTo>
                    <a:lnTo>
                      <a:pt x="252" y="38"/>
                    </a:lnTo>
                    <a:lnTo>
                      <a:pt x="252" y="40"/>
                    </a:lnTo>
                    <a:lnTo>
                      <a:pt x="254" y="44"/>
                    </a:lnTo>
                    <a:lnTo>
                      <a:pt x="254" y="46"/>
                    </a:lnTo>
                    <a:lnTo>
                      <a:pt x="256" y="46"/>
                    </a:lnTo>
                    <a:lnTo>
                      <a:pt x="256" y="48"/>
                    </a:lnTo>
                    <a:lnTo>
                      <a:pt x="258" y="48"/>
                    </a:lnTo>
                    <a:lnTo>
                      <a:pt x="258" y="50"/>
                    </a:lnTo>
                    <a:lnTo>
                      <a:pt x="260" y="50"/>
                    </a:lnTo>
                    <a:lnTo>
                      <a:pt x="262" y="50"/>
                    </a:lnTo>
                    <a:lnTo>
                      <a:pt x="266" y="50"/>
                    </a:lnTo>
                    <a:lnTo>
                      <a:pt x="268" y="52"/>
                    </a:lnTo>
                    <a:lnTo>
                      <a:pt x="270" y="52"/>
                    </a:lnTo>
                    <a:lnTo>
                      <a:pt x="272" y="52"/>
                    </a:lnTo>
                    <a:lnTo>
                      <a:pt x="274" y="50"/>
                    </a:lnTo>
                    <a:lnTo>
                      <a:pt x="274" y="50"/>
                    </a:lnTo>
                    <a:lnTo>
                      <a:pt x="274" y="50"/>
                    </a:lnTo>
                    <a:lnTo>
                      <a:pt x="276" y="50"/>
                    </a:lnTo>
                    <a:lnTo>
                      <a:pt x="276" y="48"/>
                    </a:lnTo>
                    <a:lnTo>
                      <a:pt x="278" y="46"/>
                    </a:lnTo>
                    <a:lnTo>
                      <a:pt x="278" y="44"/>
                    </a:lnTo>
                    <a:lnTo>
                      <a:pt x="280" y="44"/>
                    </a:lnTo>
                    <a:lnTo>
                      <a:pt x="280" y="42"/>
                    </a:lnTo>
                    <a:lnTo>
                      <a:pt x="280" y="42"/>
                    </a:lnTo>
                    <a:lnTo>
                      <a:pt x="280" y="42"/>
                    </a:lnTo>
                    <a:lnTo>
                      <a:pt x="280" y="42"/>
                    </a:lnTo>
                    <a:lnTo>
                      <a:pt x="282" y="42"/>
                    </a:lnTo>
                    <a:lnTo>
                      <a:pt x="282" y="42"/>
                    </a:lnTo>
                    <a:lnTo>
                      <a:pt x="284" y="44"/>
                    </a:lnTo>
                    <a:lnTo>
                      <a:pt x="284" y="44"/>
                    </a:lnTo>
                    <a:lnTo>
                      <a:pt x="286" y="46"/>
                    </a:lnTo>
                    <a:lnTo>
                      <a:pt x="286" y="50"/>
                    </a:lnTo>
                    <a:lnTo>
                      <a:pt x="288" y="52"/>
                    </a:lnTo>
                    <a:lnTo>
                      <a:pt x="288" y="54"/>
                    </a:lnTo>
                    <a:lnTo>
                      <a:pt x="288" y="56"/>
                    </a:lnTo>
                    <a:lnTo>
                      <a:pt x="290" y="56"/>
                    </a:lnTo>
                    <a:lnTo>
                      <a:pt x="290" y="56"/>
                    </a:lnTo>
                    <a:lnTo>
                      <a:pt x="292" y="58"/>
                    </a:lnTo>
                    <a:lnTo>
                      <a:pt x="292" y="58"/>
                    </a:lnTo>
                    <a:lnTo>
                      <a:pt x="292" y="56"/>
                    </a:lnTo>
                    <a:lnTo>
                      <a:pt x="294" y="56"/>
                    </a:lnTo>
                    <a:lnTo>
                      <a:pt x="294" y="56"/>
                    </a:lnTo>
                    <a:lnTo>
                      <a:pt x="296" y="54"/>
                    </a:lnTo>
                    <a:lnTo>
                      <a:pt x="298" y="52"/>
                    </a:lnTo>
                    <a:lnTo>
                      <a:pt x="300" y="50"/>
                    </a:lnTo>
                    <a:lnTo>
                      <a:pt x="300" y="50"/>
                    </a:lnTo>
                    <a:lnTo>
                      <a:pt x="302" y="48"/>
                    </a:lnTo>
                    <a:lnTo>
                      <a:pt x="302" y="48"/>
                    </a:lnTo>
                    <a:lnTo>
                      <a:pt x="304" y="48"/>
                    </a:lnTo>
                    <a:lnTo>
                      <a:pt x="304" y="48"/>
                    </a:lnTo>
                    <a:lnTo>
                      <a:pt x="306" y="46"/>
                    </a:lnTo>
                    <a:lnTo>
                      <a:pt x="306" y="46"/>
                    </a:lnTo>
                    <a:lnTo>
                      <a:pt x="308" y="46"/>
                    </a:lnTo>
                    <a:lnTo>
                      <a:pt x="310" y="48"/>
                    </a:lnTo>
                    <a:lnTo>
                      <a:pt x="312" y="48"/>
                    </a:lnTo>
                    <a:lnTo>
                      <a:pt x="316" y="48"/>
                    </a:lnTo>
                    <a:lnTo>
                      <a:pt x="320" y="50"/>
                    </a:lnTo>
                    <a:lnTo>
                      <a:pt x="324" y="50"/>
                    </a:lnTo>
                    <a:lnTo>
                      <a:pt x="328" y="52"/>
                    </a:lnTo>
                    <a:lnTo>
                      <a:pt x="330" y="54"/>
                    </a:lnTo>
                    <a:lnTo>
                      <a:pt x="338" y="58"/>
                    </a:lnTo>
                    <a:lnTo>
                      <a:pt x="346" y="60"/>
                    </a:lnTo>
                    <a:lnTo>
                      <a:pt x="348" y="62"/>
                    </a:lnTo>
                    <a:lnTo>
                      <a:pt x="352" y="64"/>
                    </a:lnTo>
                    <a:lnTo>
                      <a:pt x="356" y="64"/>
                    </a:lnTo>
                    <a:lnTo>
                      <a:pt x="358" y="64"/>
                    </a:lnTo>
                    <a:lnTo>
                      <a:pt x="360" y="66"/>
                    </a:lnTo>
                    <a:lnTo>
                      <a:pt x="362" y="66"/>
                    </a:lnTo>
                    <a:lnTo>
                      <a:pt x="366" y="66"/>
                    </a:lnTo>
                    <a:lnTo>
                      <a:pt x="370" y="66"/>
                    </a:lnTo>
                    <a:lnTo>
                      <a:pt x="374" y="66"/>
                    </a:lnTo>
                    <a:lnTo>
                      <a:pt x="380" y="66"/>
                    </a:lnTo>
                    <a:lnTo>
                      <a:pt x="384" y="66"/>
                    </a:lnTo>
                    <a:lnTo>
                      <a:pt x="388" y="66"/>
                    </a:lnTo>
                    <a:lnTo>
                      <a:pt x="390" y="66"/>
                    </a:lnTo>
                    <a:lnTo>
                      <a:pt x="392" y="66"/>
                    </a:lnTo>
                    <a:lnTo>
                      <a:pt x="394" y="66"/>
                    </a:lnTo>
                    <a:lnTo>
                      <a:pt x="398" y="68"/>
                    </a:lnTo>
                    <a:lnTo>
                      <a:pt x="402" y="70"/>
                    </a:lnTo>
                    <a:lnTo>
                      <a:pt x="406" y="70"/>
                    </a:lnTo>
                    <a:lnTo>
                      <a:pt x="410" y="72"/>
                    </a:lnTo>
                    <a:lnTo>
                      <a:pt x="412" y="74"/>
                    </a:lnTo>
                    <a:lnTo>
                      <a:pt x="414" y="74"/>
                    </a:lnTo>
                    <a:lnTo>
                      <a:pt x="414" y="76"/>
                    </a:lnTo>
                    <a:lnTo>
                      <a:pt x="416" y="76"/>
                    </a:lnTo>
                    <a:lnTo>
                      <a:pt x="416" y="78"/>
                    </a:lnTo>
                    <a:lnTo>
                      <a:pt x="418" y="78"/>
                    </a:lnTo>
                    <a:lnTo>
                      <a:pt x="418" y="80"/>
                    </a:lnTo>
                    <a:lnTo>
                      <a:pt x="418" y="80"/>
                    </a:lnTo>
                    <a:lnTo>
                      <a:pt x="418" y="82"/>
                    </a:lnTo>
                    <a:lnTo>
                      <a:pt x="416" y="82"/>
                    </a:lnTo>
                    <a:lnTo>
                      <a:pt x="416" y="86"/>
                    </a:lnTo>
                    <a:lnTo>
                      <a:pt x="414" y="88"/>
                    </a:lnTo>
                    <a:lnTo>
                      <a:pt x="412" y="90"/>
                    </a:lnTo>
                    <a:lnTo>
                      <a:pt x="412" y="92"/>
                    </a:lnTo>
                    <a:lnTo>
                      <a:pt x="412" y="92"/>
                    </a:lnTo>
                    <a:lnTo>
                      <a:pt x="412" y="94"/>
                    </a:lnTo>
                    <a:lnTo>
                      <a:pt x="412" y="94"/>
                    </a:lnTo>
                    <a:lnTo>
                      <a:pt x="412" y="96"/>
                    </a:lnTo>
                    <a:lnTo>
                      <a:pt x="412" y="96"/>
                    </a:lnTo>
                    <a:lnTo>
                      <a:pt x="412" y="96"/>
                    </a:lnTo>
                    <a:lnTo>
                      <a:pt x="414" y="98"/>
                    </a:lnTo>
                    <a:lnTo>
                      <a:pt x="414" y="98"/>
                    </a:lnTo>
                    <a:lnTo>
                      <a:pt x="416" y="98"/>
                    </a:lnTo>
                    <a:lnTo>
                      <a:pt x="416" y="98"/>
                    </a:lnTo>
                    <a:lnTo>
                      <a:pt x="416" y="98"/>
                    </a:lnTo>
                    <a:lnTo>
                      <a:pt x="418" y="96"/>
                    </a:lnTo>
                    <a:lnTo>
                      <a:pt x="422" y="96"/>
                    </a:lnTo>
                    <a:lnTo>
                      <a:pt x="424" y="96"/>
                    </a:lnTo>
                    <a:lnTo>
                      <a:pt x="428" y="92"/>
                    </a:lnTo>
                    <a:lnTo>
                      <a:pt x="434" y="90"/>
                    </a:lnTo>
                    <a:lnTo>
                      <a:pt x="436" y="88"/>
                    </a:lnTo>
                    <a:lnTo>
                      <a:pt x="438" y="88"/>
                    </a:lnTo>
                    <a:lnTo>
                      <a:pt x="440" y="86"/>
                    </a:lnTo>
                    <a:lnTo>
                      <a:pt x="442" y="86"/>
                    </a:lnTo>
                    <a:lnTo>
                      <a:pt x="444" y="86"/>
                    </a:lnTo>
                    <a:lnTo>
                      <a:pt x="446" y="86"/>
                    </a:lnTo>
                    <a:lnTo>
                      <a:pt x="446" y="86"/>
                    </a:lnTo>
                    <a:lnTo>
                      <a:pt x="448" y="86"/>
                    </a:lnTo>
                    <a:lnTo>
                      <a:pt x="450" y="88"/>
                    </a:lnTo>
                    <a:lnTo>
                      <a:pt x="450" y="88"/>
                    </a:lnTo>
                    <a:lnTo>
                      <a:pt x="452" y="90"/>
                    </a:lnTo>
                    <a:lnTo>
                      <a:pt x="454" y="92"/>
                    </a:lnTo>
                    <a:lnTo>
                      <a:pt x="456" y="94"/>
                    </a:lnTo>
                    <a:lnTo>
                      <a:pt x="458" y="98"/>
                    </a:lnTo>
                    <a:lnTo>
                      <a:pt x="462" y="102"/>
                    </a:lnTo>
                    <a:lnTo>
                      <a:pt x="464" y="106"/>
                    </a:lnTo>
                    <a:lnTo>
                      <a:pt x="466" y="106"/>
                    </a:lnTo>
                    <a:lnTo>
                      <a:pt x="468" y="108"/>
                    </a:lnTo>
                    <a:lnTo>
                      <a:pt x="468" y="110"/>
                    </a:lnTo>
                    <a:lnTo>
                      <a:pt x="470" y="110"/>
                    </a:lnTo>
                    <a:lnTo>
                      <a:pt x="472" y="110"/>
                    </a:lnTo>
                    <a:lnTo>
                      <a:pt x="474" y="112"/>
                    </a:lnTo>
                    <a:lnTo>
                      <a:pt x="476" y="112"/>
                    </a:lnTo>
                    <a:lnTo>
                      <a:pt x="480" y="112"/>
                    </a:lnTo>
                    <a:lnTo>
                      <a:pt x="482" y="112"/>
                    </a:lnTo>
                    <a:lnTo>
                      <a:pt x="484" y="110"/>
                    </a:lnTo>
                    <a:lnTo>
                      <a:pt x="486" y="110"/>
                    </a:lnTo>
                    <a:lnTo>
                      <a:pt x="486" y="110"/>
                    </a:lnTo>
                    <a:lnTo>
                      <a:pt x="488" y="110"/>
                    </a:lnTo>
                    <a:lnTo>
                      <a:pt x="488" y="108"/>
                    </a:lnTo>
                    <a:lnTo>
                      <a:pt x="488" y="108"/>
                    </a:lnTo>
                    <a:lnTo>
                      <a:pt x="488" y="108"/>
                    </a:lnTo>
                    <a:lnTo>
                      <a:pt x="488" y="106"/>
                    </a:lnTo>
                    <a:lnTo>
                      <a:pt x="488" y="106"/>
                    </a:lnTo>
                    <a:lnTo>
                      <a:pt x="488" y="104"/>
                    </a:lnTo>
                    <a:lnTo>
                      <a:pt x="486" y="102"/>
                    </a:lnTo>
                    <a:lnTo>
                      <a:pt x="486" y="100"/>
                    </a:lnTo>
                    <a:lnTo>
                      <a:pt x="486" y="100"/>
                    </a:lnTo>
                    <a:lnTo>
                      <a:pt x="486" y="98"/>
                    </a:lnTo>
                    <a:lnTo>
                      <a:pt x="486" y="96"/>
                    </a:lnTo>
                    <a:lnTo>
                      <a:pt x="486" y="96"/>
                    </a:lnTo>
                    <a:lnTo>
                      <a:pt x="486" y="94"/>
                    </a:lnTo>
                    <a:lnTo>
                      <a:pt x="486" y="94"/>
                    </a:lnTo>
                    <a:lnTo>
                      <a:pt x="488" y="92"/>
                    </a:lnTo>
                    <a:lnTo>
                      <a:pt x="488" y="90"/>
                    </a:lnTo>
                    <a:lnTo>
                      <a:pt x="490" y="88"/>
                    </a:lnTo>
                    <a:lnTo>
                      <a:pt x="494" y="84"/>
                    </a:lnTo>
                    <a:lnTo>
                      <a:pt x="494" y="82"/>
                    </a:lnTo>
                    <a:lnTo>
                      <a:pt x="496" y="80"/>
                    </a:lnTo>
                    <a:lnTo>
                      <a:pt x="498" y="80"/>
                    </a:lnTo>
                    <a:lnTo>
                      <a:pt x="500" y="78"/>
                    </a:lnTo>
                    <a:lnTo>
                      <a:pt x="500" y="78"/>
                    </a:lnTo>
                    <a:lnTo>
                      <a:pt x="502" y="76"/>
                    </a:lnTo>
                    <a:lnTo>
                      <a:pt x="504" y="76"/>
                    </a:lnTo>
                    <a:lnTo>
                      <a:pt x="506" y="76"/>
                    </a:lnTo>
                    <a:lnTo>
                      <a:pt x="506" y="76"/>
                    </a:lnTo>
                    <a:lnTo>
                      <a:pt x="508" y="76"/>
                    </a:lnTo>
                    <a:lnTo>
                      <a:pt x="510" y="78"/>
                    </a:lnTo>
                    <a:lnTo>
                      <a:pt x="510" y="78"/>
                    </a:lnTo>
                    <a:lnTo>
                      <a:pt x="512" y="80"/>
                    </a:lnTo>
                    <a:lnTo>
                      <a:pt x="514" y="80"/>
                    </a:lnTo>
                    <a:lnTo>
                      <a:pt x="516" y="84"/>
                    </a:lnTo>
                    <a:lnTo>
                      <a:pt x="518" y="86"/>
                    </a:lnTo>
                    <a:lnTo>
                      <a:pt x="522" y="88"/>
                    </a:lnTo>
                    <a:lnTo>
                      <a:pt x="524" y="90"/>
                    </a:lnTo>
                    <a:lnTo>
                      <a:pt x="524" y="92"/>
                    </a:lnTo>
                    <a:lnTo>
                      <a:pt x="526" y="92"/>
                    </a:lnTo>
                    <a:lnTo>
                      <a:pt x="526" y="92"/>
                    </a:lnTo>
                    <a:lnTo>
                      <a:pt x="530" y="94"/>
                    </a:lnTo>
                    <a:lnTo>
                      <a:pt x="534" y="94"/>
                    </a:lnTo>
                    <a:lnTo>
                      <a:pt x="536" y="96"/>
                    </a:lnTo>
                    <a:lnTo>
                      <a:pt x="542" y="96"/>
                    </a:lnTo>
                    <a:lnTo>
                      <a:pt x="546" y="98"/>
                    </a:lnTo>
                    <a:lnTo>
                      <a:pt x="550" y="98"/>
                    </a:lnTo>
                    <a:lnTo>
                      <a:pt x="554" y="98"/>
                    </a:lnTo>
                    <a:lnTo>
                      <a:pt x="558" y="98"/>
                    </a:lnTo>
                    <a:lnTo>
                      <a:pt x="564" y="100"/>
                    </a:lnTo>
                    <a:lnTo>
                      <a:pt x="568" y="100"/>
                    </a:lnTo>
                    <a:lnTo>
                      <a:pt x="572" y="100"/>
                    </a:lnTo>
                    <a:lnTo>
                      <a:pt x="576" y="100"/>
                    </a:lnTo>
                    <a:lnTo>
                      <a:pt x="580" y="98"/>
                    </a:lnTo>
                    <a:lnTo>
                      <a:pt x="584" y="98"/>
                    </a:lnTo>
                    <a:lnTo>
                      <a:pt x="588" y="98"/>
                    </a:lnTo>
                    <a:lnTo>
                      <a:pt x="590" y="96"/>
                    </a:lnTo>
                    <a:lnTo>
                      <a:pt x="592" y="96"/>
                    </a:lnTo>
                    <a:lnTo>
                      <a:pt x="592" y="96"/>
                    </a:lnTo>
                    <a:lnTo>
                      <a:pt x="592" y="96"/>
                    </a:lnTo>
                    <a:lnTo>
                      <a:pt x="594" y="94"/>
                    </a:lnTo>
                    <a:lnTo>
                      <a:pt x="594" y="94"/>
                    </a:lnTo>
                    <a:lnTo>
                      <a:pt x="596" y="92"/>
                    </a:lnTo>
                    <a:lnTo>
                      <a:pt x="596" y="90"/>
                    </a:lnTo>
                    <a:lnTo>
                      <a:pt x="598" y="88"/>
                    </a:lnTo>
                    <a:lnTo>
                      <a:pt x="600" y="86"/>
                    </a:lnTo>
                    <a:lnTo>
                      <a:pt x="600" y="84"/>
                    </a:lnTo>
                    <a:lnTo>
                      <a:pt x="602" y="82"/>
                    </a:lnTo>
                    <a:lnTo>
                      <a:pt x="602" y="82"/>
                    </a:lnTo>
                    <a:lnTo>
                      <a:pt x="604" y="82"/>
                    </a:lnTo>
                    <a:lnTo>
                      <a:pt x="606" y="80"/>
                    </a:lnTo>
                    <a:lnTo>
                      <a:pt x="608" y="80"/>
                    </a:lnTo>
                    <a:lnTo>
                      <a:pt x="612" y="80"/>
                    </a:lnTo>
                    <a:lnTo>
                      <a:pt x="614" y="80"/>
                    </a:lnTo>
                    <a:lnTo>
                      <a:pt x="616" y="80"/>
                    </a:lnTo>
                    <a:lnTo>
                      <a:pt x="620" y="80"/>
                    </a:lnTo>
                    <a:lnTo>
                      <a:pt x="620" y="80"/>
                    </a:lnTo>
                    <a:lnTo>
                      <a:pt x="622" y="80"/>
                    </a:lnTo>
                    <a:lnTo>
                      <a:pt x="622" y="80"/>
                    </a:lnTo>
                    <a:lnTo>
                      <a:pt x="622" y="82"/>
                    </a:lnTo>
                    <a:lnTo>
                      <a:pt x="624" y="82"/>
                    </a:lnTo>
                    <a:lnTo>
                      <a:pt x="624" y="82"/>
                    </a:lnTo>
                    <a:lnTo>
                      <a:pt x="626" y="86"/>
                    </a:lnTo>
                    <a:lnTo>
                      <a:pt x="626" y="88"/>
                    </a:lnTo>
                    <a:lnTo>
                      <a:pt x="628" y="90"/>
                    </a:lnTo>
                    <a:lnTo>
                      <a:pt x="628" y="92"/>
                    </a:lnTo>
                    <a:lnTo>
                      <a:pt x="630" y="94"/>
                    </a:lnTo>
                    <a:lnTo>
                      <a:pt x="630" y="94"/>
                    </a:lnTo>
                    <a:lnTo>
                      <a:pt x="630" y="94"/>
                    </a:lnTo>
                    <a:lnTo>
                      <a:pt x="632" y="96"/>
                    </a:lnTo>
                    <a:lnTo>
                      <a:pt x="632" y="96"/>
                    </a:lnTo>
                    <a:lnTo>
                      <a:pt x="632" y="96"/>
                    </a:lnTo>
                    <a:lnTo>
                      <a:pt x="634" y="94"/>
                    </a:lnTo>
                    <a:lnTo>
                      <a:pt x="634" y="94"/>
                    </a:lnTo>
                    <a:lnTo>
                      <a:pt x="636" y="94"/>
                    </a:lnTo>
                    <a:lnTo>
                      <a:pt x="640" y="92"/>
                    </a:lnTo>
                    <a:lnTo>
                      <a:pt x="642" y="88"/>
                    </a:lnTo>
                    <a:lnTo>
                      <a:pt x="644" y="88"/>
                    </a:lnTo>
                    <a:lnTo>
                      <a:pt x="646" y="86"/>
                    </a:lnTo>
                    <a:lnTo>
                      <a:pt x="650" y="84"/>
                    </a:lnTo>
                    <a:lnTo>
                      <a:pt x="654" y="82"/>
                    </a:lnTo>
                    <a:lnTo>
                      <a:pt x="656" y="80"/>
                    </a:lnTo>
                    <a:lnTo>
                      <a:pt x="658" y="78"/>
                    </a:lnTo>
                    <a:lnTo>
                      <a:pt x="658" y="78"/>
                    </a:lnTo>
                    <a:lnTo>
                      <a:pt x="660" y="78"/>
                    </a:lnTo>
                    <a:lnTo>
                      <a:pt x="660" y="76"/>
                    </a:lnTo>
                    <a:lnTo>
                      <a:pt x="660" y="76"/>
                    </a:lnTo>
                    <a:lnTo>
                      <a:pt x="660" y="74"/>
                    </a:lnTo>
                    <a:lnTo>
                      <a:pt x="660" y="72"/>
                    </a:lnTo>
                    <a:lnTo>
                      <a:pt x="660" y="72"/>
                    </a:lnTo>
                    <a:lnTo>
                      <a:pt x="660" y="70"/>
                    </a:lnTo>
                    <a:lnTo>
                      <a:pt x="660" y="68"/>
                    </a:lnTo>
                    <a:lnTo>
                      <a:pt x="660" y="66"/>
                    </a:lnTo>
                    <a:lnTo>
                      <a:pt x="658" y="62"/>
                    </a:lnTo>
                    <a:lnTo>
                      <a:pt x="658" y="58"/>
                    </a:lnTo>
                    <a:lnTo>
                      <a:pt x="656" y="54"/>
                    </a:lnTo>
                    <a:lnTo>
                      <a:pt x="654" y="50"/>
                    </a:lnTo>
                    <a:lnTo>
                      <a:pt x="652" y="48"/>
                    </a:lnTo>
                    <a:lnTo>
                      <a:pt x="652" y="46"/>
                    </a:lnTo>
                    <a:lnTo>
                      <a:pt x="652" y="46"/>
                    </a:lnTo>
                    <a:lnTo>
                      <a:pt x="650" y="44"/>
                    </a:lnTo>
                    <a:lnTo>
                      <a:pt x="648" y="44"/>
                    </a:lnTo>
                    <a:lnTo>
                      <a:pt x="646" y="42"/>
                    </a:lnTo>
                    <a:lnTo>
                      <a:pt x="642" y="42"/>
                    </a:lnTo>
                    <a:lnTo>
                      <a:pt x="640" y="40"/>
                    </a:lnTo>
                    <a:lnTo>
                      <a:pt x="638" y="38"/>
                    </a:lnTo>
                    <a:lnTo>
                      <a:pt x="638" y="38"/>
                    </a:lnTo>
                    <a:lnTo>
                      <a:pt x="636" y="38"/>
                    </a:lnTo>
                    <a:lnTo>
                      <a:pt x="636" y="36"/>
                    </a:lnTo>
                    <a:lnTo>
                      <a:pt x="636" y="36"/>
                    </a:lnTo>
                    <a:lnTo>
                      <a:pt x="636" y="34"/>
                    </a:lnTo>
                    <a:lnTo>
                      <a:pt x="636" y="34"/>
                    </a:lnTo>
                    <a:lnTo>
                      <a:pt x="636" y="34"/>
                    </a:lnTo>
                    <a:lnTo>
                      <a:pt x="636" y="32"/>
                    </a:lnTo>
                    <a:lnTo>
                      <a:pt x="636" y="32"/>
                    </a:lnTo>
                    <a:lnTo>
                      <a:pt x="638" y="30"/>
                    </a:lnTo>
                    <a:lnTo>
                      <a:pt x="642" y="30"/>
                    </a:lnTo>
                    <a:lnTo>
                      <a:pt x="646" y="28"/>
                    </a:lnTo>
                    <a:lnTo>
                      <a:pt x="648" y="26"/>
                    </a:lnTo>
                    <a:lnTo>
                      <a:pt x="648" y="26"/>
                    </a:lnTo>
                    <a:lnTo>
                      <a:pt x="648" y="26"/>
                    </a:lnTo>
                    <a:lnTo>
                      <a:pt x="650" y="24"/>
                    </a:lnTo>
                    <a:lnTo>
                      <a:pt x="650" y="22"/>
                    </a:lnTo>
                    <a:lnTo>
                      <a:pt x="652" y="20"/>
                    </a:lnTo>
                    <a:lnTo>
                      <a:pt x="654" y="16"/>
                    </a:lnTo>
                    <a:lnTo>
                      <a:pt x="656" y="14"/>
                    </a:lnTo>
                    <a:lnTo>
                      <a:pt x="656" y="14"/>
                    </a:lnTo>
                    <a:lnTo>
                      <a:pt x="658" y="12"/>
                    </a:lnTo>
                    <a:lnTo>
                      <a:pt x="660" y="10"/>
                    </a:lnTo>
                    <a:lnTo>
                      <a:pt x="662" y="8"/>
                    </a:lnTo>
                    <a:lnTo>
                      <a:pt x="666" y="6"/>
                    </a:lnTo>
                    <a:lnTo>
                      <a:pt x="668" y="4"/>
                    </a:lnTo>
                    <a:lnTo>
                      <a:pt x="670" y="2"/>
                    </a:lnTo>
                    <a:lnTo>
                      <a:pt x="672" y="2"/>
                    </a:lnTo>
                    <a:lnTo>
                      <a:pt x="674" y="0"/>
                    </a:lnTo>
                    <a:lnTo>
                      <a:pt x="674" y="0"/>
                    </a:lnTo>
                    <a:lnTo>
                      <a:pt x="676" y="0"/>
                    </a:lnTo>
                    <a:lnTo>
                      <a:pt x="676" y="0"/>
                    </a:lnTo>
                    <a:lnTo>
                      <a:pt x="678" y="2"/>
                    </a:lnTo>
                    <a:lnTo>
                      <a:pt x="680" y="2"/>
                    </a:lnTo>
                    <a:lnTo>
                      <a:pt x="682" y="2"/>
                    </a:lnTo>
                    <a:lnTo>
                      <a:pt x="682" y="4"/>
                    </a:lnTo>
                    <a:lnTo>
                      <a:pt x="684" y="4"/>
                    </a:lnTo>
                    <a:lnTo>
                      <a:pt x="686" y="6"/>
                    </a:lnTo>
                    <a:lnTo>
                      <a:pt x="688" y="8"/>
                    </a:lnTo>
                    <a:lnTo>
                      <a:pt x="690" y="10"/>
                    </a:lnTo>
                    <a:lnTo>
                      <a:pt x="692" y="12"/>
                    </a:lnTo>
                    <a:lnTo>
                      <a:pt x="692" y="12"/>
                    </a:lnTo>
                    <a:lnTo>
                      <a:pt x="694" y="14"/>
                    </a:lnTo>
                    <a:lnTo>
                      <a:pt x="694" y="16"/>
                    </a:lnTo>
                    <a:lnTo>
                      <a:pt x="696" y="16"/>
                    </a:lnTo>
                    <a:lnTo>
                      <a:pt x="696" y="18"/>
                    </a:lnTo>
                    <a:lnTo>
                      <a:pt x="696" y="18"/>
                    </a:lnTo>
                    <a:lnTo>
                      <a:pt x="696" y="20"/>
                    </a:lnTo>
                    <a:lnTo>
                      <a:pt x="696" y="20"/>
                    </a:lnTo>
                    <a:lnTo>
                      <a:pt x="696" y="22"/>
                    </a:lnTo>
                    <a:lnTo>
                      <a:pt x="694" y="24"/>
                    </a:lnTo>
                    <a:lnTo>
                      <a:pt x="694" y="26"/>
                    </a:lnTo>
                    <a:lnTo>
                      <a:pt x="692" y="30"/>
                    </a:lnTo>
                    <a:lnTo>
                      <a:pt x="690" y="32"/>
                    </a:lnTo>
                    <a:lnTo>
                      <a:pt x="690" y="34"/>
                    </a:lnTo>
                    <a:lnTo>
                      <a:pt x="690" y="34"/>
                    </a:lnTo>
                    <a:lnTo>
                      <a:pt x="690" y="36"/>
                    </a:lnTo>
                    <a:lnTo>
                      <a:pt x="690" y="38"/>
                    </a:lnTo>
                    <a:lnTo>
                      <a:pt x="692" y="42"/>
                    </a:lnTo>
                    <a:lnTo>
                      <a:pt x="692" y="44"/>
                    </a:lnTo>
                    <a:lnTo>
                      <a:pt x="692" y="46"/>
                    </a:lnTo>
                    <a:lnTo>
                      <a:pt x="692" y="48"/>
                    </a:lnTo>
                    <a:lnTo>
                      <a:pt x="692" y="48"/>
                    </a:lnTo>
                    <a:lnTo>
                      <a:pt x="694" y="50"/>
                    </a:lnTo>
                    <a:lnTo>
                      <a:pt x="694" y="50"/>
                    </a:lnTo>
                    <a:lnTo>
                      <a:pt x="696" y="52"/>
                    </a:lnTo>
                    <a:lnTo>
                      <a:pt x="698" y="52"/>
                    </a:lnTo>
                    <a:lnTo>
                      <a:pt x="700" y="54"/>
                    </a:lnTo>
                    <a:lnTo>
                      <a:pt x="704" y="56"/>
                    </a:lnTo>
                    <a:lnTo>
                      <a:pt x="704" y="58"/>
                    </a:lnTo>
                    <a:lnTo>
                      <a:pt x="706" y="60"/>
                    </a:lnTo>
                    <a:lnTo>
                      <a:pt x="706" y="60"/>
                    </a:lnTo>
                    <a:lnTo>
                      <a:pt x="706" y="62"/>
                    </a:lnTo>
                    <a:lnTo>
                      <a:pt x="708" y="64"/>
                    </a:lnTo>
                    <a:lnTo>
                      <a:pt x="708" y="68"/>
                    </a:lnTo>
                    <a:lnTo>
                      <a:pt x="708" y="72"/>
                    </a:lnTo>
                    <a:lnTo>
                      <a:pt x="708" y="74"/>
                    </a:lnTo>
                    <a:lnTo>
                      <a:pt x="708" y="76"/>
                    </a:lnTo>
                    <a:lnTo>
                      <a:pt x="710" y="76"/>
                    </a:lnTo>
                    <a:lnTo>
                      <a:pt x="710" y="78"/>
                    </a:lnTo>
                    <a:lnTo>
                      <a:pt x="710" y="78"/>
                    </a:lnTo>
                    <a:lnTo>
                      <a:pt x="710" y="80"/>
                    </a:lnTo>
                    <a:lnTo>
                      <a:pt x="712" y="80"/>
                    </a:lnTo>
                    <a:lnTo>
                      <a:pt x="712" y="80"/>
                    </a:lnTo>
                    <a:lnTo>
                      <a:pt x="714" y="80"/>
                    </a:lnTo>
                    <a:lnTo>
                      <a:pt x="714" y="80"/>
                    </a:lnTo>
                    <a:lnTo>
                      <a:pt x="714" y="80"/>
                    </a:lnTo>
                    <a:lnTo>
                      <a:pt x="716" y="78"/>
                    </a:lnTo>
                    <a:lnTo>
                      <a:pt x="716" y="78"/>
                    </a:lnTo>
                    <a:lnTo>
                      <a:pt x="718" y="76"/>
                    </a:lnTo>
                    <a:lnTo>
                      <a:pt x="718" y="74"/>
                    </a:lnTo>
                    <a:lnTo>
                      <a:pt x="720" y="70"/>
                    </a:lnTo>
                    <a:lnTo>
                      <a:pt x="722" y="66"/>
                    </a:lnTo>
                    <a:lnTo>
                      <a:pt x="722" y="64"/>
                    </a:lnTo>
                    <a:lnTo>
                      <a:pt x="724" y="62"/>
                    </a:lnTo>
                    <a:lnTo>
                      <a:pt x="724" y="62"/>
                    </a:lnTo>
                    <a:lnTo>
                      <a:pt x="726" y="60"/>
                    </a:lnTo>
                    <a:lnTo>
                      <a:pt x="726" y="60"/>
                    </a:lnTo>
                    <a:lnTo>
                      <a:pt x="726" y="60"/>
                    </a:lnTo>
                    <a:lnTo>
                      <a:pt x="728" y="60"/>
                    </a:lnTo>
                    <a:lnTo>
                      <a:pt x="728" y="60"/>
                    </a:lnTo>
                    <a:lnTo>
                      <a:pt x="730" y="60"/>
                    </a:lnTo>
                    <a:lnTo>
                      <a:pt x="730" y="60"/>
                    </a:lnTo>
                    <a:lnTo>
                      <a:pt x="730" y="62"/>
                    </a:lnTo>
                    <a:lnTo>
                      <a:pt x="732" y="62"/>
                    </a:lnTo>
                    <a:lnTo>
                      <a:pt x="732" y="64"/>
                    </a:lnTo>
                    <a:lnTo>
                      <a:pt x="732" y="64"/>
                    </a:lnTo>
                    <a:lnTo>
                      <a:pt x="734" y="66"/>
                    </a:lnTo>
                    <a:lnTo>
                      <a:pt x="736" y="70"/>
                    </a:lnTo>
                    <a:lnTo>
                      <a:pt x="736" y="72"/>
                    </a:lnTo>
                    <a:lnTo>
                      <a:pt x="738" y="78"/>
                    </a:lnTo>
                    <a:lnTo>
                      <a:pt x="738" y="78"/>
                    </a:lnTo>
                    <a:lnTo>
                      <a:pt x="738" y="80"/>
                    </a:lnTo>
                    <a:lnTo>
                      <a:pt x="738" y="82"/>
                    </a:lnTo>
                    <a:lnTo>
                      <a:pt x="736" y="84"/>
                    </a:lnTo>
                    <a:lnTo>
                      <a:pt x="736" y="88"/>
                    </a:lnTo>
                    <a:lnTo>
                      <a:pt x="736" y="92"/>
                    </a:lnTo>
                    <a:lnTo>
                      <a:pt x="734" y="96"/>
                    </a:lnTo>
                    <a:lnTo>
                      <a:pt x="734" y="98"/>
                    </a:lnTo>
                    <a:lnTo>
                      <a:pt x="734" y="100"/>
                    </a:lnTo>
                    <a:lnTo>
                      <a:pt x="734" y="102"/>
                    </a:lnTo>
                    <a:lnTo>
                      <a:pt x="734" y="104"/>
                    </a:lnTo>
                    <a:lnTo>
                      <a:pt x="736" y="106"/>
                    </a:lnTo>
                    <a:lnTo>
                      <a:pt x="736" y="106"/>
                    </a:lnTo>
                    <a:lnTo>
                      <a:pt x="736" y="106"/>
                    </a:lnTo>
                    <a:lnTo>
                      <a:pt x="736" y="106"/>
                    </a:lnTo>
                    <a:lnTo>
                      <a:pt x="738" y="106"/>
                    </a:lnTo>
                    <a:lnTo>
                      <a:pt x="738" y="108"/>
                    </a:lnTo>
                    <a:lnTo>
                      <a:pt x="740" y="108"/>
                    </a:lnTo>
                    <a:lnTo>
                      <a:pt x="742" y="108"/>
                    </a:lnTo>
                    <a:lnTo>
                      <a:pt x="744" y="108"/>
                    </a:lnTo>
                    <a:lnTo>
                      <a:pt x="746" y="108"/>
                    </a:lnTo>
                    <a:lnTo>
                      <a:pt x="748" y="106"/>
                    </a:lnTo>
                    <a:lnTo>
                      <a:pt x="748" y="106"/>
                    </a:lnTo>
                    <a:lnTo>
                      <a:pt x="748" y="106"/>
                    </a:lnTo>
                    <a:lnTo>
                      <a:pt x="750" y="106"/>
                    </a:lnTo>
                    <a:lnTo>
                      <a:pt x="750" y="104"/>
                    </a:lnTo>
                    <a:lnTo>
                      <a:pt x="750" y="104"/>
                    </a:lnTo>
                    <a:lnTo>
                      <a:pt x="750" y="100"/>
                    </a:lnTo>
                    <a:lnTo>
                      <a:pt x="752" y="98"/>
                    </a:lnTo>
                    <a:lnTo>
                      <a:pt x="752" y="94"/>
                    </a:lnTo>
                    <a:lnTo>
                      <a:pt x="752" y="92"/>
                    </a:lnTo>
                    <a:lnTo>
                      <a:pt x="754" y="90"/>
                    </a:lnTo>
                    <a:lnTo>
                      <a:pt x="754" y="90"/>
                    </a:lnTo>
                    <a:lnTo>
                      <a:pt x="754" y="88"/>
                    </a:lnTo>
                    <a:lnTo>
                      <a:pt x="754" y="88"/>
                    </a:lnTo>
                    <a:lnTo>
                      <a:pt x="758" y="86"/>
                    </a:lnTo>
                    <a:lnTo>
                      <a:pt x="760" y="84"/>
                    </a:lnTo>
                    <a:lnTo>
                      <a:pt x="762" y="82"/>
                    </a:lnTo>
                    <a:lnTo>
                      <a:pt x="766" y="78"/>
                    </a:lnTo>
                    <a:lnTo>
                      <a:pt x="768" y="76"/>
                    </a:lnTo>
                    <a:lnTo>
                      <a:pt x="770" y="74"/>
                    </a:lnTo>
                    <a:lnTo>
                      <a:pt x="770" y="74"/>
                    </a:lnTo>
                    <a:lnTo>
                      <a:pt x="772" y="72"/>
                    </a:lnTo>
                    <a:lnTo>
                      <a:pt x="772" y="72"/>
                    </a:lnTo>
                    <a:lnTo>
                      <a:pt x="772" y="70"/>
                    </a:lnTo>
                    <a:lnTo>
                      <a:pt x="772" y="66"/>
                    </a:lnTo>
                    <a:lnTo>
                      <a:pt x="774" y="64"/>
                    </a:lnTo>
                    <a:lnTo>
                      <a:pt x="774" y="60"/>
                    </a:lnTo>
                    <a:lnTo>
                      <a:pt x="774" y="56"/>
                    </a:lnTo>
                    <a:lnTo>
                      <a:pt x="776" y="54"/>
                    </a:lnTo>
                    <a:lnTo>
                      <a:pt x="776" y="52"/>
                    </a:lnTo>
                    <a:lnTo>
                      <a:pt x="776" y="52"/>
                    </a:lnTo>
                    <a:lnTo>
                      <a:pt x="776" y="50"/>
                    </a:lnTo>
                    <a:lnTo>
                      <a:pt x="778" y="50"/>
                    </a:lnTo>
                    <a:lnTo>
                      <a:pt x="778" y="48"/>
                    </a:lnTo>
                    <a:lnTo>
                      <a:pt x="780" y="48"/>
                    </a:lnTo>
                    <a:lnTo>
                      <a:pt x="782" y="48"/>
                    </a:lnTo>
                    <a:lnTo>
                      <a:pt x="784" y="46"/>
                    </a:lnTo>
                    <a:lnTo>
                      <a:pt x="786" y="46"/>
                    </a:lnTo>
                    <a:lnTo>
                      <a:pt x="788" y="46"/>
                    </a:lnTo>
                    <a:lnTo>
                      <a:pt x="790" y="46"/>
                    </a:lnTo>
                    <a:lnTo>
                      <a:pt x="792" y="46"/>
                    </a:lnTo>
                    <a:lnTo>
                      <a:pt x="794" y="46"/>
                    </a:lnTo>
                    <a:lnTo>
                      <a:pt x="796" y="48"/>
                    </a:lnTo>
                    <a:lnTo>
                      <a:pt x="800" y="48"/>
                    </a:lnTo>
                    <a:lnTo>
                      <a:pt x="802" y="48"/>
                    </a:lnTo>
                    <a:lnTo>
                      <a:pt x="804" y="50"/>
                    </a:lnTo>
                    <a:lnTo>
                      <a:pt x="806" y="50"/>
                    </a:lnTo>
                    <a:lnTo>
                      <a:pt x="808" y="50"/>
                    </a:lnTo>
                    <a:lnTo>
                      <a:pt x="808" y="52"/>
                    </a:lnTo>
                    <a:lnTo>
                      <a:pt x="810" y="52"/>
                    </a:lnTo>
                    <a:lnTo>
                      <a:pt x="810" y="54"/>
                    </a:lnTo>
                    <a:lnTo>
                      <a:pt x="812" y="54"/>
                    </a:lnTo>
                    <a:lnTo>
                      <a:pt x="812" y="56"/>
                    </a:lnTo>
                    <a:lnTo>
                      <a:pt x="814" y="56"/>
                    </a:lnTo>
                    <a:lnTo>
                      <a:pt x="816" y="60"/>
                    </a:lnTo>
                    <a:lnTo>
                      <a:pt x="816" y="62"/>
                    </a:lnTo>
                    <a:lnTo>
                      <a:pt x="818" y="66"/>
                    </a:lnTo>
                    <a:lnTo>
                      <a:pt x="818" y="68"/>
                    </a:lnTo>
                    <a:lnTo>
                      <a:pt x="820" y="70"/>
                    </a:lnTo>
                    <a:lnTo>
                      <a:pt x="820" y="72"/>
                    </a:lnTo>
                    <a:lnTo>
                      <a:pt x="820" y="72"/>
                    </a:lnTo>
                    <a:lnTo>
                      <a:pt x="820" y="74"/>
                    </a:lnTo>
                    <a:lnTo>
                      <a:pt x="818" y="74"/>
                    </a:lnTo>
                    <a:lnTo>
                      <a:pt x="818" y="76"/>
                    </a:lnTo>
                    <a:lnTo>
                      <a:pt x="818" y="76"/>
                    </a:lnTo>
                    <a:lnTo>
                      <a:pt x="818" y="76"/>
                    </a:lnTo>
                    <a:lnTo>
                      <a:pt x="816" y="76"/>
                    </a:lnTo>
                    <a:lnTo>
                      <a:pt x="814" y="78"/>
                    </a:lnTo>
                    <a:lnTo>
                      <a:pt x="812" y="78"/>
                    </a:lnTo>
                    <a:lnTo>
                      <a:pt x="810" y="80"/>
                    </a:lnTo>
                    <a:lnTo>
                      <a:pt x="808" y="80"/>
                    </a:lnTo>
                    <a:lnTo>
                      <a:pt x="808" y="80"/>
                    </a:lnTo>
                    <a:lnTo>
                      <a:pt x="808" y="82"/>
                    </a:lnTo>
                    <a:lnTo>
                      <a:pt x="806" y="82"/>
                    </a:lnTo>
                    <a:lnTo>
                      <a:pt x="806" y="82"/>
                    </a:lnTo>
                    <a:lnTo>
                      <a:pt x="806" y="84"/>
                    </a:lnTo>
                    <a:lnTo>
                      <a:pt x="806" y="84"/>
                    </a:lnTo>
                    <a:lnTo>
                      <a:pt x="806" y="86"/>
                    </a:lnTo>
                    <a:lnTo>
                      <a:pt x="806" y="88"/>
                    </a:lnTo>
                    <a:lnTo>
                      <a:pt x="806" y="88"/>
                    </a:lnTo>
                    <a:lnTo>
                      <a:pt x="808" y="90"/>
                    </a:lnTo>
                    <a:lnTo>
                      <a:pt x="808" y="92"/>
                    </a:lnTo>
                    <a:lnTo>
                      <a:pt x="810" y="96"/>
                    </a:lnTo>
                    <a:lnTo>
                      <a:pt x="812" y="100"/>
                    </a:lnTo>
                    <a:lnTo>
                      <a:pt x="812" y="104"/>
                    </a:lnTo>
                    <a:lnTo>
                      <a:pt x="812" y="104"/>
                    </a:lnTo>
                    <a:lnTo>
                      <a:pt x="812" y="106"/>
                    </a:lnTo>
                    <a:lnTo>
                      <a:pt x="814" y="108"/>
                    </a:lnTo>
                    <a:lnTo>
                      <a:pt x="814" y="110"/>
                    </a:lnTo>
                    <a:lnTo>
                      <a:pt x="812" y="110"/>
                    </a:lnTo>
                    <a:lnTo>
                      <a:pt x="812" y="112"/>
                    </a:lnTo>
                    <a:lnTo>
                      <a:pt x="812" y="114"/>
                    </a:lnTo>
                    <a:lnTo>
                      <a:pt x="810" y="116"/>
                    </a:lnTo>
                    <a:lnTo>
                      <a:pt x="808" y="118"/>
                    </a:lnTo>
                    <a:lnTo>
                      <a:pt x="806" y="120"/>
                    </a:lnTo>
                    <a:lnTo>
                      <a:pt x="804" y="122"/>
                    </a:lnTo>
                    <a:lnTo>
                      <a:pt x="800" y="124"/>
                    </a:lnTo>
                    <a:lnTo>
                      <a:pt x="798" y="126"/>
                    </a:lnTo>
                    <a:lnTo>
                      <a:pt x="794" y="128"/>
                    </a:lnTo>
                    <a:lnTo>
                      <a:pt x="792" y="128"/>
                    </a:lnTo>
                    <a:lnTo>
                      <a:pt x="788" y="130"/>
                    </a:lnTo>
                    <a:lnTo>
                      <a:pt x="786" y="132"/>
                    </a:lnTo>
                    <a:lnTo>
                      <a:pt x="782" y="132"/>
                    </a:lnTo>
                    <a:lnTo>
                      <a:pt x="780" y="132"/>
                    </a:lnTo>
                    <a:lnTo>
                      <a:pt x="778" y="134"/>
                    </a:lnTo>
                    <a:lnTo>
                      <a:pt x="774" y="134"/>
                    </a:lnTo>
                    <a:lnTo>
                      <a:pt x="774" y="132"/>
                    </a:lnTo>
                    <a:lnTo>
                      <a:pt x="772" y="132"/>
                    </a:lnTo>
                    <a:lnTo>
                      <a:pt x="772" y="132"/>
                    </a:lnTo>
                    <a:lnTo>
                      <a:pt x="772" y="132"/>
                    </a:lnTo>
                    <a:lnTo>
                      <a:pt x="770" y="132"/>
                    </a:lnTo>
                    <a:lnTo>
                      <a:pt x="770" y="132"/>
                    </a:lnTo>
                    <a:lnTo>
                      <a:pt x="770" y="130"/>
                    </a:lnTo>
                    <a:lnTo>
                      <a:pt x="770" y="128"/>
                    </a:lnTo>
                    <a:lnTo>
                      <a:pt x="768" y="126"/>
                    </a:lnTo>
                    <a:lnTo>
                      <a:pt x="768" y="124"/>
                    </a:lnTo>
                    <a:lnTo>
                      <a:pt x="766" y="124"/>
                    </a:lnTo>
                    <a:lnTo>
                      <a:pt x="766" y="124"/>
                    </a:lnTo>
                    <a:lnTo>
                      <a:pt x="766" y="122"/>
                    </a:lnTo>
                    <a:lnTo>
                      <a:pt x="766" y="122"/>
                    </a:lnTo>
                    <a:lnTo>
                      <a:pt x="764" y="122"/>
                    </a:lnTo>
                    <a:lnTo>
                      <a:pt x="762" y="122"/>
                    </a:lnTo>
                    <a:lnTo>
                      <a:pt x="758" y="122"/>
                    </a:lnTo>
                    <a:lnTo>
                      <a:pt x="754" y="122"/>
                    </a:lnTo>
                    <a:lnTo>
                      <a:pt x="752" y="122"/>
                    </a:lnTo>
                    <a:lnTo>
                      <a:pt x="748" y="122"/>
                    </a:lnTo>
                    <a:lnTo>
                      <a:pt x="748" y="122"/>
                    </a:lnTo>
                    <a:lnTo>
                      <a:pt x="746" y="122"/>
                    </a:lnTo>
                    <a:lnTo>
                      <a:pt x="746" y="124"/>
                    </a:lnTo>
                    <a:lnTo>
                      <a:pt x="744" y="124"/>
                    </a:lnTo>
                    <a:lnTo>
                      <a:pt x="744" y="124"/>
                    </a:lnTo>
                    <a:lnTo>
                      <a:pt x="744" y="126"/>
                    </a:lnTo>
                    <a:lnTo>
                      <a:pt x="744" y="126"/>
                    </a:lnTo>
                    <a:lnTo>
                      <a:pt x="744" y="128"/>
                    </a:lnTo>
                    <a:lnTo>
                      <a:pt x="742" y="130"/>
                    </a:lnTo>
                    <a:lnTo>
                      <a:pt x="742" y="132"/>
                    </a:lnTo>
                    <a:lnTo>
                      <a:pt x="742" y="136"/>
                    </a:lnTo>
                    <a:lnTo>
                      <a:pt x="742" y="138"/>
                    </a:lnTo>
                    <a:lnTo>
                      <a:pt x="742" y="140"/>
                    </a:lnTo>
                    <a:lnTo>
                      <a:pt x="742" y="140"/>
                    </a:lnTo>
                    <a:lnTo>
                      <a:pt x="742" y="140"/>
                    </a:lnTo>
                    <a:lnTo>
                      <a:pt x="740" y="142"/>
                    </a:lnTo>
                    <a:lnTo>
                      <a:pt x="740" y="142"/>
                    </a:lnTo>
                    <a:lnTo>
                      <a:pt x="738" y="142"/>
                    </a:lnTo>
                    <a:lnTo>
                      <a:pt x="738" y="144"/>
                    </a:lnTo>
                    <a:lnTo>
                      <a:pt x="736" y="144"/>
                    </a:lnTo>
                    <a:lnTo>
                      <a:pt x="734" y="144"/>
                    </a:lnTo>
                    <a:lnTo>
                      <a:pt x="732" y="144"/>
                    </a:lnTo>
                    <a:lnTo>
                      <a:pt x="728" y="144"/>
                    </a:lnTo>
                    <a:lnTo>
                      <a:pt x="724" y="144"/>
                    </a:lnTo>
                    <a:lnTo>
                      <a:pt x="722" y="144"/>
                    </a:lnTo>
                    <a:lnTo>
                      <a:pt x="718" y="142"/>
                    </a:lnTo>
                    <a:lnTo>
                      <a:pt x="716" y="142"/>
                    </a:lnTo>
                    <a:lnTo>
                      <a:pt x="714" y="140"/>
                    </a:lnTo>
                    <a:lnTo>
                      <a:pt x="714" y="140"/>
                    </a:lnTo>
                    <a:lnTo>
                      <a:pt x="712" y="138"/>
                    </a:lnTo>
                    <a:lnTo>
                      <a:pt x="710" y="136"/>
                    </a:lnTo>
                    <a:lnTo>
                      <a:pt x="710" y="136"/>
                    </a:lnTo>
                    <a:lnTo>
                      <a:pt x="710" y="134"/>
                    </a:lnTo>
                    <a:lnTo>
                      <a:pt x="708" y="134"/>
                    </a:lnTo>
                    <a:lnTo>
                      <a:pt x="708" y="134"/>
                    </a:lnTo>
                    <a:lnTo>
                      <a:pt x="706" y="134"/>
                    </a:lnTo>
                    <a:lnTo>
                      <a:pt x="704" y="134"/>
                    </a:lnTo>
                    <a:lnTo>
                      <a:pt x="702" y="134"/>
                    </a:lnTo>
                    <a:lnTo>
                      <a:pt x="702" y="134"/>
                    </a:lnTo>
                    <a:lnTo>
                      <a:pt x="700" y="134"/>
                    </a:lnTo>
                    <a:lnTo>
                      <a:pt x="698" y="134"/>
                    </a:lnTo>
                    <a:lnTo>
                      <a:pt x="698" y="134"/>
                    </a:lnTo>
                    <a:lnTo>
                      <a:pt x="698" y="136"/>
                    </a:lnTo>
                    <a:lnTo>
                      <a:pt x="698" y="136"/>
                    </a:lnTo>
                    <a:lnTo>
                      <a:pt x="698" y="136"/>
                    </a:lnTo>
                    <a:lnTo>
                      <a:pt x="698" y="138"/>
                    </a:lnTo>
                    <a:lnTo>
                      <a:pt x="698" y="138"/>
                    </a:lnTo>
                    <a:lnTo>
                      <a:pt x="698" y="140"/>
                    </a:lnTo>
                    <a:lnTo>
                      <a:pt x="698" y="142"/>
                    </a:lnTo>
                    <a:lnTo>
                      <a:pt x="698" y="144"/>
                    </a:lnTo>
                    <a:lnTo>
                      <a:pt x="698" y="144"/>
                    </a:lnTo>
                    <a:lnTo>
                      <a:pt x="700" y="146"/>
                    </a:lnTo>
                    <a:lnTo>
                      <a:pt x="700" y="146"/>
                    </a:lnTo>
                    <a:lnTo>
                      <a:pt x="702" y="146"/>
                    </a:lnTo>
                    <a:lnTo>
                      <a:pt x="702" y="148"/>
                    </a:lnTo>
                    <a:lnTo>
                      <a:pt x="704" y="148"/>
                    </a:lnTo>
                    <a:lnTo>
                      <a:pt x="708" y="148"/>
                    </a:lnTo>
                    <a:lnTo>
                      <a:pt x="712" y="150"/>
                    </a:lnTo>
                    <a:lnTo>
                      <a:pt x="716" y="150"/>
                    </a:lnTo>
                    <a:lnTo>
                      <a:pt x="718" y="150"/>
                    </a:lnTo>
                    <a:lnTo>
                      <a:pt x="718" y="152"/>
                    </a:lnTo>
                    <a:lnTo>
                      <a:pt x="720" y="152"/>
                    </a:lnTo>
                    <a:lnTo>
                      <a:pt x="722" y="152"/>
                    </a:lnTo>
                    <a:lnTo>
                      <a:pt x="722" y="154"/>
                    </a:lnTo>
                    <a:lnTo>
                      <a:pt x="724" y="154"/>
                    </a:lnTo>
                    <a:lnTo>
                      <a:pt x="724" y="156"/>
                    </a:lnTo>
                    <a:lnTo>
                      <a:pt x="724" y="156"/>
                    </a:lnTo>
                    <a:lnTo>
                      <a:pt x="724" y="158"/>
                    </a:lnTo>
                    <a:lnTo>
                      <a:pt x="724" y="160"/>
                    </a:lnTo>
                    <a:lnTo>
                      <a:pt x="724" y="160"/>
                    </a:lnTo>
                    <a:lnTo>
                      <a:pt x="724" y="162"/>
                    </a:lnTo>
                    <a:lnTo>
                      <a:pt x="722" y="166"/>
                    </a:lnTo>
                    <a:lnTo>
                      <a:pt x="720" y="168"/>
                    </a:lnTo>
                    <a:lnTo>
                      <a:pt x="720" y="172"/>
                    </a:lnTo>
                    <a:lnTo>
                      <a:pt x="718" y="174"/>
                    </a:lnTo>
                    <a:lnTo>
                      <a:pt x="716" y="176"/>
                    </a:lnTo>
                    <a:lnTo>
                      <a:pt x="716" y="178"/>
                    </a:lnTo>
                    <a:lnTo>
                      <a:pt x="714" y="180"/>
                    </a:lnTo>
                    <a:lnTo>
                      <a:pt x="712" y="180"/>
                    </a:lnTo>
                    <a:lnTo>
                      <a:pt x="712" y="182"/>
                    </a:lnTo>
                    <a:lnTo>
                      <a:pt x="710" y="184"/>
                    </a:lnTo>
                    <a:lnTo>
                      <a:pt x="708" y="184"/>
                    </a:lnTo>
                    <a:lnTo>
                      <a:pt x="706" y="184"/>
                    </a:lnTo>
                    <a:lnTo>
                      <a:pt x="704" y="186"/>
                    </a:lnTo>
                    <a:lnTo>
                      <a:pt x="704" y="186"/>
                    </a:lnTo>
                    <a:lnTo>
                      <a:pt x="702" y="186"/>
                    </a:lnTo>
                    <a:lnTo>
                      <a:pt x="700" y="186"/>
                    </a:lnTo>
                    <a:lnTo>
                      <a:pt x="698" y="186"/>
                    </a:lnTo>
                    <a:lnTo>
                      <a:pt x="694" y="186"/>
                    </a:lnTo>
                    <a:lnTo>
                      <a:pt x="692" y="186"/>
                    </a:lnTo>
                    <a:lnTo>
                      <a:pt x="688" y="186"/>
                    </a:lnTo>
                    <a:lnTo>
                      <a:pt x="688" y="188"/>
                    </a:lnTo>
                    <a:lnTo>
                      <a:pt x="686" y="188"/>
                    </a:lnTo>
                    <a:lnTo>
                      <a:pt x="686" y="188"/>
                    </a:lnTo>
                    <a:lnTo>
                      <a:pt x="684" y="188"/>
                    </a:lnTo>
                    <a:lnTo>
                      <a:pt x="684" y="188"/>
                    </a:lnTo>
                    <a:lnTo>
                      <a:pt x="682" y="190"/>
                    </a:lnTo>
                    <a:lnTo>
                      <a:pt x="682" y="190"/>
                    </a:lnTo>
                    <a:lnTo>
                      <a:pt x="682" y="192"/>
                    </a:lnTo>
                    <a:lnTo>
                      <a:pt x="680" y="194"/>
                    </a:lnTo>
                    <a:lnTo>
                      <a:pt x="678" y="196"/>
                    </a:lnTo>
                    <a:lnTo>
                      <a:pt x="676" y="202"/>
                    </a:lnTo>
                    <a:lnTo>
                      <a:pt x="674" y="204"/>
                    </a:lnTo>
                    <a:lnTo>
                      <a:pt x="672" y="206"/>
                    </a:lnTo>
                    <a:lnTo>
                      <a:pt x="670" y="208"/>
                    </a:lnTo>
                    <a:lnTo>
                      <a:pt x="666" y="212"/>
                    </a:lnTo>
                    <a:lnTo>
                      <a:pt x="664" y="214"/>
                    </a:lnTo>
                    <a:lnTo>
                      <a:pt x="660" y="216"/>
                    </a:lnTo>
                    <a:lnTo>
                      <a:pt x="652" y="222"/>
                    </a:lnTo>
                    <a:lnTo>
                      <a:pt x="648" y="224"/>
                    </a:lnTo>
                    <a:lnTo>
                      <a:pt x="646" y="228"/>
                    </a:lnTo>
                    <a:lnTo>
                      <a:pt x="640" y="232"/>
                    </a:lnTo>
                    <a:lnTo>
                      <a:pt x="634" y="236"/>
                    </a:lnTo>
                    <a:lnTo>
                      <a:pt x="630" y="240"/>
                    </a:lnTo>
                    <a:lnTo>
                      <a:pt x="628" y="242"/>
                    </a:lnTo>
                    <a:lnTo>
                      <a:pt x="624" y="246"/>
                    </a:lnTo>
                    <a:lnTo>
                      <a:pt x="622" y="248"/>
                    </a:lnTo>
                    <a:lnTo>
                      <a:pt x="620" y="250"/>
                    </a:lnTo>
                    <a:lnTo>
                      <a:pt x="618" y="254"/>
                    </a:lnTo>
                    <a:lnTo>
                      <a:pt x="614" y="258"/>
                    </a:lnTo>
                    <a:lnTo>
                      <a:pt x="612" y="262"/>
                    </a:lnTo>
                    <a:lnTo>
                      <a:pt x="610" y="266"/>
                    </a:lnTo>
                    <a:lnTo>
                      <a:pt x="606" y="270"/>
                    </a:lnTo>
                    <a:lnTo>
                      <a:pt x="604" y="274"/>
                    </a:lnTo>
                    <a:lnTo>
                      <a:pt x="604" y="274"/>
                    </a:lnTo>
                    <a:lnTo>
                      <a:pt x="604" y="276"/>
                    </a:lnTo>
                    <a:lnTo>
                      <a:pt x="602" y="278"/>
                    </a:lnTo>
                    <a:lnTo>
                      <a:pt x="602" y="282"/>
                    </a:lnTo>
                    <a:lnTo>
                      <a:pt x="602" y="284"/>
                    </a:lnTo>
                    <a:lnTo>
                      <a:pt x="602" y="288"/>
                    </a:lnTo>
                    <a:lnTo>
                      <a:pt x="600" y="290"/>
                    </a:lnTo>
                    <a:lnTo>
                      <a:pt x="600" y="292"/>
                    </a:lnTo>
                    <a:lnTo>
                      <a:pt x="600" y="294"/>
                    </a:lnTo>
                    <a:lnTo>
                      <a:pt x="602" y="294"/>
                    </a:lnTo>
                    <a:lnTo>
                      <a:pt x="602" y="296"/>
                    </a:lnTo>
                    <a:lnTo>
                      <a:pt x="602" y="296"/>
                    </a:lnTo>
                    <a:lnTo>
                      <a:pt x="602" y="298"/>
                    </a:lnTo>
                    <a:lnTo>
                      <a:pt x="602" y="298"/>
                    </a:lnTo>
                    <a:lnTo>
                      <a:pt x="604" y="298"/>
                    </a:lnTo>
                    <a:lnTo>
                      <a:pt x="604" y="300"/>
                    </a:lnTo>
                    <a:lnTo>
                      <a:pt x="606" y="300"/>
                    </a:lnTo>
                    <a:lnTo>
                      <a:pt x="608" y="300"/>
                    </a:lnTo>
                    <a:lnTo>
                      <a:pt x="610" y="300"/>
                    </a:lnTo>
                    <a:lnTo>
                      <a:pt x="614" y="300"/>
                    </a:lnTo>
                    <a:lnTo>
                      <a:pt x="616" y="300"/>
                    </a:lnTo>
                    <a:lnTo>
                      <a:pt x="618" y="300"/>
                    </a:lnTo>
                    <a:lnTo>
                      <a:pt x="618" y="300"/>
                    </a:lnTo>
                    <a:lnTo>
                      <a:pt x="620" y="302"/>
                    </a:lnTo>
                    <a:lnTo>
                      <a:pt x="620" y="302"/>
                    </a:lnTo>
                    <a:lnTo>
                      <a:pt x="620" y="302"/>
                    </a:lnTo>
                    <a:lnTo>
                      <a:pt x="620" y="302"/>
                    </a:lnTo>
                    <a:lnTo>
                      <a:pt x="622" y="304"/>
                    </a:lnTo>
                    <a:lnTo>
                      <a:pt x="622" y="306"/>
                    </a:lnTo>
                    <a:lnTo>
                      <a:pt x="624" y="308"/>
                    </a:lnTo>
                    <a:lnTo>
                      <a:pt x="624" y="312"/>
                    </a:lnTo>
                    <a:lnTo>
                      <a:pt x="624" y="314"/>
                    </a:lnTo>
                    <a:lnTo>
                      <a:pt x="624" y="320"/>
                    </a:lnTo>
                    <a:lnTo>
                      <a:pt x="624" y="324"/>
                    </a:lnTo>
                    <a:lnTo>
                      <a:pt x="624" y="328"/>
                    </a:lnTo>
                    <a:lnTo>
                      <a:pt x="626" y="330"/>
                    </a:lnTo>
                    <a:lnTo>
                      <a:pt x="626" y="332"/>
                    </a:lnTo>
                    <a:lnTo>
                      <a:pt x="626" y="334"/>
                    </a:lnTo>
                    <a:lnTo>
                      <a:pt x="628" y="336"/>
                    </a:lnTo>
                    <a:lnTo>
                      <a:pt x="628" y="336"/>
                    </a:lnTo>
                    <a:lnTo>
                      <a:pt x="628" y="336"/>
                    </a:lnTo>
                    <a:lnTo>
                      <a:pt x="630" y="338"/>
                    </a:lnTo>
                    <a:lnTo>
                      <a:pt x="630" y="338"/>
                    </a:lnTo>
                    <a:lnTo>
                      <a:pt x="632" y="338"/>
                    </a:lnTo>
                    <a:lnTo>
                      <a:pt x="634" y="340"/>
                    </a:lnTo>
                    <a:lnTo>
                      <a:pt x="636" y="340"/>
                    </a:lnTo>
                    <a:lnTo>
                      <a:pt x="640" y="340"/>
                    </a:lnTo>
                    <a:lnTo>
                      <a:pt x="642" y="340"/>
                    </a:lnTo>
                    <a:lnTo>
                      <a:pt x="648" y="340"/>
                    </a:lnTo>
                    <a:lnTo>
                      <a:pt x="654" y="340"/>
                    </a:lnTo>
                    <a:lnTo>
                      <a:pt x="658" y="340"/>
                    </a:lnTo>
                    <a:lnTo>
                      <a:pt x="662" y="340"/>
                    </a:lnTo>
                    <a:lnTo>
                      <a:pt x="664" y="340"/>
                    </a:lnTo>
                    <a:lnTo>
                      <a:pt x="666" y="342"/>
                    </a:lnTo>
                    <a:lnTo>
                      <a:pt x="668" y="342"/>
                    </a:lnTo>
                    <a:lnTo>
                      <a:pt x="670" y="342"/>
                    </a:lnTo>
                    <a:lnTo>
                      <a:pt x="670" y="344"/>
                    </a:lnTo>
                    <a:lnTo>
                      <a:pt x="672" y="346"/>
                    </a:lnTo>
                    <a:lnTo>
                      <a:pt x="674" y="346"/>
                    </a:lnTo>
                    <a:lnTo>
                      <a:pt x="678" y="350"/>
                    </a:lnTo>
                    <a:lnTo>
                      <a:pt x="680" y="354"/>
                    </a:lnTo>
                    <a:lnTo>
                      <a:pt x="684" y="358"/>
                    </a:lnTo>
                    <a:lnTo>
                      <a:pt x="686" y="360"/>
                    </a:lnTo>
                    <a:lnTo>
                      <a:pt x="688" y="362"/>
                    </a:lnTo>
                    <a:lnTo>
                      <a:pt x="690" y="364"/>
                    </a:lnTo>
                    <a:lnTo>
                      <a:pt x="692" y="364"/>
                    </a:lnTo>
                    <a:lnTo>
                      <a:pt x="692" y="366"/>
                    </a:lnTo>
                    <a:lnTo>
                      <a:pt x="694" y="366"/>
                    </a:lnTo>
                    <a:lnTo>
                      <a:pt x="696" y="366"/>
                    </a:lnTo>
                    <a:lnTo>
                      <a:pt x="700" y="366"/>
                    </a:lnTo>
                    <a:lnTo>
                      <a:pt x="702" y="368"/>
                    </a:lnTo>
                    <a:lnTo>
                      <a:pt x="704" y="368"/>
                    </a:lnTo>
                    <a:lnTo>
                      <a:pt x="706" y="368"/>
                    </a:lnTo>
                    <a:lnTo>
                      <a:pt x="708" y="368"/>
                    </a:lnTo>
                    <a:lnTo>
                      <a:pt x="708" y="368"/>
                    </a:lnTo>
                    <a:lnTo>
                      <a:pt x="710" y="368"/>
                    </a:lnTo>
                    <a:lnTo>
                      <a:pt x="710" y="370"/>
                    </a:lnTo>
                    <a:lnTo>
                      <a:pt x="712" y="372"/>
                    </a:lnTo>
                    <a:lnTo>
                      <a:pt x="714" y="374"/>
                    </a:lnTo>
                    <a:lnTo>
                      <a:pt x="716" y="376"/>
                    </a:lnTo>
                    <a:lnTo>
                      <a:pt x="718" y="380"/>
                    </a:lnTo>
                    <a:lnTo>
                      <a:pt x="720" y="382"/>
                    </a:lnTo>
                    <a:lnTo>
                      <a:pt x="720" y="382"/>
                    </a:lnTo>
                    <a:lnTo>
                      <a:pt x="722" y="384"/>
                    </a:lnTo>
                    <a:lnTo>
                      <a:pt x="722" y="384"/>
                    </a:lnTo>
                    <a:lnTo>
                      <a:pt x="724" y="384"/>
                    </a:lnTo>
                    <a:lnTo>
                      <a:pt x="724" y="384"/>
                    </a:lnTo>
                    <a:lnTo>
                      <a:pt x="726" y="384"/>
                    </a:lnTo>
                    <a:lnTo>
                      <a:pt x="728" y="384"/>
                    </a:lnTo>
                    <a:lnTo>
                      <a:pt x="730" y="384"/>
                    </a:lnTo>
                    <a:lnTo>
                      <a:pt x="732" y="384"/>
                    </a:lnTo>
                    <a:lnTo>
                      <a:pt x="738" y="382"/>
                    </a:lnTo>
                    <a:lnTo>
                      <a:pt x="740" y="382"/>
                    </a:lnTo>
                    <a:lnTo>
                      <a:pt x="742" y="380"/>
                    </a:lnTo>
                    <a:lnTo>
                      <a:pt x="744" y="380"/>
                    </a:lnTo>
                    <a:lnTo>
                      <a:pt x="746" y="380"/>
                    </a:lnTo>
                    <a:lnTo>
                      <a:pt x="748" y="380"/>
                    </a:lnTo>
                    <a:lnTo>
                      <a:pt x="748" y="382"/>
                    </a:lnTo>
                    <a:lnTo>
                      <a:pt x="750" y="382"/>
                    </a:lnTo>
                    <a:lnTo>
                      <a:pt x="750" y="382"/>
                    </a:lnTo>
                    <a:lnTo>
                      <a:pt x="750" y="382"/>
                    </a:lnTo>
                    <a:lnTo>
                      <a:pt x="750" y="384"/>
                    </a:lnTo>
                    <a:lnTo>
                      <a:pt x="752" y="384"/>
                    </a:lnTo>
                    <a:lnTo>
                      <a:pt x="752" y="386"/>
                    </a:lnTo>
                    <a:lnTo>
                      <a:pt x="752" y="388"/>
                    </a:lnTo>
                    <a:lnTo>
                      <a:pt x="752" y="390"/>
                    </a:lnTo>
                    <a:lnTo>
                      <a:pt x="752" y="392"/>
                    </a:lnTo>
                    <a:lnTo>
                      <a:pt x="752" y="394"/>
                    </a:lnTo>
                    <a:lnTo>
                      <a:pt x="750" y="396"/>
                    </a:lnTo>
                    <a:lnTo>
                      <a:pt x="750" y="402"/>
                    </a:lnTo>
                    <a:lnTo>
                      <a:pt x="748" y="406"/>
                    </a:lnTo>
                    <a:lnTo>
                      <a:pt x="748" y="410"/>
                    </a:lnTo>
                    <a:lnTo>
                      <a:pt x="748" y="412"/>
                    </a:lnTo>
                    <a:lnTo>
                      <a:pt x="748" y="414"/>
                    </a:lnTo>
                    <a:lnTo>
                      <a:pt x="746" y="416"/>
                    </a:lnTo>
                    <a:lnTo>
                      <a:pt x="746" y="420"/>
                    </a:lnTo>
                    <a:lnTo>
                      <a:pt x="746" y="428"/>
                    </a:lnTo>
                    <a:lnTo>
                      <a:pt x="744" y="432"/>
                    </a:lnTo>
                    <a:lnTo>
                      <a:pt x="744" y="434"/>
                    </a:lnTo>
                    <a:lnTo>
                      <a:pt x="744" y="438"/>
                    </a:lnTo>
                    <a:lnTo>
                      <a:pt x="744" y="440"/>
                    </a:lnTo>
                    <a:lnTo>
                      <a:pt x="744" y="442"/>
                    </a:lnTo>
                    <a:lnTo>
                      <a:pt x="746" y="444"/>
                    </a:lnTo>
                    <a:lnTo>
                      <a:pt x="746" y="446"/>
                    </a:lnTo>
                    <a:lnTo>
                      <a:pt x="748" y="450"/>
                    </a:lnTo>
                    <a:lnTo>
                      <a:pt x="748" y="452"/>
                    </a:lnTo>
                    <a:lnTo>
                      <a:pt x="750" y="456"/>
                    </a:lnTo>
                    <a:lnTo>
                      <a:pt x="752" y="458"/>
                    </a:lnTo>
                    <a:lnTo>
                      <a:pt x="752" y="458"/>
                    </a:lnTo>
                    <a:lnTo>
                      <a:pt x="754" y="460"/>
                    </a:lnTo>
                    <a:lnTo>
                      <a:pt x="754" y="460"/>
                    </a:lnTo>
                    <a:lnTo>
                      <a:pt x="754" y="462"/>
                    </a:lnTo>
                    <a:lnTo>
                      <a:pt x="756" y="462"/>
                    </a:lnTo>
                    <a:lnTo>
                      <a:pt x="758" y="462"/>
                    </a:lnTo>
                    <a:lnTo>
                      <a:pt x="758" y="462"/>
                    </a:lnTo>
                    <a:lnTo>
                      <a:pt x="760" y="462"/>
                    </a:lnTo>
                    <a:lnTo>
                      <a:pt x="762" y="464"/>
                    </a:lnTo>
                    <a:lnTo>
                      <a:pt x="764" y="464"/>
                    </a:lnTo>
                    <a:lnTo>
                      <a:pt x="766" y="462"/>
                    </a:lnTo>
                    <a:lnTo>
                      <a:pt x="766" y="462"/>
                    </a:lnTo>
                    <a:lnTo>
                      <a:pt x="766" y="462"/>
                    </a:lnTo>
                    <a:lnTo>
                      <a:pt x="768" y="462"/>
                    </a:lnTo>
                    <a:lnTo>
                      <a:pt x="768" y="460"/>
                    </a:lnTo>
                    <a:lnTo>
                      <a:pt x="770" y="458"/>
                    </a:lnTo>
                    <a:lnTo>
                      <a:pt x="770" y="458"/>
                    </a:lnTo>
                    <a:lnTo>
                      <a:pt x="772" y="456"/>
                    </a:lnTo>
                    <a:lnTo>
                      <a:pt x="772" y="454"/>
                    </a:lnTo>
                    <a:lnTo>
                      <a:pt x="774" y="454"/>
                    </a:lnTo>
                    <a:lnTo>
                      <a:pt x="774" y="452"/>
                    </a:lnTo>
                    <a:lnTo>
                      <a:pt x="774" y="452"/>
                    </a:lnTo>
                    <a:lnTo>
                      <a:pt x="774" y="452"/>
                    </a:lnTo>
                    <a:lnTo>
                      <a:pt x="776" y="452"/>
                    </a:lnTo>
                    <a:lnTo>
                      <a:pt x="776" y="452"/>
                    </a:lnTo>
                    <a:lnTo>
                      <a:pt x="776" y="454"/>
                    </a:lnTo>
                    <a:lnTo>
                      <a:pt x="778" y="454"/>
                    </a:lnTo>
                    <a:lnTo>
                      <a:pt x="780" y="456"/>
                    </a:lnTo>
                    <a:lnTo>
                      <a:pt x="780" y="458"/>
                    </a:lnTo>
                    <a:lnTo>
                      <a:pt x="782" y="458"/>
                    </a:lnTo>
                    <a:lnTo>
                      <a:pt x="784" y="460"/>
                    </a:lnTo>
                    <a:lnTo>
                      <a:pt x="784" y="460"/>
                    </a:lnTo>
                    <a:lnTo>
                      <a:pt x="784" y="462"/>
                    </a:lnTo>
                    <a:lnTo>
                      <a:pt x="786" y="462"/>
                    </a:lnTo>
                    <a:lnTo>
                      <a:pt x="786" y="462"/>
                    </a:lnTo>
                    <a:lnTo>
                      <a:pt x="786" y="462"/>
                    </a:lnTo>
                    <a:lnTo>
                      <a:pt x="788" y="460"/>
                    </a:lnTo>
                    <a:lnTo>
                      <a:pt x="788" y="460"/>
                    </a:lnTo>
                    <a:lnTo>
                      <a:pt x="788" y="460"/>
                    </a:lnTo>
                    <a:lnTo>
                      <a:pt x="788" y="458"/>
                    </a:lnTo>
                    <a:lnTo>
                      <a:pt x="790" y="456"/>
                    </a:lnTo>
                    <a:lnTo>
                      <a:pt x="790" y="452"/>
                    </a:lnTo>
                    <a:lnTo>
                      <a:pt x="792" y="450"/>
                    </a:lnTo>
                    <a:lnTo>
                      <a:pt x="792" y="446"/>
                    </a:lnTo>
                    <a:lnTo>
                      <a:pt x="794" y="442"/>
                    </a:lnTo>
                    <a:lnTo>
                      <a:pt x="796" y="434"/>
                    </a:lnTo>
                    <a:lnTo>
                      <a:pt x="796" y="430"/>
                    </a:lnTo>
                    <a:lnTo>
                      <a:pt x="796" y="426"/>
                    </a:lnTo>
                    <a:lnTo>
                      <a:pt x="798" y="422"/>
                    </a:lnTo>
                    <a:lnTo>
                      <a:pt x="798" y="418"/>
                    </a:lnTo>
                    <a:lnTo>
                      <a:pt x="798" y="418"/>
                    </a:lnTo>
                    <a:lnTo>
                      <a:pt x="798" y="416"/>
                    </a:lnTo>
                    <a:lnTo>
                      <a:pt x="796" y="412"/>
                    </a:lnTo>
                    <a:lnTo>
                      <a:pt x="796" y="408"/>
                    </a:lnTo>
                    <a:lnTo>
                      <a:pt x="796" y="408"/>
                    </a:lnTo>
                    <a:lnTo>
                      <a:pt x="796" y="406"/>
                    </a:lnTo>
                    <a:lnTo>
                      <a:pt x="796" y="402"/>
                    </a:lnTo>
                    <a:lnTo>
                      <a:pt x="796" y="398"/>
                    </a:lnTo>
                    <a:lnTo>
                      <a:pt x="796" y="394"/>
                    </a:lnTo>
                    <a:lnTo>
                      <a:pt x="796" y="392"/>
                    </a:lnTo>
                    <a:lnTo>
                      <a:pt x="798" y="390"/>
                    </a:lnTo>
                    <a:lnTo>
                      <a:pt x="798" y="388"/>
                    </a:lnTo>
                    <a:lnTo>
                      <a:pt x="798" y="386"/>
                    </a:lnTo>
                    <a:lnTo>
                      <a:pt x="798" y="386"/>
                    </a:lnTo>
                    <a:lnTo>
                      <a:pt x="798" y="384"/>
                    </a:lnTo>
                    <a:lnTo>
                      <a:pt x="800" y="384"/>
                    </a:lnTo>
                    <a:lnTo>
                      <a:pt x="800" y="382"/>
                    </a:lnTo>
                    <a:lnTo>
                      <a:pt x="802" y="382"/>
                    </a:lnTo>
                    <a:lnTo>
                      <a:pt x="804" y="382"/>
                    </a:lnTo>
                    <a:lnTo>
                      <a:pt x="806" y="380"/>
                    </a:lnTo>
                    <a:lnTo>
                      <a:pt x="810" y="378"/>
                    </a:lnTo>
                    <a:lnTo>
                      <a:pt x="812" y="378"/>
                    </a:lnTo>
                    <a:lnTo>
                      <a:pt x="816" y="376"/>
                    </a:lnTo>
                    <a:lnTo>
                      <a:pt x="818" y="376"/>
                    </a:lnTo>
                    <a:lnTo>
                      <a:pt x="818" y="374"/>
                    </a:lnTo>
                    <a:lnTo>
                      <a:pt x="820" y="374"/>
                    </a:lnTo>
                    <a:lnTo>
                      <a:pt x="820" y="374"/>
                    </a:lnTo>
                    <a:lnTo>
                      <a:pt x="822" y="372"/>
                    </a:lnTo>
                    <a:lnTo>
                      <a:pt x="822" y="370"/>
                    </a:lnTo>
                    <a:lnTo>
                      <a:pt x="822" y="368"/>
                    </a:lnTo>
                    <a:lnTo>
                      <a:pt x="822" y="366"/>
                    </a:lnTo>
                    <a:lnTo>
                      <a:pt x="824" y="364"/>
                    </a:lnTo>
                    <a:lnTo>
                      <a:pt x="824" y="362"/>
                    </a:lnTo>
                    <a:lnTo>
                      <a:pt x="824" y="360"/>
                    </a:lnTo>
                    <a:lnTo>
                      <a:pt x="824" y="358"/>
                    </a:lnTo>
                    <a:lnTo>
                      <a:pt x="824" y="354"/>
                    </a:lnTo>
                    <a:lnTo>
                      <a:pt x="822" y="350"/>
                    </a:lnTo>
                    <a:lnTo>
                      <a:pt x="822" y="344"/>
                    </a:lnTo>
                    <a:lnTo>
                      <a:pt x="820" y="340"/>
                    </a:lnTo>
                    <a:lnTo>
                      <a:pt x="818" y="328"/>
                    </a:lnTo>
                    <a:lnTo>
                      <a:pt x="816" y="318"/>
                    </a:lnTo>
                    <a:lnTo>
                      <a:pt x="814" y="314"/>
                    </a:lnTo>
                    <a:lnTo>
                      <a:pt x="814" y="308"/>
                    </a:lnTo>
                    <a:lnTo>
                      <a:pt x="812" y="304"/>
                    </a:lnTo>
                    <a:lnTo>
                      <a:pt x="812" y="302"/>
                    </a:lnTo>
                    <a:lnTo>
                      <a:pt x="812" y="300"/>
                    </a:lnTo>
                    <a:lnTo>
                      <a:pt x="812" y="300"/>
                    </a:lnTo>
                    <a:lnTo>
                      <a:pt x="814" y="298"/>
                    </a:lnTo>
                    <a:lnTo>
                      <a:pt x="814" y="298"/>
                    </a:lnTo>
                    <a:lnTo>
                      <a:pt x="814" y="298"/>
                    </a:lnTo>
                    <a:lnTo>
                      <a:pt x="816" y="298"/>
                    </a:lnTo>
                    <a:lnTo>
                      <a:pt x="818" y="296"/>
                    </a:lnTo>
                    <a:lnTo>
                      <a:pt x="822" y="296"/>
                    </a:lnTo>
                    <a:lnTo>
                      <a:pt x="824" y="296"/>
                    </a:lnTo>
                    <a:lnTo>
                      <a:pt x="824" y="296"/>
                    </a:lnTo>
                    <a:lnTo>
                      <a:pt x="826" y="294"/>
                    </a:lnTo>
                    <a:lnTo>
                      <a:pt x="826" y="294"/>
                    </a:lnTo>
                    <a:lnTo>
                      <a:pt x="826" y="294"/>
                    </a:lnTo>
                    <a:lnTo>
                      <a:pt x="828" y="292"/>
                    </a:lnTo>
                    <a:lnTo>
                      <a:pt x="828" y="292"/>
                    </a:lnTo>
                    <a:lnTo>
                      <a:pt x="828" y="290"/>
                    </a:lnTo>
                    <a:lnTo>
                      <a:pt x="830" y="288"/>
                    </a:lnTo>
                    <a:lnTo>
                      <a:pt x="830" y="284"/>
                    </a:lnTo>
                    <a:lnTo>
                      <a:pt x="832" y="280"/>
                    </a:lnTo>
                    <a:lnTo>
                      <a:pt x="832" y="276"/>
                    </a:lnTo>
                    <a:lnTo>
                      <a:pt x="832" y="272"/>
                    </a:lnTo>
                    <a:lnTo>
                      <a:pt x="832" y="268"/>
                    </a:lnTo>
                    <a:lnTo>
                      <a:pt x="832" y="264"/>
                    </a:lnTo>
                    <a:lnTo>
                      <a:pt x="832" y="264"/>
                    </a:lnTo>
                    <a:lnTo>
                      <a:pt x="830" y="262"/>
                    </a:lnTo>
                    <a:lnTo>
                      <a:pt x="830" y="260"/>
                    </a:lnTo>
                    <a:lnTo>
                      <a:pt x="828" y="258"/>
                    </a:lnTo>
                    <a:lnTo>
                      <a:pt x="828" y="256"/>
                    </a:lnTo>
                    <a:lnTo>
                      <a:pt x="828" y="254"/>
                    </a:lnTo>
                    <a:lnTo>
                      <a:pt x="828" y="252"/>
                    </a:lnTo>
                    <a:lnTo>
                      <a:pt x="828" y="250"/>
                    </a:lnTo>
                    <a:lnTo>
                      <a:pt x="828" y="246"/>
                    </a:lnTo>
                    <a:lnTo>
                      <a:pt x="828" y="244"/>
                    </a:lnTo>
                    <a:lnTo>
                      <a:pt x="830" y="240"/>
                    </a:lnTo>
                    <a:lnTo>
                      <a:pt x="830" y="238"/>
                    </a:lnTo>
                    <a:lnTo>
                      <a:pt x="830" y="234"/>
                    </a:lnTo>
                    <a:lnTo>
                      <a:pt x="832" y="232"/>
                    </a:lnTo>
                    <a:lnTo>
                      <a:pt x="834" y="226"/>
                    </a:lnTo>
                    <a:lnTo>
                      <a:pt x="836" y="222"/>
                    </a:lnTo>
                    <a:lnTo>
                      <a:pt x="838" y="220"/>
                    </a:lnTo>
                    <a:lnTo>
                      <a:pt x="840" y="216"/>
                    </a:lnTo>
                    <a:lnTo>
                      <a:pt x="840" y="214"/>
                    </a:lnTo>
                    <a:lnTo>
                      <a:pt x="842" y="212"/>
                    </a:lnTo>
                    <a:lnTo>
                      <a:pt x="844" y="212"/>
                    </a:lnTo>
                    <a:lnTo>
                      <a:pt x="844" y="210"/>
                    </a:lnTo>
                    <a:lnTo>
                      <a:pt x="846" y="210"/>
                    </a:lnTo>
                    <a:lnTo>
                      <a:pt x="846" y="210"/>
                    </a:lnTo>
                    <a:lnTo>
                      <a:pt x="848" y="210"/>
                    </a:lnTo>
                    <a:lnTo>
                      <a:pt x="850" y="210"/>
                    </a:lnTo>
                    <a:lnTo>
                      <a:pt x="850" y="210"/>
                    </a:lnTo>
                    <a:lnTo>
                      <a:pt x="852" y="210"/>
                    </a:lnTo>
                    <a:lnTo>
                      <a:pt x="854" y="212"/>
                    </a:lnTo>
                    <a:lnTo>
                      <a:pt x="854" y="212"/>
                    </a:lnTo>
                    <a:lnTo>
                      <a:pt x="858" y="214"/>
                    </a:lnTo>
                    <a:lnTo>
                      <a:pt x="862" y="218"/>
                    </a:lnTo>
                    <a:lnTo>
                      <a:pt x="864" y="220"/>
                    </a:lnTo>
                    <a:lnTo>
                      <a:pt x="866" y="220"/>
                    </a:lnTo>
                    <a:lnTo>
                      <a:pt x="866" y="222"/>
                    </a:lnTo>
                    <a:lnTo>
                      <a:pt x="868" y="222"/>
                    </a:lnTo>
                    <a:lnTo>
                      <a:pt x="870" y="222"/>
                    </a:lnTo>
                    <a:lnTo>
                      <a:pt x="870" y="222"/>
                    </a:lnTo>
                    <a:lnTo>
                      <a:pt x="872" y="222"/>
                    </a:lnTo>
                    <a:lnTo>
                      <a:pt x="874" y="222"/>
                    </a:lnTo>
                    <a:lnTo>
                      <a:pt x="876" y="222"/>
                    </a:lnTo>
                    <a:lnTo>
                      <a:pt x="880" y="222"/>
                    </a:lnTo>
                    <a:lnTo>
                      <a:pt x="886" y="222"/>
                    </a:lnTo>
                    <a:lnTo>
                      <a:pt x="890" y="222"/>
                    </a:lnTo>
                    <a:lnTo>
                      <a:pt x="894" y="222"/>
                    </a:lnTo>
                    <a:lnTo>
                      <a:pt x="896" y="222"/>
                    </a:lnTo>
                    <a:lnTo>
                      <a:pt x="898" y="222"/>
                    </a:lnTo>
                    <a:lnTo>
                      <a:pt x="900" y="222"/>
                    </a:lnTo>
                    <a:lnTo>
                      <a:pt x="900" y="222"/>
                    </a:lnTo>
                    <a:lnTo>
                      <a:pt x="902" y="222"/>
                    </a:lnTo>
                    <a:lnTo>
                      <a:pt x="902" y="224"/>
                    </a:lnTo>
                    <a:lnTo>
                      <a:pt x="904" y="224"/>
                    </a:lnTo>
                    <a:lnTo>
                      <a:pt x="906" y="226"/>
                    </a:lnTo>
                    <a:lnTo>
                      <a:pt x="908" y="228"/>
                    </a:lnTo>
                    <a:lnTo>
                      <a:pt x="910" y="232"/>
                    </a:lnTo>
                    <a:lnTo>
                      <a:pt x="914" y="234"/>
                    </a:lnTo>
                    <a:lnTo>
                      <a:pt x="916" y="238"/>
                    </a:lnTo>
                    <a:lnTo>
                      <a:pt x="920" y="242"/>
                    </a:lnTo>
                    <a:lnTo>
                      <a:pt x="922" y="244"/>
                    </a:lnTo>
                    <a:lnTo>
                      <a:pt x="922" y="246"/>
                    </a:lnTo>
                    <a:lnTo>
                      <a:pt x="924" y="248"/>
                    </a:lnTo>
                    <a:lnTo>
                      <a:pt x="926" y="248"/>
                    </a:lnTo>
                    <a:lnTo>
                      <a:pt x="928" y="250"/>
                    </a:lnTo>
                    <a:lnTo>
                      <a:pt x="928" y="250"/>
                    </a:lnTo>
                    <a:lnTo>
                      <a:pt x="930" y="250"/>
                    </a:lnTo>
                    <a:lnTo>
                      <a:pt x="938" y="252"/>
                    </a:lnTo>
                    <a:lnTo>
                      <a:pt x="940" y="252"/>
                    </a:lnTo>
                    <a:lnTo>
                      <a:pt x="942" y="252"/>
                    </a:lnTo>
                    <a:lnTo>
                      <a:pt x="944" y="254"/>
                    </a:lnTo>
                    <a:lnTo>
                      <a:pt x="944" y="254"/>
                    </a:lnTo>
                    <a:lnTo>
                      <a:pt x="946" y="254"/>
                    </a:lnTo>
                    <a:lnTo>
                      <a:pt x="946" y="256"/>
                    </a:lnTo>
                    <a:lnTo>
                      <a:pt x="946" y="256"/>
                    </a:lnTo>
                    <a:lnTo>
                      <a:pt x="946" y="256"/>
                    </a:lnTo>
                    <a:lnTo>
                      <a:pt x="946" y="258"/>
                    </a:lnTo>
                    <a:lnTo>
                      <a:pt x="946" y="258"/>
                    </a:lnTo>
                    <a:lnTo>
                      <a:pt x="946" y="258"/>
                    </a:lnTo>
                    <a:lnTo>
                      <a:pt x="944" y="260"/>
                    </a:lnTo>
                    <a:lnTo>
                      <a:pt x="942" y="262"/>
                    </a:lnTo>
                    <a:lnTo>
                      <a:pt x="940" y="264"/>
                    </a:lnTo>
                    <a:lnTo>
                      <a:pt x="938" y="266"/>
                    </a:lnTo>
                    <a:lnTo>
                      <a:pt x="938" y="266"/>
                    </a:lnTo>
                    <a:lnTo>
                      <a:pt x="938" y="268"/>
                    </a:lnTo>
                    <a:lnTo>
                      <a:pt x="936" y="270"/>
                    </a:lnTo>
                    <a:lnTo>
                      <a:pt x="936" y="272"/>
                    </a:lnTo>
                    <a:lnTo>
                      <a:pt x="936" y="276"/>
                    </a:lnTo>
                    <a:lnTo>
                      <a:pt x="934" y="282"/>
                    </a:lnTo>
                    <a:lnTo>
                      <a:pt x="934" y="284"/>
                    </a:lnTo>
                    <a:lnTo>
                      <a:pt x="934" y="288"/>
                    </a:lnTo>
                    <a:lnTo>
                      <a:pt x="934" y="290"/>
                    </a:lnTo>
                    <a:lnTo>
                      <a:pt x="934" y="294"/>
                    </a:lnTo>
                    <a:lnTo>
                      <a:pt x="936" y="296"/>
                    </a:lnTo>
                    <a:lnTo>
                      <a:pt x="936" y="298"/>
                    </a:lnTo>
                    <a:lnTo>
                      <a:pt x="936" y="300"/>
                    </a:lnTo>
                    <a:lnTo>
                      <a:pt x="936" y="302"/>
                    </a:lnTo>
                    <a:lnTo>
                      <a:pt x="938" y="304"/>
                    </a:lnTo>
                    <a:lnTo>
                      <a:pt x="938" y="306"/>
                    </a:lnTo>
                    <a:lnTo>
                      <a:pt x="940" y="308"/>
                    </a:lnTo>
                    <a:lnTo>
                      <a:pt x="940" y="308"/>
                    </a:lnTo>
                    <a:lnTo>
                      <a:pt x="942" y="308"/>
                    </a:lnTo>
                    <a:lnTo>
                      <a:pt x="942" y="310"/>
                    </a:lnTo>
                    <a:lnTo>
                      <a:pt x="946" y="310"/>
                    </a:lnTo>
                    <a:lnTo>
                      <a:pt x="948" y="312"/>
                    </a:lnTo>
                    <a:lnTo>
                      <a:pt x="952" y="312"/>
                    </a:lnTo>
                    <a:lnTo>
                      <a:pt x="954" y="312"/>
                    </a:lnTo>
                    <a:lnTo>
                      <a:pt x="958" y="312"/>
                    </a:lnTo>
                    <a:lnTo>
                      <a:pt x="960" y="312"/>
                    </a:lnTo>
                    <a:lnTo>
                      <a:pt x="962" y="312"/>
                    </a:lnTo>
                    <a:lnTo>
                      <a:pt x="966" y="312"/>
                    </a:lnTo>
                    <a:lnTo>
                      <a:pt x="968" y="312"/>
                    </a:lnTo>
                    <a:lnTo>
                      <a:pt x="972" y="310"/>
                    </a:lnTo>
                    <a:lnTo>
                      <a:pt x="974" y="310"/>
                    </a:lnTo>
                    <a:lnTo>
                      <a:pt x="978" y="308"/>
                    </a:lnTo>
                    <a:lnTo>
                      <a:pt x="980" y="306"/>
                    </a:lnTo>
                    <a:lnTo>
                      <a:pt x="982" y="306"/>
                    </a:lnTo>
                    <a:lnTo>
                      <a:pt x="984" y="304"/>
                    </a:lnTo>
                    <a:lnTo>
                      <a:pt x="986" y="302"/>
                    </a:lnTo>
                    <a:lnTo>
                      <a:pt x="986" y="302"/>
                    </a:lnTo>
                    <a:lnTo>
                      <a:pt x="988" y="300"/>
                    </a:lnTo>
                    <a:lnTo>
                      <a:pt x="992" y="292"/>
                    </a:lnTo>
                    <a:lnTo>
                      <a:pt x="992" y="292"/>
                    </a:lnTo>
                    <a:lnTo>
                      <a:pt x="992" y="290"/>
                    </a:lnTo>
                    <a:lnTo>
                      <a:pt x="994" y="288"/>
                    </a:lnTo>
                    <a:lnTo>
                      <a:pt x="996" y="284"/>
                    </a:lnTo>
                    <a:lnTo>
                      <a:pt x="996" y="280"/>
                    </a:lnTo>
                    <a:lnTo>
                      <a:pt x="998" y="276"/>
                    </a:lnTo>
                    <a:lnTo>
                      <a:pt x="1000" y="276"/>
                    </a:lnTo>
                    <a:lnTo>
                      <a:pt x="1000" y="274"/>
                    </a:lnTo>
                    <a:lnTo>
                      <a:pt x="1000" y="272"/>
                    </a:lnTo>
                    <a:lnTo>
                      <a:pt x="1002" y="272"/>
                    </a:lnTo>
                    <a:lnTo>
                      <a:pt x="1002" y="272"/>
                    </a:lnTo>
                    <a:lnTo>
                      <a:pt x="1004" y="2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73" name="Freeform 532"/>
              <p:cNvSpPr>
                <a:spLocks/>
              </p:cNvSpPr>
              <p:nvPr/>
            </p:nvSpPr>
            <p:spPr bwMode="auto">
              <a:xfrm>
                <a:off x="3037178" y="3372017"/>
                <a:ext cx="130175" cy="133350"/>
              </a:xfrm>
              <a:custGeom>
                <a:avLst/>
                <a:gdLst>
                  <a:gd name="T0" fmla="*/ 42 w 82"/>
                  <a:gd name="T1" fmla="*/ 0 h 84"/>
                  <a:gd name="T2" fmla="*/ 42 w 82"/>
                  <a:gd name="T3" fmla="*/ 2 h 84"/>
                  <a:gd name="T4" fmla="*/ 38 w 82"/>
                  <a:gd name="T5" fmla="*/ 2 h 84"/>
                  <a:gd name="T6" fmla="*/ 34 w 82"/>
                  <a:gd name="T7" fmla="*/ 4 h 84"/>
                  <a:gd name="T8" fmla="*/ 30 w 82"/>
                  <a:gd name="T9" fmla="*/ 12 h 84"/>
                  <a:gd name="T10" fmla="*/ 22 w 82"/>
                  <a:gd name="T11" fmla="*/ 22 h 84"/>
                  <a:gd name="T12" fmla="*/ 20 w 82"/>
                  <a:gd name="T13" fmla="*/ 26 h 84"/>
                  <a:gd name="T14" fmla="*/ 12 w 82"/>
                  <a:gd name="T15" fmla="*/ 28 h 84"/>
                  <a:gd name="T16" fmla="*/ 8 w 82"/>
                  <a:gd name="T17" fmla="*/ 32 h 84"/>
                  <a:gd name="T18" fmla="*/ 6 w 82"/>
                  <a:gd name="T19" fmla="*/ 36 h 84"/>
                  <a:gd name="T20" fmla="*/ 2 w 82"/>
                  <a:gd name="T21" fmla="*/ 46 h 84"/>
                  <a:gd name="T22" fmla="*/ 0 w 82"/>
                  <a:gd name="T23" fmla="*/ 56 h 84"/>
                  <a:gd name="T24" fmla="*/ 0 w 82"/>
                  <a:gd name="T25" fmla="*/ 62 h 84"/>
                  <a:gd name="T26" fmla="*/ 2 w 82"/>
                  <a:gd name="T27" fmla="*/ 66 h 84"/>
                  <a:gd name="T28" fmla="*/ 4 w 82"/>
                  <a:gd name="T29" fmla="*/ 68 h 84"/>
                  <a:gd name="T30" fmla="*/ 10 w 82"/>
                  <a:gd name="T31" fmla="*/ 68 h 84"/>
                  <a:gd name="T32" fmla="*/ 16 w 82"/>
                  <a:gd name="T33" fmla="*/ 68 h 84"/>
                  <a:gd name="T34" fmla="*/ 22 w 82"/>
                  <a:gd name="T35" fmla="*/ 68 h 84"/>
                  <a:gd name="T36" fmla="*/ 30 w 82"/>
                  <a:gd name="T37" fmla="*/ 62 h 84"/>
                  <a:gd name="T38" fmla="*/ 38 w 82"/>
                  <a:gd name="T39" fmla="*/ 60 h 84"/>
                  <a:gd name="T40" fmla="*/ 42 w 82"/>
                  <a:gd name="T41" fmla="*/ 62 h 84"/>
                  <a:gd name="T42" fmla="*/ 44 w 82"/>
                  <a:gd name="T43" fmla="*/ 62 h 84"/>
                  <a:gd name="T44" fmla="*/ 44 w 82"/>
                  <a:gd name="T45" fmla="*/ 66 h 84"/>
                  <a:gd name="T46" fmla="*/ 44 w 82"/>
                  <a:gd name="T47" fmla="*/ 74 h 84"/>
                  <a:gd name="T48" fmla="*/ 44 w 82"/>
                  <a:gd name="T49" fmla="*/ 80 h 84"/>
                  <a:gd name="T50" fmla="*/ 46 w 82"/>
                  <a:gd name="T51" fmla="*/ 82 h 84"/>
                  <a:gd name="T52" fmla="*/ 50 w 82"/>
                  <a:gd name="T53" fmla="*/ 84 h 84"/>
                  <a:gd name="T54" fmla="*/ 54 w 82"/>
                  <a:gd name="T55" fmla="*/ 84 h 84"/>
                  <a:gd name="T56" fmla="*/ 56 w 82"/>
                  <a:gd name="T57" fmla="*/ 84 h 84"/>
                  <a:gd name="T58" fmla="*/ 56 w 82"/>
                  <a:gd name="T59" fmla="*/ 82 h 84"/>
                  <a:gd name="T60" fmla="*/ 56 w 82"/>
                  <a:gd name="T61" fmla="*/ 76 h 84"/>
                  <a:gd name="T62" fmla="*/ 54 w 82"/>
                  <a:gd name="T63" fmla="*/ 72 h 84"/>
                  <a:gd name="T64" fmla="*/ 56 w 82"/>
                  <a:gd name="T65" fmla="*/ 70 h 84"/>
                  <a:gd name="T66" fmla="*/ 58 w 82"/>
                  <a:gd name="T67" fmla="*/ 70 h 84"/>
                  <a:gd name="T68" fmla="*/ 62 w 82"/>
                  <a:gd name="T69" fmla="*/ 72 h 84"/>
                  <a:gd name="T70" fmla="*/ 64 w 82"/>
                  <a:gd name="T71" fmla="*/ 74 h 84"/>
                  <a:gd name="T72" fmla="*/ 66 w 82"/>
                  <a:gd name="T73" fmla="*/ 78 h 84"/>
                  <a:gd name="T74" fmla="*/ 66 w 82"/>
                  <a:gd name="T75" fmla="*/ 84 h 84"/>
                  <a:gd name="T76" fmla="*/ 68 w 82"/>
                  <a:gd name="T77" fmla="*/ 84 h 84"/>
                  <a:gd name="T78" fmla="*/ 70 w 82"/>
                  <a:gd name="T79" fmla="*/ 84 h 84"/>
                  <a:gd name="T80" fmla="*/ 72 w 82"/>
                  <a:gd name="T81" fmla="*/ 82 h 84"/>
                  <a:gd name="T82" fmla="*/ 74 w 82"/>
                  <a:gd name="T83" fmla="*/ 74 h 84"/>
                  <a:gd name="T84" fmla="*/ 76 w 82"/>
                  <a:gd name="T85" fmla="*/ 66 h 84"/>
                  <a:gd name="T86" fmla="*/ 80 w 82"/>
                  <a:gd name="T87" fmla="*/ 58 h 84"/>
                  <a:gd name="T88" fmla="*/ 82 w 82"/>
                  <a:gd name="T89" fmla="*/ 52 h 84"/>
                  <a:gd name="T90" fmla="*/ 82 w 82"/>
                  <a:gd name="T91" fmla="*/ 44 h 84"/>
                  <a:gd name="T92" fmla="*/ 80 w 82"/>
                  <a:gd name="T93" fmla="*/ 34 h 84"/>
                  <a:gd name="T94" fmla="*/ 78 w 82"/>
                  <a:gd name="T95" fmla="*/ 32 h 84"/>
                  <a:gd name="T96" fmla="*/ 76 w 82"/>
                  <a:gd name="T97" fmla="*/ 28 h 84"/>
                  <a:gd name="T98" fmla="*/ 70 w 82"/>
                  <a:gd name="T99" fmla="*/ 28 h 84"/>
                  <a:gd name="T100" fmla="*/ 66 w 82"/>
                  <a:gd name="T101" fmla="*/ 26 h 84"/>
                  <a:gd name="T102" fmla="*/ 58 w 82"/>
                  <a:gd name="T103" fmla="*/ 28 h 84"/>
                  <a:gd name="T104" fmla="*/ 56 w 82"/>
                  <a:gd name="T105" fmla="*/ 26 h 84"/>
                  <a:gd name="T106" fmla="*/ 54 w 82"/>
                  <a:gd name="T107" fmla="*/ 24 h 84"/>
                  <a:gd name="T108" fmla="*/ 52 w 82"/>
                  <a:gd name="T109" fmla="*/ 18 h 84"/>
                  <a:gd name="T110" fmla="*/ 50 w 82"/>
                  <a:gd name="T111" fmla="*/ 12 h 84"/>
                  <a:gd name="T112" fmla="*/ 52 w 82"/>
                  <a:gd name="T113" fmla="*/ 8 h 84"/>
                  <a:gd name="T114" fmla="*/ 52 w 82"/>
                  <a:gd name="T115" fmla="*/ 4 h 84"/>
                  <a:gd name="T116" fmla="*/ 50 w 82"/>
                  <a:gd name="T117" fmla="*/ 4 h 84"/>
                  <a:gd name="T118" fmla="*/ 46 w 82"/>
                  <a:gd name="T119" fmla="*/ 2 h 84"/>
                  <a:gd name="T120" fmla="*/ 44 w 82"/>
                  <a:gd name="T121" fmla="*/ 2 h 84"/>
                  <a:gd name="T122" fmla="*/ 46 w 82"/>
                  <a:gd name="T123" fmla="*/ 0 h 84"/>
                  <a:gd name="T124" fmla="*/ 42 w 82"/>
                  <a:gd name="T12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84">
                    <a:moveTo>
                      <a:pt x="42" y="0"/>
                    </a:moveTo>
                    <a:lnTo>
                      <a:pt x="42" y="0"/>
                    </a:lnTo>
                    <a:lnTo>
                      <a:pt x="42" y="0"/>
                    </a:lnTo>
                    <a:lnTo>
                      <a:pt x="42" y="2"/>
                    </a:lnTo>
                    <a:lnTo>
                      <a:pt x="42" y="2"/>
                    </a:lnTo>
                    <a:lnTo>
                      <a:pt x="42" y="2"/>
                    </a:lnTo>
                    <a:lnTo>
                      <a:pt x="42" y="2"/>
                    </a:lnTo>
                    <a:lnTo>
                      <a:pt x="40" y="2"/>
                    </a:lnTo>
                    <a:lnTo>
                      <a:pt x="38" y="2"/>
                    </a:lnTo>
                    <a:lnTo>
                      <a:pt x="36" y="4"/>
                    </a:lnTo>
                    <a:lnTo>
                      <a:pt x="36" y="4"/>
                    </a:lnTo>
                    <a:lnTo>
                      <a:pt x="34" y="4"/>
                    </a:lnTo>
                    <a:lnTo>
                      <a:pt x="34" y="6"/>
                    </a:lnTo>
                    <a:lnTo>
                      <a:pt x="32" y="8"/>
                    </a:lnTo>
                    <a:lnTo>
                      <a:pt x="30" y="12"/>
                    </a:lnTo>
                    <a:lnTo>
                      <a:pt x="30" y="14"/>
                    </a:lnTo>
                    <a:lnTo>
                      <a:pt x="26" y="20"/>
                    </a:lnTo>
                    <a:lnTo>
                      <a:pt x="22" y="22"/>
                    </a:lnTo>
                    <a:lnTo>
                      <a:pt x="22" y="24"/>
                    </a:lnTo>
                    <a:lnTo>
                      <a:pt x="20" y="26"/>
                    </a:lnTo>
                    <a:lnTo>
                      <a:pt x="20" y="26"/>
                    </a:lnTo>
                    <a:lnTo>
                      <a:pt x="18" y="26"/>
                    </a:lnTo>
                    <a:lnTo>
                      <a:pt x="14" y="28"/>
                    </a:lnTo>
                    <a:lnTo>
                      <a:pt x="12" y="28"/>
                    </a:lnTo>
                    <a:lnTo>
                      <a:pt x="10" y="30"/>
                    </a:lnTo>
                    <a:lnTo>
                      <a:pt x="10" y="30"/>
                    </a:lnTo>
                    <a:lnTo>
                      <a:pt x="8" y="32"/>
                    </a:lnTo>
                    <a:lnTo>
                      <a:pt x="6" y="32"/>
                    </a:lnTo>
                    <a:lnTo>
                      <a:pt x="6" y="34"/>
                    </a:lnTo>
                    <a:lnTo>
                      <a:pt x="6" y="36"/>
                    </a:lnTo>
                    <a:lnTo>
                      <a:pt x="4" y="38"/>
                    </a:lnTo>
                    <a:lnTo>
                      <a:pt x="2" y="42"/>
                    </a:lnTo>
                    <a:lnTo>
                      <a:pt x="2" y="46"/>
                    </a:lnTo>
                    <a:lnTo>
                      <a:pt x="0" y="50"/>
                    </a:lnTo>
                    <a:lnTo>
                      <a:pt x="0" y="52"/>
                    </a:lnTo>
                    <a:lnTo>
                      <a:pt x="0" y="56"/>
                    </a:lnTo>
                    <a:lnTo>
                      <a:pt x="0" y="58"/>
                    </a:lnTo>
                    <a:lnTo>
                      <a:pt x="0" y="62"/>
                    </a:lnTo>
                    <a:lnTo>
                      <a:pt x="0" y="62"/>
                    </a:lnTo>
                    <a:lnTo>
                      <a:pt x="0" y="64"/>
                    </a:lnTo>
                    <a:lnTo>
                      <a:pt x="2" y="64"/>
                    </a:lnTo>
                    <a:lnTo>
                      <a:pt x="2" y="66"/>
                    </a:lnTo>
                    <a:lnTo>
                      <a:pt x="2" y="66"/>
                    </a:lnTo>
                    <a:lnTo>
                      <a:pt x="4" y="66"/>
                    </a:lnTo>
                    <a:lnTo>
                      <a:pt x="4" y="68"/>
                    </a:lnTo>
                    <a:lnTo>
                      <a:pt x="4" y="68"/>
                    </a:lnTo>
                    <a:lnTo>
                      <a:pt x="6" y="68"/>
                    </a:lnTo>
                    <a:lnTo>
                      <a:pt x="10" y="68"/>
                    </a:lnTo>
                    <a:lnTo>
                      <a:pt x="12" y="68"/>
                    </a:lnTo>
                    <a:lnTo>
                      <a:pt x="14" y="68"/>
                    </a:lnTo>
                    <a:lnTo>
                      <a:pt x="16" y="68"/>
                    </a:lnTo>
                    <a:lnTo>
                      <a:pt x="18" y="68"/>
                    </a:lnTo>
                    <a:lnTo>
                      <a:pt x="20" y="68"/>
                    </a:lnTo>
                    <a:lnTo>
                      <a:pt x="22" y="68"/>
                    </a:lnTo>
                    <a:lnTo>
                      <a:pt x="26" y="66"/>
                    </a:lnTo>
                    <a:lnTo>
                      <a:pt x="28" y="64"/>
                    </a:lnTo>
                    <a:lnTo>
                      <a:pt x="30" y="62"/>
                    </a:lnTo>
                    <a:lnTo>
                      <a:pt x="32" y="62"/>
                    </a:lnTo>
                    <a:lnTo>
                      <a:pt x="34" y="62"/>
                    </a:lnTo>
                    <a:lnTo>
                      <a:pt x="38" y="60"/>
                    </a:lnTo>
                    <a:lnTo>
                      <a:pt x="40" y="60"/>
                    </a:lnTo>
                    <a:lnTo>
                      <a:pt x="40" y="60"/>
                    </a:lnTo>
                    <a:lnTo>
                      <a:pt x="42" y="62"/>
                    </a:lnTo>
                    <a:lnTo>
                      <a:pt x="42" y="62"/>
                    </a:lnTo>
                    <a:lnTo>
                      <a:pt x="44" y="62"/>
                    </a:lnTo>
                    <a:lnTo>
                      <a:pt x="44" y="62"/>
                    </a:lnTo>
                    <a:lnTo>
                      <a:pt x="44" y="64"/>
                    </a:lnTo>
                    <a:lnTo>
                      <a:pt x="44" y="64"/>
                    </a:lnTo>
                    <a:lnTo>
                      <a:pt x="44" y="66"/>
                    </a:lnTo>
                    <a:lnTo>
                      <a:pt x="44" y="68"/>
                    </a:lnTo>
                    <a:lnTo>
                      <a:pt x="44" y="72"/>
                    </a:lnTo>
                    <a:lnTo>
                      <a:pt x="44" y="74"/>
                    </a:lnTo>
                    <a:lnTo>
                      <a:pt x="44" y="76"/>
                    </a:lnTo>
                    <a:lnTo>
                      <a:pt x="44" y="78"/>
                    </a:lnTo>
                    <a:lnTo>
                      <a:pt x="44" y="80"/>
                    </a:lnTo>
                    <a:lnTo>
                      <a:pt x="46" y="80"/>
                    </a:lnTo>
                    <a:lnTo>
                      <a:pt x="46" y="80"/>
                    </a:lnTo>
                    <a:lnTo>
                      <a:pt x="46" y="82"/>
                    </a:lnTo>
                    <a:lnTo>
                      <a:pt x="48" y="82"/>
                    </a:lnTo>
                    <a:lnTo>
                      <a:pt x="48" y="84"/>
                    </a:lnTo>
                    <a:lnTo>
                      <a:pt x="50" y="84"/>
                    </a:lnTo>
                    <a:lnTo>
                      <a:pt x="52" y="84"/>
                    </a:lnTo>
                    <a:lnTo>
                      <a:pt x="54" y="84"/>
                    </a:lnTo>
                    <a:lnTo>
                      <a:pt x="54" y="84"/>
                    </a:lnTo>
                    <a:lnTo>
                      <a:pt x="56" y="84"/>
                    </a:lnTo>
                    <a:lnTo>
                      <a:pt x="56" y="84"/>
                    </a:lnTo>
                    <a:lnTo>
                      <a:pt x="56" y="84"/>
                    </a:lnTo>
                    <a:lnTo>
                      <a:pt x="56" y="84"/>
                    </a:lnTo>
                    <a:lnTo>
                      <a:pt x="56" y="82"/>
                    </a:lnTo>
                    <a:lnTo>
                      <a:pt x="56" y="82"/>
                    </a:lnTo>
                    <a:lnTo>
                      <a:pt x="56" y="80"/>
                    </a:lnTo>
                    <a:lnTo>
                      <a:pt x="56" y="78"/>
                    </a:lnTo>
                    <a:lnTo>
                      <a:pt x="56" y="76"/>
                    </a:lnTo>
                    <a:lnTo>
                      <a:pt x="54" y="74"/>
                    </a:lnTo>
                    <a:lnTo>
                      <a:pt x="54" y="72"/>
                    </a:lnTo>
                    <a:lnTo>
                      <a:pt x="54" y="72"/>
                    </a:lnTo>
                    <a:lnTo>
                      <a:pt x="56" y="72"/>
                    </a:lnTo>
                    <a:lnTo>
                      <a:pt x="56" y="70"/>
                    </a:lnTo>
                    <a:lnTo>
                      <a:pt x="56" y="70"/>
                    </a:lnTo>
                    <a:lnTo>
                      <a:pt x="56" y="70"/>
                    </a:lnTo>
                    <a:lnTo>
                      <a:pt x="58" y="70"/>
                    </a:lnTo>
                    <a:lnTo>
                      <a:pt x="58" y="70"/>
                    </a:lnTo>
                    <a:lnTo>
                      <a:pt x="60" y="70"/>
                    </a:lnTo>
                    <a:lnTo>
                      <a:pt x="62" y="72"/>
                    </a:lnTo>
                    <a:lnTo>
                      <a:pt x="62" y="72"/>
                    </a:lnTo>
                    <a:lnTo>
                      <a:pt x="64" y="72"/>
                    </a:lnTo>
                    <a:lnTo>
                      <a:pt x="64" y="74"/>
                    </a:lnTo>
                    <a:lnTo>
                      <a:pt x="64" y="74"/>
                    </a:lnTo>
                    <a:lnTo>
                      <a:pt x="66" y="74"/>
                    </a:lnTo>
                    <a:lnTo>
                      <a:pt x="66" y="76"/>
                    </a:lnTo>
                    <a:lnTo>
                      <a:pt x="66" y="78"/>
                    </a:lnTo>
                    <a:lnTo>
                      <a:pt x="66" y="80"/>
                    </a:lnTo>
                    <a:lnTo>
                      <a:pt x="66" y="82"/>
                    </a:lnTo>
                    <a:lnTo>
                      <a:pt x="66" y="84"/>
                    </a:lnTo>
                    <a:lnTo>
                      <a:pt x="66" y="84"/>
                    </a:lnTo>
                    <a:lnTo>
                      <a:pt x="68" y="84"/>
                    </a:lnTo>
                    <a:lnTo>
                      <a:pt x="68" y="84"/>
                    </a:lnTo>
                    <a:lnTo>
                      <a:pt x="68" y="84"/>
                    </a:lnTo>
                    <a:lnTo>
                      <a:pt x="70" y="84"/>
                    </a:lnTo>
                    <a:lnTo>
                      <a:pt x="70" y="84"/>
                    </a:lnTo>
                    <a:lnTo>
                      <a:pt x="70" y="84"/>
                    </a:lnTo>
                    <a:lnTo>
                      <a:pt x="72" y="82"/>
                    </a:lnTo>
                    <a:lnTo>
                      <a:pt x="72" y="82"/>
                    </a:lnTo>
                    <a:lnTo>
                      <a:pt x="72" y="80"/>
                    </a:lnTo>
                    <a:lnTo>
                      <a:pt x="74" y="78"/>
                    </a:lnTo>
                    <a:lnTo>
                      <a:pt x="74" y="74"/>
                    </a:lnTo>
                    <a:lnTo>
                      <a:pt x="74" y="72"/>
                    </a:lnTo>
                    <a:lnTo>
                      <a:pt x="76" y="70"/>
                    </a:lnTo>
                    <a:lnTo>
                      <a:pt x="76" y="66"/>
                    </a:lnTo>
                    <a:lnTo>
                      <a:pt x="78" y="64"/>
                    </a:lnTo>
                    <a:lnTo>
                      <a:pt x="80" y="60"/>
                    </a:lnTo>
                    <a:lnTo>
                      <a:pt x="80" y="58"/>
                    </a:lnTo>
                    <a:lnTo>
                      <a:pt x="82" y="56"/>
                    </a:lnTo>
                    <a:lnTo>
                      <a:pt x="82" y="54"/>
                    </a:lnTo>
                    <a:lnTo>
                      <a:pt x="82" y="52"/>
                    </a:lnTo>
                    <a:lnTo>
                      <a:pt x="82" y="50"/>
                    </a:lnTo>
                    <a:lnTo>
                      <a:pt x="82" y="46"/>
                    </a:lnTo>
                    <a:lnTo>
                      <a:pt x="82" y="44"/>
                    </a:lnTo>
                    <a:lnTo>
                      <a:pt x="82" y="40"/>
                    </a:lnTo>
                    <a:lnTo>
                      <a:pt x="82" y="38"/>
                    </a:lnTo>
                    <a:lnTo>
                      <a:pt x="80" y="34"/>
                    </a:lnTo>
                    <a:lnTo>
                      <a:pt x="80" y="34"/>
                    </a:lnTo>
                    <a:lnTo>
                      <a:pt x="80" y="32"/>
                    </a:lnTo>
                    <a:lnTo>
                      <a:pt x="78" y="32"/>
                    </a:lnTo>
                    <a:lnTo>
                      <a:pt x="78" y="30"/>
                    </a:lnTo>
                    <a:lnTo>
                      <a:pt x="78" y="30"/>
                    </a:lnTo>
                    <a:lnTo>
                      <a:pt x="76" y="28"/>
                    </a:lnTo>
                    <a:lnTo>
                      <a:pt x="74" y="28"/>
                    </a:lnTo>
                    <a:lnTo>
                      <a:pt x="74" y="28"/>
                    </a:lnTo>
                    <a:lnTo>
                      <a:pt x="70" y="28"/>
                    </a:lnTo>
                    <a:lnTo>
                      <a:pt x="68" y="26"/>
                    </a:lnTo>
                    <a:lnTo>
                      <a:pt x="66" y="26"/>
                    </a:lnTo>
                    <a:lnTo>
                      <a:pt x="66" y="26"/>
                    </a:lnTo>
                    <a:lnTo>
                      <a:pt x="62" y="26"/>
                    </a:lnTo>
                    <a:lnTo>
                      <a:pt x="60" y="28"/>
                    </a:lnTo>
                    <a:lnTo>
                      <a:pt x="58" y="28"/>
                    </a:lnTo>
                    <a:lnTo>
                      <a:pt x="56" y="26"/>
                    </a:lnTo>
                    <a:lnTo>
                      <a:pt x="56" y="26"/>
                    </a:lnTo>
                    <a:lnTo>
                      <a:pt x="56" y="26"/>
                    </a:lnTo>
                    <a:lnTo>
                      <a:pt x="54" y="26"/>
                    </a:lnTo>
                    <a:lnTo>
                      <a:pt x="54" y="26"/>
                    </a:lnTo>
                    <a:lnTo>
                      <a:pt x="54" y="24"/>
                    </a:lnTo>
                    <a:lnTo>
                      <a:pt x="52" y="22"/>
                    </a:lnTo>
                    <a:lnTo>
                      <a:pt x="52" y="20"/>
                    </a:lnTo>
                    <a:lnTo>
                      <a:pt x="52" y="18"/>
                    </a:lnTo>
                    <a:lnTo>
                      <a:pt x="52" y="16"/>
                    </a:lnTo>
                    <a:lnTo>
                      <a:pt x="50" y="14"/>
                    </a:lnTo>
                    <a:lnTo>
                      <a:pt x="50" y="12"/>
                    </a:lnTo>
                    <a:lnTo>
                      <a:pt x="50" y="12"/>
                    </a:lnTo>
                    <a:lnTo>
                      <a:pt x="52" y="10"/>
                    </a:lnTo>
                    <a:lnTo>
                      <a:pt x="52" y="8"/>
                    </a:lnTo>
                    <a:lnTo>
                      <a:pt x="52" y="6"/>
                    </a:lnTo>
                    <a:lnTo>
                      <a:pt x="52" y="6"/>
                    </a:lnTo>
                    <a:lnTo>
                      <a:pt x="52" y="4"/>
                    </a:lnTo>
                    <a:lnTo>
                      <a:pt x="52" y="4"/>
                    </a:lnTo>
                    <a:lnTo>
                      <a:pt x="52" y="4"/>
                    </a:lnTo>
                    <a:lnTo>
                      <a:pt x="50" y="4"/>
                    </a:lnTo>
                    <a:lnTo>
                      <a:pt x="48" y="4"/>
                    </a:lnTo>
                    <a:lnTo>
                      <a:pt x="48" y="2"/>
                    </a:lnTo>
                    <a:lnTo>
                      <a:pt x="46" y="2"/>
                    </a:lnTo>
                    <a:lnTo>
                      <a:pt x="46" y="2"/>
                    </a:lnTo>
                    <a:lnTo>
                      <a:pt x="44" y="2"/>
                    </a:lnTo>
                    <a:lnTo>
                      <a:pt x="44" y="2"/>
                    </a:lnTo>
                    <a:lnTo>
                      <a:pt x="44" y="2"/>
                    </a:lnTo>
                    <a:lnTo>
                      <a:pt x="46" y="0"/>
                    </a:lnTo>
                    <a:lnTo>
                      <a:pt x="46" y="0"/>
                    </a:lnTo>
                    <a:lnTo>
                      <a:pt x="44" y="0"/>
                    </a:lnTo>
                    <a:lnTo>
                      <a:pt x="44" y="0"/>
                    </a:lnTo>
                    <a:lnTo>
                      <a:pt x="42" y="0"/>
                    </a:lnTo>
                    <a:lnTo>
                      <a:pt x="42" y="0"/>
                    </a:lnTo>
                    <a:lnTo>
                      <a:pt x="4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74" name="Freeform 534"/>
              <p:cNvSpPr>
                <a:spLocks/>
              </p:cNvSpPr>
              <p:nvPr/>
            </p:nvSpPr>
            <p:spPr bwMode="auto">
              <a:xfrm>
                <a:off x="3154653" y="3473617"/>
                <a:ext cx="22225" cy="38100"/>
              </a:xfrm>
              <a:custGeom>
                <a:avLst/>
                <a:gdLst>
                  <a:gd name="T0" fmla="*/ 14 w 14"/>
                  <a:gd name="T1" fmla="*/ 0 h 24"/>
                  <a:gd name="T2" fmla="*/ 14 w 14"/>
                  <a:gd name="T3" fmla="*/ 0 h 24"/>
                  <a:gd name="T4" fmla="*/ 14 w 14"/>
                  <a:gd name="T5" fmla="*/ 2 h 24"/>
                  <a:gd name="T6" fmla="*/ 14 w 14"/>
                  <a:gd name="T7" fmla="*/ 2 h 24"/>
                  <a:gd name="T8" fmla="*/ 14 w 14"/>
                  <a:gd name="T9" fmla="*/ 2 h 24"/>
                  <a:gd name="T10" fmla="*/ 14 w 14"/>
                  <a:gd name="T11" fmla="*/ 2 h 24"/>
                  <a:gd name="T12" fmla="*/ 14 w 14"/>
                  <a:gd name="T13" fmla="*/ 4 h 24"/>
                  <a:gd name="T14" fmla="*/ 14 w 14"/>
                  <a:gd name="T15" fmla="*/ 6 h 24"/>
                  <a:gd name="T16" fmla="*/ 14 w 14"/>
                  <a:gd name="T17" fmla="*/ 8 h 24"/>
                  <a:gd name="T18" fmla="*/ 12 w 14"/>
                  <a:gd name="T19" fmla="*/ 10 h 24"/>
                  <a:gd name="T20" fmla="*/ 12 w 14"/>
                  <a:gd name="T21" fmla="*/ 10 h 24"/>
                  <a:gd name="T22" fmla="*/ 12 w 14"/>
                  <a:gd name="T23" fmla="*/ 14 h 24"/>
                  <a:gd name="T24" fmla="*/ 12 w 14"/>
                  <a:gd name="T25" fmla="*/ 16 h 24"/>
                  <a:gd name="T26" fmla="*/ 12 w 14"/>
                  <a:gd name="T27" fmla="*/ 18 h 24"/>
                  <a:gd name="T28" fmla="*/ 12 w 14"/>
                  <a:gd name="T29" fmla="*/ 18 h 24"/>
                  <a:gd name="T30" fmla="*/ 12 w 14"/>
                  <a:gd name="T31" fmla="*/ 20 h 24"/>
                  <a:gd name="T32" fmla="*/ 12 w 14"/>
                  <a:gd name="T33" fmla="*/ 20 h 24"/>
                  <a:gd name="T34" fmla="*/ 10 w 14"/>
                  <a:gd name="T35" fmla="*/ 22 h 24"/>
                  <a:gd name="T36" fmla="*/ 10 w 14"/>
                  <a:gd name="T37" fmla="*/ 22 h 24"/>
                  <a:gd name="T38" fmla="*/ 8 w 14"/>
                  <a:gd name="T39" fmla="*/ 22 h 24"/>
                  <a:gd name="T40" fmla="*/ 6 w 14"/>
                  <a:gd name="T41" fmla="*/ 24 h 24"/>
                  <a:gd name="T42" fmla="*/ 4 w 14"/>
                  <a:gd name="T43" fmla="*/ 24 h 24"/>
                  <a:gd name="T44" fmla="*/ 2 w 14"/>
                  <a:gd name="T45" fmla="*/ 24 h 24"/>
                  <a:gd name="T46" fmla="*/ 2 w 14"/>
                  <a:gd name="T47" fmla="*/ 24 h 24"/>
                  <a:gd name="T48" fmla="*/ 2 w 14"/>
                  <a:gd name="T49" fmla="*/ 24 h 24"/>
                  <a:gd name="T50" fmla="*/ 2 w 14"/>
                  <a:gd name="T51" fmla="*/ 24 h 24"/>
                  <a:gd name="T52" fmla="*/ 2 w 14"/>
                  <a:gd name="T53" fmla="*/ 22 h 24"/>
                  <a:gd name="T54" fmla="*/ 0 w 14"/>
                  <a:gd name="T55" fmla="*/ 22 h 24"/>
                  <a:gd name="T56" fmla="*/ 0 w 14"/>
                  <a:gd name="T57" fmla="*/ 22 h 24"/>
                  <a:gd name="T58" fmla="*/ 0 w 14"/>
                  <a:gd name="T59" fmla="*/ 20 h 24"/>
                  <a:gd name="T60" fmla="*/ 0 w 14"/>
                  <a:gd name="T61" fmla="*/ 18 h 24"/>
                  <a:gd name="T62" fmla="*/ 0 w 14"/>
                  <a:gd name="T63" fmla="*/ 18 h 24"/>
                  <a:gd name="T64" fmla="*/ 0 w 14"/>
                  <a:gd name="T65" fmla="*/ 16 h 24"/>
                  <a:gd name="T66" fmla="*/ 2 w 14"/>
                  <a:gd name="T67" fmla="*/ 14 h 24"/>
                  <a:gd name="T68" fmla="*/ 2 w 14"/>
                  <a:gd name="T69" fmla="*/ 12 h 24"/>
                  <a:gd name="T70" fmla="*/ 4 w 14"/>
                  <a:gd name="T71" fmla="*/ 10 h 24"/>
                  <a:gd name="T72" fmla="*/ 4 w 14"/>
                  <a:gd name="T73" fmla="*/ 8 h 24"/>
                  <a:gd name="T74" fmla="*/ 6 w 14"/>
                  <a:gd name="T75" fmla="*/ 6 h 24"/>
                  <a:gd name="T76" fmla="*/ 8 w 14"/>
                  <a:gd name="T77" fmla="*/ 4 h 24"/>
                  <a:gd name="T78" fmla="*/ 8 w 14"/>
                  <a:gd name="T79" fmla="*/ 2 h 24"/>
                  <a:gd name="T80" fmla="*/ 10 w 14"/>
                  <a:gd name="T81" fmla="*/ 2 h 24"/>
                  <a:gd name="T82" fmla="*/ 12 w 14"/>
                  <a:gd name="T83" fmla="*/ 2 h 24"/>
                  <a:gd name="T84" fmla="*/ 12 w 14"/>
                  <a:gd name="T85" fmla="*/ 0 h 24"/>
                  <a:gd name="T86" fmla="*/ 12 w 14"/>
                  <a:gd name="T87" fmla="*/ 0 h 24"/>
                  <a:gd name="T88" fmla="*/ 14 w 14"/>
                  <a:gd name="T89" fmla="*/ 0 h 24"/>
                  <a:gd name="T90" fmla="*/ 14 w 14"/>
                  <a:gd name="T9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4">
                    <a:moveTo>
                      <a:pt x="14" y="0"/>
                    </a:moveTo>
                    <a:lnTo>
                      <a:pt x="14" y="0"/>
                    </a:lnTo>
                    <a:lnTo>
                      <a:pt x="14" y="2"/>
                    </a:lnTo>
                    <a:lnTo>
                      <a:pt x="14" y="2"/>
                    </a:lnTo>
                    <a:lnTo>
                      <a:pt x="14" y="2"/>
                    </a:lnTo>
                    <a:lnTo>
                      <a:pt x="14" y="2"/>
                    </a:lnTo>
                    <a:lnTo>
                      <a:pt x="14" y="4"/>
                    </a:lnTo>
                    <a:lnTo>
                      <a:pt x="14" y="6"/>
                    </a:lnTo>
                    <a:lnTo>
                      <a:pt x="14" y="8"/>
                    </a:lnTo>
                    <a:lnTo>
                      <a:pt x="12" y="10"/>
                    </a:lnTo>
                    <a:lnTo>
                      <a:pt x="12" y="10"/>
                    </a:lnTo>
                    <a:lnTo>
                      <a:pt x="12" y="14"/>
                    </a:lnTo>
                    <a:lnTo>
                      <a:pt x="12" y="16"/>
                    </a:lnTo>
                    <a:lnTo>
                      <a:pt x="12" y="18"/>
                    </a:lnTo>
                    <a:lnTo>
                      <a:pt x="12" y="18"/>
                    </a:lnTo>
                    <a:lnTo>
                      <a:pt x="12" y="20"/>
                    </a:lnTo>
                    <a:lnTo>
                      <a:pt x="12" y="20"/>
                    </a:lnTo>
                    <a:lnTo>
                      <a:pt x="10" y="22"/>
                    </a:lnTo>
                    <a:lnTo>
                      <a:pt x="10" y="22"/>
                    </a:lnTo>
                    <a:lnTo>
                      <a:pt x="8" y="22"/>
                    </a:lnTo>
                    <a:lnTo>
                      <a:pt x="6" y="24"/>
                    </a:lnTo>
                    <a:lnTo>
                      <a:pt x="4" y="24"/>
                    </a:lnTo>
                    <a:lnTo>
                      <a:pt x="2" y="24"/>
                    </a:lnTo>
                    <a:lnTo>
                      <a:pt x="2" y="24"/>
                    </a:lnTo>
                    <a:lnTo>
                      <a:pt x="2" y="24"/>
                    </a:lnTo>
                    <a:lnTo>
                      <a:pt x="2" y="24"/>
                    </a:lnTo>
                    <a:lnTo>
                      <a:pt x="2" y="22"/>
                    </a:lnTo>
                    <a:lnTo>
                      <a:pt x="0" y="22"/>
                    </a:lnTo>
                    <a:lnTo>
                      <a:pt x="0" y="22"/>
                    </a:lnTo>
                    <a:lnTo>
                      <a:pt x="0" y="20"/>
                    </a:lnTo>
                    <a:lnTo>
                      <a:pt x="0" y="18"/>
                    </a:lnTo>
                    <a:lnTo>
                      <a:pt x="0" y="18"/>
                    </a:lnTo>
                    <a:lnTo>
                      <a:pt x="0" y="16"/>
                    </a:lnTo>
                    <a:lnTo>
                      <a:pt x="2" y="14"/>
                    </a:lnTo>
                    <a:lnTo>
                      <a:pt x="2" y="12"/>
                    </a:lnTo>
                    <a:lnTo>
                      <a:pt x="4" y="10"/>
                    </a:lnTo>
                    <a:lnTo>
                      <a:pt x="4" y="8"/>
                    </a:lnTo>
                    <a:lnTo>
                      <a:pt x="6" y="6"/>
                    </a:lnTo>
                    <a:lnTo>
                      <a:pt x="8" y="4"/>
                    </a:lnTo>
                    <a:lnTo>
                      <a:pt x="8" y="2"/>
                    </a:lnTo>
                    <a:lnTo>
                      <a:pt x="10" y="2"/>
                    </a:lnTo>
                    <a:lnTo>
                      <a:pt x="12" y="2"/>
                    </a:lnTo>
                    <a:lnTo>
                      <a:pt x="12" y="0"/>
                    </a:lnTo>
                    <a:lnTo>
                      <a:pt x="12" y="0"/>
                    </a:lnTo>
                    <a:lnTo>
                      <a:pt x="14" y="0"/>
                    </a:lnTo>
                    <a:lnTo>
                      <a:pt x="1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75" name="Freeform 536"/>
              <p:cNvSpPr>
                <a:spLocks/>
              </p:cNvSpPr>
              <p:nvPr/>
            </p:nvSpPr>
            <p:spPr bwMode="auto">
              <a:xfrm>
                <a:off x="1827503" y="2489367"/>
                <a:ext cx="222250" cy="155575"/>
              </a:xfrm>
              <a:custGeom>
                <a:avLst/>
                <a:gdLst>
                  <a:gd name="T0" fmla="*/ 44 w 140"/>
                  <a:gd name="T1" fmla="*/ 6 h 98"/>
                  <a:gd name="T2" fmla="*/ 40 w 140"/>
                  <a:gd name="T3" fmla="*/ 8 h 98"/>
                  <a:gd name="T4" fmla="*/ 36 w 140"/>
                  <a:gd name="T5" fmla="*/ 14 h 98"/>
                  <a:gd name="T6" fmla="*/ 32 w 140"/>
                  <a:gd name="T7" fmla="*/ 22 h 98"/>
                  <a:gd name="T8" fmla="*/ 28 w 140"/>
                  <a:gd name="T9" fmla="*/ 32 h 98"/>
                  <a:gd name="T10" fmla="*/ 22 w 140"/>
                  <a:gd name="T11" fmla="*/ 42 h 98"/>
                  <a:gd name="T12" fmla="*/ 16 w 140"/>
                  <a:gd name="T13" fmla="*/ 50 h 98"/>
                  <a:gd name="T14" fmla="*/ 12 w 140"/>
                  <a:gd name="T15" fmla="*/ 56 h 98"/>
                  <a:gd name="T16" fmla="*/ 2 w 140"/>
                  <a:gd name="T17" fmla="*/ 64 h 98"/>
                  <a:gd name="T18" fmla="*/ 0 w 140"/>
                  <a:gd name="T19" fmla="*/ 68 h 98"/>
                  <a:gd name="T20" fmla="*/ 0 w 140"/>
                  <a:gd name="T21" fmla="*/ 72 h 98"/>
                  <a:gd name="T22" fmla="*/ 0 w 140"/>
                  <a:gd name="T23" fmla="*/ 74 h 98"/>
                  <a:gd name="T24" fmla="*/ 6 w 140"/>
                  <a:gd name="T25" fmla="*/ 80 h 98"/>
                  <a:gd name="T26" fmla="*/ 16 w 140"/>
                  <a:gd name="T27" fmla="*/ 88 h 98"/>
                  <a:gd name="T28" fmla="*/ 24 w 140"/>
                  <a:gd name="T29" fmla="*/ 94 h 98"/>
                  <a:gd name="T30" fmla="*/ 30 w 140"/>
                  <a:gd name="T31" fmla="*/ 98 h 98"/>
                  <a:gd name="T32" fmla="*/ 34 w 140"/>
                  <a:gd name="T33" fmla="*/ 98 h 98"/>
                  <a:gd name="T34" fmla="*/ 42 w 140"/>
                  <a:gd name="T35" fmla="*/ 96 h 98"/>
                  <a:gd name="T36" fmla="*/ 52 w 140"/>
                  <a:gd name="T37" fmla="*/ 90 h 98"/>
                  <a:gd name="T38" fmla="*/ 66 w 140"/>
                  <a:gd name="T39" fmla="*/ 80 h 98"/>
                  <a:gd name="T40" fmla="*/ 74 w 140"/>
                  <a:gd name="T41" fmla="*/ 76 h 98"/>
                  <a:gd name="T42" fmla="*/ 88 w 140"/>
                  <a:gd name="T43" fmla="*/ 66 h 98"/>
                  <a:gd name="T44" fmla="*/ 94 w 140"/>
                  <a:gd name="T45" fmla="*/ 64 h 98"/>
                  <a:gd name="T46" fmla="*/ 106 w 140"/>
                  <a:gd name="T47" fmla="*/ 62 h 98"/>
                  <a:gd name="T48" fmla="*/ 118 w 140"/>
                  <a:gd name="T49" fmla="*/ 60 h 98"/>
                  <a:gd name="T50" fmla="*/ 126 w 140"/>
                  <a:gd name="T51" fmla="*/ 56 h 98"/>
                  <a:gd name="T52" fmla="*/ 136 w 140"/>
                  <a:gd name="T53" fmla="*/ 50 h 98"/>
                  <a:gd name="T54" fmla="*/ 140 w 140"/>
                  <a:gd name="T55" fmla="*/ 46 h 98"/>
                  <a:gd name="T56" fmla="*/ 140 w 140"/>
                  <a:gd name="T57" fmla="*/ 44 h 98"/>
                  <a:gd name="T58" fmla="*/ 140 w 140"/>
                  <a:gd name="T59" fmla="*/ 40 h 98"/>
                  <a:gd name="T60" fmla="*/ 136 w 140"/>
                  <a:gd name="T61" fmla="*/ 36 h 98"/>
                  <a:gd name="T62" fmla="*/ 132 w 140"/>
                  <a:gd name="T63" fmla="*/ 30 h 98"/>
                  <a:gd name="T64" fmla="*/ 118 w 140"/>
                  <a:gd name="T65" fmla="*/ 22 h 98"/>
                  <a:gd name="T66" fmla="*/ 112 w 140"/>
                  <a:gd name="T67" fmla="*/ 20 h 98"/>
                  <a:gd name="T68" fmla="*/ 104 w 140"/>
                  <a:gd name="T69" fmla="*/ 18 h 98"/>
                  <a:gd name="T70" fmla="*/ 90 w 140"/>
                  <a:gd name="T71" fmla="*/ 16 h 98"/>
                  <a:gd name="T72" fmla="*/ 84 w 140"/>
                  <a:gd name="T73" fmla="*/ 14 h 98"/>
                  <a:gd name="T74" fmla="*/ 82 w 140"/>
                  <a:gd name="T75" fmla="*/ 12 h 98"/>
                  <a:gd name="T76" fmla="*/ 74 w 140"/>
                  <a:gd name="T77" fmla="*/ 4 h 98"/>
                  <a:gd name="T78" fmla="*/ 72 w 140"/>
                  <a:gd name="T79" fmla="*/ 2 h 98"/>
                  <a:gd name="T80" fmla="*/ 68 w 140"/>
                  <a:gd name="T81" fmla="*/ 2 h 98"/>
                  <a:gd name="T82" fmla="*/ 66 w 140"/>
                  <a:gd name="T83" fmla="*/ 4 h 98"/>
                  <a:gd name="T84" fmla="*/ 62 w 140"/>
                  <a:gd name="T85" fmla="*/ 8 h 98"/>
                  <a:gd name="T86" fmla="*/ 58 w 140"/>
                  <a:gd name="T87" fmla="*/ 14 h 98"/>
                  <a:gd name="T88" fmla="*/ 56 w 140"/>
                  <a:gd name="T89" fmla="*/ 16 h 98"/>
                  <a:gd name="T90" fmla="*/ 54 w 140"/>
                  <a:gd name="T91" fmla="*/ 16 h 98"/>
                  <a:gd name="T92" fmla="*/ 50 w 140"/>
                  <a:gd name="T93" fmla="*/ 12 h 98"/>
                  <a:gd name="T94" fmla="*/ 48 w 140"/>
                  <a:gd name="T95" fmla="*/ 8 h 98"/>
                  <a:gd name="T96" fmla="*/ 46 w 140"/>
                  <a:gd name="T97" fmla="*/ 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0" h="98">
                    <a:moveTo>
                      <a:pt x="44" y="6"/>
                    </a:moveTo>
                    <a:lnTo>
                      <a:pt x="44" y="6"/>
                    </a:lnTo>
                    <a:lnTo>
                      <a:pt x="44" y="6"/>
                    </a:lnTo>
                    <a:lnTo>
                      <a:pt x="44" y="6"/>
                    </a:lnTo>
                    <a:lnTo>
                      <a:pt x="42" y="8"/>
                    </a:lnTo>
                    <a:lnTo>
                      <a:pt x="40" y="8"/>
                    </a:lnTo>
                    <a:lnTo>
                      <a:pt x="40" y="10"/>
                    </a:lnTo>
                    <a:lnTo>
                      <a:pt x="38" y="12"/>
                    </a:lnTo>
                    <a:lnTo>
                      <a:pt x="36" y="14"/>
                    </a:lnTo>
                    <a:lnTo>
                      <a:pt x="36" y="16"/>
                    </a:lnTo>
                    <a:lnTo>
                      <a:pt x="34" y="18"/>
                    </a:lnTo>
                    <a:lnTo>
                      <a:pt x="32" y="22"/>
                    </a:lnTo>
                    <a:lnTo>
                      <a:pt x="30" y="26"/>
                    </a:lnTo>
                    <a:lnTo>
                      <a:pt x="28" y="30"/>
                    </a:lnTo>
                    <a:lnTo>
                      <a:pt x="28" y="32"/>
                    </a:lnTo>
                    <a:lnTo>
                      <a:pt x="28" y="34"/>
                    </a:lnTo>
                    <a:lnTo>
                      <a:pt x="24" y="38"/>
                    </a:lnTo>
                    <a:lnTo>
                      <a:pt x="22" y="42"/>
                    </a:lnTo>
                    <a:lnTo>
                      <a:pt x="20" y="46"/>
                    </a:lnTo>
                    <a:lnTo>
                      <a:pt x="18" y="48"/>
                    </a:lnTo>
                    <a:lnTo>
                      <a:pt x="16" y="50"/>
                    </a:lnTo>
                    <a:lnTo>
                      <a:pt x="16" y="52"/>
                    </a:lnTo>
                    <a:lnTo>
                      <a:pt x="16" y="52"/>
                    </a:lnTo>
                    <a:lnTo>
                      <a:pt x="12" y="56"/>
                    </a:lnTo>
                    <a:lnTo>
                      <a:pt x="6" y="60"/>
                    </a:lnTo>
                    <a:lnTo>
                      <a:pt x="4" y="62"/>
                    </a:lnTo>
                    <a:lnTo>
                      <a:pt x="2" y="64"/>
                    </a:lnTo>
                    <a:lnTo>
                      <a:pt x="2" y="66"/>
                    </a:lnTo>
                    <a:lnTo>
                      <a:pt x="0" y="66"/>
                    </a:lnTo>
                    <a:lnTo>
                      <a:pt x="0" y="68"/>
                    </a:lnTo>
                    <a:lnTo>
                      <a:pt x="0" y="70"/>
                    </a:lnTo>
                    <a:lnTo>
                      <a:pt x="0" y="70"/>
                    </a:lnTo>
                    <a:lnTo>
                      <a:pt x="0" y="72"/>
                    </a:lnTo>
                    <a:lnTo>
                      <a:pt x="0" y="72"/>
                    </a:lnTo>
                    <a:lnTo>
                      <a:pt x="0" y="74"/>
                    </a:lnTo>
                    <a:lnTo>
                      <a:pt x="0" y="74"/>
                    </a:lnTo>
                    <a:lnTo>
                      <a:pt x="2" y="76"/>
                    </a:lnTo>
                    <a:lnTo>
                      <a:pt x="4" y="78"/>
                    </a:lnTo>
                    <a:lnTo>
                      <a:pt x="6" y="80"/>
                    </a:lnTo>
                    <a:lnTo>
                      <a:pt x="8" y="82"/>
                    </a:lnTo>
                    <a:lnTo>
                      <a:pt x="12" y="86"/>
                    </a:lnTo>
                    <a:lnTo>
                      <a:pt x="16" y="88"/>
                    </a:lnTo>
                    <a:lnTo>
                      <a:pt x="18" y="92"/>
                    </a:lnTo>
                    <a:lnTo>
                      <a:pt x="22" y="94"/>
                    </a:lnTo>
                    <a:lnTo>
                      <a:pt x="24" y="94"/>
                    </a:lnTo>
                    <a:lnTo>
                      <a:pt x="28" y="96"/>
                    </a:lnTo>
                    <a:lnTo>
                      <a:pt x="28" y="98"/>
                    </a:lnTo>
                    <a:lnTo>
                      <a:pt x="30" y="98"/>
                    </a:lnTo>
                    <a:lnTo>
                      <a:pt x="30" y="98"/>
                    </a:lnTo>
                    <a:lnTo>
                      <a:pt x="32" y="98"/>
                    </a:lnTo>
                    <a:lnTo>
                      <a:pt x="34" y="98"/>
                    </a:lnTo>
                    <a:lnTo>
                      <a:pt x="36" y="98"/>
                    </a:lnTo>
                    <a:lnTo>
                      <a:pt x="38" y="96"/>
                    </a:lnTo>
                    <a:lnTo>
                      <a:pt x="42" y="96"/>
                    </a:lnTo>
                    <a:lnTo>
                      <a:pt x="44" y="94"/>
                    </a:lnTo>
                    <a:lnTo>
                      <a:pt x="46" y="94"/>
                    </a:lnTo>
                    <a:lnTo>
                      <a:pt x="52" y="90"/>
                    </a:lnTo>
                    <a:lnTo>
                      <a:pt x="56" y="86"/>
                    </a:lnTo>
                    <a:lnTo>
                      <a:pt x="62" y="84"/>
                    </a:lnTo>
                    <a:lnTo>
                      <a:pt x="66" y="80"/>
                    </a:lnTo>
                    <a:lnTo>
                      <a:pt x="70" y="78"/>
                    </a:lnTo>
                    <a:lnTo>
                      <a:pt x="72" y="76"/>
                    </a:lnTo>
                    <a:lnTo>
                      <a:pt x="74" y="76"/>
                    </a:lnTo>
                    <a:lnTo>
                      <a:pt x="80" y="72"/>
                    </a:lnTo>
                    <a:lnTo>
                      <a:pt x="86" y="68"/>
                    </a:lnTo>
                    <a:lnTo>
                      <a:pt x="88" y="66"/>
                    </a:lnTo>
                    <a:lnTo>
                      <a:pt x="90" y="66"/>
                    </a:lnTo>
                    <a:lnTo>
                      <a:pt x="92" y="66"/>
                    </a:lnTo>
                    <a:lnTo>
                      <a:pt x="94" y="64"/>
                    </a:lnTo>
                    <a:lnTo>
                      <a:pt x="98" y="64"/>
                    </a:lnTo>
                    <a:lnTo>
                      <a:pt x="102" y="62"/>
                    </a:lnTo>
                    <a:lnTo>
                      <a:pt x="106" y="62"/>
                    </a:lnTo>
                    <a:lnTo>
                      <a:pt x="110" y="62"/>
                    </a:lnTo>
                    <a:lnTo>
                      <a:pt x="114" y="60"/>
                    </a:lnTo>
                    <a:lnTo>
                      <a:pt x="118" y="60"/>
                    </a:lnTo>
                    <a:lnTo>
                      <a:pt x="120" y="58"/>
                    </a:lnTo>
                    <a:lnTo>
                      <a:pt x="120" y="58"/>
                    </a:lnTo>
                    <a:lnTo>
                      <a:pt x="126" y="56"/>
                    </a:lnTo>
                    <a:lnTo>
                      <a:pt x="130" y="54"/>
                    </a:lnTo>
                    <a:lnTo>
                      <a:pt x="132" y="52"/>
                    </a:lnTo>
                    <a:lnTo>
                      <a:pt x="136" y="50"/>
                    </a:lnTo>
                    <a:lnTo>
                      <a:pt x="138" y="48"/>
                    </a:lnTo>
                    <a:lnTo>
                      <a:pt x="138" y="48"/>
                    </a:lnTo>
                    <a:lnTo>
                      <a:pt x="140" y="46"/>
                    </a:lnTo>
                    <a:lnTo>
                      <a:pt x="140" y="46"/>
                    </a:lnTo>
                    <a:lnTo>
                      <a:pt x="140" y="44"/>
                    </a:lnTo>
                    <a:lnTo>
                      <a:pt x="140" y="44"/>
                    </a:lnTo>
                    <a:lnTo>
                      <a:pt x="140" y="42"/>
                    </a:lnTo>
                    <a:lnTo>
                      <a:pt x="140" y="42"/>
                    </a:lnTo>
                    <a:lnTo>
                      <a:pt x="140" y="40"/>
                    </a:lnTo>
                    <a:lnTo>
                      <a:pt x="140" y="38"/>
                    </a:lnTo>
                    <a:lnTo>
                      <a:pt x="138" y="36"/>
                    </a:lnTo>
                    <a:lnTo>
                      <a:pt x="136" y="36"/>
                    </a:lnTo>
                    <a:lnTo>
                      <a:pt x="134" y="34"/>
                    </a:lnTo>
                    <a:lnTo>
                      <a:pt x="134" y="32"/>
                    </a:lnTo>
                    <a:lnTo>
                      <a:pt x="132" y="30"/>
                    </a:lnTo>
                    <a:lnTo>
                      <a:pt x="126" y="28"/>
                    </a:lnTo>
                    <a:lnTo>
                      <a:pt x="122" y="24"/>
                    </a:lnTo>
                    <a:lnTo>
                      <a:pt x="118" y="22"/>
                    </a:lnTo>
                    <a:lnTo>
                      <a:pt x="116" y="20"/>
                    </a:lnTo>
                    <a:lnTo>
                      <a:pt x="114" y="20"/>
                    </a:lnTo>
                    <a:lnTo>
                      <a:pt x="112" y="20"/>
                    </a:lnTo>
                    <a:lnTo>
                      <a:pt x="110" y="20"/>
                    </a:lnTo>
                    <a:lnTo>
                      <a:pt x="108" y="18"/>
                    </a:lnTo>
                    <a:lnTo>
                      <a:pt x="104" y="18"/>
                    </a:lnTo>
                    <a:lnTo>
                      <a:pt x="100" y="18"/>
                    </a:lnTo>
                    <a:lnTo>
                      <a:pt x="94" y="16"/>
                    </a:lnTo>
                    <a:lnTo>
                      <a:pt x="90" y="16"/>
                    </a:lnTo>
                    <a:lnTo>
                      <a:pt x="88" y="16"/>
                    </a:lnTo>
                    <a:lnTo>
                      <a:pt x="86" y="14"/>
                    </a:lnTo>
                    <a:lnTo>
                      <a:pt x="84" y="14"/>
                    </a:lnTo>
                    <a:lnTo>
                      <a:pt x="82" y="14"/>
                    </a:lnTo>
                    <a:lnTo>
                      <a:pt x="82" y="12"/>
                    </a:lnTo>
                    <a:lnTo>
                      <a:pt x="82" y="12"/>
                    </a:lnTo>
                    <a:lnTo>
                      <a:pt x="80" y="10"/>
                    </a:lnTo>
                    <a:lnTo>
                      <a:pt x="76" y="6"/>
                    </a:lnTo>
                    <a:lnTo>
                      <a:pt x="74" y="4"/>
                    </a:lnTo>
                    <a:lnTo>
                      <a:pt x="74" y="2"/>
                    </a:lnTo>
                    <a:lnTo>
                      <a:pt x="72" y="2"/>
                    </a:lnTo>
                    <a:lnTo>
                      <a:pt x="72" y="2"/>
                    </a:lnTo>
                    <a:lnTo>
                      <a:pt x="70" y="2"/>
                    </a:lnTo>
                    <a:lnTo>
                      <a:pt x="70" y="0"/>
                    </a:lnTo>
                    <a:lnTo>
                      <a:pt x="68" y="2"/>
                    </a:lnTo>
                    <a:lnTo>
                      <a:pt x="68" y="2"/>
                    </a:lnTo>
                    <a:lnTo>
                      <a:pt x="68" y="2"/>
                    </a:lnTo>
                    <a:lnTo>
                      <a:pt x="66" y="4"/>
                    </a:lnTo>
                    <a:lnTo>
                      <a:pt x="66" y="4"/>
                    </a:lnTo>
                    <a:lnTo>
                      <a:pt x="64" y="6"/>
                    </a:lnTo>
                    <a:lnTo>
                      <a:pt x="62" y="8"/>
                    </a:lnTo>
                    <a:lnTo>
                      <a:pt x="60" y="12"/>
                    </a:lnTo>
                    <a:lnTo>
                      <a:pt x="60" y="12"/>
                    </a:lnTo>
                    <a:lnTo>
                      <a:pt x="58" y="14"/>
                    </a:lnTo>
                    <a:lnTo>
                      <a:pt x="58" y="14"/>
                    </a:lnTo>
                    <a:lnTo>
                      <a:pt x="56" y="16"/>
                    </a:lnTo>
                    <a:lnTo>
                      <a:pt x="56" y="16"/>
                    </a:lnTo>
                    <a:lnTo>
                      <a:pt x="54" y="16"/>
                    </a:lnTo>
                    <a:lnTo>
                      <a:pt x="54" y="16"/>
                    </a:lnTo>
                    <a:lnTo>
                      <a:pt x="54" y="16"/>
                    </a:lnTo>
                    <a:lnTo>
                      <a:pt x="52" y="14"/>
                    </a:lnTo>
                    <a:lnTo>
                      <a:pt x="52" y="14"/>
                    </a:lnTo>
                    <a:lnTo>
                      <a:pt x="50" y="12"/>
                    </a:lnTo>
                    <a:lnTo>
                      <a:pt x="50" y="10"/>
                    </a:lnTo>
                    <a:lnTo>
                      <a:pt x="48" y="8"/>
                    </a:lnTo>
                    <a:lnTo>
                      <a:pt x="48" y="8"/>
                    </a:lnTo>
                    <a:lnTo>
                      <a:pt x="46" y="6"/>
                    </a:lnTo>
                    <a:lnTo>
                      <a:pt x="46" y="6"/>
                    </a:lnTo>
                    <a:lnTo>
                      <a:pt x="46" y="6"/>
                    </a:lnTo>
                    <a:lnTo>
                      <a:pt x="44"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76" name="Freeform 538"/>
              <p:cNvSpPr>
                <a:spLocks/>
              </p:cNvSpPr>
              <p:nvPr/>
            </p:nvSpPr>
            <p:spPr bwMode="auto">
              <a:xfrm>
                <a:off x="1970378" y="2556042"/>
                <a:ext cx="323850" cy="174625"/>
              </a:xfrm>
              <a:custGeom>
                <a:avLst/>
                <a:gdLst>
                  <a:gd name="T0" fmla="*/ 48 w 204"/>
                  <a:gd name="T1" fmla="*/ 18 h 110"/>
                  <a:gd name="T2" fmla="*/ 38 w 204"/>
                  <a:gd name="T3" fmla="*/ 24 h 110"/>
                  <a:gd name="T4" fmla="*/ 36 w 204"/>
                  <a:gd name="T5" fmla="*/ 30 h 110"/>
                  <a:gd name="T6" fmla="*/ 36 w 204"/>
                  <a:gd name="T7" fmla="*/ 38 h 110"/>
                  <a:gd name="T8" fmla="*/ 34 w 204"/>
                  <a:gd name="T9" fmla="*/ 40 h 110"/>
                  <a:gd name="T10" fmla="*/ 26 w 204"/>
                  <a:gd name="T11" fmla="*/ 42 h 110"/>
                  <a:gd name="T12" fmla="*/ 10 w 204"/>
                  <a:gd name="T13" fmla="*/ 40 h 110"/>
                  <a:gd name="T14" fmla="*/ 2 w 204"/>
                  <a:gd name="T15" fmla="*/ 42 h 110"/>
                  <a:gd name="T16" fmla="*/ 0 w 204"/>
                  <a:gd name="T17" fmla="*/ 50 h 110"/>
                  <a:gd name="T18" fmla="*/ 2 w 204"/>
                  <a:gd name="T19" fmla="*/ 54 h 110"/>
                  <a:gd name="T20" fmla="*/ 8 w 204"/>
                  <a:gd name="T21" fmla="*/ 58 h 110"/>
                  <a:gd name="T22" fmla="*/ 30 w 204"/>
                  <a:gd name="T23" fmla="*/ 58 h 110"/>
                  <a:gd name="T24" fmla="*/ 48 w 204"/>
                  <a:gd name="T25" fmla="*/ 58 h 110"/>
                  <a:gd name="T26" fmla="*/ 52 w 204"/>
                  <a:gd name="T27" fmla="*/ 62 h 110"/>
                  <a:gd name="T28" fmla="*/ 52 w 204"/>
                  <a:gd name="T29" fmla="*/ 66 h 110"/>
                  <a:gd name="T30" fmla="*/ 48 w 204"/>
                  <a:gd name="T31" fmla="*/ 70 h 110"/>
                  <a:gd name="T32" fmla="*/ 30 w 204"/>
                  <a:gd name="T33" fmla="*/ 72 h 110"/>
                  <a:gd name="T34" fmla="*/ 14 w 204"/>
                  <a:gd name="T35" fmla="*/ 74 h 110"/>
                  <a:gd name="T36" fmla="*/ 6 w 204"/>
                  <a:gd name="T37" fmla="*/ 78 h 110"/>
                  <a:gd name="T38" fmla="*/ 6 w 204"/>
                  <a:gd name="T39" fmla="*/ 82 h 110"/>
                  <a:gd name="T40" fmla="*/ 10 w 204"/>
                  <a:gd name="T41" fmla="*/ 88 h 110"/>
                  <a:gd name="T42" fmla="*/ 26 w 204"/>
                  <a:gd name="T43" fmla="*/ 94 h 110"/>
                  <a:gd name="T44" fmla="*/ 46 w 204"/>
                  <a:gd name="T45" fmla="*/ 104 h 110"/>
                  <a:gd name="T46" fmla="*/ 60 w 204"/>
                  <a:gd name="T47" fmla="*/ 110 h 110"/>
                  <a:gd name="T48" fmla="*/ 86 w 204"/>
                  <a:gd name="T49" fmla="*/ 110 h 110"/>
                  <a:gd name="T50" fmla="*/ 140 w 204"/>
                  <a:gd name="T51" fmla="*/ 108 h 110"/>
                  <a:gd name="T52" fmla="*/ 168 w 204"/>
                  <a:gd name="T53" fmla="*/ 106 h 110"/>
                  <a:gd name="T54" fmla="*/ 186 w 204"/>
                  <a:gd name="T55" fmla="*/ 104 h 110"/>
                  <a:gd name="T56" fmla="*/ 192 w 204"/>
                  <a:gd name="T57" fmla="*/ 100 h 110"/>
                  <a:gd name="T58" fmla="*/ 192 w 204"/>
                  <a:gd name="T59" fmla="*/ 96 h 110"/>
                  <a:gd name="T60" fmla="*/ 186 w 204"/>
                  <a:gd name="T61" fmla="*/ 86 h 110"/>
                  <a:gd name="T62" fmla="*/ 182 w 204"/>
                  <a:gd name="T63" fmla="*/ 76 h 110"/>
                  <a:gd name="T64" fmla="*/ 182 w 204"/>
                  <a:gd name="T65" fmla="*/ 74 h 110"/>
                  <a:gd name="T66" fmla="*/ 188 w 204"/>
                  <a:gd name="T67" fmla="*/ 72 h 110"/>
                  <a:gd name="T68" fmla="*/ 200 w 204"/>
                  <a:gd name="T69" fmla="*/ 72 h 110"/>
                  <a:gd name="T70" fmla="*/ 204 w 204"/>
                  <a:gd name="T71" fmla="*/ 70 h 110"/>
                  <a:gd name="T72" fmla="*/ 204 w 204"/>
                  <a:gd name="T73" fmla="*/ 66 h 110"/>
                  <a:gd name="T74" fmla="*/ 194 w 204"/>
                  <a:gd name="T75" fmla="*/ 60 h 110"/>
                  <a:gd name="T76" fmla="*/ 180 w 204"/>
                  <a:gd name="T77" fmla="*/ 54 h 110"/>
                  <a:gd name="T78" fmla="*/ 170 w 204"/>
                  <a:gd name="T79" fmla="*/ 40 h 110"/>
                  <a:gd name="T80" fmla="*/ 164 w 204"/>
                  <a:gd name="T81" fmla="*/ 28 h 110"/>
                  <a:gd name="T82" fmla="*/ 164 w 204"/>
                  <a:gd name="T83" fmla="*/ 20 h 110"/>
                  <a:gd name="T84" fmla="*/ 170 w 204"/>
                  <a:gd name="T85" fmla="*/ 12 h 110"/>
                  <a:gd name="T86" fmla="*/ 172 w 204"/>
                  <a:gd name="T87" fmla="*/ 6 h 110"/>
                  <a:gd name="T88" fmla="*/ 164 w 204"/>
                  <a:gd name="T89" fmla="*/ 2 h 110"/>
                  <a:gd name="T90" fmla="*/ 152 w 204"/>
                  <a:gd name="T91" fmla="*/ 0 h 110"/>
                  <a:gd name="T92" fmla="*/ 142 w 204"/>
                  <a:gd name="T93" fmla="*/ 0 h 110"/>
                  <a:gd name="T94" fmla="*/ 140 w 204"/>
                  <a:gd name="T95" fmla="*/ 4 h 110"/>
                  <a:gd name="T96" fmla="*/ 138 w 204"/>
                  <a:gd name="T97" fmla="*/ 18 h 110"/>
                  <a:gd name="T98" fmla="*/ 136 w 204"/>
                  <a:gd name="T99" fmla="*/ 32 h 110"/>
                  <a:gd name="T100" fmla="*/ 134 w 204"/>
                  <a:gd name="T101" fmla="*/ 34 h 110"/>
                  <a:gd name="T102" fmla="*/ 128 w 204"/>
                  <a:gd name="T103" fmla="*/ 32 h 110"/>
                  <a:gd name="T104" fmla="*/ 120 w 204"/>
                  <a:gd name="T105" fmla="*/ 18 h 110"/>
                  <a:gd name="T106" fmla="*/ 112 w 204"/>
                  <a:gd name="T107" fmla="*/ 8 h 110"/>
                  <a:gd name="T108" fmla="*/ 106 w 204"/>
                  <a:gd name="T109" fmla="*/ 6 h 110"/>
                  <a:gd name="T110" fmla="*/ 102 w 204"/>
                  <a:gd name="T111" fmla="*/ 10 h 110"/>
                  <a:gd name="T112" fmla="*/ 98 w 204"/>
                  <a:gd name="T113" fmla="*/ 22 h 110"/>
                  <a:gd name="T114" fmla="*/ 96 w 204"/>
                  <a:gd name="T115" fmla="*/ 24 h 110"/>
                  <a:gd name="T116" fmla="*/ 92 w 204"/>
                  <a:gd name="T117" fmla="*/ 22 h 110"/>
                  <a:gd name="T118" fmla="*/ 90 w 204"/>
                  <a:gd name="T119" fmla="*/ 10 h 110"/>
                  <a:gd name="T120" fmla="*/ 86 w 204"/>
                  <a:gd name="T121" fmla="*/ 4 h 110"/>
                  <a:gd name="T122" fmla="*/ 80 w 204"/>
                  <a:gd name="T123" fmla="*/ 4 h 110"/>
                  <a:gd name="T124" fmla="*/ 66 w 204"/>
                  <a:gd name="T125"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4" h="110">
                    <a:moveTo>
                      <a:pt x="64" y="12"/>
                    </a:moveTo>
                    <a:lnTo>
                      <a:pt x="64" y="12"/>
                    </a:lnTo>
                    <a:lnTo>
                      <a:pt x="56" y="14"/>
                    </a:lnTo>
                    <a:lnTo>
                      <a:pt x="52" y="16"/>
                    </a:lnTo>
                    <a:lnTo>
                      <a:pt x="48" y="18"/>
                    </a:lnTo>
                    <a:lnTo>
                      <a:pt x="44" y="20"/>
                    </a:lnTo>
                    <a:lnTo>
                      <a:pt x="42" y="20"/>
                    </a:lnTo>
                    <a:lnTo>
                      <a:pt x="40" y="22"/>
                    </a:lnTo>
                    <a:lnTo>
                      <a:pt x="38" y="22"/>
                    </a:lnTo>
                    <a:lnTo>
                      <a:pt x="38" y="24"/>
                    </a:lnTo>
                    <a:lnTo>
                      <a:pt x="36" y="26"/>
                    </a:lnTo>
                    <a:lnTo>
                      <a:pt x="36" y="26"/>
                    </a:lnTo>
                    <a:lnTo>
                      <a:pt x="36" y="28"/>
                    </a:lnTo>
                    <a:lnTo>
                      <a:pt x="36" y="28"/>
                    </a:lnTo>
                    <a:lnTo>
                      <a:pt x="36" y="30"/>
                    </a:lnTo>
                    <a:lnTo>
                      <a:pt x="36" y="30"/>
                    </a:lnTo>
                    <a:lnTo>
                      <a:pt x="36" y="32"/>
                    </a:lnTo>
                    <a:lnTo>
                      <a:pt x="36" y="34"/>
                    </a:lnTo>
                    <a:lnTo>
                      <a:pt x="36" y="36"/>
                    </a:lnTo>
                    <a:lnTo>
                      <a:pt x="36" y="38"/>
                    </a:lnTo>
                    <a:lnTo>
                      <a:pt x="36" y="38"/>
                    </a:lnTo>
                    <a:lnTo>
                      <a:pt x="36" y="38"/>
                    </a:lnTo>
                    <a:lnTo>
                      <a:pt x="36" y="38"/>
                    </a:lnTo>
                    <a:lnTo>
                      <a:pt x="34" y="40"/>
                    </a:lnTo>
                    <a:lnTo>
                      <a:pt x="34" y="40"/>
                    </a:lnTo>
                    <a:lnTo>
                      <a:pt x="34" y="40"/>
                    </a:lnTo>
                    <a:lnTo>
                      <a:pt x="32" y="40"/>
                    </a:lnTo>
                    <a:lnTo>
                      <a:pt x="30" y="40"/>
                    </a:lnTo>
                    <a:lnTo>
                      <a:pt x="28" y="42"/>
                    </a:lnTo>
                    <a:lnTo>
                      <a:pt x="26" y="42"/>
                    </a:lnTo>
                    <a:lnTo>
                      <a:pt x="24" y="40"/>
                    </a:lnTo>
                    <a:lnTo>
                      <a:pt x="20" y="40"/>
                    </a:lnTo>
                    <a:lnTo>
                      <a:pt x="14" y="40"/>
                    </a:lnTo>
                    <a:lnTo>
                      <a:pt x="12" y="40"/>
                    </a:lnTo>
                    <a:lnTo>
                      <a:pt x="10" y="40"/>
                    </a:lnTo>
                    <a:lnTo>
                      <a:pt x="8" y="40"/>
                    </a:lnTo>
                    <a:lnTo>
                      <a:pt x="6" y="40"/>
                    </a:lnTo>
                    <a:lnTo>
                      <a:pt x="4" y="40"/>
                    </a:lnTo>
                    <a:lnTo>
                      <a:pt x="4" y="40"/>
                    </a:lnTo>
                    <a:lnTo>
                      <a:pt x="2" y="42"/>
                    </a:lnTo>
                    <a:lnTo>
                      <a:pt x="2" y="42"/>
                    </a:lnTo>
                    <a:lnTo>
                      <a:pt x="2" y="44"/>
                    </a:lnTo>
                    <a:lnTo>
                      <a:pt x="0" y="46"/>
                    </a:lnTo>
                    <a:lnTo>
                      <a:pt x="0" y="48"/>
                    </a:lnTo>
                    <a:lnTo>
                      <a:pt x="0" y="50"/>
                    </a:lnTo>
                    <a:lnTo>
                      <a:pt x="0" y="52"/>
                    </a:lnTo>
                    <a:lnTo>
                      <a:pt x="0" y="52"/>
                    </a:lnTo>
                    <a:lnTo>
                      <a:pt x="0" y="54"/>
                    </a:lnTo>
                    <a:lnTo>
                      <a:pt x="0" y="54"/>
                    </a:lnTo>
                    <a:lnTo>
                      <a:pt x="2" y="54"/>
                    </a:lnTo>
                    <a:lnTo>
                      <a:pt x="2" y="56"/>
                    </a:lnTo>
                    <a:lnTo>
                      <a:pt x="4" y="56"/>
                    </a:lnTo>
                    <a:lnTo>
                      <a:pt x="4" y="56"/>
                    </a:lnTo>
                    <a:lnTo>
                      <a:pt x="6" y="58"/>
                    </a:lnTo>
                    <a:lnTo>
                      <a:pt x="8" y="58"/>
                    </a:lnTo>
                    <a:lnTo>
                      <a:pt x="10" y="58"/>
                    </a:lnTo>
                    <a:lnTo>
                      <a:pt x="12" y="58"/>
                    </a:lnTo>
                    <a:lnTo>
                      <a:pt x="16" y="58"/>
                    </a:lnTo>
                    <a:lnTo>
                      <a:pt x="20" y="58"/>
                    </a:lnTo>
                    <a:lnTo>
                      <a:pt x="30" y="58"/>
                    </a:lnTo>
                    <a:lnTo>
                      <a:pt x="34" y="58"/>
                    </a:lnTo>
                    <a:lnTo>
                      <a:pt x="38" y="58"/>
                    </a:lnTo>
                    <a:lnTo>
                      <a:pt x="42" y="58"/>
                    </a:lnTo>
                    <a:lnTo>
                      <a:pt x="46" y="58"/>
                    </a:lnTo>
                    <a:lnTo>
                      <a:pt x="48" y="58"/>
                    </a:lnTo>
                    <a:lnTo>
                      <a:pt x="48" y="60"/>
                    </a:lnTo>
                    <a:lnTo>
                      <a:pt x="50" y="60"/>
                    </a:lnTo>
                    <a:lnTo>
                      <a:pt x="52" y="60"/>
                    </a:lnTo>
                    <a:lnTo>
                      <a:pt x="52" y="60"/>
                    </a:lnTo>
                    <a:lnTo>
                      <a:pt x="52" y="62"/>
                    </a:lnTo>
                    <a:lnTo>
                      <a:pt x="54" y="62"/>
                    </a:lnTo>
                    <a:lnTo>
                      <a:pt x="54" y="64"/>
                    </a:lnTo>
                    <a:lnTo>
                      <a:pt x="54" y="64"/>
                    </a:lnTo>
                    <a:lnTo>
                      <a:pt x="52" y="66"/>
                    </a:lnTo>
                    <a:lnTo>
                      <a:pt x="52" y="66"/>
                    </a:lnTo>
                    <a:lnTo>
                      <a:pt x="52" y="68"/>
                    </a:lnTo>
                    <a:lnTo>
                      <a:pt x="52" y="68"/>
                    </a:lnTo>
                    <a:lnTo>
                      <a:pt x="50" y="68"/>
                    </a:lnTo>
                    <a:lnTo>
                      <a:pt x="50" y="68"/>
                    </a:lnTo>
                    <a:lnTo>
                      <a:pt x="48" y="70"/>
                    </a:lnTo>
                    <a:lnTo>
                      <a:pt x="46" y="70"/>
                    </a:lnTo>
                    <a:lnTo>
                      <a:pt x="42" y="70"/>
                    </a:lnTo>
                    <a:lnTo>
                      <a:pt x="40" y="70"/>
                    </a:lnTo>
                    <a:lnTo>
                      <a:pt x="36" y="70"/>
                    </a:lnTo>
                    <a:lnTo>
                      <a:pt x="30" y="72"/>
                    </a:lnTo>
                    <a:lnTo>
                      <a:pt x="22" y="72"/>
                    </a:lnTo>
                    <a:lnTo>
                      <a:pt x="20" y="72"/>
                    </a:lnTo>
                    <a:lnTo>
                      <a:pt x="18" y="72"/>
                    </a:lnTo>
                    <a:lnTo>
                      <a:pt x="14" y="74"/>
                    </a:lnTo>
                    <a:lnTo>
                      <a:pt x="14" y="74"/>
                    </a:lnTo>
                    <a:lnTo>
                      <a:pt x="12" y="74"/>
                    </a:lnTo>
                    <a:lnTo>
                      <a:pt x="10" y="76"/>
                    </a:lnTo>
                    <a:lnTo>
                      <a:pt x="10" y="76"/>
                    </a:lnTo>
                    <a:lnTo>
                      <a:pt x="8" y="78"/>
                    </a:lnTo>
                    <a:lnTo>
                      <a:pt x="6" y="78"/>
                    </a:lnTo>
                    <a:lnTo>
                      <a:pt x="6" y="80"/>
                    </a:lnTo>
                    <a:lnTo>
                      <a:pt x="6" y="80"/>
                    </a:lnTo>
                    <a:lnTo>
                      <a:pt x="6" y="80"/>
                    </a:lnTo>
                    <a:lnTo>
                      <a:pt x="6" y="82"/>
                    </a:lnTo>
                    <a:lnTo>
                      <a:pt x="6" y="82"/>
                    </a:lnTo>
                    <a:lnTo>
                      <a:pt x="6" y="82"/>
                    </a:lnTo>
                    <a:lnTo>
                      <a:pt x="6" y="84"/>
                    </a:lnTo>
                    <a:lnTo>
                      <a:pt x="8" y="86"/>
                    </a:lnTo>
                    <a:lnTo>
                      <a:pt x="10" y="86"/>
                    </a:lnTo>
                    <a:lnTo>
                      <a:pt x="10" y="88"/>
                    </a:lnTo>
                    <a:lnTo>
                      <a:pt x="12" y="88"/>
                    </a:lnTo>
                    <a:lnTo>
                      <a:pt x="14" y="90"/>
                    </a:lnTo>
                    <a:lnTo>
                      <a:pt x="16" y="90"/>
                    </a:lnTo>
                    <a:lnTo>
                      <a:pt x="22" y="92"/>
                    </a:lnTo>
                    <a:lnTo>
                      <a:pt x="26" y="94"/>
                    </a:lnTo>
                    <a:lnTo>
                      <a:pt x="30" y="96"/>
                    </a:lnTo>
                    <a:lnTo>
                      <a:pt x="32" y="96"/>
                    </a:lnTo>
                    <a:lnTo>
                      <a:pt x="34" y="96"/>
                    </a:lnTo>
                    <a:lnTo>
                      <a:pt x="38" y="100"/>
                    </a:lnTo>
                    <a:lnTo>
                      <a:pt x="46" y="104"/>
                    </a:lnTo>
                    <a:lnTo>
                      <a:pt x="48" y="106"/>
                    </a:lnTo>
                    <a:lnTo>
                      <a:pt x="52" y="106"/>
                    </a:lnTo>
                    <a:lnTo>
                      <a:pt x="56" y="108"/>
                    </a:lnTo>
                    <a:lnTo>
                      <a:pt x="58" y="108"/>
                    </a:lnTo>
                    <a:lnTo>
                      <a:pt x="60" y="110"/>
                    </a:lnTo>
                    <a:lnTo>
                      <a:pt x="62" y="110"/>
                    </a:lnTo>
                    <a:lnTo>
                      <a:pt x="66" y="110"/>
                    </a:lnTo>
                    <a:lnTo>
                      <a:pt x="70" y="110"/>
                    </a:lnTo>
                    <a:lnTo>
                      <a:pt x="76" y="110"/>
                    </a:lnTo>
                    <a:lnTo>
                      <a:pt x="86" y="110"/>
                    </a:lnTo>
                    <a:lnTo>
                      <a:pt x="94" y="108"/>
                    </a:lnTo>
                    <a:lnTo>
                      <a:pt x="108" y="108"/>
                    </a:lnTo>
                    <a:lnTo>
                      <a:pt x="124" y="108"/>
                    </a:lnTo>
                    <a:lnTo>
                      <a:pt x="132" y="108"/>
                    </a:lnTo>
                    <a:lnTo>
                      <a:pt x="140" y="108"/>
                    </a:lnTo>
                    <a:lnTo>
                      <a:pt x="148" y="108"/>
                    </a:lnTo>
                    <a:lnTo>
                      <a:pt x="154" y="106"/>
                    </a:lnTo>
                    <a:lnTo>
                      <a:pt x="158" y="106"/>
                    </a:lnTo>
                    <a:lnTo>
                      <a:pt x="164" y="106"/>
                    </a:lnTo>
                    <a:lnTo>
                      <a:pt x="168" y="106"/>
                    </a:lnTo>
                    <a:lnTo>
                      <a:pt x="174" y="106"/>
                    </a:lnTo>
                    <a:lnTo>
                      <a:pt x="178" y="106"/>
                    </a:lnTo>
                    <a:lnTo>
                      <a:pt x="180" y="104"/>
                    </a:lnTo>
                    <a:lnTo>
                      <a:pt x="182" y="104"/>
                    </a:lnTo>
                    <a:lnTo>
                      <a:pt x="186" y="104"/>
                    </a:lnTo>
                    <a:lnTo>
                      <a:pt x="188" y="102"/>
                    </a:lnTo>
                    <a:lnTo>
                      <a:pt x="190" y="102"/>
                    </a:lnTo>
                    <a:lnTo>
                      <a:pt x="190" y="100"/>
                    </a:lnTo>
                    <a:lnTo>
                      <a:pt x="190" y="100"/>
                    </a:lnTo>
                    <a:lnTo>
                      <a:pt x="192" y="100"/>
                    </a:lnTo>
                    <a:lnTo>
                      <a:pt x="192" y="100"/>
                    </a:lnTo>
                    <a:lnTo>
                      <a:pt x="192" y="98"/>
                    </a:lnTo>
                    <a:lnTo>
                      <a:pt x="192" y="98"/>
                    </a:lnTo>
                    <a:lnTo>
                      <a:pt x="192" y="98"/>
                    </a:lnTo>
                    <a:lnTo>
                      <a:pt x="192" y="96"/>
                    </a:lnTo>
                    <a:lnTo>
                      <a:pt x="192" y="94"/>
                    </a:lnTo>
                    <a:lnTo>
                      <a:pt x="190" y="94"/>
                    </a:lnTo>
                    <a:lnTo>
                      <a:pt x="190" y="92"/>
                    </a:lnTo>
                    <a:lnTo>
                      <a:pt x="190" y="90"/>
                    </a:lnTo>
                    <a:lnTo>
                      <a:pt x="186" y="86"/>
                    </a:lnTo>
                    <a:lnTo>
                      <a:pt x="184" y="82"/>
                    </a:lnTo>
                    <a:lnTo>
                      <a:pt x="184" y="82"/>
                    </a:lnTo>
                    <a:lnTo>
                      <a:pt x="182" y="80"/>
                    </a:lnTo>
                    <a:lnTo>
                      <a:pt x="182" y="78"/>
                    </a:lnTo>
                    <a:lnTo>
                      <a:pt x="182" y="76"/>
                    </a:lnTo>
                    <a:lnTo>
                      <a:pt x="182" y="76"/>
                    </a:lnTo>
                    <a:lnTo>
                      <a:pt x="182" y="76"/>
                    </a:lnTo>
                    <a:lnTo>
                      <a:pt x="182" y="74"/>
                    </a:lnTo>
                    <a:lnTo>
                      <a:pt x="182" y="74"/>
                    </a:lnTo>
                    <a:lnTo>
                      <a:pt x="182" y="74"/>
                    </a:lnTo>
                    <a:lnTo>
                      <a:pt x="182" y="74"/>
                    </a:lnTo>
                    <a:lnTo>
                      <a:pt x="184" y="72"/>
                    </a:lnTo>
                    <a:lnTo>
                      <a:pt x="184" y="72"/>
                    </a:lnTo>
                    <a:lnTo>
                      <a:pt x="186" y="72"/>
                    </a:lnTo>
                    <a:lnTo>
                      <a:pt x="188" y="72"/>
                    </a:lnTo>
                    <a:lnTo>
                      <a:pt x="190" y="72"/>
                    </a:lnTo>
                    <a:lnTo>
                      <a:pt x="194" y="72"/>
                    </a:lnTo>
                    <a:lnTo>
                      <a:pt x="198" y="72"/>
                    </a:lnTo>
                    <a:lnTo>
                      <a:pt x="200" y="72"/>
                    </a:lnTo>
                    <a:lnTo>
                      <a:pt x="200" y="72"/>
                    </a:lnTo>
                    <a:lnTo>
                      <a:pt x="202" y="72"/>
                    </a:lnTo>
                    <a:lnTo>
                      <a:pt x="204" y="70"/>
                    </a:lnTo>
                    <a:lnTo>
                      <a:pt x="204" y="70"/>
                    </a:lnTo>
                    <a:lnTo>
                      <a:pt x="204" y="70"/>
                    </a:lnTo>
                    <a:lnTo>
                      <a:pt x="204" y="70"/>
                    </a:lnTo>
                    <a:lnTo>
                      <a:pt x="204" y="68"/>
                    </a:lnTo>
                    <a:lnTo>
                      <a:pt x="204" y="68"/>
                    </a:lnTo>
                    <a:lnTo>
                      <a:pt x="204" y="68"/>
                    </a:lnTo>
                    <a:lnTo>
                      <a:pt x="204" y="68"/>
                    </a:lnTo>
                    <a:lnTo>
                      <a:pt x="204" y="66"/>
                    </a:lnTo>
                    <a:lnTo>
                      <a:pt x="202" y="66"/>
                    </a:lnTo>
                    <a:lnTo>
                      <a:pt x="202" y="64"/>
                    </a:lnTo>
                    <a:lnTo>
                      <a:pt x="200" y="64"/>
                    </a:lnTo>
                    <a:lnTo>
                      <a:pt x="198" y="62"/>
                    </a:lnTo>
                    <a:lnTo>
                      <a:pt x="194" y="60"/>
                    </a:lnTo>
                    <a:lnTo>
                      <a:pt x="190" y="60"/>
                    </a:lnTo>
                    <a:lnTo>
                      <a:pt x="186" y="58"/>
                    </a:lnTo>
                    <a:lnTo>
                      <a:pt x="184" y="56"/>
                    </a:lnTo>
                    <a:lnTo>
                      <a:pt x="182" y="56"/>
                    </a:lnTo>
                    <a:lnTo>
                      <a:pt x="180" y="54"/>
                    </a:lnTo>
                    <a:lnTo>
                      <a:pt x="180" y="54"/>
                    </a:lnTo>
                    <a:lnTo>
                      <a:pt x="176" y="52"/>
                    </a:lnTo>
                    <a:lnTo>
                      <a:pt x="174" y="48"/>
                    </a:lnTo>
                    <a:lnTo>
                      <a:pt x="172" y="44"/>
                    </a:lnTo>
                    <a:lnTo>
                      <a:pt x="170" y="40"/>
                    </a:lnTo>
                    <a:lnTo>
                      <a:pt x="168" y="36"/>
                    </a:lnTo>
                    <a:lnTo>
                      <a:pt x="166" y="34"/>
                    </a:lnTo>
                    <a:lnTo>
                      <a:pt x="166" y="32"/>
                    </a:lnTo>
                    <a:lnTo>
                      <a:pt x="164" y="30"/>
                    </a:lnTo>
                    <a:lnTo>
                      <a:pt x="164" y="28"/>
                    </a:lnTo>
                    <a:lnTo>
                      <a:pt x="164" y="26"/>
                    </a:lnTo>
                    <a:lnTo>
                      <a:pt x="164" y="24"/>
                    </a:lnTo>
                    <a:lnTo>
                      <a:pt x="164" y="22"/>
                    </a:lnTo>
                    <a:lnTo>
                      <a:pt x="164" y="22"/>
                    </a:lnTo>
                    <a:lnTo>
                      <a:pt x="164" y="20"/>
                    </a:lnTo>
                    <a:lnTo>
                      <a:pt x="166" y="20"/>
                    </a:lnTo>
                    <a:lnTo>
                      <a:pt x="166" y="18"/>
                    </a:lnTo>
                    <a:lnTo>
                      <a:pt x="168" y="14"/>
                    </a:lnTo>
                    <a:lnTo>
                      <a:pt x="170" y="12"/>
                    </a:lnTo>
                    <a:lnTo>
                      <a:pt x="170" y="12"/>
                    </a:lnTo>
                    <a:lnTo>
                      <a:pt x="172" y="10"/>
                    </a:lnTo>
                    <a:lnTo>
                      <a:pt x="172" y="10"/>
                    </a:lnTo>
                    <a:lnTo>
                      <a:pt x="172" y="8"/>
                    </a:lnTo>
                    <a:lnTo>
                      <a:pt x="172" y="8"/>
                    </a:lnTo>
                    <a:lnTo>
                      <a:pt x="172" y="6"/>
                    </a:lnTo>
                    <a:lnTo>
                      <a:pt x="170" y="6"/>
                    </a:lnTo>
                    <a:lnTo>
                      <a:pt x="170" y="4"/>
                    </a:lnTo>
                    <a:lnTo>
                      <a:pt x="168" y="4"/>
                    </a:lnTo>
                    <a:lnTo>
                      <a:pt x="166" y="2"/>
                    </a:lnTo>
                    <a:lnTo>
                      <a:pt x="164" y="2"/>
                    </a:lnTo>
                    <a:lnTo>
                      <a:pt x="162" y="0"/>
                    </a:lnTo>
                    <a:lnTo>
                      <a:pt x="160" y="0"/>
                    </a:lnTo>
                    <a:lnTo>
                      <a:pt x="158" y="0"/>
                    </a:lnTo>
                    <a:lnTo>
                      <a:pt x="156" y="0"/>
                    </a:lnTo>
                    <a:lnTo>
                      <a:pt x="152" y="0"/>
                    </a:lnTo>
                    <a:lnTo>
                      <a:pt x="150" y="0"/>
                    </a:lnTo>
                    <a:lnTo>
                      <a:pt x="148" y="0"/>
                    </a:lnTo>
                    <a:lnTo>
                      <a:pt x="146" y="0"/>
                    </a:lnTo>
                    <a:lnTo>
                      <a:pt x="144" y="0"/>
                    </a:lnTo>
                    <a:lnTo>
                      <a:pt x="142" y="0"/>
                    </a:lnTo>
                    <a:lnTo>
                      <a:pt x="142" y="2"/>
                    </a:lnTo>
                    <a:lnTo>
                      <a:pt x="140" y="2"/>
                    </a:lnTo>
                    <a:lnTo>
                      <a:pt x="140" y="2"/>
                    </a:lnTo>
                    <a:lnTo>
                      <a:pt x="140" y="4"/>
                    </a:lnTo>
                    <a:lnTo>
                      <a:pt x="140" y="4"/>
                    </a:lnTo>
                    <a:lnTo>
                      <a:pt x="138" y="6"/>
                    </a:lnTo>
                    <a:lnTo>
                      <a:pt x="138" y="8"/>
                    </a:lnTo>
                    <a:lnTo>
                      <a:pt x="138" y="10"/>
                    </a:lnTo>
                    <a:lnTo>
                      <a:pt x="138" y="14"/>
                    </a:lnTo>
                    <a:lnTo>
                      <a:pt x="138" y="18"/>
                    </a:lnTo>
                    <a:lnTo>
                      <a:pt x="138" y="24"/>
                    </a:lnTo>
                    <a:lnTo>
                      <a:pt x="138" y="26"/>
                    </a:lnTo>
                    <a:lnTo>
                      <a:pt x="138" y="28"/>
                    </a:lnTo>
                    <a:lnTo>
                      <a:pt x="136" y="30"/>
                    </a:lnTo>
                    <a:lnTo>
                      <a:pt x="136" y="32"/>
                    </a:lnTo>
                    <a:lnTo>
                      <a:pt x="136" y="32"/>
                    </a:lnTo>
                    <a:lnTo>
                      <a:pt x="136" y="32"/>
                    </a:lnTo>
                    <a:lnTo>
                      <a:pt x="136" y="34"/>
                    </a:lnTo>
                    <a:lnTo>
                      <a:pt x="134" y="34"/>
                    </a:lnTo>
                    <a:lnTo>
                      <a:pt x="134" y="34"/>
                    </a:lnTo>
                    <a:lnTo>
                      <a:pt x="132" y="34"/>
                    </a:lnTo>
                    <a:lnTo>
                      <a:pt x="132" y="34"/>
                    </a:lnTo>
                    <a:lnTo>
                      <a:pt x="130" y="34"/>
                    </a:lnTo>
                    <a:lnTo>
                      <a:pt x="130" y="32"/>
                    </a:lnTo>
                    <a:lnTo>
                      <a:pt x="128" y="32"/>
                    </a:lnTo>
                    <a:lnTo>
                      <a:pt x="128" y="30"/>
                    </a:lnTo>
                    <a:lnTo>
                      <a:pt x="126" y="28"/>
                    </a:lnTo>
                    <a:lnTo>
                      <a:pt x="122" y="22"/>
                    </a:lnTo>
                    <a:lnTo>
                      <a:pt x="120" y="18"/>
                    </a:lnTo>
                    <a:lnTo>
                      <a:pt x="120" y="18"/>
                    </a:lnTo>
                    <a:lnTo>
                      <a:pt x="118" y="16"/>
                    </a:lnTo>
                    <a:lnTo>
                      <a:pt x="116" y="14"/>
                    </a:lnTo>
                    <a:lnTo>
                      <a:pt x="114" y="12"/>
                    </a:lnTo>
                    <a:lnTo>
                      <a:pt x="112" y="10"/>
                    </a:lnTo>
                    <a:lnTo>
                      <a:pt x="112" y="8"/>
                    </a:lnTo>
                    <a:lnTo>
                      <a:pt x="110" y="8"/>
                    </a:lnTo>
                    <a:lnTo>
                      <a:pt x="108" y="6"/>
                    </a:lnTo>
                    <a:lnTo>
                      <a:pt x="108" y="6"/>
                    </a:lnTo>
                    <a:lnTo>
                      <a:pt x="106" y="6"/>
                    </a:lnTo>
                    <a:lnTo>
                      <a:pt x="106" y="6"/>
                    </a:lnTo>
                    <a:lnTo>
                      <a:pt x="106" y="6"/>
                    </a:lnTo>
                    <a:lnTo>
                      <a:pt x="104" y="8"/>
                    </a:lnTo>
                    <a:lnTo>
                      <a:pt x="104" y="8"/>
                    </a:lnTo>
                    <a:lnTo>
                      <a:pt x="104" y="10"/>
                    </a:lnTo>
                    <a:lnTo>
                      <a:pt x="102" y="10"/>
                    </a:lnTo>
                    <a:lnTo>
                      <a:pt x="102" y="12"/>
                    </a:lnTo>
                    <a:lnTo>
                      <a:pt x="100" y="16"/>
                    </a:lnTo>
                    <a:lnTo>
                      <a:pt x="100" y="18"/>
                    </a:lnTo>
                    <a:lnTo>
                      <a:pt x="100" y="20"/>
                    </a:lnTo>
                    <a:lnTo>
                      <a:pt x="98" y="22"/>
                    </a:lnTo>
                    <a:lnTo>
                      <a:pt x="98" y="22"/>
                    </a:lnTo>
                    <a:lnTo>
                      <a:pt x="98" y="24"/>
                    </a:lnTo>
                    <a:lnTo>
                      <a:pt x="96" y="24"/>
                    </a:lnTo>
                    <a:lnTo>
                      <a:pt x="96" y="24"/>
                    </a:lnTo>
                    <a:lnTo>
                      <a:pt x="96" y="24"/>
                    </a:lnTo>
                    <a:lnTo>
                      <a:pt x="96" y="24"/>
                    </a:lnTo>
                    <a:lnTo>
                      <a:pt x="94" y="24"/>
                    </a:lnTo>
                    <a:lnTo>
                      <a:pt x="94" y="24"/>
                    </a:lnTo>
                    <a:lnTo>
                      <a:pt x="94" y="22"/>
                    </a:lnTo>
                    <a:lnTo>
                      <a:pt x="92" y="22"/>
                    </a:lnTo>
                    <a:lnTo>
                      <a:pt x="92" y="20"/>
                    </a:lnTo>
                    <a:lnTo>
                      <a:pt x="92" y="18"/>
                    </a:lnTo>
                    <a:lnTo>
                      <a:pt x="90" y="14"/>
                    </a:lnTo>
                    <a:lnTo>
                      <a:pt x="90" y="12"/>
                    </a:lnTo>
                    <a:lnTo>
                      <a:pt x="90" y="10"/>
                    </a:lnTo>
                    <a:lnTo>
                      <a:pt x="88" y="8"/>
                    </a:lnTo>
                    <a:lnTo>
                      <a:pt x="88" y="6"/>
                    </a:lnTo>
                    <a:lnTo>
                      <a:pt x="88" y="6"/>
                    </a:lnTo>
                    <a:lnTo>
                      <a:pt x="86" y="4"/>
                    </a:lnTo>
                    <a:lnTo>
                      <a:pt x="86" y="4"/>
                    </a:lnTo>
                    <a:lnTo>
                      <a:pt x="84" y="4"/>
                    </a:lnTo>
                    <a:lnTo>
                      <a:pt x="84" y="4"/>
                    </a:lnTo>
                    <a:lnTo>
                      <a:pt x="82" y="4"/>
                    </a:lnTo>
                    <a:lnTo>
                      <a:pt x="80" y="4"/>
                    </a:lnTo>
                    <a:lnTo>
                      <a:pt x="80" y="4"/>
                    </a:lnTo>
                    <a:lnTo>
                      <a:pt x="78" y="4"/>
                    </a:lnTo>
                    <a:lnTo>
                      <a:pt x="74" y="6"/>
                    </a:lnTo>
                    <a:lnTo>
                      <a:pt x="72" y="8"/>
                    </a:lnTo>
                    <a:lnTo>
                      <a:pt x="68" y="8"/>
                    </a:lnTo>
                    <a:lnTo>
                      <a:pt x="66" y="10"/>
                    </a:lnTo>
                    <a:lnTo>
                      <a:pt x="64" y="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77" name="Freeform 540"/>
              <p:cNvSpPr>
                <a:spLocks/>
              </p:cNvSpPr>
              <p:nvPr/>
            </p:nvSpPr>
            <p:spPr bwMode="auto">
              <a:xfrm>
                <a:off x="2227553" y="2527467"/>
                <a:ext cx="44450" cy="22225"/>
              </a:xfrm>
              <a:custGeom>
                <a:avLst/>
                <a:gdLst>
                  <a:gd name="T0" fmla="*/ 14 w 28"/>
                  <a:gd name="T1" fmla="*/ 14 h 14"/>
                  <a:gd name="T2" fmla="*/ 14 w 28"/>
                  <a:gd name="T3" fmla="*/ 14 h 14"/>
                  <a:gd name="T4" fmla="*/ 18 w 28"/>
                  <a:gd name="T5" fmla="*/ 14 h 14"/>
                  <a:gd name="T6" fmla="*/ 20 w 28"/>
                  <a:gd name="T7" fmla="*/ 12 h 14"/>
                  <a:gd name="T8" fmla="*/ 22 w 28"/>
                  <a:gd name="T9" fmla="*/ 12 h 14"/>
                  <a:gd name="T10" fmla="*/ 24 w 28"/>
                  <a:gd name="T11" fmla="*/ 12 h 14"/>
                  <a:gd name="T12" fmla="*/ 26 w 28"/>
                  <a:gd name="T13" fmla="*/ 10 h 14"/>
                  <a:gd name="T14" fmla="*/ 28 w 28"/>
                  <a:gd name="T15" fmla="*/ 10 h 14"/>
                  <a:gd name="T16" fmla="*/ 28 w 28"/>
                  <a:gd name="T17" fmla="*/ 10 h 14"/>
                  <a:gd name="T18" fmla="*/ 28 w 28"/>
                  <a:gd name="T19" fmla="*/ 8 h 14"/>
                  <a:gd name="T20" fmla="*/ 28 w 28"/>
                  <a:gd name="T21" fmla="*/ 8 h 14"/>
                  <a:gd name="T22" fmla="*/ 28 w 28"/>
                  <a:gd name="T23" fmla="*/ 8 h 14"/>
                  <a:gd name="T24" fmla="*/ 28 w 28"/>
                  <a:gd name="T25" fmla="*/ 6 h 14"/>
                  <a:gd name="T26" fmla="*/ 28 w 28"/>
                  <a:gd name="T27" fmla="*/ 6 h 14"/>
                  <a:gd name="T28" fmla="*/ 28 w 28"/>
                  <a:gd name="T29" fmla="*/ 6 h 14"/>
                  <a:gd name="T30" fmla="*/ 28 w 28"/>
                  <a:gd name="T31" fmla="*/ 4 h 14"/>
                  <a:gd name="T32" fmla="*/ 28 w 28"/>
                  <a:gd name="T33" fmla="*/ 4 h 14"/>
                  <a:gd name="T34" fmla="*/ 28 w 28"/>
                  <a:gd name="T35" fmla="*/ 4 h 14"/>
                  <a:gd name="T36" fmla="*/ 26 w 28"/>
                  <a:gd name="T37" fmla="*/ 2 h 14"/>
                  <a:gd name="T38" fmla="*/ 24 w 28"/>
                  <a:gd name="T39" fmla="*/ 2 h 14"/>
                  <a:gd name="T40" fmla="*/ 22 w 28"/>
                  <a:gd name="T41" fmla="*/ 2 h 14"/>
                  <a:gd name="T42" fmla="*/ 20 w 28"/>
                  <a:gd name="T43" fmla="*/ 0 h 14"/>
                  <a:gd name="T44" fmla="*/ 18 w 28"/>
                  <a:gd name="T45" fmla="*/ 0 h 14"/>
                  <a:gd name="T46" fmla="*/ 14 w 28"/>
                  <a:gd name="T47" fmla="*/ 0 h 14"/>
                  <a:gd name="T48" fmla="*/ 12 w 28"/>
                  <a:gd name="T49" fmla="*/ 0 h 14"/>
                  <a:gd name="T50" fmla="*/ 10 w 28"/>
                  <a:gd name="T51" fmla="*/ 0 h 14"/>
                  <a:gd name="T52" fmla="*/ 6 w 28"/>
                  <a:gd name="T53" fmla="*/ 2 h 14"/>
                  <a:gd name="T54" fmla="*/ 4 w 28"/>
                  <a:gd name="T55" fmla="*/ 2 h 14"/>
                  <a:gd name="T56" fmla="*/ 2 w 28"/>
                  <a:gd name="T57" fmla="*/ 2 h 14"/>
                  <a:gd name="T58" fmla="*/ 2 w 28"/>
                  <a:gd name="T59" fmla="*/ 4 h 14"/>
                  <a:gd name="T60" fmla="*/ 2 w 28"/>
                  <a:gd name="T61" fmla="*/ 4 h 14"/>
                  <a:gd name="T62" fmla="*/ 2 w 28"/>
                  <a:gd name="T63" fmla="*/ 4 h 14"/>
                  <a:gd name="T64" fmla="*/ 0 w 28"/>
                  <a:gd name="T65" fmla="*/ 6 h 14"/>
                  <a:gd name="T66" fmla="*/ 0 w 28"/>
                  <a:gd name="T67" fmla="*/ 6 h 14"/>
                  <a:gd name="T68" fmla="*/ 0 w 28"/>
                  <a:gd name="T69" fmla="*/ 6 h 14"/>
                  <a:gd name="T70" fmla="*/ 0 w 28"/>
                  <a:gd name="T71" fmla="*/ 8 h 14"/>
                  <a:gd name="T72" fmla="*/ 0 w 28"/>
                  <a:gd name="T73" fmla="*/ 8 h 14"/>
                  <a:gd name="T74" fmla="*/ 2 w 28"/>
                  <a:gd name="T75" fmla="*/ 8 h 14"/>
                  <a:gd name="T76" fmla="*/ 2 w 28"/>
                  <a:gd name="T77" fmla="*/ 10 h 14"/>
                  <a:gd name="T78" fmla="*/ 2 w 28"/>
                  <a:gd name="T79" fmla="*/ 10 h 14"/>
                  <a:gd name="T80" fmla="*/ 2 w 28"/>
                  <a:gd name="T81" fmla="*/ 10 h 14"/>
                  <a:gd name="T82" fmla="*/ 4 w 28"/>
                  <a:gd name="T83" fmla="*/ 12 h 14"/>
                  <a:gd name="T84" fmla="*/ 6 w 28"/>
                  <a:gd name="T85" fmla="*/ 12 h 14"/>
                  <a:gd name="T86" fmla="*/ 10 w 28"/>
                  <a:gd name="T87" fmla="*/ 12 h 14"/>
                  <a:gd name="T88" fmla="*/ 12 w 28"/>
                  <a:gd name="T89" fmla="*/ 14 h 14"/>
                  <a:gd name="T90" fmla="*/ 14 w 2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14">
                    <a:moveTo>
                      <a:pt x="14" y="14"/>
                    </a:moveTo>
                    <a:lnTo>
                      <a:pt x="14" y="14"/>
                    </a:lnTo>
                    <a:lnTo>
                      <a:pt x="18" y="14"/>
                    </a:lnTo>
                    <a:lnTo>
                      <a:pt x="20" y="12"/>
                    </a:lnTo>
                    <a:lnTo>
                      <a:pt x="22" y="12"/>
                    </a:lnTo>
                    <a:lnTo>
                      <a:pt x="24" y="12"/>
                    </a:lnTo>
                    <a:lnTo>
                      <a:pt x="26" y="10"/>
                    </a:lnTo>
                    <a:lnTo>
                      <a:pt x="28" y="10"/>
                    </a:lnTo>
                    <a:lnTo>
                      <a:pt x="28" y="10"/>
                    </a:lnTo>
                    <a:lnTo>
                      <a:pt x="28" y="8"/>
                    </a:lnTo>
                    <a:lnTo>
                      <a:pt x="28" y="8"/>
                    </a:lnTo>
                    <a:lnTo>
                      <a:pt x="28" y="8"/>
                    </a:lnTo>
                    <a:lnTo>
                      <a:pt x="28" y="6"/>
                    </a:lnTo>
                    <a:lnTo>
                      <a:pt x="28" y="6"/>
                    </a:lnTo>
                    <a:lnTo>
                      <a:pt x="28" y="6"/>
                    </a:lnTo>
                    <a:lnTo>
                      <a:pt x="28" y="4"/>
                    </a:lnTo>
                    <a:lnTo>
                      <a:pt x="28" y="4"/>
                    </a:lnTo>
                    <a:lnTo>
                      <a:pt x="28" y="4"/>
                    </a:lnTo>
                    <a:lnTo>
                      <a:pt x="26" y="2"/>
                    </a:lnTo>
                    <a:lnTo>
                      <a:pt x="24" y="2"/>
                    </a:lnTo>
                    <a:lnTo>
                      <a:pt x="22" y="2"/>
                    </a:lnTo>
                    <a:lnTo>
                      <a:pt x="20" y="0"/>
                    </a:lnTo>
                    <a:lnTo>
                      <a:pt x="18" y="0"/>
                    </a:lnTo>
                    <a:lnTo>
                      <a:pt x="14" y="0"/>
                    </a:lnTo>
                    <a:lnTo>
                      <a:pt x="12" y="0"/>
                    </a:lnTo>
                    <a:lnTo>
                      <a:pt x="10" y="0"/>
                    </a:lnTo>
                    <a:lnTo>
                      <a:pt x="6" y="2"/>
                    </a:lnTo>
                    <a:lnTo>
                      <a:pt x="4" y="2"/>
                    </a:lnTo>
                    <a:lnTo>
                      <a:pt x="2" y="2"/>
                    </a:lnTo>
                    <a:lnTo>
                      <a:pt x="2" y="4"/>
                    </a:lnTo>
                    <a:lnTo>
                      <a:pt x="2" y="4"/>
                    </a:lnTo>
                    <a:lnTo>
                      <a:pt x="2" y="4"/>
                    </a:lnTo>
                    <a:lnTo>
                      <a:pt x="0" y="6"/>
                    </a:lnTo>
                    <a:lnTo>
                      <a:pt x="0" y="6"/>
                    </a:lnTo>
                    <a:lnTo>
                      <a:pt x="0" y="6"/>
                    </a:lnTo>
                    <a:lnTo>
                      <a:pt x="0" y="8"/>
                    </a:lnTo>
                    <a:lnTo>
                      <a:pt x="0" y="8"/>
                    </a:lnTo>
                    <a:lnTo>
                      <a:pt x="2" y="8"/>
                    </a:lnTo>
                    <a:lnTo>
                      <a:pt x="2" y="10"/>
                    </a:lnTo>
                    <a:lnTo>
                      <a:pt x="2" y="10"/>
                    </a:lnTo>
                    <a:lnTo>
                      <a:pt x="2" y="10"/>
                    </a:lnTo>
                    <a:lnTo>
                      <a:pt x="4" y="12"/>
                    </a:lnTo>
                    <a:lnTo>
                      <a:pt x="6" y="12"/>
                    </a:lnTo>
                    <a:lnTo>
                      <a:pt x="10" y="12"/>
                    </a:lnTo>
                    <a:lnTo>
                      <a:pt x="12" y="14"/>
                    </a:lnTo>
                    <a:lnTo>
                      <a:pt x="14" y="1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78" name="Freeform 542"/>
              <p:cNvSpPr>
                <a:spLocks/>
              </p:cNvSpPr>
              <p:nvPr/>
            </p:nvSpPr>
            <p:spPr bwMode="auto">
              <a:xfrm>
                <a:off x="1944978" y="2368717"/>
                <a:ext cx="146050" cy="88900"/>
              </a:xfrm>
              <a:custGeom>
                <a:avLst/>
                <a:gdLst>
                  <a:gd name="T0" fmla="*/ 88 w 92"/>
                  <a:gd name="T1" fmla="*/ 0 h 56"/>
                  <a:gd name="T2" fmla="*/ 84 w 92"/>
                  <a:gd name="T3" fmla="*/ 0 h 56"/>
                  <a:gd name="T4" fmla="*/ 82 w 92"/>
                  <a:gd name="T5" fmla="*/ 0 h 56"/>
                  <a:gd name="T6" fmla="*/ 80 w 92"/>
                  <a:gd name="T7" fmla="*/ 2 h 56"/>
                  <a:gd name="T8" fmla="*/ 72 w 92"/>
                  <a:gd name="T9" fmla="*/ 4 h 56"/>
                  <a:gd name="T10" fmla="*/ 66 w 92"/>
                  <a:gd name="T11" fmla="*/ 8 h 56"/>
                  <a:gd name="T12" fmla="*/ 60 w 92"/>
                  <a:gd name="T13" fmla="*/ 10 h 56"/>
                  <a:gd name="T14" fmla="*/ 48 w 92"/>
                  <a:gd name="T15" fmla="*/ 16 h 56"/>
                  <a:gd name="T16" fmla="*/ 34 w 92"/>
                  <a:gd name="T17" fmla="*/ 22 h 56"/>
                  <a:gd name="T18" fmla="*/ 30 w 92"/>
                  <a:gd name="T19" fmla="*/ 24 h 56"/>
                  <a:gd name="T20" fmla="*/ 24 w 92"/>
                  <a:gd name="T21" fmla="*/ 26 h 56"/>
                  <a:gd name="T22" fmla="*/ 12 w 92"/>
                  <a:gd name="T23" fmla="*/ 26 h 56"/>
                  <a:gd name="T24" fmla="*/ 8 w 92"/>
                  <a:gd name="T25" fmla="*/ 28 h 56"/>
                  <a:gd name="T26" fmla="*/ 6 w 92"/>
                  <a:gd name="T27" fmla="*/ 30 h 56"/>
                  <a:gd name="T28" fmla="*/ 4 w 92"/>
                  <a:gd name="T29" fmla="*/ 32 h 56"/>
                  <a:gd name="T30" fmla="*/ 2 w 92"/>
                  <a:gd name="T31" fmla="*/ 32 h 56"/>
                  <a:gd name="T32" fmla="*/ 0 w 92"/>
                  <a:gd name="T33" fmla="*/ 38 h 56"/>
                  <a:gd name="T34" fmla="*/ 0 w 92"/>
                  <a:gd name="T35" fmla="*/ 42 h 56"/>
                  <a:gd name="T36" fmla="*/ 0 w 92"/>
                  <a:gd name="T37" fmla="*/ 46 h 56"/>
                  <a:gd name="T38" fmla="*/ 0 w 92"/>
                  <a:gd name="T39" fmla="*/ 48 h 56"/>
                  <a:gd name="T40" fmla="*/ 2 w 92"/>
                  <a:gd name="T41" fmla="*/ 50 h 56"/>
                  <a:gd name="T42" fmla="*/ 4 w 92"/>
                  <a:gd name="T43" fmla="*/ 52 h 56"/>
                  <a:gd name="T44" fmla="*/ 8 w 92"/>
                  <a:gd name="T45" fmla="*/ 54 h 56"/>
                  <a:gd name="T46" fmla="*/ 12 w 92"/>
                  <a:gd name="T47" fmla="*/ 54 h 56"/>
                  <a:gd name="T48" fmla="*/ 18 w 92"/>
                  <a:gd name="T49" fmla="*/ 56 h 56"/>
                  <a:gd name="T50" fmla="*/ 24 w 92"/>
                  <a:gd name="T51" fmla="*/ 56 h 56"/>
                  <a:gd name="T52" fmla="*/ 30 w 92"/>
                  <a:gd name="T53" fmla="*/ 56 h 56"/>
                  <a:gd name="T54" fmla="*/ 34 w 92"/>
                  <a:gd name="T55" fmla="*/ 54 h 56"/>
                  <a:gd name="T56" fmla="*/ 38 w 92"/>
                  <a:gd name="T57" fmla="*/ 54 h 56"/>
                  <a:gd name="T58" fmla="*/ 42 w 92"/>
                  <a:gd name="T59" fmla="*/ 52 h 56"/>
                  <a:gd name="T60" fmla="*/ 46 w 92"/>
                  <a:gd name="T61" fmla="*/ 48 h 56"/>
                  <a:gd name="T62" fmla="*/ 48 w 92"/>
                  <a:gd name="T63" fmla="*/ 46 h 56"/>
                  <a:gd name="T64" fmla="*/ 54 w 92"/>
                  <a:gd name="T65" fmla="*/ 38 h 56"/>
                  <a:gd name="T66" fmla="*/ 60 w 92"/>
                  <a:gd name="T67" fmla="*/ 32 h 56"/>
                  <a:gd name="T68" fmla="*/ 62 w 92"/>
                  <a:gd name="T69" fmla="*/ 30 h 56"/>
                  <a:gd name="T70" fmla="*/ 66 w 92"/>
                  <a:gd name="T71" fmla="*/ 28 h 56"/>
                  <a:gd name="T72" fmla="*/ 68 w 92"/>
                  <a:gd name="T73" fmla="*/ 28 h 56"/>
                  <a:gd name="T74" fmla="*/ 72 w 92"/>
                  <a:gd name="T75" fmla="*/ 28 h 56"/>
                  <a:gd name="T76" fmla="*/ 80 w 92"/>
                  <a:gd name="T77" fmla="*/ 30 h 56"/>
                  <a:gd name="T78" fmla="*/ 82 w 92"/>
                  <a:gd name="T79" fmla="*/ 30 h 56"/>
                  <a:gd name="T80" fmla="*/ 86 w 92"/>
                  <a:gd name="T81" fmla="*/ 30 h 56"/>
                  <a:gd name="T82" fmla="*/ 88 w 92"/>
                  <a:gd name="T83" fmla="*/ 28 h 56"/>
                  <a:gd name="T84" fmla="*/ 88 w 92"/>
                  <a:gd name="T85" fmla="*/ 26 h 56"/>
                  <a:gd name="T86" fmla="*/ 90 w 92"/>
                  <a:gd name="T87" fmla="*/ 22 h 56"/>
                  <a:gd name="T88" fmla="*/ 90 w 92"/>
                  <a:gd name="T89" fmla="*/ 18 h 56"/>
                  <a:gd name="T90" fmla="*/ 92 w 92"/>
                  <a:gd name="T91" fmla="*/ 14 h 56"/>
                  <a:gd name="T92" fmla="*/ 90 w 92"/>
                  <a:gd name="T93" fmla="*/ 10 h 56"/>
                  <a:gd name="T94" fmla="*/ 90 w 92"/>
                  <a:gd name="T95" fmla="*/ 6 h 56"/>
                  <a:gd name="T96" fmla="*/ 88 w 92"/>
                  <a:gd name="T97" fmla="*/ 4 h 56"/>
                  <a:gd name="T98" fmla="*/ 88 w 92"/>
                  <a:gd name="T9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56">
                    <a:moveTo>
                      <a:pt x="88" y="0"/>
                    </a:moveTo>
                    <a:lnTo>
                      <a:pt x="88" y="0"/>
                    </a:lnTo>
                    <a:lnTo>
                      <a:pt x="86" y="0"/>
                    </a:lnTo>
                    <a:lnTo>
                      <a:pt x="84" y="0"/>
                    </a:lnTo>
                    <a:lnTo>
                      <a:pt x="84" y="0"/>
                    </a:lnTo>
                    <a:lnTo>
                      <a:pt x="82" y="0"/>
                    </a:lnTo>
                    <a:lnTo>
                      <a:pt x="80" y="0"/>
                    </a:lnTo>
                    <a:lnTo>
                      <a:pt x="80" y="2"/>
                    </a:lnTo>
                    <a:lnTo>
                      <a:pt x="76" y="2"/>
                    </a:lnTo>
                    <a:lnTo>
                      <a:pt x="72" y="4"/>
                    </a:lnTo>
                    <a:lnTo>
                      <a:pt x="70" y="6"/>
                    </a:lnTo>
                    <a:lnTo>
                      <a:pt x="66" y="8"/>
                    </a:lnTo>
                    <a:lnTo>
                      <a:pt x="64" y="8"/>
                    </a:lnTo>
                    <a:lnTo>
                      <a:pt x="60" y="10"/>
                    </a:lnTo>
                    <a:lnTo>
                      <a:pt x="56" y="12"/>
                    </a:lnTo>
                    <a:lnTo>
                      <a:pt x="48" y="16"/>
                    </a:lnTo>
                    <a:lnTo>
                      <a:pt x="38" y="20"/>
                    </a:lnTo>
                    <a:lnTo>
                      <a:pt x="34" y="22"/>
                    </a:lnTo>
                    <a:lnTo>
                      <a:pt x="32" y="24"/>
                    </a:lnTo>
                    <a:lnTo>
                      <a:pt x="30" y="24"/>
                    </a:lnTo>
                    <a:lnTo>
                      <a:pt x="28" y="24"/>
                    </a:lnTo>
                    <a:lnTo>
                      <a:pt x="24" y="26"/>
                    </a:lnTo>
                    <a:lnTo>
                      <a:pt x="16" y="26"/>
                    </a:lnTo>
                    <a:lnTo>
                      <a:pt x="12" y="26"/>
                    </a:lnTo>
                    <a:lnTo>
                      <a:pt x="10" y="28"/>
                    </a:lnTo>
                    <a:lnTo>
                      <a:pt x="8" y="28"/>
                    </a:lnTo>
                    <a:lnTo>
                      <a:pt x="6" y="28"/>
                    </a:lnTo>
                    <a:lnTo>
                      <a:pt x="6" y="30"/>
                    </a:lnTo>
                    <a:lnTo>
                      <a:pt x="4" y="30"/>
                    </a:lnTo>
                    <a:lnTo>
                      <a:pt x="4" y="32"/>
                    </a:lnTo>
                    <a:lnTo>
                      <a:pt x="2" y="32"/>
                    </a:lnTo>
                    <a:lnTo>
                      <a:pt x="2" y="32"/>
                    </a:lnTo>
                    <a:lnTo>
                      <a:pt x="2" y="34"/>
                    </a:lnTo>
                    <a:lnTo>
                      <a:pt x="0" y="38"/>
                    </a:lnTo>
                    <a:lnTo>
                      <a:pt x="0" y="40"/>
                    </a:lnTo>
                    <a:lnTo>
                      <a:pt x="0" y="42"/>
                    </a:lnTo>
                    <a:lnTo>
                      <a:pt x="0" y="44"/>
                    </a:lnTo>
                    <a:lnTo>
                      <a:pt x="0" y="46"/>
                    </a:lnTo>
                    <a:lnTo>
                      <a:pt x="0" y="48"/>
                    </a:lnTo>
                    <a:lnTo>
                      <a:pt x="0" y="48"/>
                    </a:lnTo>
                    <a:lnTo>
                      <a:pt x="0" y="48"/>
                    </a:lnTo>
                    <a:lnTo>
                      <a:pt x="2" y="50"/>
                    </a:lnTo>
                    <a:lnTo>
                      <a:pt x="2" y="50"/>
                    </a:lnTo>
                    <a:lnTo>
                      <a:pt x="4" y="52"/>
                    </a:lnTo>
                    <a:lnTo>
                      <a:pt x="6" y="52"/>
                    </a:lnTo>
                    <a:lnTo>
                      <a:pt x="8" y="54"/>
                    </a:lnTo>
                    <a:lnTo>
                      <a:pt x="10" y="54"/>
                    </a:lnTo>
                    <a:lnTo>
                      <a:pt x="12" y="54"/>
                    </a:lnTo>
                    <a:lnTo>
                      <a:pt x="16" y="54"/>
                    </a:lnTo>
                    <a:lnTo>
                      <a:pt x="18" y="56"/>
                    </a:lnTo>
                    <a:lnTo>
                      <a:pt x="22" y="56"/>
                    </a:lnTo>
                    <a:lnTo>
                      <a:pt x="24" y="56"/>
                    </a:lnTo>
                    <a:lnTo>
                      <a:pt x="28" y="56"/>
                    </a:lnTo>
                    <a:lnTo>
                      <a:pt x="30" y="56"/>
                    </a:lnTo>
                    <a:lnTo>
                      <a:pt x="32" y="54"/>
                    </a:lnTo>
                    <a:lnTo>
                      <a:pt x="34" y="54"/>
                    </a:lnTo>
                    <a:lnTo>
                      <a:pt x="36" y="54"/>
                    </a:lnTo>
                    <a:lnTo>
                      <a:pt x="38" y="54"/>
                    </a:lnTo>
                    <a:lnTo>
                      <a:pt x="40" y="52"/>
                    </a:lnTo>
                    <a:lnTo>
                      <a:pt x="42" y="52"/>
                    </a:lnTo>
                    <a:lnTo>
                      <a:pt x="44" y="50"/>
                    </a:lnTo>
                    <a:lnTo>
                      <a:pt x="46" y="48"/>
                    </a:lnTo>
                    <a:lnTo>
                      <a:pt x="46" y="48"/>
                    </a:lnTo>
                    <a:lnTo>
                      <a:pt x="48" y="46"/>
                    </a:lnTo>
                    <a:lnTo>
                      <a:pt x="52" y="42"/>
                    </a:lnTo>
                    <a:lnTo>
                      <a:pt x="54" y="38"/>
                    </a:lnTo>
                    <a:lnTo>
                      <a:pt x="58" y="34"/>
                    </a:lnTo>
                    <a:lnTo>
                      <a:pt x="60" y="32"/>
                    </a:lnTo>
                    <a:lnTo>
                      <a:pt x="60" y="30"/>
                    </a:lnTo>
                    <a:lnTo>
                      <a:pt x="62" y="30"/>
                    </a:lnTo>
                    <a:lnTo>
                      <a:pt x="64" y="28"/>
                    </a:lnTo>
                    <a:lnTo>
                      <a:pt x="66" y="28"/>
                    </a:lnTo>
                    <a:lnTo>
                      <a:pt x="66" y="28"/>
                    </a:lnTo>
                    <a:lnTo>
                      <a:pt x="68" y="28"/>
                    </a:lnTo>
                    <a:lnTo>
                      <a:pt x="70" y="28"/>
                    </a:lnTo>
                    <a:lnTo>
                      <a:pt x="72" y="28"/>
                    </a:lnTo>
                    <a:lnTo>
                      <a:pt x="76" y="30"/>
                    </a:lnTo>
                    <a:lnTo>
                      <a:pt x="80" y="30"/>
                    </a:lnTo>
                    <a:lnTo>
                      <a:pt x="82" y="30"/>
                    </a:lnTo>
                    <a:lnTo>
                      <a:pt x="82" y="30"/>
                    </a:lnTo>
                    <a:lnTo>
                      <a:pt x="84" y="30"/>
                    </a:lnTo>
                    <a:lnTo>
                      <a:pt x="86" y="30"/>
                    </a:lnTo>
                    <a:lnTo>
                      <a:pt x="86" y="30"/>
                    </a:lnTo>
                    <a:lnTo>
                      <a:pt x="88" y="28"/>
                    </a:lnTo>
                    <a:lnTo>
                      <a:pt x="88" y="28"/>
                    </a:lnTo>
                    <a:lnTo>
                      <a:pt x="88" y="26"/>
                    </a:lnTo>
                    <a:lnTo>
                      <a:pt x="90" y="24"/>
                    </a:lnTo>
                    <a:lnTo>
                      <a:pt x="90" y="22"/>
                    </a:lnTo>
                    <a:lnTo>
                      <a:pt x="90" y="20"/>
                    </a:lnTo>
                    <a:lnTo>
                      <a:pt x="90" y="18"/>
                    </a:lnTo>
                    <a:lnTo>
                      <a:pt x="90" y="16"/>
                    </a:lnTo>
                    <a:lnTo>
                      <a:pt x="92" y="14"/>
                    </a:lnTo>
                    <a:lnTo>
                      <a:pt x="92" y="12"/>
                    </a:lnTo>
                    <a:lnTo>
                      <a:pt x="90" y="10"/>
                    </a:lnTo>
                    <a:lnTo>
                      <a:pt x="90" y="8"/>
                    </a:lnTo>
                    <a:lnTo>
                      <a:pt x="90" y="6"/>
                    </a:lnTo>
                    <a:lnTo>
                      <a:pt x="90" y="4"/>
                    </a:lnTo>
                    <a:lnTo>
                      <a:pt x="88" y="4"/>
                    </a:lnTo>
                    <a:lnTo>
                      <a:pt x="88" y="2"/>
                    </a:lnTo>
                    <a:lnTo>
                      <a:pt x="88"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79" name="Freeform 544"/>
              <p:cNvSpPr>
                <a:spLocks/>
              </p:cNvSpPr>
              <p:nvPr/>
            </p:nvSpPr>
            <p:spPr bwMode="auto">
              <a:xfrm>
                <a:off x="2030703" y="2448092"/>
                <a:ext cx="22225" cy="41275"/>
              </a:xfrm>
              <a:custGeom>
                <a:avLst/>
                <a:gdLst>
                  <a:gd name="T0" fmla="*/ 8 w 14"/>
                  <a:gd name="T1" fmla="*/ 26 h 26"/>
                  <a:gd name="T2" fmla="*/ 8 w 14"/>
                  <a:gd name="T3" fmla="*/ 26 h 26"/>
                  <a:gd name="T4" fmla="*/ 6 w 14"/>
                  <a:gd name="T5" fmla="*/ 26 h 26"/>
                  <a:gd name="T6" fmla="*/ 6 w 14"/>
                  <a:gd name="T7" fmla="*/ 26 h 26"/>
                  <a:gd name="T8" fmla="*/ 6 w 14"/>
                  <a:gd name="T9" fmla="*/ 24 h 26"/>
                  <a:gd name="T10" fmla="*/ 4 w 14"/>
                  <a:gd name="T11" fmla="*/ 24 h 26"/>
                  <a:gd name="T12" fmla="*/ 4 w 14"/>
                  <a:gd name="T13" fmla="*/ 24 h 26"/>
                  <a:gd name="T14" fmla="*/ 4 w 14"/>
                  <a:gd name="T15" fmla="*/ 24 h 26"/>
                  <a:gd name="T16" fmla="*/ 2 w 14"/>
                  <a:gd name="T17" fmla="*/ 22 h 26"/>
                  <a:gd name="T18" fmla="*/ 2 w 14"/>
                  <a:gd name="T19" fmla="*/ 20 h 26"/>
                  <a:gd name="T20" fmla="*/ 2 w 14"/>
                  <a:gd name="T21" fmla="*/ 18 h 26"/>
                  <a:gd name="T22" fmla="*/ 0 w 14"/>
                  <a:gd name="T23" fmla="*/ 16 h 26"/>
                  <a:gd name="T24" fmla="*/ 0 w 14"/>
                  <a:gd name="T25" fmla="*/ 12 h 26"/>
                  <a:gd name="T26" fmla="*/ 0 w 14"/>
                  <a:gd name="T27" fmla="*/ 10 h 26"/>
                  <a:gd name="T28" fmla="*/ 2 w 14"/>
                  <a:gd name="T29" fmla="*/ 8 h 26"/>
                  <a:gd name="T30" fmla="*/ 2 w 14"/>
                  <a:gd name="T31" fmla="*/ 6 h 26"/>
                  <a:gd name="T32" fmla="*/ 2 w 14"/>
                  <a:gd name="T33" fmla="*/ 4 h 26"/>
                  <a:gd name="T34" fmla="*/ 4 w 14"/>
                  <a:gd name="T35" fmla="*/ 2 h 26"/>
                  <a:gd name="T36" fmla="*/ 4 w 14"/>
                  <a:gd name="T37" fmla="*/ 2 h 26"/>
                  <a:gd name="T38" fmla="*/ 4 w 14"/>
                  <a:gd name="T39" fmla="*/ 2 h 26"/>
                  <a:gd name="T40" fmla="*/ 6 w 14"/>
                  <a:gd name="T41" fmla="*/ 0 h 26"/>
                  <a:gd name="T42" fmla="*/ 6 w 14"/>
                  <a:gd name="T43" fmla="*/ 0 h 26"/>
                  <a:gd name="T44" fmla="*/ 6 w 14"/>
                  <a:gd name="T45" fmla="*/ 0 h 26"/>
                  <a:gd name="T46" fmla="*/ 8 w 14"/>
                  <a:gd name="T47" fmla="*/ 0 h 26"/>
                  <a:gd name="T48" fmla="*/ 8 w 14"/>
                  <a:gd name="T49" fmla="*/ 0 h 26"/>
                  <a:gd name="T50" fmla="*/ 8 w 14"/>
                  <a:gd name="T51" fmla="*/ 0 h 26"/>
                  <a:gd name="T52" fmla="*/ 10 w 14"/>
                  <a:gd name="T53" fmla="*/ 0 h 26"/>
                  <a:gd name="T54" fmla="*/ 10 w 14"/>
                  <a:gd name="T55" fmla="*/ 2 h 26"/>
                  <a:gd name="T56" fmla="*/ 10 w 14"/>
                  <a:gd name="T57" fmla="*/ 2 h 26"/>
                  <a:gd name="T58" fmla="*/ 12 w 14"/>
                  <a:gd name="T59" fmla="*/ 2 h 26"/>
                  <a:gd name="T60" fmla="*/ 12 w 14"/>
                  <a:gd name="T61" fmla="*/ 4 h 26"/>
                  <a:gd name="T62" fmla="*/ 12 w 14"/>
                  <a:gd name="T63" fmla="*/ 6 h 26"/>
                  <a:gd name="T64" fmla="*/ 14 w 14"/>
                  <a:gd name="T65" fmla="*/ 8 h 26"/>
                  <a:gd name="T66" fmla="*/ 14 w 14"/>
                  <a:gd name="T67" fmla="*/ 10 h 26"/>
                  <a:gd name="T68" fmla="*/ 14 w 14"/>
                  <a:gd name="T69" fmla="*/ 12 h 26"/>
                  <a:gd name="T70" fmla="*/ 14 w 14"/>
                  <a:gd name="T71" fmla="*/ 16 h 26"/>
                  <a:gd name="T72" fmla="*/ 14 w 14"/>
                  <a:gd name="T73" fmla="*/ 18 h 26"/>
                  <a:gd name="T74" fmla="*/ 12 w 14"/>
                  <a:gd name="T75" fmla="*/ 20 h 26"/>
                  <a:gd name="T76" fmla="*/ 12 w 14"/>
                  <a:gd name="T77" fmla="*/ 22 h 26"/>
                  <a:gd name="T78" fmla="*/ 12 w 14"/>
                  <a:gd name="T79" fmla="*/ 24 h 26"/>
                  <a:gd name="T80" fmla="*/ 10 w 14"/>
                  <a:gd name="T81" fmla="*/ 24 h 26"/>
                  <a:gd name="T82" fmla="*/ 10 w 14"/>
                  <a:gd name="T83" fmla="*/ 24 h 26"/>
                  <a:gd name="T84" fmla="*/ 10 w 14"/>
                  <a:gd name="T85" fmla="*/ 24 h 26"/>
                  <a:gd name="T86" fmla="*/ 8 w 14"/>
                  <a:gd name="T87" fmla="*/ 26 h 26"/>
                  <a:gd name="T88" fmla="*/ 8 w 14"/>
                  <a:gd name="T89" fmla="*/ 26 h 26"/>
                  <a:gd name="T90" fmla="*/ 8 w 14"/>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6">
                    <a:moveTo>
                      <a:pt x="8" y="26"/>
                    </a:moveTo>
                    <a:lnTo>
                      <a:pt x="8" y="26"/>
                    </a:lnTo>
                    <a:lnTo>
                      <a:pt x="6" y="26"/>
                    </a:lnTo>
                    <a:lnTo>
                      <a:pt x="6" y="26"/>
                    </a:lnTo>
                    <a:lnTo>
                      <a:pt x="6" y="24"/>
                    </a:lnTo>
                    <a:lnTo>
                      <a:pt x="4" y="24"/>
                    </a:lnTo>
                    <a:lnTo>
                      <a:pt x="4" y="24"/>
                    </a:lnTo>
                    <a:lnTo>
                      <a:pt x="4" y="24"/>
                    </a:lnTo>
                    <a:lnTo>
                      <a:pt x="2" y="22"/>
                    </a:lnTo>
                    <a:lnTo>
                      <a:pt x="2" y="20"/>
                    </a:lnTo>
                    <a:lnTo>
                      <a:pt x="2" y="18"/>
                    </a:lnTo>
                    <a:lnTo>
                      <a:pt x="0" y="16"/>
                    </a:lnTo>
                    <a:lnTo>
                      <a:pt x="0" y="12"/>
                    </a:lnTo>
                    <a:lnTo>
                      <a:pt x="0" y="10"/>
                    </a:lnTo>
                    <a:lnTo>
                      <a:pt x="2" y="8"/>
                    </a:lnTo>
                    <a:lnTo>
                      <a:pt x="2" y="6"/>
                    </a:lnTo>
                    <a:lnTo>
                      <a:pt x="2" y="4"/>
                    </a:lnTo>
                    <a:lnTo>
                      <a:pt x="4" y="2"/>
                    </a:lnTo>
                    <a:lnTo>
                      <a:pt x="4" y="2"/>
                    </a:lnTo>
                    <a:lnTo>
                      <a:pt x="4" y="2"/>
                    </a:lnTo>
                    <a:lnTo>
                      <a:pt x="6" y="0"/>
                    </a:lnTo>
                    <a:lnTo>
                      <a:pt x="6" y="0"/>
                    </a:lnTo>
                    <a:lnTo>
                      <a:pt x="6" y="0"/>
                    </a:lnTo>
                    <a:lnTo>
                      <a:pt x="8" y="0"/>
                    </a:lnTo>
                    <a:lnTo>
                      <a:pt x="8" y="0"/>
                    </a:lnTo>
                    <a:lnTo>
                      <a:pt x="8" y="0"/>
                    </a:lnTo>
                    <a:lnTo>
                      <a:pt x="10" y="0"/>
                    </a:lnTo>
                    <a:lnTo>
                      <a:pt x="10" y="2"/>
                    </a:lnTo>
                    <a:lnTo>
                      <a:pt x="10" y="2"/>
                    </a:lnTo>
                    <a:lnTo>
                      <a:pt x="12" y="2"/>
                    </a:lnTo>
                    <a:lnTo>
                      <a:pt x="12" y="4"/>
                    </a:lnTo>
                    <a:lnTo>
                      <a:pt x="12" y="6"/>
                    </a:lnTo>
                    <a:lnTo>
                      <a:pt x="14" y="8"/>
                    </a:lnTo>
                    <a:lnTo>
                      <a:pt x="14" y="10"/>
                    </a:lnTo>
                    <a:lnTo>
                      <a:pt x="14" y="12"/>
                    </a:lnTo>
                    <a:lnTo>
                      <a:pt x="14" y="16"/>
                    </a:lnTo>
                    <a:lnTo>
                      <a:pt x="14" y="18"/>
                    </a:lnTo>
                    <a:lnTo>
                      <a:pt x="12" y="20"/>
                    </a:lnTo>
                    <a:lnTo>
                      <a:pt x="12" y="22"/>
                    </a:lnTo>
                    <a:lnTo>
                      <a:pt x="12" y="24"/>
                    </a:lnTo>
                    <a:lnTo>
                      <a:pt x="10" y="24"/>
                    </a:lnTo>
                    <a:lnTo>
                      <a:pt x="10" y="24"/>
                    </a:lnTo>
                    <a:lnTo>
                      <a:pt x="10" y="24"/>
                    </a:lnTo>
                    <a:lnTo>
                      <a:pt x="8" y="26"/>
                    </a:lnTo>
                    <a:lnTo>
                      <a:pt x="8" y="26"/>
                    </a:lnTo>
                    <a:lnTo>
                      <a:pt x="8" y="2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0" name="Freeform 546"/>
              <p:cNvSpPr>
                <a:spLocks/>
              </p:cNvSpPr>
              <p:nvPr/>
            </p:nvSpPr>
            <p:spPr bwMode="auto">
              <a:xfrm>
                <a:off x="2075153" y="2406817"/>
                <a:ext cx="212725" cy="104775"/>
              </a:xfrm>
              <a:custGeom>
                <a:avLst/>
                <a:gdLst>
                  <a:gd name="T0" fmla="*/ 46 w 134"/>
                  <a:gd name="T1" fmla="*/ 22 h 66"/>
                  <a:gd name="T2" fmla="*/ 42 w 134"/>
                  <a:gd name="T3" fmla="*/ 26 h 66"/>
                  <a:gd name="T4" fmla="*/ 38 w 134"/>
                  <a:gd name="T5" fmla="*/ 32 h 66"/>
                  <a:gd name="T6" fmla="*/ 34 w 134"/>
                  <a:gd name="T7" fmla="*/ 34 h 66"/>
                  <a:gd name="T8" fmla="*/ 30 w 134"/>
                  <a:gd name="T9" fmla="*/ 36 h 66"/>
                  <a:gd name="T10" fmla="*/ 20 w 134"/>
                  <a:gd name="T11" fmla="*/ 34 h 66"/>
                  <a:gd name="T12" fmla="*/ 12 w 134"/>
                  <a:gd name="T13" fmla="*/ 34 h 66"/>
                  <a:gd name="T14" fmla="*/ 8 w 134"/>
                  <a:gd name="T15" fmla="*/ 34 h 66"/>
                  <a:gd name="T16" fmla="*/ 6 w 134"/>
                  <a:gd name="T17" fmla="*/ 36 h 66"/>
                  <a:gd name="T18" fmla="*/ 4 w 134"/>
                  <a:gd name="T19" fmla="*/ 40 h 66"/>
                  <a:gd name="T20" fmla="*/ 2 w 134"/>
                  <a:gd name="T21" fmla="*/ 50 h 66"/>
                  <a:gd name="T22" fmla="*/ 0 w 134"/>
                  <a:gd name="T23" fmla="*/ 54 h 66"/>
                  <a:gd name="T24" fmla="*/ 2 w 134"/>
                  <a:gd name="T25" fmla="*/ 58 h 66"/>
                  <a:gd name="T26" fmla="*/ 6 w 134"/>
                  <a:gd name="T27" fmla="*/ 60 h 66"/>
                  <a:gd name="T28" fmla="*/ 12 w 134"/>
                  <a:gd name="T29" fmla="*/ 62 h 66"/>
                  <a:gd name="T30" fmla="*/ 20 w 134"/>
                  <a:gd name="T31" fmla="*/ 64 h 66"/>
                  <a:gd name="T32" fmla="*/ 32 w 134"/>
                  <a:gd name="T33" fmla="*/ 66 h 66"/>
                  <a:gd name="T34" fmla="*/ 42 w 134"/>
                  <a:gd name="T35" fmla="*/ 64 h 66"/>
                  <a:gd name="T36" fmla="*/ 58 w 134"/>
                  <a:gd name="T37" fmla="*/ 60 h 66"/>
                  <a:gd name="T38" fmla="*/ 68 w 134"/>
                  <a:gd name="T39" fmla="*/ 56 h 66"/>
                  <a:gd name="T40" fmla="*/ 80 w 134"/>
                  <a:gd name="T41" fmla="*/ 52 h 66"/>
                  <a:gd name="T42" fmla="*/ 98 w 134"/>
                  <a:gd name="T43" fmla="*/ 48 h 66"/>
                  <a:gd name="T44" fmla="*/ 108 w 134"/>
                  <a:gd name="T45" fmla="*/ 48 h 66"/>
                  <a:gd name="T46" fmla="*/ 112 w 134"/>
                  <a:gd name="T47" fmla="*/ 48 h 66"/>
                  <a:gd name="T48" fmla="*/ 122 w 134"/>
                  <a:gd name="T49" fmla="*/ 54 h 66"/>
                  <a:gd name="T50" fmla="*/ 128 w 134"/>
                  <a:gd name="T51" fmla="*/ 56 h 66"/>
                  <a:gd name="T52" fmla="*/ 132 w 134"/>
                  <a:gd name="T53" fmla="*/ 56 h 66"/>
                  <a:gd name="T54" fmla="*/ 134 w 134"/>
                  <a:gd name="T55" fmla="*/ 56 h 66"/>
                  <a:gd name="T56" fmla="*/ 134 w 134"/>
                  <a:gd name="T57" fmla="*/ 54 h 66"/>
                  <a:gd name="T58" fmla="*/ 134 w 134"/>
                  <a:gd name="T59" fmla="*/ 48 h 66"/>
                  <a:gd name="T60" fmla="*/ 132 w 134"/>
                  <a:gd name="T61" fmla="*/ 42 h 66"/>
                  <a:gd name="T62" fmla="*/ 128 w 134"/>
                  <a:gd name="T63" fmla="*/ 36 h 66"/>
                  <a:gd name="T64" fmla="*/ 122 w 134"/>
                  <a:gd name="T65" fmla="*/ 28 h 66"/>
                  <a:gd name="T66" fmla="*/ 118 w 134"/>
                  <a:gd name="T67" fmla="*/ 26 h 66"/>
                  <a:gd name="T68" fmla="*/ 110 w 134"/>
                  <a:gd name="T69" fmla="*/ 24 h 66"/>
                  <a:gd name="T70" fmla="*/ 98 w 134"/>
                  <a:gd name="T71" fmla="*/ 22 h 66"/>
                  <a:gd name="T72" fmla="*/ 94 w 134"/>
                  <a:gd name="T73" fmla="*/ 20 h 66"/>
                  <a:gd name="T74" fmla="*/ 92 w 134"/>
                  <a:gd name="T75" fmla="*/ 18 h 66"/>
                  <a:gd name="T76" fmla="*/ 90 w 134"/>
                  <a:gd name="T77" fmla="*/ 14 h 66"/>
                  <a:gd name="T78" fmla="*/ 90 w 134"/>
                  <a:gd name="T79" fmla="*/ 6 h 66"/>
                  <a:gd name="T80" fmla="*/ 88 w 134"/>
                  <a:gd name="T81" fmla="*/ 2 h 66"/>
                  <a:gd name="T82" fmla="*/ 86 w 134"/>
                  <a:gd name="T83" fmla="*/ 2 h 66"/>
                  <a:gd name="T84" fmla="*/ 82 w 134"/>
                  <a:gd name="T85" fmla="*/ 0 h 66"/>
                  <a:gd name="T86" fmla="*/ 74 w 134"/>
                  <a:gd name="T87" fmla="*/ 2 h 66"/>
                  <a:gd name="T88" fmla="*/ 68 w 134"/>
                  <a:gd name="T89" fmla="*/ 4 h 66"/>
                  <a:gd name="T90" fmla="*/ 64 w 134"/>
                  <a:gd name="T91" fmla="*/ 6 h 66"/>
                  <a:gd name="T92" fmla="*/ 64 w 134"/>
                  <a:gd name="T93" fmla="*/ 8 h 66"/>
                  <a:gd name="T94" fmla="*/ 64 w 134"/>
                  <a:gd name="T95" fmla="*/ 14 h 66"/>
                  <a:gd name="T96" fmla="*/ 64 w 134"/>
                  <a:gd name="T97" fmla="*/ 18 h 66"/>
                  <a:gd name="T98" fmla="*/ 62 w 134"/>
                  <a:gd name="T99" fmla="*/ 20 h 66"/>
                  <a:gd name="T100" fmla="*/ 60 w 134"/>
                  <a:gd name="T101" fmla="*/ 22 h 66"/>
                  <a:gd name="T102" fmla="*/ 50 w 134"/>
                  <a:gd name="T103" fmla="*/ 22 h 66"/>
                  <a:gd name="T104" fmla="*/ 48 w 134"/>
                  <a:gd name="T105" fmla="*/ 2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 h="66">
                    <a:moveTo>
                      <a:pt x="48" y="22"/>
                    </a:moveTo>
                    <a:lnTo>
                      <a:pt x="48" y="22"/>
                    </a:lnTo>
                    <a:lnTo>
                      <a:pt x="46" y="22"/>
                    </a:lnTo>
                    <a:lnTo>
                      <a:pt x="46" y="24"/>
                    </a:lnTo>
                    <a:lnTo>
                      <a:pt x="44" y="24"/>
                    </a:lnTo>
                    <a:lnTo>
                      <a:pt x="42" y="26"/>
                    </a:lnTo>
                    <a:lnTo>
                      <a:pt x="42" y="28"/>
                    </a:lnTo>
                    <a:lnTo>
                      <a:pt x="40" y="30"/>
                    </a:lnTo>
                    <a:lnTo>
                      <a:pt x="38" y="32"/>
                    </a:lnTo>
                    <a:lnTo>
                      <a:pt x="36" y="34"/>
                    </a:lnTo>
                    <a:lnTo>
                      <a:pt x="36" y="34"/>
                    </a:lnTo>
                    <a:lnTo>
                      <a:pt x="34" y="34"/>
                    </a:lnTo>
                    <a:lnTo>
                      <a:pt x="34" y="36"/>
                    </a:lnTo>
                    <a:lnTo>
                      <a:pt x="32" y="36"/>
                    </a:lnTo>
                    <a:lnTo>
                      <a:pt x="30" y="36"/>
                    </a:lnTo>
                    <a:lnTo>
                      <a:pt x="28" y="36"/>
                    </a:lnTo>
                    <a:lnTo>
                      <a:pt x="24" y="34"/>
                    </a:lnTo>
                    <a:lnTo>
                      <a:pt x="20" y="34"/>
                    </a:lnTo>
                    <a:lnTo>
                      <a:pt x="16" y="34"/>
                    </a:lnTo>
                    <a:lnTo>
                      <a:pt x="14" y="34"/>
                    </a:lnTo>
                    <a:lnTo>
                      <a:pt x="12" y="34"/>
                    </a:lnTo>
                    <a:lnTo>
                      <a:pt x="12" y="34"/>
                    </a:lnTo>
                    <a:lnTo>
                      <a:pt x="10" y="34"/>
                    </a:lnTo>
                    <a:lnTo>
                      <a:pt x="8" y="34"/>
                    </a:lnTo>
                    <a:lnTo>
                      <a:pt x="8" y="34"/>
                    </a:lnTo>
                    <a:lnTo>
                      <a:pt x="6" y="36"/>
                    </a:lnTo>
                    <a:lnTo>
                      <a:pt x="6" y="36"/>
                    </a:lnTo>
                    <a:lnTo>
                      <a:pt x="4" y="38"/>
                    </a:lnTo>
                    <a:lnTo>
                      <a:pt x="4" y="40"/>
                    </a:lnTo>
                    <a:lnTo>
                      <a:pt x="4" y="40"/>
                    </a:lnTo>
                    <a:lnTo>
                      <a:pt x="2" y="42"/>
                    </a:lnTo>
                    <a:lnTo>
                      <a:pt x="2" y="46"/>
                    </a:lnTo>
                    <a:lnTo>
                      <a:pt x="2" y="50"/>
                    </a:lnTo>
                    <a:lnTo>
                      <a:pt x="0" y="50"/>
                    </a:lnTo>
                    <a:lnTo>
                      <a:pt x="0" y="52"/>
                    </a:lnTo>
                    <a:lnTo>
                      <a:pt x="0" y="54"/>
                    </a:lnTo>
                    <a:lnTo>
                      <a:pt x="2" y="56"/>
                    </a:lnTo>
                    <a:lnTo>
                      <a:pt x="2" y="56"/>
                    </a:lnTo>
                    <a:lnTo>
                      <a:pt x="2" y="58"/>
                    </a:lnTo>
                    <a:lnTo>
                      <a:pt x="4" y="58"/>
                    </a:lnTo>
                    <a:lnTo>
                      <a:pt x="4" y="60"/>
                    </a:lnTo>
                    <a:lnTo>
                      <a:pt x="6" y="60"/>
                    </a:lnTo>
                    <a:lnTo>
                      <a:pt x="8" y="62"/>
                    </a:lnTo>
                    <a:lnTo>
                      <a:pt x="10" y="62"/>
                    </a:lnTo>
                    <a:lnTo>
                      <a:pt x="12" y="62"/>
                    </a:lnTo>
                    <a:lnTo>
                      <a:pt x="14" y="64"/>
                    </a:lnTo>
                    <a:lnTo>
                      <a:pt x="16" y="64"/>
                    </a:lnTo>
                    <a:lnTo>
                      <a:pt x="20" y="64"/>
                    </a:lnTo>
                    <a:lnTo>
                      <a:pt x="24" y="64"/>
                    </a:lnTo>
                    <a:lnTo>
                      <a:pt x="28" y="64"/>
                    </a:lnTo>
                    <a:lnTo>
                      <a:pt x="32" y="66"/>
                    </a:lnTo>
                    <a:lnTo>
                      <a:pt x="34" y="64"/>
                    </a:lnTo>
                    <a:lnTo>
                      <a:pt x="38" y="64"/>
                    </a:lnTo>
                    <a:lnTo>
                      <a:pt x="42" y="64"/>
                    </a:lnTo>
                    <a:lnTo>
                      <a:pt x="46" y="64"/>
                    </a:lnTo>
                    <a:lnTo>
                      <a:pt x="52" y="62"/>
                    </a:lnTo>
                    <a:lnTo>
                      <a:pt x="58" y="60"/>
                    </a:lnTo>
                    <a:lnTo>
                      <a:pt x="60" y="60"/>
                    </a:lnTo>
                    <a:lnTo>
                      <a:pt x="62" y="58"/>
                    </a:lnTo>
                    <a:lnTo>
                      <a:pt x="68" y="56"/>
                    </a:lnTo>
                    <a:lnTo>
                      <a:pt x="76" y="54"/>
                    </a:lnTo>
                    <a:lnTo>
                      <a:pt x="78" y="54"/>
                    </a:lnTo>
                    <a:lnTo>
                      <a:pt x="80" y="52"/>
                    </a:lnTo>
                    <a:lnTo>
                      <a:pt x="86" y="50"/>
                    </a:lnTo>
                    <a:lnTo>
                      <a:pt x="94" y="50"/>
                    </a:lnTo>
                    <a:lnTo>
                      <a:pt x="98" y="48"/>
                    </a:lnTo>
                    <a:lnTo>
                      <a:pt x="102" y="48"/>
                    </a:lnTo>
                    <a:lnTo>
                      <a:pt x="106" y="48"/>
                    </a:lnTo>
                    <a:lnTo>
                      <a:pt x="108" y="48"/>
                    </a:lnTo>
                    <a:lnTo>
                      <a:pt x="110" y="48"/>
                    </a:lnTo>
                    <a:lnTo>
                      <a:pt x="110" y="48"/>
                    </a:lnTo>
                    <a:lnTo>
                      <a:pt x="112" y="48"/>
                    </a:lnTo>
                    <a:lnTo>
                      <a:pt x="114" y="50"/>
                    </a:lnTo>
                    <a:lnTo>
                      <a:pt x="118" y="52"/>
                    </a:lnTo>
                    <a:lnTo>
                      <a:pt x="122" y="54"/>
                    </a:lnTo>
                    <a:lnTo>
                      <a:pt x="126" y="54"/>
                    </a:lnTo>
                    <a:lnTo>
                      <a:pt x="126" y="56"/>
                    </a:lnTo>
                    <a:lnTo>
                      <a:pt x="128" y="56"/>
                    </a:lnTo>
                    <a:lnTo>
                      <a:pt x="130" y="56"/>
                    </a:lnTo>
                    <a:lnTo>
                      <a:pt x="132" y="56"/>
                    </a:lnTo>
                    <a:lnTo>
                      <a:pt x="132" y="56"/>
                    </a:lnTo>
                    <a:lnTo>
                      <a:pt x="132" y="56"/>
                    </a:lnTo>
                    <a:lnTo>
                      <a:pt x="132" y="56"/>
                    </a:lnTo>
                    <a:lnTo>
                      <a:pt x="134" y="56"/>
                    </a:lnTo>
                    <a:lnTo>
                      <a:pt x="134" y="54"/>
                    </a:lnTo>
                    <a:lnTo>
                      <a:pt x="134" y="54"/>
                    </a:lnTo>
                    <a:lnTo>
                      <a:pt x="134" y="54"/>
                    </a:lnTo>
                    <a:lnTo>
                      <a:pt x="134" y="52"/>
                    </a:lnTo>
                    <a:lnTo>
                      <a:pt x="134" y="50"/>
                    </a:lnTo>
                    <a:lnTo>
                      <a:pt x="134" y="48"/>
                    </a:lnTo>
                    <a:lnTo>
                      <a:pt x="134" y="46"/>
                    </a:lnTo>
                    <a:lnTo>
                      <a:pt x="132" y="46"/>
                    </a:lnTo>
                    <a:lnTo>
                      <a:pt x="132" y="42"/>
                    </a:lnTo>
                    <a:lnTo>
                      <a:pt x="130" y="40"/>
                    </a:lnTo>
                    <a:lnTo>
                      <a:pt x="130" y="38"/>
                    </a:lnTo>
                    <a:lnTo>
                      <a:pt x="128" y="36"/>
                    </a:lnTo>
                    <a:lnTo>
                      <a:pt x="126" y="32"/>
                    </a:lnTo>
                    <a:lnTo>
                      <a:pt x="124" y="30"/>
                    </a:lnTo>
                    <a:lnTo>
                      <a:pt x="122" y="28"/>
                    </a:lnTo>
                    <a:lnTo>
                      <a:pt x="120" y="28"/>
                    </a:lnTo>
                    <a:lnTo>
                      <a:pt x="120" y="26"/>
                    </a:lnTo>
                    <a:lnTo>
                      <a:pt x="118" y="26"/>
                    </a:lnTo>
                    <a:lnTo>
                      <a:pt x="116" y="26"/>
                    </a:lnTo>
                    <a:lnTo>
                      <a:pt x="114" y="24"/>
                    </a:lnTo>
                    <a:lnTo>
                      <a:pt x="110" y="24"/>
                    </a:lnTo>
                    <a:lnTo>
                      <a:pt x="106" y="24"/>
                    </a:lnTo>
                    <a:lnTo>
                      <a:pt x="102" y="24"/>
                    </a:lnTo>
                    <a:lnTo>
                      <a:pt x="98" y="22"/>
                    </a:lnTo>
                    <a:lnTo>
                      <a:pt x="96" y="22"/>
                    </a:lnTo>
                    <a:lnTo>
                      <a:pt x="96" y="22"/>
                    </a:lnTo>
                    <a:lnTo>
                      <a:pt x="94" y="20"/>
                    </a:lnTo>
                    <a:lnTo>
                      <a:pt x="92" y="20"/>
                    </a:lnTo>
                    <a:lnTo>
                      <a:pt x="92" y="18"/>
                    </a:lnTo>
                    <a:lnTo>
                      <a:pt x="92" y="18"/>
                    </a:lnTo>
                    <a:lnTo>
                      <a:pt x="92" y="18"/>
                    </a:lnTo>
                    <a:lnTo>
                      <a:pt x="92" y="16"/>
                    </a:lnTo>
                    <a:lnTo>
                      <a:pt x="90" y="14"/>
                    </a:lnTo>
                    <a:lnTo>
                      <a:pt x="90" y="10"/>
                    </a:lnTo>
                    <a:lnTo>
                      <a:pt x="90" y="8"/>
                    </a:lnTo>
                    <a:lnTo>
                      <a:pt x="90" y="6"/>
                    </a:lnTo>
                    <a:lnTo>
                      <a:pt x="90" y="4"/>
                    </a:lnTo>
                    <a:lnTo>
                      <a:pt x="90" y="4"/>
                    </a:lnTo>
                    <a:lnTo>
                      <a:pt x="88" y="2"/>
                    </a:lnTo>
                    <a:lnTo>
                      <a:pt x="88" y="2"/>
                    </a:lnTo>
                    <a:lnTo>
                      <a:pt x="86" y="2"/>
                    </a:lnTo>
                    <a:lnTo>
                      <a:pt x="86" y="2"/>
                    </a:lnTo>
                    <a:lnTo>
                      <a:pt x="84" y="0"/>
                    </a:lnTo>
                    <a:lnTo>
                      <a:pt x="82" y="0"/>
                    </a:lnTo>
                    <a:lnTo>
                      <a:pt x="82" y="0"/>
                    </a:lnTo>
                    <a:lnTo>
                      <a:pt x="80" y="0"/>
                    </a:lnTo>
                    <a:lnTo>
                      <a:pt x="76" y="0"/>
                    </a:lnTo>
                    <a:lnTo>
                      <a:pt x="74" y="2"/>
                    </a:lnTo>
                    <a:lnTo>
                      <a:pt x="70" y="2"/>
                    </a:lnTo>
                    <a:lnTo>
                      <a:pt x="68" y="2"/>
                    </a:lnTo>
                    <a:lnTo>
                      <a:pt x="68" y="4"/>
                    </a:lnTo>
                    <a:lnTo>
                      <a:pt x="66" y="4"/>
                    </a:lnTo>
                    <a:lnTo>
                      <a:pt x="66" y="4"/>
                    </a:lnTo>
                    <a:lnTo>
                      <a:pt x="64" y="6"/>
                    </a:lnTo>
                    <a:lnTo>
                      <a:pt x="64" y="6"/>
                    </a:lnTo>
                    <a:lnTo>
                      <a:pt x="64" y="6"/>
                    </a:lnTo>
                    <a:lnTo>
                      <a:pt x="64" y="8"/>
                    </a:lnTo>
                    <a:lnTo>
                      <a:pt x="64" y="10"/>
                    </a:lnTo>
                    <a:lnTo>
                      <a:pt x="64" y="12"/>
                    </a:lnTo>
                    <a:lnTo>
                      <a:pt x="64" y="14"/>
                    </a:lnTo>
                    <a:lnTo>
                      <a:pt x="64" y="16"/>
                    </a:lnTo>
                    <a:lnTo>
                      <a:pt x="64" y="18"/>
                    </a:lnTo>
                    <a:lnTo>
                      <a:pt x="64" y="18"/>
                    </a:lnTo>
                    <a:lnTo>
                      <a:pt x="62" y="20"/>
                    </a:lnTo>
                    <a:lnTo>
                      <a:pt x="62" y="20"/>
                    </a:lnTo>
                    <a:lnTo>
                      <a:pt x="62" y="20"/>
                    </a:lnTo>
                    <a:lnTo>
                      <a:pt x="62" y="20"/>
                    </a:lnTo>
                    <a:lnTo>
                      <a:pt x="60" y="20"/>
                    </a:lnTo>
                    <a:lnTo>
                      <a:pt x="60" y="22"/>
                    </a:lnTo>
                    <a:lnTo>
                      <a:pt x="58" y="22"/>
                    </a:lnTo>
                    <a:lnTo>
                      <a:pt x="56" y="22"/>
                    </a:lnTo>
                    <a:lnTo>
                      <a:pt x="50" y="22"/>
                    </a:lnTo>
                    <a:lnTo>
                      <a:pt x="50" y="22"/>
                    </a:lnTo>
                    <a:lnTo>
                      <a:pt x="48" y="22"/>
                    </a:lnTo>
                    <a:lnTo>
                      <a:pt x="48" y="2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1" name="Freeform 548"/>
              <p:cNvSpPr>
                <a:spLocks/>
              </p:cNvSpPr>
              <p:nvPr/>
            </p:nvSpPr>
            <p:spPr bwMode="auto">
              <a:xfrm>
                <a:off x="2145003" y="2352842"/>
                <a:ext cx="69850" cy="50800"/>
              </a:xfrm>
              <a:custGeom>
                <a:avLst/>
                <a:gdLst>
                  <a:gd name="T0" fmla="*/ 26 w 44"/>
                  <a:gd name="T1" fmla="*/ 2 h 32"/>
                  <a:gd name="T2" fmla="*/ 22 w 44"/>
                  <a:gd name="T3" fmla="*/ 2 h 32"/>
                  <a:gd name="T4" fmla="*/ 16 w 44"/>
                  <a:gd name="T5" fmla="*/ 2 h 32"/>
                  <a:gd name="T6" fmla="*/ 12 w 44"/>
                  <a:gd name="T7" fmla="*/ 2 h 32"/>
                  <a:gd name="T8" fmla="*/ 10 w 44"/>
                  <a:gd name="T9" fmla="*/ 2 h 32"/>
                  <a:gd name="T10" fmla="*/ 8 w 44"/>
                  <a:gd name="T11" fmla="*/ 4 h 32"/>
                  <a:gd name="T12" fmla="*/ 6 w 44"/>
                  <a:gd name="T13" fmla="*/ 6 h 32"/>
                  <a:gd name="T14" fmla="*/ 4 w 44"/>
                  <a:gd name="T15" fmla="*/ 10 h 32"/>
                  <a:gd name="T16" fmla="*/ 2 w 44"/>
                  <a:gd name="T17" fmla="*/ 14 h 32"/>
                  <a:gd name="T18" fmla="*/ 0 w 44"/>
                  <a:gd name="T19" fmla="*/ 22 h 32"/>
                  <a:gd name="T20" fmla="*/ 0 w 44"/>
                  <a:gd name="T21" fmla="*/ 26 h 32"/>
                  <a:gd name="T22" fmla="*/ 0 w 44"/>
                  <a:gd name="T23" fmla="*/ 30 h 32"/>
                  <a:gd name="T24" fmla="*/ 0 w 44"/>
                  <a:gd name="T25" fmla="*/ 30 h 32"/>
                  <a:gd name="T26" fmla="*/ 2 w 44"/>
                  <a:gd name="T27" fmla="*/ 32 h 32"/>
                  <a:gd name="T28" fmla="*/ 4 w 44"/>
                  <a:gd name="T29" fmla="*/ 32 h 32"/>
                  <a:gd name="T30" fmla="*/ 6 w 44"/>
                  <a:gd name="T31" fmla="*/ 32 h 32"/>
                  <a:gd name="T32" fmla="*/ 8 w 44"/>
                  <a:gd name="T33" fmla="*/ 30 h 32"/>
                  <a:gd name="T34" fmla="*/ 16 w 44"/>
                  <a:gd name="T35" fmla="*/ 24 h 32"/>
                  <a:gd name="T36" fmla="*/ 18 w 44"/>
                  <a:gd name="T37" fmla="*/ 22 h 32"/>
                  <a:gd name="T38" fmla="*/ 20 w 44"/>
                  <a:gd name="T39" fmla="*/ 20 h 32"/>
                  <a:gd name="T40" fmla="*/ 24 w 44"/>
                  <a:gd name="T41" fmla="*/ 20 h 32"/>
                  <a:gd name="T42" fmla="*/ 32 w 44"/>
                  <a:gd name="T43" fmla="*/ 18 h 32"/>
                  <a:gd name="T44" fmla="*/ 36 w 44"/>
                  <a:gd name="T45" fmla="*/ 18 h 32"/>
                  <a:gd name="T46" fmla="*/ 38 w 44"/>
                  <a:gd name="T47" fmla="*/ 16 h 32"/>
                  <a:gd name="T48" fmla="*/ 40 w 44"/>
                  <a:gd name="T49" fmla="*/ 14 h 32"/>
                  <a:gd name="T50" fmla="*/ 42 w 44"/>
                  <a:gd name="T51" fmla="*/ 10 h 32"/>
                  <a:gd name="T52" fmla="*/ 44 w 44"/>
                  <a:gd name="T53" fmla="*/ 6 h 32"/>
                  <a:gd name="T54" fmla="*/ 44 w 44"/>
                  <a:gd name="T55" fmla="*/ 2 h 32"/>
                  <a:gd name="T56" fmla="*/ 42 w 44"/>
                  <a:gd name="T57" fmla="*/ 0 h 32"/>
                  <a:gd name="T58" fmla="*/ 42 w 44"/>
                  <a:gd name="T59" fmla="*/ 0 h 32"/>
                  <a:gd name="T60" fmla="*/ 40 w 44"/>
                  <a:gd name="T61" fmla="*/ 0 h 32"/>
                  <a:gd name="T62" fmla="*/ 38 w 44"/>
                  <a:gd name="T63" fmla="*/ 0 h 32"/>
                  <a:gd name="T64" fmla="*/ 30 w 44"/>
                  <a:gd name="T65" fmla="*/ 2 h 32"/>
                  <a:gd name="T66" fmla="*/ 26 w 44"/>
                  <a:gd name="T6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32">
                    <a:moveTo>
                      <a:pt x="26" y="2"/>
                    </a:moveTo>
                    <a:lnTo>
                      <a:pt x="26" y="2"/>
                    </a:lnTo>
                    <a:lnTo>
                      <a:pt x="24" y="2"/>
                    </a:lnTo>
                    <a:lnTo>
                      <a:pt x="22" y="2"/>
                    </a:lnTo>
                    <a:lnTo>
                      <a:pt x="18" y="2"/>
                    </a:lnTo>
                    <a:lnTo>
                      <a:pt x="16" y="2"/>
                    </a:lnTo>
                    <a:lnTo>
                      <a:pt x="12" y="2"/>
                    </a:lnTo>
                    <a:lnTo>
                      <a:pt x="12" y="2"/>
                    </a:lnTo>
                    <a:lnTo>
                      <a:pt x="10" y="2"/>
                    </a:lnTo>
                    <a:lnTo>
                      <a:pt x="10" y="2"/>
                    </a:lnTo>
                    <a:lnTo>
                      <a:pt x="10" y="2"/>
                    </a:lnTo>
                    <a:lnTo>
                      <a:pt x="8" y="4"/>
                    </a:lnTo>
                    <a:lnTo>
                      <a:pt x="8" y="4"/>
                    </a:lnTo>
                    <a:lnTo>
                      <a:pt x="6" y="6"/>
                    </a:lnTo>
                    <a:lnTo>
                      <a:pt x="6" y="8"/>
                    </a:lnTo>
                    <a:lnTo>
                      <a:pt x="4" y="10"/>
                    </a:lnTo>
                    <a:lnTo>
                      <a:pt x="4" y="12"/>
                    </a:lnTo>
                    <a:lnTo>
                      <a:pt x="2" y="14"/>
                    </a:lnTo>
                    <a:lnTo>
                      <a:pt x="2" y="18"/>
                    </a:lnTo>
                    <a:lnTo>
                      <a:pt x="0" y="22"/>
                    </a:lnTo>
                    <a:lnTo>
                      <a:pt x="0" y="24"/>
                    </a:lnTo>
                    <a:lnTo>
                      <a:pt x="0" y="26"/>
                    </a:lnTo>
                    <a:lnTo>
                      <a:pt x="0" y="28"/>
                    </a:lnTo>
                    <a:lnTo>
                      <a:pt x="0" y="30"/>
                    </a:lnTo>
                    <a:lnTo>
                      <a:pt x="0" y="30"/>
                    </a:lnTo>
                    <a:lnTo>
                      <a:pt x="0" y="30"/>
                    </a:lnTo>
                    <a:lnTo>
                      <a:pt x="0" y="30"/>
                    </a:lnTo>
                    <a:lnTo>
                      <a:pt x="2" y="32"/>
                    </a:lnTo>
                    <a:lnTo>
                      <a:pt x="2" y="32"/>
                    </a:lnTo>
                    <a:lnTo>
                      <a:pt x="4" y="32"/>
                    </a:lnTo>
                    <a:lnTo>
                      <a:pt x="4" y="32"/>
                    </a:lnTo>
                    <a:lnTo>
                      <a:pt x="6" y="32"/>
                    </a:lnTo>
                    <a:lnTo>
                      <a:pt x="6" y="30"/>
                    </a:lnTo>
                    <a:lnTo>
                      <a:pt x="8" y="30"/>
                    </a:lnTo>
                    <a:lnTo>
                      <a:pt x="10" y="28"/>
                    </a:lnTo>
                    <a:lnTo>
                      <a:pt x="16" y="24"/>
                    </a:lnTo>
                    <a:lnTo>
                      <a:pt x="18" y="22"/>
                    </a:lnTo>
                    <a:lnTo>
                      <a:pt x="18" y="22"/>
                    </a:lnTo>
                    <a:lnTo>
                      <a:pt x="20" y="20"/>
                    </a:lnTo>
                    <a:lnTo>
                      <a:pt x="20" y="20"/>
                    </a:lnTo>
                    <a:lnTo>
                      <a:pt x="22" y="20"/>
                    </a:lnTo>
                    <a:lnTo>
                      <a:pt x="24" y="20"/>
                    </a:lnTo>
                    <a:lnTo>
                      <a:pt x="30" y="20"/>
                    </a:lnTo>
                    <a:lnTo>
                      <a:pt x="32" y="18"/>
                    </a:lnTo>
                    <a:lnTo>
                      <a:pt x="36" y="18"/>
                    </a:lnTo>
                    <a:lnTo>
                      <a:pt x="36" y="18"/>
                    </a:lnTo>
                    <a:lnTo>
                      <a:pt x="38" y="18"/>
                    </a:lnTo>
                    <a:lnTo>
                      <a:pt x="38" y="16"/>
                    </a:lnTo>
                    <a:lnTo>
                      <a:pt x="40" y="16"/>
                    </a:lnTo>
                    <a:lnTo>
                      <a:pt x="40" y="14"/>
                    </a:lnTo>
                    <a:lnTo>
                      <a:pt x="42" y="12"/>
                    </a:lnTo>
                    <a:lnTo>
                      <a:pt x="42" y="10"/>
                    </a:lnTo>
                    <a:lnTo>
                      <a:pt x="42" y="8"/>
                    </a:lnTo>
                    <a:lnTo>
                      <a:pt x="44" y="6"/>
                    </a:lnTo>
                    <a:lnTo>
                      <a:pt x="44" y="4"/>
                    </a:lnTo>
                    <a:lnTo>
                      <a:pt x="44" y="2"/>
                    </a:lnTo>
                    <a:lnTo>
                      <a:pt x="42" y="2"/>
                    </a:lnTo>
                    <a:lnTo>
                      <a:pt x="42" y="0"/>
                    </a:lnTo>
                    <a:lnTo>
                      <a:pt x="42" y="0"/>
                    </a:lnTo>
                    <a:lnTo>
                      <a:pt x="42" y="0"/>
                    </a:lnTo>
                    <a:lnTo>
                      <a:pt x="40" y="0"/>
                    </a:lnTo>
                    <a:lnTo>
                      <a:pt x="40" y="0"/>
                    </a:lnTo>
                    <a:lnTo>
                      <a:pt x="40" y="0"/>
                    </a:lnTo>
                    <a:lnTo>
                      <a:pt x="38" y="0"/>
                    </a:lnTo>
                    <a:lnTo>
                      <a:pt x="34" y="0"/>
                    </a:lnTo>
                    <a:lnTo>
                      <a:pt x="30" y="2"/>
                    </a:lnTo>
                    <a:lnTo>
                      <a:pt x="28" y="2"/>
                    </a:lnTo>
                    <a:lnTo>
                      <a:pt x="26"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2" name="Freeform 550"/>
              <p:cNvSpPr>
                <a:spLocks/>
              </p:cNvSpPr>
              <p:nvPr/>
            </p:nvSpPr>
            <p:spPr bwMode="auto">
              <a:xfrm>
                <a:off x="2141828" y="2298867"/>
                <a:ext cx="79375" cy="41275"/>
              </a:xfrm>
              <a:custGeom>
                <a:avLst/>
                <a:gdLst>
                  <a:gd name="T0" fmla="*/ 14 w 50"/>
                  <a:gd name="T1" fmla="*/ 8 h 26"/>
                  <a:gd name="T2" fmla="*/ 14 w 50"/>
                  <a:gd name="T3" fmla="*/ 8 h 26"/>
                  <a:gd name="T4" fmla="*/ 16 w 50"/>
                  <a:gd name="T5" fmla="*/ 6 h 26"/>
                  <a:gd name="T6" fmla="*/ 20 w 50"/>
                  <a:gd name="T7" fmla="*/ 4 h 26"/>
                  <a:gd name="T8" fmla="*/ 20 w 50"/>
                  <a:gd name="T9" fmla="*/ 2 h 26"/>
                  <a:gd name="T10" fmla="*/ 22 w 50"/>
                  <a:gd name="T11" fmla="*/ 2 h 26"/>
                  <a:gd name="T12" fmla="*/ 24 w 50"/>
                  <a:gd name="T13" fmla="*/ 0 h 26"/>
                  <a:gd name="T14" fmla="*/ 26 w 50"/>
                  <a:gd name="T15" fmla="*/ 0 h 26"/>
                  <a:gd name="T16" fmla="*/ 28 w 50"/>
                  <a:gd name="T17" fmla="*/ 0 h 26"/>
                  <a:gd name="T18" fmla="*/ 30 w 50"/>
                  <a:gd name="T19" fmla="*/ 0 h 26"/>
                  <a:gd name="T20" fmla="*/ 32 w 50"/>
                  <a:gd name="T21" fmla="*/ 0 h 26"/>
                  <a:gd name="T22" fmla="*/ 34 w 50"/>
                  <a:gd name="T23" fmla="*/ 0 h 26"/>
                  <a:gd name="T24" fmla="*/ 38 w 50"/>
                  <a:gd name="T25" fmla="*/ 0 h 26"/>
                  <a:gd name="T26" fmla="*/ 40 w 50"/>
                  <a:gd name="T27" fmla="*/ 0 h 26"/>
                  <a:gd name="T28" fmla="*/ 42 w 50"/>
                  <a:gd name="T29" fmla="*/ 2 h 26"/>
                  <a:gd name="T30" fmla="*/ 42 w 50"/>
                  <a:gd name="T31" fmla="*/ 2 h 26"/>
                  <a:gd name="T32" fmla="*/ 44 w 50"/>
                  <a:gd name="T33" fmla="*/ 4 h 26"/>
                  <a:gd name="T34" fmla="*/ 46 w 50"/>
                  <a:gd name="T35" fmla="*/ 4 h 26"/>
                  <a:gd name="T36" fmla="*/ 46 w 50"/>
                  <a:gd name="T37" fmla="*/ 6 h 26"/>
                  <a:gd name="T38" fmla="*/ 48 w 50"/>
                  <a:gd name="T39" fmla="*/ 8 h 26"/>
                  <a:gd name="T40" fmla="*/ 50 w 50"/>
                  <a:gd name="T41" fmla="*/ 10 h 26"/>
                  <a:gd name="T42" fmla="*/ 50 w 50"/>
                  <a:gd name="T43" fmla="*/ 12 h 26"/>
                  <a:gd name="T44" fmla="*/ 50 w 50"/>
                  <a:gd name="T45" fmla="*/ 12 h 26"/>
                  <a:gd name="T46" fmla="*/ 50 w 50"/>
                  <a:gd name="T47" fmla="*/ 14 h 26"/>
                  <a:gd name="T48" fmla="*/ 50 w 50"/>
                  <a:gd name="T49" fmla="*/ 14 h 26"/>
                  <a:gd name="T50" fmla="*/ 50 w 50"/>
                  <a:gd name="T51" fmla="*/ 14 h 26"/>
                  <a:gd name="T52" fmla="*/ 50 w 50"/>
                  <a:gd name="T53" fmla="*/ 16 h 26"/>
                  <a:gd name="T54" fmla="*/ 50 w 50"/>
                  <a:gd name="T55" fmla="*/ 16 h 26"/>
                  <a:gd name="T56" fmla="*/ 48 w 50"/>
                  <a:gd name="T57" fmla="*/ 18 h 26"/>
                  <a:gd name="T58" fmla="*/ 46 w 50"/>
                  <a:gd name="T59" fmla="*/ 18 h 26"/>
                  <a:gd name="T60" fmla="*/ 46 w 50"/>
                  <a:gd name="T61" fmla="*/ 18 h 26"/>
                  <a:gd name="T62" fmla="*/ 44 w 50"/>
                  <a:gd name="T63" fmla="*/ 20 h 26"/>
                  <a:gd name="T64" fmla="*/ 40 w 50"/>
                  <a:gd name="T65" fmla="*/ 20 h 26"/>
                  <a:gd name="T66" fmla="*/ 38 w 50"/>
                  <a:gd name="T67" fmla="*/ 20 h 26"/>
                  <a:gd name="T68" fmla="*/ 34 w 50"/>
                  <a:gd name="T69" fmla="*/ 20 h 26"/>
                  <a:gd name="T70" fmla="*/ 30 w 50"/>
                  <a:gd name="T71" fmla="*/ 22 h 26"/>
                  <a:gd name="T72" fmla="*/ 28 w 50"/>
                  <a:gd name="T73" fmla="*/ 22 h 26"/>
                  <a:gd name="T74" fmla="*/ 26 w 50"/>
                  <a:gd name="T75" fmla="*/ 22 h 26"/>
                  <a:gd name="T76" fmla="*/ 22 w 50"/>
                  <a:gd name="T77" fmla="*/ 24 h 26"/>
                  <a:gd name="T78" fmla="*/ 18 w 50"/>
                  <a:gd name="T79" fmla="*/ 24 h 26"/>
                  <a:gd name="T80" fmla="*/ 14 w 50"/>
                  <a:gd name="T81" fmla="*/ 26 h 26"/>
                  <a:gd name="T82" fmla="*/ 12 w 50"/>
                  <a:gd name="T83" fmla="*/ 26 h 26"/>
                  <a:gd name="T84" fmla="*/ 10 w 50"/>
                  <a:gd name="T85" fmla="*/ 26 h 26"/>
                  <a:gd name="T86" fmla="*/ 8 w 50"/>
                  <a:gd name="T87" fmla="*/ 26 h 26"/>
                  <a:gd name="T88" fmla="*/ 6 w 50"/>
                  <a:gd name="T89" fmla="*/ 26 h 26"/>
                  <a:gd name="T90" fmla="*/ 4 w 50"/>
                  <a:gd name="T91" fmla="*/ 26 h 26"/>
                  <a:gd name="T92" fmla="*/ 2 w 50"/>
                  <a:gd name="T93" fmla="*/ 26 h 26"/>
                  <a:gd name="T94" fmla="*/ 2 w 50"/>
                  <a:gd name="T95" fmla="*/ 26 h 26"/>
                  <a:gd name="T96" fmla="*/ 2 w 50"/>
                  <a:gd name="T97" fmla="*/ 26 h 26"/>
                  <a:gd name="T98" fmla="*/ 2 w 50"/>
                  <a:gd name="T99" fmla="*/ 26 h 26"/>
                  <a:gd name="T100" fmla="*/ 0 w 50"/>
                  <a:gd name="T101" fmla="*/ 24 h 26"/>
                  <a:gd name="T102" fmla="*/ 0 w 50"/>
                  <a:gd name="T103" fmla="*/ 24 h 26"/>
                  <a:gd name="T104" fmla="*/ 0 w 50"/>
                  <a:gd name="T105" fmla="*/ 22 h 26"/>
                  <a:gd name="T106" fmla="*/ 0 w 50"/>
                  <a:gd name="T107" fmla="*/ 22 h 26"/>
                  <a:gd name="T108" fmla="*/ 2 w 50"/>
                  <a:gd name="T109" fmla="*/ 20 h 26"/>
                  <a:gd name="T110" fmla="*/ 2 w 50"/>
                  <a:gd name="T111" fmla="*/ 20 h 26"/>
                  <a:gd name="T112" fmla="*/ 2 w 50"/>
                  <a:gd name="T113" fmla="*/ 18 h 26"/>
                  <a:gd name="T114" fmla="*/ 4 w 50"/>
                  <a:gd name="T115" fmla="*/ 16 h 26"/>
                  <a:gd name="T116" fmla="*/ 8 w 50"/>
                  <a:gd name="T117" fmla="*/ 14 h 26"/>
                  <a:gd name="T118" fmla="*/ 10 w 50"/>
                  <a:gd name="T119" fmla="*/ 10 h 26"/>
                  <a:gd name="T120" fmla="*/ 14 w 50"/>
                  <a:gd name="T12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 h="26">
                    <a:moveTo>
                      <a:pt x="14" y="8"/>
                    </a:moveTo>
                    <a:lnTo>
                      <a:pt x="14" y="8"/>
                    </a:lnTo>
                    <a:lnTo>
                      <a:pt x="16" y="6"/>
                    </a:lnTo>
                    <a:lnTo>
                      <a:pt x="20" y="4"/>
                    </a:lnTo>
                    <a:lnTo>
                      <a:pt x="20" y="2"/>
                    </a:lnTo>
                    <a:lnTo>
                      <a:pt x="22" y="2"/>
                    </a:lnTo>
                    <a:lnTo>
                      <a:pt x="24" y="0"/>
                    </a:lnTo>
                    <a:lnTo>
                      <a:pt x="26" y="0"/>
                    </a:lnTo>
                    <a:lnTo>
                      <a:pt x="28" y="0"/>
                    </a:lnTo>
                    <a:lnTo>
                      <a:pt x="30" y="0"/>
                    </a:lnTo>
                    <a:lnTo>
                      <a:pt x="32" y="0"/>
                    </a:lnTo>
                    <a:lnTo>
                      <a:pt x="34" y="0"/>
                    </a:lnTo>
                    <a:lnTo>
                      <a:pt x="38" y="0"/>
                    </a:lnTo>
                    <a:lnTo>
                      <a:pt x="40" y="0"/>
                    </a:lnTo>
                    <a:lnTo>
                      <a:pt x="42" y="2"/>
                    </a:lnTo>
                    <a:lnTo>
                      <a:pt x="42" y="2"/>
                    </a:lnTo>
                    <a:lnTo>
                      <a:pt x="44" y="4"/>
                    </a:lnTo>
                    <a:lnTo>
                      <a:pt x="46" y="4"/>
                    </a:lnTo>
                    <a:lnTo>
                      <a:pt x="46" y="6"/>
                    </a:lnTo>
                    <a:lnTo>
                      <a:pt x="48" y="8"/>
                    </a:lnTo>
                    <a:lnTo>
                      <a:pt x="50" y="10"/>
                    </a:lnTo>
                    <a:lnTo>
                      <a:pt x="50" y="12"/>
                    </a:lnTo>
                    <a:lnTo>
                      <a:pt x="50" y="12"/>
                    </a:lnTo>
                    <a:lnTo>
                      <a:pt x="50" y="14"/>
                    </a:lnTo>
                    <a:lnTo>
                      <a:pt x="50" y="14"/>
                    </a:lnTo>
                    <a:lnTo>
                      <a:pt x="50" y="14"/>
                    </a:lnTo>
                    <a:lnTo>
                      <a:pt x="50" y="16"/>
                    </a:lnTo>
                    <a:lnTo>
                      <a:pt x="50" y="16"/>
                    </a:lnTo>
                    <a:lnTo>
                      <a:pt x="48" y="18"/>
                    </a:lnTo>
                    <a:lnTo>
                      <a:pt x="46" y="18"/>
                    </a:lnTo>
                    <a:lnTo>
                      <a:pt x="46" y="18"/>
                    </a:lnTo>
                    <a:lnTo>
                      <a:pt x="44" y="20"/>
                    </a:lnTo>
                    <a:lnTo>
                      <a:pt x="40" y="20"/>
                    </a:lnTo>
                    <a:lnTo>
                      <a:pt x="38" y="20"/>
                    </a:lnTo>
                    <a:lnTo>
                      <a:pt x="34" y="20"/>
                    </a:lnTo>
                    <a:lnTo>
                      <a:pt x="30" y="22"/>
                    </a:lnTo>
                    <a:lnTo>
                      <a:pt x="28" y="22"/>
                    </a:lnTo>
                    <a:lnTo>
                      <a:pt x="26" y="22"/>
                    </a:lnTo>
                    <a:lnTo>
                      <a:pt x="22" y="24"/>
                    </a:lnTo>
                    <a:lnTo>
                      <a:pt x="18" y="24"/>
                    </a:lnTo>
                    <a:lnTo>
                      <a:pt x="14" y="26"/>
                    </a:lnTo>
                    <a:lnTo>
                      <a:pt x="12" y="26"/>
                    </a:lnTo>
                    <a:lnTo>
                      <a:pt x="10" y="26"/>
                    </a:lnTo>
                    <a:lnTo>
                      <a:pt x="8" y="26"/>
                    </a:lnTo>
                    <a:lnTo>
                      <a:pt x="6" y="26"/>
                    </a:lnTo>
                    <a:lnTo>
                      <a:pt x="4" y="26"/>
                    </a:lnTo>
                    <a:lnTo>
                      <a:pt x="2" y="26"/>
                    </a:lnTo>
                    <a:lnTo>
                      <a:pt x="2" y="26"/>
                    </a:lnTo>
                    <a:lnTo>
                      <a:pt x="2" y="26"/>
                    </a:lnTo>
                    <a:lnTo>
                      <a:pt x="2" y="26"/>
                    </a:lnTo>
                    <a:lnTo>
                      <a:pt x="0" y="24"/>
                    </a:lnTo>
                    <a:lnTo>
                      <a:pt x="0" y="24"/>
                    </a:lnTo>
                    <a:lnTo>
                      <a:pt x="0" y="22"/>
                    </a:lnTo>
                    <a:lnTo>
                      <a:pt x="0" y="22"/>
                    </a:lnTo>
                    <a:lnTo>
                      <a:pt x="2" y="20"/>
                    </a:lnTo>
                    <a:lnTo>
                      <a:pt x="2" y="20"/>
                    </a:lnTo>
                    <a:lnTo>
                      <a:pt x="2" y="18"/>
                    </a:lnTo>
                    <a:lnTo>
                      <a:pt x="4" y="16"/>
                    </a:lnTo>
                    <a:lnTo>
                      <a:pt x="8" y="14"/>
                    </a:lnTo>
                    <a:lnTo>
                      <a:pt x="10" y="10"/>
                    </a:lnTo>
                    <a:lnTo>
                      <a:pt x="14"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3" name="Freeform 552"/>
              <p:cNvSpPr>
                <a:spLocks/>
              </p:cNvSpPr>
              <p:nvPr/>
            </p:nvSpPr>
            <p:spPr bwMode="auto">
              <a:xfrm>
                <a:off x="2300578" y="2298867"/>
                <a:ext cx="107950" cy="73025"/>
              </a:xfrm>
              <a:custGeom>
                <a:avLst/>
                <a:gdLst>
                  <a:gd name="T0" fmla="*/ 12 w 68"/>
                  <a:gd name="T1" fmla="*/ 0 h 46"/>
                  <a:gd name="T2" fmla="*/ 14 w 68"/>
                  <a:gd name="T3" fmla="*/ 0 h 46"/>
                  <a:gd name="T4" fmla="*/ 18 w 68"/>
                  <a:gd name="T5" fmla="*/ 0 h 46"/>
                  <a:gd name="T6" fmla="*/ 26 w 68"/>
                  <a:gd name="T7" fmla="*/ 2 h 46"/>
                  <a:gd name="T8" fmla="*/ 34 w 68"/>
                  <a:gd name="T9" fmla="*/ 4 h 46"/>
                  <a:gd name="T10" fmla="*/ 42 w 68"/>
                  <a:gd name="T11" fmla="*/ 6 h 46"/>
                  <a:gd name="T12" fmla="*/ 46 w 68"/>
                  <a:gd name="T13" fmla="*/ 6 h 46"/>
                  <a:gd name="T14" fmla="*/ 48 w 68"/>
                  <a:gd name="T15" fmla="*/ 8 h 46"/>
                  <a:gd name="T16" fmla="*/ 54 w 68"/>
                  <a:gd name="T17" fmla="*/ 14 h 46"/>
                  <a:gd name="T18" fmla="*/ 58 w 68"/>
                  <a:gd name="T19" fmla="*/ 18 h 46"/>
                  <a:gd name="T20" fmla="*/ 62 w 68"/>
                  <a:gd name="T21" fmla="*/ 24 h 46"/>
                  <a:gd name="T22" fmla="*/ 64 w 68"/>
                  <a:gd name="T23" fmla="*/ 28 h 46"/>
                  <a:gd name="T24" fmla="*/ 66 w 68"/>
                  <a:gd name="T25" fmla="*/ 32 h 46"/>
                  <a:gd name="T26" fmla="*/ 68 w 68"/>
                  <a:gd name="T27" fmla="*/ 36 h 46"/>
                  <a:gd name="T28" fmla="*/ 68 w 68"/>
                  <a:gd name="T29" fmla="*/ 38 h 46"/>
                  <a:gd name="T30" fmla="*/ 68 w 68"/>
                  <a:gd name="T31" fmla="*/ 40 h 46"/>
                  <a:gd name="T32" fmla="*/ 66 w 68"/>
                  <a:gd name="T33" fmla="*/ 42 h 46"/>
                  <a:gd name="T34" fmla="*/ 62 w 68"/>
                  <a:gd name="T35" fmla="*/ 44 h 46"/>
                  <a:gd name="T36" fmla="*/ 58 w 68"/>
                  <a:gd name="T37" fmla="*/ 46 h 46"/>
                  <a:gd name="T38" fmla="*/ 54 w 68"/>
                  <a:gd name="T39" fmla="*/ 46 h 46"/>
                  <a:gd name="T40" fmla="*/ 48 w 68"/>
                  <a:gd name="T41" fmla="*/ 46 h 46"/>
                  <a:gd name="T42" fmla="*/ 44 w 68"/>
                  <a:gd name="T43" fmla="*/ 46 h 46"/>
                  <a:gd name="T44" fmla="*/ 40 w 68"/>
                  <a:gd name="T45" fmla="*/ 46 h 46"/>
                  <a:gd name="T46" fmla="*/ 36 w 68"/>
                  <a:gd name="T47" fmla="*/ 46 h 46"/>
                  <a:gd name="T48" fmla="*/ 36 w 68"/>
                  <a:gd name="T49" fmla="*/ 44 h 46"/>
                  <a:gd name="T50" fmla="*/ 34 w 68"/>
                  <a:gd name="T51" fmla="*/ 42 h 46"/>
                  <a:gd name="T52" fmla="*/ 34 w 68"/>
                  <a:gd name="T53" fmla="*/ 38 h 46"/>
                  <a:gd name="T54" fmla="*/ 32 w 68"/>
                  <a:gd name="T55" fmla="*/ 34 h 46"/>
                  <a:gd name="T56" fmla="*/ 30 w 68"/>
                  <a:gd name="T57" fmla="*/ 32 h 46"/>
                  <a:gd name="T58" fmla="*/ 30 w 68"/>
                  <a:gd name="T59" fmla="*/ 30 h 46"/>
                  <a:gd name="T60" fmla="*/ 28 w 68"/>
                  <a:gd name="T61" fmla="*/ 30 h 46"/>
                  <a:gd name="T62" fmla="*/ 26 w 68"/>
                  <a:gd name="T63" fmla="*/ 30 h 46"/>
                  <a:gd name="T64" fmla="*/ 20 w 68"/>
                  <a:gd name="T65" fmla="*/ 28 h 46"/>
                  <a:gd name="T66" fmla="*/ 16 w 68"/>
                  <a:gd name="T67" fmla="*/ 28 h 46"/>
                  <a:gd name="T68" fmla="*/ 12 w 68"/>
                  <a:gd name="T69" fmla="*/ 28 h 46"/>
                  <a:gd name="T70" fmla="*/ 10 w 68"/>
                  <a:gd name="T71" fmla="*/ 26 h 46"/>
                  <a:gd name="T72" fmla="*/ 6 w 68"/>
                  <a:gd name="T73" fmla="*/ 22 h 46"/>
                  <a:gd name="T74" fmla="*/ 2 w 68"/>
                  <a:gd name="T75" fmla="*/ 18 h 46"/>
                  <a:gd name="T76" fmla="*/ 0 w 68"/>
                  <a:gd name="T77" fmla="*/ 14 h 46"/>
                  <a:gd name="T78" fmla="*/ 0 w 68"/>
                  <a:gd name="T79" fmla="*/ 12 h 46"/>
                  <a:gd name="T80" fmla="*/ 0 w 68"/>
                  <a:gd name="T81" fmla="*/ 10 h 46"/>
                  <a:gd name="T82" fmla="*/ 0 w 68"/>
                  <a:gd name="T83" fmla="*/ 8 h 46"/>
                  <a:gd name="T84" fmla="*/ 0 w 68"/>
                  <a:gd name="T85" fmla="*/ 6 h 46"/>
                  <a:gd name="T86" fmla="*/ 4 w 68"/>
                  <a:gd name="T87" fmla="*/ 4 h 46"/>
                  <a:gd name="T88" fmla="*/ 8 w 68"/>
                  <a:gd name="T89" fmla="*/ 2 h 46"/>
                  <a:gd name="T90" fmla="*/ 12 w 68"/>
                  <a:gd name="T9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46">
                    <a:moveTo>
                      <a:pt x="12" y="0"/>
                    </a:moveTo>
                    <a:lnTo>
                      <a:pt x="12" y="0"/>
                    </a:lnTo>
                    <a:lnTo>
                      <a:pt x="12" y="0"/>
                    </a:lnTo>
                    <a:lnTo>
                      <a:pt x="14" y="0"/>
                    </a:lnTo>
                    <a:lnTo>
                      <a:pt x="16" y="0"/>
                    </a:lnTo>
                    <a:lnTo>
                      <a:pt x="18" y="0"/>
                    </a:lnTo>
                    <a:lnTo>
                      <a:pt x="20" y="0"/>
                    </a:lnTo>
                    <a:lnTo>
                      <a:pt x="26" y="2"/>
                    </a:lnTo>
                    <a:lnTo>
                      <a:pt x="30" y="2"/>
                    </a:lnTo>
                    <a:lnTo>
                      <a:pt x="34" y="4"/>
                    </a:lnTo>
                    <a:lnTo>
                      <a:pt x="38" y="4"/>
                    </a:lnTo>
                    <a:lnTo>
                      <a:pt x="42" y="6"/>
                    </a:lnTo>
                    <a:lnTo>
                      <a:pt x="44" y="6"/>
                    </a:lnTo>
                    <a:lnTo>
                      <a:pt x="46" y="6"/>
                    </a:lnTo>
                    <a:lnTo>
                      <a:pt x="48" y="8"/>
                    </a:lnTo>
                    <a:lnTo>
                      <a:pt x="48" y="8"/>
                    </a:lnTo>
                    <a:lnTo>
                      <a:pt x="52" y="12"/>
                    </a:lnTo>
                    <a:lnTo>
                      <a:pt x="54" y="14"/>
                    </a:lnTo>
                    <a:lnTo>
                      <a:pt x="56" y="16"/>
                    </a:lnTo>
                    <a:lnTo>
                      <a:pt x="58" y="18"/>
                    </a:lnTo>
                    <a:lnTo>
                      <a:pt x="60" y="20"/>
                    </a:lnTo>
                    <a:lnTo>
                      <a:pt x="62" y="24"/>
                    </a:lnTo>
                    <a:lnTo>
                      <a:pt x="62" y="26"/>
                    </a:lnTo>
                    <a:lnTo>
                      <a:pt x="64" y="28"/>
                    </a:lnTo>
                    <a:lnTo>
                      <a:pt x="66" y="30"/>
                    </a:lnTo>
                    <a:lnTo>
                      <a:pt x="66" y="32"/>
                    </a:lnTo>
                    <a:lnTo>
                      <a:pt x="68" y="34"/>
                    </a:lnTo>
                    <a:lnTo>
                      <a:pt x="68" y="36"/>
                    </a:lnTo>
                    <a:lnTo>
                      <a:pt x="68" y="38"/>
                    </a:lnTo>
                    <a:lnTo>
                      <a:pt x="68" y="38"/>
                    </a:lnTo>
                    <a:lnTo>
                      <a:pt x="68" y="40"/>
                    </a:lnTo>
                    <a:lnTo>
                      <a:pt x="68" y="40"/>
                    </a:lnTo>
                    <a:lnTo>
                      <a:pt x="66" y="42"/>
                    </a:lnTo>
                    <a:lnTo>
                      <a:pt x="66" y="42"/>
                    </a:lnTo>
                    <a:lnTo>
                      <a:pt x="64" y="44"/>
                    </a:lnTo>
                    <a:lnTo>
                      <a:pt x="62" y="44"/>
                    </a:lnTo>
                    <a:lnTo>
                      <a:pt x="60" y="46"/>
                    </a:lnTo>
                    <a:lnTo>
                      <a:pt x="58" y="46"/>
                    </a:lnTo>
                    <a:lnTo>
                      <a:pt x="56" y="46"/>
                    </a:lnTo>
                    <a:lnTo>
                      <a:pt x="54" y="46"/>
                    </a:lnTo>
                    <a:lnTo>
                      <a:pt x="50" y="46"/>
                    </a:lnTo>
                    <a:lnTo>
                      <a:pt x="48" y="46"/>
                    </a:lnTo>
                    <a:lnTo>
                      <a:pt x="46" y="46"/>
                    </a:lnTo>
                    <a:lnTo>
                      <a:pt x="44" y="46"/>
                    </a:lnTo>
                    <a:lnTo>
                      <a:pt x="42" y="46"/>
                    </a:lnTo>
                    <a:lnTo>
                      <a:pt x="40" y="46"/>
                    </a:lnTo>
                    <a:lnTo>
                      <a:pt x="38" y="46"/>
                    </a:lnTo>
                    <a:lnTo>
                      <a:pt x="36" y="46"/>
                    </a:lnTo>
                    <a:lnTo>
                      <a:pt x="36" y="44"/>
                    </a:lnTo>
                    <a:lnTo>
                      <a:pt x="36" y="44"/>
                    </a:lnTo>
                    <a:lnTo>
                      <a:pt x="36" y="44"/>
                    </a:lnTo>
                    <a:lnTo>
                      <a:pt x="34" y="42"/>
                    </a:lnTo>
                    <a:lnTo>
                      <a:pt x="34" y="40"/>
                    </a:lnTo>
                    <a:lnTo>
                      <a:pt x="34" y="38"/>
                    </a:lnTo>
                    <a:lnTo>
                      <a:pt x="32" y="36"/>
                    </a:lnTo>
                    <a:lnTo>
                      <a:pt x="32" y="34"/>
                    </a:lnTo>
                    <a:lnTo>
                      <a:pt x="32" y="32"/>
                    </a:lnTo>
                    <a:lnTo>
                      <a:pt x="30" y="32"/>
                    </a:lnTo>
                    <a:lnTo>
                      <a:pt x="30" y="30"/>
                    </a:lnTo>
                    <a:lnTo>
                      <a:pt x="30" y="30"/>
                    </a:lnTo>
                    <a:lnTo>
                      <a:pt x="28" y="30"/>
                    </a:lnTo>
                    <a:lnTo>
                      <a:pt x="28" y="30"/>
                    </a:lnTo>
                    <a:lnTo>
                      <a:pt x="26" y="30"/>
                    </a:lnTo>
                    <a:lnTo>
                      <a:pt x="26" y="30"/>
                    </a:lnTo>
                    <a:lnTo>
                      <a:pt x="24" y="28"/>
                    </a:lnTo>
                    <a:lnTo>
                      <a:pt x="20" y="28"/>
                    </a:lnTo>
                    <a:lnTo>
                      <a:pt x="18" y="28"/>
                    </a:lnTo>
                    <a:lnTo>
                      <a:pt x="16" y="28"/>
                    </a:lnTo>
                    <a:lnTo>
                      <a:pt x="14" y="28"/>
                    </a:lnTo>
                    <a:lnTo>
                      <a:pt x="12" y="28"/>
                    </a:lnTo>
                    <a:lnTo>
                      <a:pt x="12" y="28"/>
                    </a:lnTo>
                    <a:lnTo>
                      <a:pt x="10" y="26"/>
                    </a:lnTo>
                    <a:lnTo>
                      <a:pt x="8" y="24"/>
                    </a:lnTo>
                    <a:lnTo>
                      <a:pt x="6" y="22"/>
                    </a:lnTo>
                    <a:lnTo>
                      <a:pt x="4" y="20"/>
                    </a:lnTo>
                    <a:lnTo>
                      <a:pt x="2" y="18"/>
                    </a:lnTo>
                    <a:lnTo>
                      <a:pt x="0" y="16"/>
                    </a:lnTo>
                    <a:lnTo>
                      <a:pt x="0" y="14"/>
                    </a:lnTo>
                    <a:lnTo>
                      <a:pt x="0" y="14"/>
                    </a:lnTo>
                    <a:lnTo>
                      <a:pt x="0" y="12"/>
                    </a:lnTo>
                    <a:lnTo>
                      <a:pt x="0" y="12"/>
                    </a:lnTo>
                    <a:lnTo>
                      <a:pt x="0" y="10"/>
                    </a:lnTo>
                    <a:lnTo>
                      <a:pt x="0" y="10"/>
                    </a:lnTo>
                    <a:lnTo>
                      <a:pt x="0" y="8"/>
                    </a:lnTo>
                    <a:lnTo>
                      <a:pt x="0" y="8"/>
                    </a:lnTo>
                    <a:lnTo>
                      <a:pt x="0" y="6"/>
                    </a:lnTo>
                    <a:lnTo>
                      <a:pt x="2" y="6"/>
                    </a:lnTo>
                    <a:lnTo>
                      <a:pt x="4" y="4"/>
                    </a:lnTo>
                    <a:lnTo>
                      <a:pt x="6" y="2"/>
                    </a:lnTo>
                    <a:lnTo>
                      <a:pt x="8" y="2"/>
                    </a:lnTo>
                    <a:lnTo>
                      <a:pt x="10" y="0"/>
                    </a:lnTo>
                    <a:lnTo>
                      <a:pt x="1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4" name="Freeform 554"/>
              <p:cNvSpPr>
                <a:spLocks/>
              </p:cNvSpPr>
              <p:nvPr/>
            </p:nvSpPr>
            <p:spPr bwMode="auto">
              <a:xfrm>
                <a:off x="2297403" y="2517942"/>
                <a:ext cx="104775" cy="114300"/>
              </a:xfrm>
              <a:custGeom>
                <a:avLst/>
                <a:gdLst>
                  <a:gd name="T0" fmla="*/ 22 w 66"/>
                  <a:gd name="T1" fmla="*/ 8 h 72"/>
                  <a:gd name="T2" fmla="*/ 24 w 66"/>
                  <a:gd name="T3" fmla="*/ 10 h 72"/>
                  <a:gd name="T4" fmla="*/ 26 w 66"/>
                  <a:gd name="T5" fmla="*/ 20 h 72"/>
                  <a:gd name="T6" fmla="*/ 28 w 66"/>
                  <a:gd name="T7" fmla="*/ 22 h 72"/>
                  <a:gd name="T8" fmla="*/ 28 w 66"/>
                  <a:gd name="T9" fmla="*/ 32 h 72"/>
                  <a:gd name="T10" fmla="*/ 28 w 66"/>
                  <a:gd name="T11" fmla="*/ 38 h 72"/>
                  <a:gd name="T12" fmla="*/ 26 w 66"/>
                  <a:gd name="T13" fmla="*/ 40 h 72"/>
                  <a:gd name="T14" fmla="*/ 24 w 66"/>
                  <a:gd name="T15" fmla="*/ 40 h 72"/>
                  <a:gd name="T16" fmla="*/ 22 w 66"/>
                  <a:gd name="T17" fmla="*/ 40 h 72"/>
                  <a:gd name="T18" fmla="*/ 18 w 66"/>
                  <a:gd name="T19" fmla="*/ 38 h 72"/>
                  <a:gd name="T20" fmla="*/ 10 w 66"/>
                  <a:gd name="T21" fmla="*/ 30 h 72"/>
                  <a:gd name="T22" fmla="*/ 6 w 66"/>
                  <a:gd name="T23" fmla="*/ 28 h 72"/>
                  <a:gd name="T24" fmla="*/ 4 w 66"/>
                  <a:gd name="T25" fmla="*/ 28 h 72"/>
                  <a:gd name="T26" fmla="*/ 2 w 66"/>
                  <a:gd name="T27" fmla="*/ 28 h 72"/>
                  <a:gd name="T28" fmla="*/ 0 w 66"/>
                  <a:gd name="T29" fmla="*/ 32 h 72"/>
                  <a:gd name="T30" fmla="*/ 0 w 66"/>
                  <a:gd name="T31" fmla="*/ 40 h 72"/>
                  <a:gd name="T32" fmla="*/ 0 w 66"/>
                  <a:gd name="T33" fmla="*/ 44 h 72"/>
                  <a:gd name="T34" fmla="*/ 4 w 66"/>
                  <a:gd name="T35" fmla="*/ 46 h 72"/>
                  <a:gd name="T36" fmla="*/ 16 w 66"/>
                  <a:gd name="T37" fmla="*/ 52 h 72"/>
                  <a:gd name="T38" fmla="*/ 20 w 66"/>
                  <a:gd name="T39" fmla="*/ 56 h 72"/>
                  <a:gd name="T40" fmla="*/ 26 w 66"/>
                  <a:gd name="T41" fmla="*/ 62 h 72"/>
                  <a:gd name="T42" fmla="*/ 30 w 66"/>
                  <a:gd name="T43" fmla="*/ 68 h 72"/>
                  <a:gd name="T44" fmla="*/ 32 w 66"/>
                  <a:gd name="T45" fmla="*/ 70 h 72"/>
                  <a:gd name="T46" fmla="*/ 42 w 66"/>
                  <a:gd name="T47" fmla="*/ 72 h 72"/>
                  <a:gd name="T48" fmla="*/ 50 w 66"/>
                  <a:gd name="T49" fmla="*/ 72 h 72"/>
                  <a:gd name="T50" fmla="*/ 54 w 66"/>
                  <a:gd name="T51" fmla="*/ 70 h 72"/>
                  <a:gd name="T52" fmla="*/ 56 w 66"/>
                  <a:gd name="T53" fmla="*/ 68 h 72"/>
                  <a:gd name="T54" fmla="*/ 60 w 66"/>
                  <a:gd name="T55" fmla="*/ 64 h 72"/>
                  <a:gd name="T56" fmla="*/ 64 w 66"/>
                  <a:gd name="T57" fmla="*/ 54 h 72"/>
                  <a:gd name="T58" fmla="*/ 66 w 66"/>
                  <a:gd name="T59" fmla="*/ 48 h 72"/>
                  <a:gd name="T60" fmla="*/ 66 w 66"/>
                  <a:gd name="T61" fmla="*/ 46 h 72"/>
                  <a:gd name="T62" fmla="*/ 62 w 66"/>
                  <a:gd name="T63" fmla="*/ 40 h 72"/>
                  <a:gd name="T64" fmla="*/ 58 w 66"/>
                  <a:gd name="T65" fmla="*/ 32 h 72"/>
                  <a:gd name="T66" fmla="*/ 58 w 66"/>
                  <a:gd name="T67" fmla="*/ 28 h 72"/>
                  <a:gd name="T68" fmla="*/ 60 w 66"/>
                  <a:gd name="T69" fmla="*/ 20 h 72"/>
                  <a:gd name="T70" fmla="*/ 62 w 66"/>
                  <a:gd name="T71" fmla="*/ 10 h 72"/>
                  <a:gd name="T72" fmla="*/ 62 w 66"/>
                  <a:gd name="T73" fmla="*/ 4 h 72"/>
                  <a:gd name="T74" fmla="*/ 60 w 66"/>
                  <a:gd name="T75" fmla="*/ 2 h 72"/>
                  <a:gd name="T76" fmla="*/ 58 w 66"/>
                  <a:gd name="T77" fmla="*/ 0 h 72"/>
                  <a:gd name="T78" fmla="*/ 50 w 66"/>
                  <a:gd name="T79" fmla="*/ 0 h 72"/>
                  <a:gd name="T80" fmla="*/ 42 w 66"/>
                  <a:gd name="T81" fmla="*/ 0 h 72"/>
                  <a:gd name="T82" fmla="*/ 32 w 66"/>
                  <a:gd name="T83" fmla="*/ 2 h 72"/>
                  <a:gd name="T84" fmla="*/ 26 w 66"/>
                  <a:gd name="T85" fmla="*/ 4 h 72"/>
                  <a:gd name="T86" fmla="*/ 24 w 66"/>
                  <a:gd name="T8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72">
                    <a:moveTo>
                      <a:pt x="24" y="8"/>
                    </a:moveTo>
                    <a:lnTo>
                      <a:pt x="24" y="8"/>
                    </a:lnTo>
                    <a:lnTo>
                      <a:pt x="22" y="8"/>
                    </a:lnTo>
                    <a:lnTo>
                      <a:pt x="22" y="10"/>
                    </a:lnTo>
                    <a:lnTo>
                      <a:pt x="22" y="10"/>
                    </a:lnTo>
                    <a:lnTo>
                      <a:pt x="24" y="10"/>
                    </a:lnTo>
                    <a:lnTo>
                      <a:pt x="24" y="12"/>
                    </a:lnTo>
                    <a:lnTo>
                      <a:pt x="24" y="16"/>
                    </a:lnTo>
                    <a:lnTo>
                      <a:pt x="26" y="20"/>
                    </a:lnTo>
                    <a:lnTo>
                      <a:pt x="28" y="22"/>
                    </a:lnTo>
                    <a:lnTo>
                      <a:pt x="28" y="22"/>
                    </a:lnTo>
                    <a:lnTo>
                      <a:pt x="28" y="22"/>
                    </a:lnTo>
                    <a:lnTo>
                      <a:pt x="28" y="28"/>
                    </a:lnTo>
                    <a:lnTo>
                      <a:pt x="28" y="30"/>
                    </a:lnTo>
                    <a:lnTo>
                      <a:pt x="28" y="32"/>
                    </a:lnTo>
                    <a:lnTo>
                      <a:pt x="28" y="36"/>
                    </a:lnTo>
                    <a:lnTo>
                      <a:pt x="28" y="36"/>
                    </a:lnTo>
                    <a:lnTo>
                      <a:pt x="28" y="38"/>
                    </a:lnTo>
                    <a:lnTo>
                      <a:pt x="28" y="38"/>
                    </a:lnTo>
                    <a:lnTo>
                      <a:pt x="26" y="40"/>
                    </a:lnTo>
                    <a:lnTo>
                      <a:pt x="26" y="40"/>
                    </a:lnTo>
                    <a:lnTo>
                      <a:pt x="26" y="40"/>
                    </a:lnTo>
                    <a:lnTo>
                      <a:pt x="24" y="40"/>
                    </a:lnTo>
                    <a:lnTo>
                      <a:pt x="24" y="40"/>
                    </a:lnTo>
                    <a:lnTo>
                      <a:pt x="24" y="40"/>
                    </a:lnTo>
                    <a:lnTo>
                      <a:pt x="24" y="40"/>
                    </a:lnTo>
                    <a:lnTo>
                      <a:pt x="22" y="40"/>
                    </a:lnTo>
                    <a:lnTo>
                      <a:pt x="20" y="40"/>
                    </a:lnTo>
                    <a:lnTo>
                      <a:pt x="18" y="38"/>
                    </a:lnTo>
                    <a:lnTo>
                      <a:pt x="18" y="38"/>
                    </a:lnTo>
                    <a:lnTo>
                      <a:pt x="14" y="34"/>
                    </a:lnTo>
                    <a:lnTo>
                      <a:pt x="12" y="32"/>
                    </a:lnTo>
                    <a:lnTo>
                      <a:pt x="10" y="30"/>
                    </a:lnTo>
                    <a:lnTo>
                      <a:pt x="8" y="30"/>
                    </a:lnTo>
                    <a:lnTo>
                      <a:pt x="6" y="28"/>
                    </a:lnTo>
                    <a:lnTo>
                      <a:pt x="6" y="28"/>
                    </a:lnTo>
                    <a:lnTo>
                      <a:pt x="4" y="28"/>
                    </a:lnTo>
                    <a:lnTo>
                      <a:pt x="4" y="28"/>
                    </a:lnTo>
                    <a:lnTo>
                      <a:pt x="4" y="28"/>
                    </a:lnTo>
                    <a:lnTo>
                      <a:pt x="4" y="28"/>
                    </a:lnTo>
                    <a:lnTo>
                      <a:pt x="2" y="28"/>
                    </a:lnTo>
                    <a:lnTo>
                      <a:pt x="2" y="28"/>
                    </a:lnTo>
                    <a:lnTo>
                      <a:pt x="2" y="30"/>
                    </a:lnTo>
                    <a:lnTo>
                      <a:pt x="0" y="30"/>
                    </a:lnTo>
                    <a:lnTo>
                      <a:pt x="0" y="32"/>
                    </a:lnTo>
                    <a:lnTo>
                      <a:pt x="0" y="34"/>
                    </a:lnTo>
                    <a:lnTo>
                      <a:pt x="0" y="38"/>
                    </a:lnTo>
                    <a:lnTo>
                      <a:pt x="0" y="40"/>
                    </a:lnTo>
                    <a:lnTo>
                      <a:pt x="0" y="42"/>
                    </a:lnTo>
                    <a:lnTo>
                      <a:pt x="0" y="44"/>
                    </a:lnTo>
                    <a:lnTo>
                      <a:pt x="0" y="44"/>
                    </a:lnTo>
                    <a:lnTo>
                      <a:pt x="2" y="46"/>
                    </a:lnTo>
                    <a:lnTo>
                      <a:pt x="2" y="46"/>
                    </a:lnTo>
                    <a:lnTo>
                      <a:pt x="4" y="46"/>
                    </a:lnTo>
                    <a:lnTo>
                      <a:pt x="6" y="48"/>
                    </a:lnTo>
                    <a:lnTo>
                      <a:pt x="10" y="50"/>
                    </a:lnTo>
                    <a:lnTo>
                      <a:pt x="16" y="52"/>
                    </a:lnTo>
                    <a:lnTo>
                      <a:pt x="18" y="54"/>
                    </a:lnTo>
                    <a:lnTo>
                      <a:pt x="20" y="56"/>
                    </a:lnTo>
                    <a:lnTo>
                      <a:pt x="20" y="56"/>
                    </a:lnTo>
                    <a:lnTo>
                      <a:pt x="22" y="56"/>
                    </a:lnTo>
                    <a:lnTo>
                      <a:pt x="24" y="58"/>
                    </a:lnTo>
                    <a:lnTo>
                      <a:pt x="26" y="62"/>
                    </a:lnTo>
                    <a:lnTo>
                      <a:pt x="26" y="64"/>
                    </a:lnTo>
                    <a:lnTo>
                      <a:pt x="28" y="66"/>
                    </a:lnTo>
                    <a:lnTo>
                      <a:pt x="30" y="68"/>
                    </a:lnTo>
                    <a:lnTo>
                      <a:pt x="30" y="68"/>
                    </a:lnTo>
                    <a:lnTo>
                      <a:pt x="30" y="68"/>
                    </a:lnTo>
                    <a:lnTo>
                      <a:pt x="32" y="70"/>
                    </a:lnTo>
                    <a:lnTo>
                      <a:pt x="36" y="70"/>
                    </a:lnTo>
                    <a:lnTo>
                      <a:pt x="38" y="72"/>
                    </a:lnTo>
                    <a:lnTo>
                      <a:pt x="42" y="72"/>
                    </a:lnTo>
                    <a:lnTo>
                      <a:pt x="46" y="72"/>
                    </a:lnTo>
                    <a:lnTo>
                      <a:pt x="48" y="72"/>
                    </a:lnTo>
                    <a:lnTo>
                      <a:pt x="50" y="72"/>
                    </a:lnTo>
                    <a:lnTo>
                      <a:pt x="52" y="72"/>
                    </a:lnTo>
                    <a:lnTo>
                      <a:pt x="52" y="72"/>
                    </a:lnTo>
                    <a:lnTo>
                      <a:pt x="54" y="70"/>
                    </a:lnTo>
                    <a:lnTo>
                      <a:pt x="54" y="70"/>
                    </a:lnTo>
                    <a:lnTo>
                      <a:pt x="56" y="70"/>
                    </a:lnTo>
                    <a:lnTo>
                      <a:pt x="56" y="68"/>
                    </a:lnTo>
                    <a:lnTo>
                      <a:pt x="58" y="68"/>
                    </a:lnTo>
                    <a:lnTo>
                      <a:pt x="58" y="66"/>
                    </a:lnTo>
                    <a:lnTo>
                      <a:pt x="60" y="64"/>
                    </a:lnTo>
                    <a:lnTo>
                      <a:pt x="62" y="60"/>
                    </a:lnTo>
                    <a:lnTo>
                      <a:pt x="64" y="58"/>
                    </a:lnTo>
                    <a:lnTo>
                      <a:pt x="64" y="54"/>
                    </a:lnTo>
                    <a:lnTo>
                      <a:pt x="66" y="50"/>
                    </a:lnTo>
                    <a:lnTo>
                      <a:pt x="66" y="50"/>
                    </a:lnTo>
                    <a:lnTo>
                      <a:pt x="66" y="48"/>
                    </a:lnTo>
                    <a:lnTo>
                      <a:pt x="66" y="48"/>
                    </a:lnTo>
                    <a:lnTo>
                      <a:pt x="66" y="46"/>
                    </a:lnTo>
                    <a:lnTo>
                      <a:pt x="66" y="46"/>
                    </a:lnTo>
                    <a:lnTo>
                      <a:pt x="64" y="44"/>
                    </a:lnTo>
                    <a:lnTo>
                      <a:pt x="64" y="42"/>
                    </a:lnTo>
                    <a:lnTo>
                      <a:pt x="62" y="40"/>
                    </a:lnTo>
                    <a:lnTo>
                      <a:pt x="60" y="34"/>
                    </a:lnTo>
                    <a:lnTo>
                      <a:pt x="58" y="32"/>
                    </a:lnTo>
                    <a:lnTo>
                      <a:pt x="58" y="32"/>
                    </a:lnTo>
                    <a:lnTo>
                      <a:pt x="58" y="30"/>
                    </a:lnTo>
                    <a:lnTo>
                      <a:pt x="58" y="30"/>
                    </a:lnTo>
                    <a:lnTo>
                      <a:pt x="58" y="28"/>
                    </a:lnTo>
                    <a:lnTo>
                      <a:pt x="58" y="26"/>
                    </a:lnTo>
                    <a:lnTo>
                      <a:pt x="58" y="24"/>
                    </a:lnTo>
                    <a:lnTo>
                      <a:pt x="60" y="20"/>
                    </a:lnTo>
                    <a:lnTo>
                      <a:pt x="60" y="16"/>
                    </a:lnTo>
                    <a:lnTo>
                      <a:pt x="62" y="12"/>
                    </a:lnTo>
                    <a:lnTo>
                      <a:pt x="62" y="10"/>
                    </a:lnTo>
                    <a:lnTo>
                      <a:pt x="62" y="8"/>
                    </a:lnTo>
                    <a:lnTo>
                      <a:pt x="62" y="6"/>
                    </a:lnTo>
                    <a:lnTo>
                      <a:pt x="62" y="4"/>
                    </a:lnTo>
                    <a:lnTo>
                      <a:pt x="62" y="4"/>
                    </a:lnTo>
                    <a:lnTo>
                      <a:pt x="62" y="4"/>
                    </a:lnTo>
                    <a:lnTo>
                      <a:pt x="60" y="2"/>
                    </a:lnTo>
                    <a:lnTo>
                      <a:pt x="60" y="2"/>
                    </a:lnTo>
                    <a:lnTo>
                      <a:pt x="60" y="2"/>
                    </a:lnTo>
                    <a:lnTo>
                      <a:pt x="58" y="0"/>
                    </a:lnTo>
                    <a:lnTo>
                      <a:pt x="56" y="0"/>
                    </a:lnTo>
                    <a:lnTo>
                      <a:pt x="52" y="0"/>
                    </a:lnTo>
                    <a:lnTo>
                      <a:pt x="50" y="0"/>
                    </a:lnTo>
                    <a:lnTo>
                      <a:pt x="48" y="0"/>
                    </a:lnTo>
                    <a:lnTo>
                      <a:pt x="44" y="0"/>
                    </a:lnTo>
                    <a:lnTo>
                      <a:pt x="42" y="0"/>
                    </a:lnTo>
                    <a:lnTo>
                      <a:pt x="38" y="0"/>
                    </a:lnTo>
                    <a:lnTo>
                      <a:pt x="36" y="0"/>
                    </a:lnTo>
                    <a:lnTo>
                      <a:pt x="32" y="2"/>
                    </a:lnTo>
                    <a:lnTo>
                      <a:pt x="30" y="2"/>
                    </a:lnTo>
                    <a:lnTo>
                      <a:pt x="28" y="4"/>
                    </a:lnTo>
                    <a:lnTo>
                      <a:pt x="26" y="4"/>
                    </a:lnTo>
                    <a:lnTo>
                      <a:pt x="24" y="6"/>
                    </a:lnTo>
                    <a:lnTo>
                      <a:pt x="24" y="6"/>
                    </a:lnTo>
                    <a:lnTo>
                      <a:pt x="24"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5" name="Freeform 556"/>
              <p:cNvSpPr>
                <a:spLocks/>
              </p:cNvSpPr>
              <p:nvPr/>
            </p:nvSpPr>
            <p:spPr bwMode="auto">
              <a:xfrm>
                <a:off x="2319628" y="2679867"/>
                <a:ext cx="66675" cy="53975"/>
              </a:xfrm>
              <a:custGeom>
                <a:avLst/>
                <a:gdLst>
                  <a:gd name="T0" fmla="*/ 22 w 42"/>
                  <a:gd name="T1" fmla="*/ 0 h 34"/>
                  <a:gd name="T2" fmla="*/ 22 w 42"/>
                  <a:gd name="T3" fmla="*/ 0 h 34"/>
                  <a:gd name="T4" fmla="*/ 20 w 42"/>
                  <a:gd name="T5" fmla="*/ 0 h 34"/>
                  <a:gd name="T6" fmla="*/ 20 w 42"/>
                  <a:gd name="T7" fmla="*/ 2 h 34"/>
                  <a:gd name="T8" fmla="*/ 18 w 42"/>
                  <a:gd name="T9" fmla="*/ 2 h 34"/>
                  <a:gd name="T10" fmla="*/ 18 w 42"/>
                  <a:gd name="T11" fmla="*/ 2 h 34"/>
                  <a:gd name="T12" fmla="*/ 16 w 42"/>
                  <a:gd name="T13" fmla="*/ 4 h 34"/>
                  <a:gd name="T14" fmla="*/ 14 w 42"/>
                  <a:gd name="T15" fmla="*/ 4 h 34"/>
                  <a:gd name="T16" fmla="*/ 12 w 42"/>
                  <a:gd name="T17" fmla="*/ 6 h 34"/>
                  <a:gd name="T18" fmla="*/ 10 w 42"/>
                  <a:gd name="T19" fmla="*/ 8 h 34"/>
                  <a:gd name="T20" fmla="*/ 8 w 42"/>
                  <a:gd name="T21" fmla="*/ 10 h 34"/>
                  <a:gd name="T22" fmla="*/ 6 w 42"/>
                  <a:gd name="T23" fmla="*/ 12 h 34"/>
                  <a:gd name="T24" fmla="*/ 6 w 42"/>
                  <a:gd name="T25" fmla="*/ 12 h 34"/>
                  <a:gd name="T26" fmla="*/ 4 w 42"/>
                  <a:gd name="T27" fmla="*/ 16 h 34"/>
                  <a:gd name="T28" fmla="*/ 2 w 42"/>
                  <a:gd name="T29" fmla="*/ 18 h 34"/>
                  <a:gd name="T30" fmla="*/ 2 w 42"/>
                  <a:gd name="T31" fmla="*/ 20 h 34"/>
                  <a:gd name="T32" fmla="*/ 0 w 42"/>
                  <a:gd name="T33" fmla="*/ 22 h 34"/>
                  <a:gd name="T34" fmla="*/ 0 w 42"/>
                  <a:gd name="T35" fmla="*/ 24 h 34"/>
                  <a:gd name="T36" fmla="*/ 0 w 42"/>
                  <a:gd name="T37" fmla="*/ 26 h 34"/>
                  <a:gd name="T38" fmla="*/ 0 w 42"/>
                  <a:gd name="T39" fmla="*/ 26 h 34"/>
                  <a:gd name="T40" fmla="*/ 0 w 42"/>
                  <a:gd name="T41" fmla="*/ 28 h 34"/>
                  <a:gd name="T42" fmla="*/ 0 w 42"/>
                  <a:gd name="T43" fmla="*/ 28 h 34"/>
                  <a:gd name="T44" fmla="*/ 2 w 42"/>
                  <a:gd name="T45" fmla="*/ 30 h 34"/>
                  <a:gd name="T46" fmla="*/ 2 w 42"/>
                  <a:gd name="T47" fmla="*/ 30 h 34"/>
                  <a:gd name="T48" fmla="*/ 4 w 42"/>
                  <a:gd name="T49" fmla="*/ 32 h 34"/>
                  <a:gd name="T50" fmla="*/ 4 w 42"/>
                  <a:gd name="T51" fmla="*/ 32 h 34"/>
                  <a:gd name="T52" fmla="*/ 6 w 42"/>
                  <a:gd name="T53" fmla="*/ 32 h 34"/>
                  <a:gd name="T54" fmla="*/ 8 w 42"/>
                  <a:gd name="T55" fmla="*/ 32 h 34"/>
                  <a:gd name="T56" fmla="*/ 10 w 42"/>
                  <a:gd name="T57" fmla="*/ 32 h 34"/>
                  <a:gd name="T58" fmla="*/ 12 w 42"/>
                  <a:gd name="T59" fmla="*/ 34 h 34"/>
                  <a:gd name="T60" fmla="*/ 14 w 42"/>
                  <a:gd name="T61" fmla="*/ 34 h 34"/>
                  <a:gd name="T62" fmla="*/ 18 w 42"/>
                  <a:gd name="T63" fmla="*/ 34 h 34"/>
                  <a:gd name="T64" fmla="*/ 20 w 42"/>
                  <a:gd name="T65" fmla="*/ 32 h 34"/>
                  <a:gd name="T66" fmla="*/ 24 w 42"/>
                  <a:gd name="T67" fmla="*/ 32 h 34"/>
                  <a:gd name="T68" fmla="*/ 26 w 42"/>
                  <a:gd name="T69" fmla="*/ 32 h 34"/>
                  <a:gd name="T70" fmla="*/ 28 w 42"/>
                  <a:gd name="T71" fmla="*/ 32 h 34"/>
                  <a:gd name="T72" fmla="*/ 32 w 42"/>
                  <a:gd name="T73" fmla="*/ 30 h 34"/>
                  <a:gd name="T74" fmla="*/ 34 w 42"/>
                  <a:gd name="T75" fmla="*/ 30 h 34"/>
                  <a:gd name="T76" fmla="*/ 36 w 42"/>
                  <a:gd name="T77" fmla="*/ 28 h 34"/>
                  <a:gd name="T78" fmla="*/ 38 w 42"/>
                  <a:gd name="T79" fmla="*/ 26 h 34"/>
                  <a:gd name="T80" fmla="*/ 40 w 42"/>
                  <a:gd name="T81" fmla="*/ 26 h 34"/>
                  <a:gd name="T82" fmla="*/ 40 w 42"/>
                  <a:gd name="T83" fmla="*/ 26 h 34"/>
                  <a:gd name="T84" fmla="*/ 42 w 42"/>
                  <a:gd name="T85" fmla="*/ 24 h 34"/>
                  <a:gd name="T86" fmla="*/ 42 w 42"/>
                  <a:gd name="T87" fmla="*/ 24 h 34"/>
                  <a:gd name="T88" fmla="*/ 42 w 42"/>
                  <a:gd name="T89" fmla="*/ 22 h 34"/>
                  <a:gd name="T90" fmla="*/ 42 w 42"/>
                  <a:gd name="T91" fmla="*/ 22 h 34"/>
                  <a:gd name="T92" fmla="*/ 42 w 42"/>
                  <a:gd name="T93" fmla="*/ 20 h 34"/>
                  <a:gd name="T94" fmla="*/ 42 w 42"/>
                  <a:gd name="T95" fmla="*/ 18 h 34"/>
                  <a:gd name="T96" fmla="*/ 42 w 42"/>
                  <a:gd name="T97" fmla="*/ 18 h 34"/>
                  <a:gd name="T98" fmla="*/ 40 w 42"/>
                  <a:gd name="T99" fmla="*/ 16 h 34"/>
                  <a:gd name="T100" fmla="*/ 40 w 42"/>
                  <a:gd name="T101" fmla="*/ 14 h 34"/>
                  <a:gd name="T102" fmla="*/ 38 w 42"/>
                  <a:gd name="T103" fmla="*/ 12 h 34"/>
                  <a:gd name="T104" fmla="*/ 36 w 42"/>
                  <a:gd name="T105" fmla="*/ 10 h 34"/>
                  <a:gd name="T106" fmla="*/ 36 w 42"/>
                  <a:gd name="T107" fmla="*/ 8 h 34"/>
                  <a:gd name="T108" fmla="*/ 34 w 42"/>
                  <a:gd name="T109" fmla="*/ 8 h 34"/>
                  <a:gd name="T110" fmla="*/ 32 w 42"/>
                  <a:gd name="T111" fmla="*/ 6 h 34"/>
                  <a:gd name="T112" fmla="*/ 30 w 42"/>
                  <a:gd name="T113" fmla="*/ 4 h 34"/>
                  <a:gd name="T114" fmla="*/ 28 w 42"/>
                  <a:gd name="T115" fmla="*/ 4 h 34"/>
                  <a:gd name="T116" fmla="*/ 26 w 42"/>
                  <a:gd name="T117" fmla="*/ 2 h 34"/>
                  <a:gd name="T118" fmla="*/ 24 w 42"/>
                  <a:gd name="T119" fmla="*/ 2 h 34"/>
                  <a:gd name="T120" fmla="*/ 24 w 42"/>
                  <a:gd name="T121" fmla="*/ 2 h 34"/>
                  <a:gd name="T122" fmla="*/ 22 w 42"/>
                  <a:gd name="T1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34">
                    <a:moveTo>
                      <a:pt x="22" y="0"/>
                    </a:moveTo>
                    <a:lnTo>
                      <a:pt x="22" y="0"/>
                    </a:lnTo>
                    <a:lnTo>
                      <a:pt x="20" y="0"/>
                    </a:lnTo>
                    <a:lnTo>
                      <a:pt x="20" y="2"/>
                    </a:lnTo>
                    <a:lnTo>
                      <a:pt x="18" y="2"/>
                    </a:lnTo>
                    <a:lnTo>
                      <a:pt x="18" y="2"/>
                    </a:lnTo>
                    <a:lnTo>
                      <a:pt x="16" y="4"/>
                    </a:lnTo>
                    <a:lnTo>
                      <a:pt x="14" y="4"/>
                    </a:lnTo>
                    <a:lnTo>
                      <a:pt x="12" y="6"/>
                    </a:lnTo>
                    <a:lnTo>
                      <a:pt x="10" y="8"/>
                    </a:lnTo>
                    <a:lnTo>
                      <a:pt x="8" y="10"/>
                    </a:lnTo>
                    <a:lnTo>
                      <a:pt x="6" y="12"/>
                    </a:lnTo>
                    <a:lnTo>
                      <a:pt x="6" y="12"/>
                    </a:lnTo>
                    <a:lnTo>
                      <a:pt x="4" y="16"/>
                    </a:lnTo>
                    <a:lnTo>
                      <a:pt x="2" y="18"/>
                    </a:lnTo>
                    <a:lnTo>
                      <a:pt x="2" y="20"/>
                    </a:lnTo>
                    <a:lnTo>
                      <a:pt x="0" y="22"/>
                    </a:lnTo>
                    <a:lnTo>
                      <a:pt x="0" y="24"/>
                    </a:lnTo>
                    <a:lnTo>
                      <a:pt x="0" y="26"/>
                    </a:lnTo>
                    <a:lnTo>
                      <a:pt x="0" y="26"/>
                    </a:lnTo>
                    <a:lnTo>
                      <a:pt x="0" y="28"/>
                    </a:lnTo>
                    <a:lnTo>
                      <a:pt x="0" y="28"/>
                    </a:lnTo>
                    <a:lnTo>
                      <a:pt x="2" y="30"/>
                    </a:lnTo>
                    <a:lnTo>
                      <a:pt x="2" y="30"/>
                    </a:lnTo>
                    <a:lnTo>
                      <a:pt x="4" y="32"/>
                    </a:lnTo>
                    <a:lnTo>
                      <a:pt x="4" y="32"/>
                    </a:lnTo>
                    <a:lnTo>
                      <a:pt x="6" y="32"/>
                    </a:lnTo>
                    <a:lnTo>
                      <a:pt x="8" y="32"/>
                    </a:lnTo>
                    <a:lnTo>
                      <a:pt x="10" y="32"/>
                    </a:lnTo>
                    <a:lnTo>
                      <a:pt x="12" y="34"/>
                    </a:lnTo>
                    <a:lnTo>
                      <a:pt x="14" y="34"/>
                    </a:lnTo>
                    <a:lnTo>
                      <a:pt x="18" y="34"/>
                    </a:lnTo>
                    <a:lnTo>
                      <a:pt x="20" y="32"/>
                    </a:lnTo>
                    <a:lnTo>
                      <a:pt x="24" y="32"/>
                    </a:lnTo>
                    <a:lnTo>
                      <a:pt x="26" y="32"/>
                    </a:lnTo>
                    <a:lnTo>
                      <a:pt x="28" y="32"/>
                    </a:lnTo>
                    <a:lnTo>
                      <a:pt x="32" y="30"/>
                    </a:lnTo>
                    <a:lnTo>
                      <a:pt x="34" y="30"/>
                    </a:lnTo>
                    <a:lnTo>
                      <a:pt x="36" y="28"/>
                    </a:lnTo>
                    <a:lnTo>
                      <a:pt x="38" y="26"/>
                    </a:lnTo>
                    <a:lnTo>
                      <a:pt x="40" y="26"/>
                    </a:lnTo>
                    <a:lnTo>
                      <a:pt x="40" y="26"/>
                    </a:lnTo>
                    <a:lnTo>
                      <a:pt x="42" y="24"/>
                    </a:lnTo>
                    <a:lnTo>
                      <a:pt x="42" y="24"/>
                    </a:lnTo>
                    <a:lnTo>
                      <a:pt x="42" y="22"/>
                    </a:lnTo>
                    <a:lnTo>
                      <a:pt x="42" y="22"/>
                    </a:lnTo>
                    <a:lnTo>
                      <a:pt x="42" y="20"/>
                    </a:lnTo>
                    <a:lnTo>
                      <a:pt x="42" y="18"/>
                    </a:lnTo>
                    <a:lnTo>
                      <a:pt x="42" y="18"/>
                    </a:lnTo>
                    <a:lnTo>
                      <a:pt x="40" y="16"/>
                    </a:lnTo>
                    <a:lnTo>
                      <a:pt x="40" y="14"/>
                    </a:lnTo>
                    <a:lnTo>
                      <a:pt x="38" y="12"/>
                    </a:lnTo>
                    <a:lnTo>
                      <a:pt x="36" y="10"/>
                    </a:lnTo>
                    <a:lnTo>
                      <a:pt x="36" y="8"/>
                    </a:lnTo>
                    <a:lnTo>
                      <a:pt x="34" y="8"/>
                    </a:lnTo>
                    <a:lnTo>
                      <a:pt x="32" y="6"/>
                    </a:lnTo>
                    <a:lnTo>
                      <a:pt x="30" y="4"/>
                    </a:lnTo>
                    <a:lnTo>
                      <a:pt x="28" y="4"/>
                    </a:lnTo>
                    <a:lnTo>
                      <a:pt x="26" y="2"/>
                    </a:lnTo>
                    <a:lnTo>
                      <a:pt x="24" y="2"/>
                    </a:lnTo>
                    <a:lnTo>
                      <a:pt x="24" y="2"/>
                    </a:lnTo>
                    <a:lnTo>
                      <a:pt x="2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6" name="Freeform 558"/>
              <p:cNvSpPr>
                <a:spLocks/>
              </p:cNvSpPr>
              <p:nvPr/>
            </p:nvSpPr>
            <p:spPr bwMode="auto">
              <a:xfrm>
                <a:off x="2430753" y="2517942"/>
                <a:ext cx="111125" cy="85725"/>
              </a:xfrm>
              <a:custGeom>
                <a:avLst/>
                <a:gdLst>
                  <a:gd name="T0" fmla="*/ 2 w 70"/>
                  <a:gd name="T1" fmla="*/ 52 h 54"/>
                  <a:gd name="T2" fmla="*/ 2 w 70"/>
                  <a:gd name="T3" fmla="*/ 50 h 54"/>
                  <a:gd name="T4" fmla="*/ 0 w 70"/>
                  <a:gd name="T5" fmla="*/ 48 h 54"/>
                  <a:gd name="T6" fmla="*/ 0 w 70"/>
                  <a:gd name="T7" fmla="*/ 46 h 54"/>
                  <a:gd name="T8" fmla="*/ 2 w 70"/>
                  <a:gd name="T9" fmla="*/ 38 h 54"/>
                  <a:gd name="T10" fmla="*/ 4 w 70"/>
                  <a:gd name="T11" fmla="*/ 30 h 54"/>
                  <a:gd name="T12" fmla="*/ 6 w 70"/>
                  <a:gd name="T13" fmla="*/ 22 h 54"/>
                  <a:gd name="T14" fmla="*/ 8 w 70"/>
                  <a:gd name="T15" fmla="*/ 18 h 54"/>
                  <a:gd name="T16" fmla="*/ 12 w 70"/>
                  <a:gd name="T17" fmla="*/ 12 h 54"/>
                  <a:gd name="T18" fmla="*/ 12 w 70"/>
                  <a:gd name="T19" fmla="*/ 10 h 54"/>
                  <a:gd name="T20" fmla="*/ 14 w 70"/>
                  <a:gd name="T21" fmla="*/ 8 h 54"/>
                  <a:gd name="T22" fmla="*/ 20 w 70"/>
                  <a:gd name="T23" fmla="*/ 6 h 54"/>
                  <a:gd name="T24" fmla="*/ 26 w 70"/>
                  <a:gd name="T25" fmla="*/ 2 h 54"/>
                  <a:gd name="T26" fmla="*/ 32 w 70"/>
                  <a:gd name="T27" fmla="*/ 2 h 54"/>
                  <a:gd name="T28" fmla="*/ 38 w 70"/>
                  <a:gd name="T29" fmla="*/ 0 h 54"/>
                  <a:gd name="T30" fmla="*/ 42 w 70"/>
                  <a:gd name="T31" fmla="*/ 0 h 54"/>
                  <a:gd name="T32" fmla="*/ 50 w 70"/>
                  <a:gd name="T33" fmla="*/ 2 h 54"/>
                  <a:gd name="T34" fmla="*/ 56 w 70"/>
                  <a:gd name="T35" fmla="*/ 4 h 54"/>
                  <a:gd name="T36" fmla="*/ 62 w 70"/>
                  <a:gd name="T37" fmla="*/ 4 h 54"/>
                  <a:gd name="T38" fmla="*/ 66 w 70"/>
                  <a:gd name="T39" fmla="*/ 6 h 54"/>
                  <a:gd name="T40" fmla="*/ 70 w 70"/>
                  <a:gd name="T41" fmla="*/ 6 h 54"/>
                  <a:gd name="T42" fmla="*/ 70 w 70"/>
                  <a:gd name="T43" fmla="*/ 8 h 54"/>
                  <a:gd name="T44" fmla="*/ 70 w 70"/>
                  <a:gd name="T45" fmla="*/ 8 h 54"/>
                  <a:gd name="T46" fmla="*/ 70 w 70"/>
                  <a:gd name="T47" fmla="*/ 10 h 54"/>
                  <a:gd name="T48" fmla="*/ 68 w 70"/>
                  <a:gd name="T49" fmla="*/ 12 h 54"/>
                  <a:gd name="T50" fmla="*/ 66 w 70"/>
                  <a:gd name="T51" fmla="*/ 16 h 54"/>
                  <a:gd name="T52" fmla="*/ 62 w 70"/>
                  <a:gd name="T53" fmla="*/ 20 h 54"/>
                  <a:gd name="T54" fmla="*/ 58 w 70"/>
                  <a:gd name="T55" fmla="*/ 22 h 54"/>
                  <a:gd name="T56" fmla="*/ 50 w 70"/>
                  <a:gd name="T57" fmla="*/ 28 h 54"/>
                  <a:gd name="T58" fmla="*/ 46 w 70"/>
                  <a:gd name="T59" fmla="*/ 34 h 54"/>
                  <a:gd name="T60" fmla="*/ 40 w 70"/>
                  <a:gd name="T61" fmla="*/ 36 h 54"/>
                  <a:gd name="T62" fmla="*/ 38 w 70"/>
                  <a:gd name="T63" fmla="*/ 38 h 54"/>
                  <a:gd name="T64" fmla="*/ 36 w 70"/>
                  <a:gd name="T65" fmla="*/ 38 h 54"/>
                  <a:gd name="T66" fmla="*/ 30 w 70"/>
                  <a:gd name="T67" fmla="*/ 38 h 54"/>
                  <a:gd name="T68" fmla="*/ 26 w 70"/>
                  <a:gd name="T69" fmla="*/ 36 h 54"/>
                  <a:gd name="T70" fmla="*/ 24 w 70"/>
                  <a:gd name="T71" fmla="*/ 38 h 54"/>
                  <a:gd name="T72" fmla="*/ 22 w 70"/>
                  <a:gd name="T73" fmla="*/ 38 h 54"/>
                  <a:gd name="T74" fmla="*/ 22 w 70"/>
                  <a:gd name="T75" fmla="*/ 38 h 54"/>
                  <a:gd name="T76" fmla="*/ 20 w 70"/>
                  <a:gd name="T77" fmla="*/ 40 h 54"/>
                  <a:gd name="T78" fmla="*/ 20 w 70"/>
                  <a:gd name="T79" fmla="*/ 46 h 54"/>
                  <a:gd name="T80" fmla="*/ 18 w 70"/>
                  <a:gd name="T81" fmla="*/ 50 h 54"/>
                  <a:gd name="T82" fmla="*/ 18 w 70"/>
                  <a:gd name="T83" fmla="*/ 52 h 54"/>
                  <a:gd name="T84" fmla="*/ 18 w 70"/>
                  <a:gd name="T85" fmla="*/ 52 h 54"/>
                  <a:gd name="T86" fmla="*/ 16 w 70"/>
                  <a:gd name="T87" fmla="*/ 54 h 54"/>
                  <a:gd name="T88" fmla="*/ 12 w 70"/>
                  <a:gd name="T89" fmla="*/ 54 h 54"/>
                  <a:gd name="T90" fmla="*/ 8 w 70"/>
                  <a:gd name="T91" fmla="*/ 54 h 54"/>
                  <a:gd name="T92" fmla="*/ 4 w 70"/>
                  <a:gd name="T93" fmla="*/ 54 h 54"/>
                  <a:gd name="T94" fmla="*/ 2 w 70"/>
                  <a:gd name="T9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54">
                    <a:moveTo>
                      <a:pt x="2" y="52"/>
                    </a:moveTo>
                    <a:lnTo>
                      <a:pt x="2" y="52"/>
                    </a:lnTo>
                    <a:lnTo>
                      <a:pt x="2" y="52"/>
                    </a:lnTo>
                    <a:lnTo>
                      <a:pt x="2" y="50"/>
                    </a:lnTo>
                    <a:lnTo>
                      <a:pt x="0" y="50"/>
                    </a:lnTo>
                    <a:lnTo>
                      <a:pt x="0" y="48"/>
                    </a:lnTo>
                    <a:lnTo>
                      <a:pt x="0" y="46"/>
                    </a:lnTo>
                    <a:lnTo>
                      <a:pt x="0" y="46"/>
                    </a:lnTo>
                    <a:lnTo>
                      <a:pt x="2" y="42"/>
                    </a:lnTo>
                    <a:lnTo>
                      <a:pt x="2" y="38"/>
                    </a:lnTo>
                    <a:lnTo>
                      <a:pt x="4" y="36"/>
                    </a:lnTo>
                    <a:lnTo>
                      <a:pt x="4" y="30"/>
                    </a:lnTo>
                    <a:lnTo>
                      <a:pt x="6" y="26"/>
                    </a:lnTo>
                    <a:lnTo>
                      <a:pt x="6" y="22"/>
                    </a:lnTo>
                    <a:lnTo>
                      <a:pt x="8" y="20"/>
                    </a:lnTo>
                    <a:lnTo>
                      <a:pt x="8" y="18"/>
                    </a:lnTo>
                    <a:lnTo>
                      <a:pt x="10" y="14"/>
                    </a:lnTo>
                    <a:lnTo>
                      <a:pt x="12" y="12"/>
                    </a:lnTo>
                    <a:lnTo>
                      <a:pt x="12" y="12"/>
                    </a:lnTo>
                    <a:lnTo>
                      <a:pt x="12" y="10"/>
                    </a:lnTo>
                    <a:lnTo>
                      <a:pt x="14" y="10"/>
                    </a:lnTo>
                    <a:lnTo>
                      <a:pt x="14" y="8"/>
                    </a:lnTo>
                    <a:lnTo>
                      <a:pt x="16" y="8"/>
                    </a:lnTo>
                    <a:lnTo>
                      <a:pt x="20" y="6"/>
                    </a:lnTo>
                    <a:lnTo>
                      <a:pt x="22" y="4"/>
                    </a:lnTo>
                    <a:lnTo>
                      <a:pt x="26" y="2"/>
                    </a:lnTo>
                    <a:lnTo>
                      <a:pt x="30" y="2"/>
                    </a:lnTo>
                    <a:lnTo>
                      <a:pt x="32" y="2"/>
                    </a:lnTo>
                    <a:lnTo>
                      <a:pt x="34" y="0"/>
                    </a:lnTo>
                    <a:lnTo>
                      <a:pt x="38" y="0"/>
                    </a:lnTo>
                    <a:lnTo>
                      <a:pt x="40" y="0"/>
                    </a:lnTo>
                    <a:lnTo>
                      <a:pt x="42" y="0"/>
                    </a:lnTo>
                    <a:lnTo>
                      <a:pt x="46" y="2"/>
                    </a:lnTo>
                    <a:lnTo>
                      <a:pt x="50" y="2"/>
                    </a:lnTo>
                    <a:lnTo>
                      <a:pt x="56" y="2"/>
                    </a:lnTo>
                    <a:lnTo>
                      <a:pt x="56" y="4"/>
                    </a:lnTo>
                    <a:lnTo>
                      <a:pt x="60" y="4"/>
                    </a:lnTo>
                    <a:lnTo>
                      <a:pt x="62" y="4"/>
                    </a:lnTo>
                    <a:lnTo>
                      <a:pt x="64" y="4"/>
                    </a:lnTo>
                    <a:lnTo>
                      <a:pt x="66" y="6"/>
                    </a:lnTo>
                    <a:lnTo>
                      <a:pt x="68" y="6"/>
                    </a:lnTo>
                    <a:lnTo>
                      <a:pt x="70" y="6"/>
                    </a:lnTo>
                    <a:lnTo>
                      <a:pt x="70" y="6"/>
                    </a:lnTo>
                    <a:lnTo>
                      <a:pt x="70" y="8"/>
                    </a:lnTo>
                    <a:lnTo>
                      <a:pt x="70" y="8"/>
                    </a:lnTo>
                    <a:lnTo>
                      <a:pt x="70" y="8"/>
                    </a:lnTo>
                    <a:lnTo>
                      <a:pt x="70" y="10"/>
                    </a:lnTo>
                    <a:lnTo>
                      <a:pt x="70" y="10"/>
                    </a:lnTo>
                    <a:lnTo>
                      <a:pt x="70" y="12"/>
                    </a:lnTo>
                    <a:lnTo>
                      <a:pt x="68" y="12"/>
                    </a:lnTo>
                    <a:lnTo>
                      <a:pt x="68" y="14"/>
                    </a:lnTo>
                    <a:lnTo>
                      <a:pt x="66" y="16"/>
                    </a:lnTo>
                    <a:lnTo>
                      <a:pt x="64" y="18"/>
                    </a:lnTo>
                    <a:lnTo>
                      <a:pt x="62" y="20"/>
                    </a:lnTo>
                    <a:lnTo>
                      <a:pt x="60" y="22"/>
                    </a:lnTo>
                    <a:lnTo>
                      <a:pt x="58" y="22"/>
                    </a:lnTo>
                    <a:lnTo>
                      <a:pt x="54" y="26"/>
                    </a:lnTo>
                    <a:lnTo>
                      <a:pt x="50" y="28"/>
                    </a:lnTo>
                    <a:lnTo>
                      <a:pt x="48" y="32"/>
                    </a:lnTo>
                    <a:lnTo>
                      <a:pt x="46" y="34"/>
                    </a:lnTo>
                    <a:lnTo>
                      <a:pt x="42" y="36"/>
                    </a:lnTo>
                    <a:lnTo>
                      <a:pt x="40" y="36"/>
                    </a:lnTo>
                    <a:lnTo>
                      <a:pt x="38" y="38"/>
                    </a:lnTo>
                    <a:lnTo>
                      <a:pt x="38" y="38"/>
                    </a:lnTo>
                    <a:lnTo>
                      <a:pt x="36" y="38"/>
                    </a:lnTo>
                    <a:lnTo>
                      <a:pt x="36" y="38"/>
                    </a:lnTo>
                    <a:lnTo>
                      <a:pt x="34" y="38"/>
                    </a:lnTo>
                    <a:lnTo>
                      <a:pt x="30" y="38"/>
                    </a:lnTo>
                    <a:lnTo>
                      <a:pt x="28" y="36"/>
                    </a:lnTo>
                    <a:lnTo>
                      <a:pt x="26" y="36"/>
                    </a:lnTo>
                    <a:lnTo>
                      <a:pt x="24" y="36"/>
                    </a:lnTo>
                    <a:lnTo>
                      <a:pt x="24" y="38"/>
                    </a:lnTo>
                    <a:lnTo>
                      <a:pt x="22" y="38"/>
                    </a:lnTo>
                    <a:lnTo>
                      <a:pt x="22" y="38"/>
                    </a:lnTo>
                    <a:lnTo>
                      <a:pt x="22" y="38"/>
                    </a:lnTo>
                    <a:lnTo>
                      <a:pt x="22" y="38"/>
                    </a:lnTo>
                    <a:lnTo>
                      <a:pt x="20" y="40"/>
                    </a:lnTo>
                    <a:lnTo>
                      <a:pt x="20" y="40"/>
                    </a:lnTo>
                    <a:lnTo>
                      <a:pt x="20" y="42"/>
                    </a:lnTo>
                    <a:lnTo>
                      <a:pt x="20" y="46"/>
                    </a:lnTo>
                    <a:lnTo>
                      <a:pt x="20" y="48"/>
                    </a:lnTo>
                    <a:lnTo>
                      <a:pt x="18" y="50"/>
                    </a:lnTo>
                    <a:lnTo>
                      <a:pt x="18" y="50"/>
                    </a:lnTo>
                    <a:lnTo>
                      <a:pt x="18" y="52"/>
                    </a:lnTo>
                    <a:lnTo>
                      <a:pt x="18" y="52"/>
                    </a:lnTo>
                    <a:lnTo>
                      <a:pt x="18" y="52"/>
                    </a:lnTo>
                    <a:lnTo>
                      <a:pt x="16" y="54"/>
                    </a:lnTo>
                    <a:lnTo>
                      <a:pt x="16" y="54"/>
                    </a:lnTo>
                    <a:lnTo>
                      <a:pt x="14" y="54"/>
                    </a:lnTo>
                    <a:lnTo>
                      <a:pt x="12" y="54"/>
                    </a:lnTo>
                    <a:lnTo>
                      <a:pt x="10" y="54"/>
                    </a:lnTo>
                    <a:lnTo>
                      <a:pt x="8" y="54"/>
                    </a:lnTo>
                    <a:lnTo>
                      <a:pt x="6" y="54"/>
                    </a:lnTo>
                    <a:lnTo>
                      <a:pt x="4" y="54"/>
                    </a:lnTo>
                    <a:lnTo>
                      <a:pt x="4" y="54"/>
                    </a:lnTo>
                    <a:lnTo>
                      <a:pt x="2" y="54"/>
                    </a:lnTo>
                    <a:lnTo>
                      <a:pt x="2" y="5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7" name="Freeform 560"/>
              <p:cNvSpPr>
                <a:spLocks/>
              </p:cNvSpPr>
              <p:nvPr/>
            </p:nvSpPr>
            <p:spPr bwMode="auto">
              <a:xfrm>
                <a:off x="2548228" y="2521117"/>
                <a:ext cx="517525" cy="473075"/>
              </a:xfrm>
              <a:custGeom>
                <a:avLst/>
                <a:gdLst>
                  <a:gd name="T0" fmla="*/ 38 w 326"/>
                  <a:gd name="T1" fmla="*/ 2 h 298"/>
                  <a:gd name="T2" fmla="*/ 16 w 326"/>
                  <a:gd name="T3" fmla="*/ 16 h 298"/>
                  <a:gd name="T4" fmla="*/ 0 w 326"/>
                  <a:gd name="T5" fmla="*/ 50 h 298"/>
                  <a:gd name="T6" fmla="*/ 6 w 326"/>
                  <a:gd name="T7" fmla="*/ 72 h 298"/>
                  <a:gd name="T8" fmla="*/ 26 w 326"/>
                  <a:gd name="T9" fmla="*/ 80 h 298"/>
                  <a:gd name="T10" fmla="*/ 18 w 326"/>
                  <a:gd name="T11" fmla="*/ 88 h 298"/>
                  <a:gd name="T12" fmla="*/ 20 w 326"/>
                  <a:gd name="T13" fmla="*/ 100 h 298"/>
                  <a:gd name="T14" fmla="*/ 38 w 326"/>
                  <a:gd name="T15" fmla="*/ 100 h 298"/>
                  <a:gd name="T16" fmla="*/ 72 w 326"/>
                  <a:gd name="T17" fmla="*/ 94 h 298"/>
                  <a:gd name="T18" fmla="*/ 96 w 326"/>
                  <a:gd name="T19" fmla="*/ 108 h 298"/>
                  <a:gd name="T20" fmla="*/ 116 w 326"/>
                  <a:gd name="T21" fmla="*/ 96 h 298"/>
                  <a:gd name="T22" fmla="*/ 132 w 326"/>
                  <a:gd name="T23" fmla="*/ 98 h 298"/>
                  <a:gd name="T24" fmla="*/ 150 w 326"/>
                  <a:gd name="T25" fmla="*/ 116 h 298"/>
                  <a:gd name="T26" fmla="*/ 148 w 326"/>
                  <a:gd name="T27" fmla="*/ 134 h 298"/>
                  <a:gd name="T28" fmla="*/ 160 w 326"/>
                  <a:gd name="T29" fmla="*/ 138 h 298"/>
                  <a:gd name="T30" fmla="*/ 182 w 326"/>
                  <a:gd name="T31" fmla="*/ 142 h 298"/>
                  <a:gd name="T32" fmla="*/ 192 w 326"/>
                  <a:gd name="T33" fmla="*/ 166 h 298"/>
                  <a:gd name="T34" fmla="*/ 182 w 326"/>
                  <a:gd name="T35" fmla="*/ 190 h 298"/>
                  <a:gd name="T36" fmla="*/ 152 w 326"/>
                  <a:gd name="T37" fmla="*/ 210 h 298"/>
                  <a:gd name="T38" fmla="*/ 118 w 326"/>
                  <a:gd name="T39" fmla="*/ 218 h 298"/>
                  <a:gd name="T40" fmla="*/ 108 w 326"/>
                  <a:gd name="T41" fmla="*/ 232 h 298"/>
                  <a:gd name="T42" fmla="*/ 122 w 326"/>
                  <a:gd name="T43" fmla="*/ 248 h 298"/>
                  <a:gd name="T44" fmla="*/ 138 w 326"/>
                  <a:gd name="T45" fmla="*/ 248 h 298"/>
                  <a:gd name="T46" fmla="*/ 164 w 326"/>
                  <a:gd name="T47" fmla="*/ 240 h 298"/>
                  <a:gd name="T48" fmla="*/ 196 w 326"/>
                  <a:gd name="T49" fmla="*/ 268 h 298"/>
                  <a:gd name="T50" fmla="*/ 234 w 326"/>
                  <a:gd name="T51" fmla="*/ 294 h 298"/>
                  <a:gd name="T52" fmla="*/ 250 w 326"/>
                  <a:gd name="T53" fmla="*/ 296 h 298"/>
                  <a:gd name="T54" fmla="*/ 248 w 326"/>
                  <a:gd name="T55" fmla="*/ 284 h 298"/>
                  <a:gd name="T56" fmla="*/ 232 w 326"/>
                  <a:gd name="T57" fmla="*/ 258 h 298"/>
                  <a:gd name="T58" fmla="*/ 240 w 326"/>
                  <a:gd name="T59" fmla="*/ 256 h 298"/>
                  <a:gd name="T60" fmla="*/ 264 w 326"/>
                  <a:gd name="T61" fmla="*/ 278 h 298"/>
                  <a:gd name="T62" fmla="*/ 274 w 326"/>
                  <a:gd name="T63" fmla="*/ 270 h 298"/>
                  <a:gd name="T64" fmla="*/ 278 w 326"/>
                  <a:gd name="T65" fmla="*/ 236 h 298"/>
                  <a:gd name="T66" fmla="*/ 268 w 326"/>
                  <a:gd name="T67" fmla="*/ 220 h 298"/>
                  <a:gd name="T68" fmla="*/ 246 w 326"/>
                  <a:gd name="T69" fmla="*/ 218 h 298"/>
                  <a:gd name="T70" fmla="*/ 244 w 326"/>
                  <a:gd name="T71" fmla="*/ 198 h 298"/>
                  <a:gd name="T72" fmla="*/ 252 w 326"/>
                  <a:gd name="T73" fmla="*/ 184 h 298"/>
                  <a:gd name="T74" fmla="*/ 268 w 326"/>
                  <a:gd name="T75" fmla="*/ 188 h 298"/>
                  <a:gd name="T76" fmla="*/ 292 w 326"/>
                  <a:gd name="T77" fmla="*/ 220 h 298"/>
                  <a:gd name="T78" fmla="*/ 304 w 326"/>
                  <a:gd name="T79" fmla="*/ 224 h 298"/>
                  <a:gd name="T80" fmla="*/ 316 w 326"/>
                  <a:gd name="T81" fmla="*/ 200 h 298"/>
                  <a:gd name="T82" fmla="*/ 326 w 326"/>
                  <a:gd name="T83" fmla="*/ 182 h 298"/>
                  <a:gd name="T84" fmla="*/ 308 w 326"/>
                  <a:gd name="T85" fmla="*/ 168 h 298"/>
                  <a:gd name="T86" fmla="*/ 276 w 326"/>
                  <a:gd name="T87" fmla="*/ 158 h 298"/>
                  <a:gd name="T88" fmla="*/ 256 w 326"/>
                  <a:gd name="T89" fmla="*/ 136 h 298"/>
                  <a:gd name="T90" fmla="*/ 260 w 326"/>
                  <a:gd name="T91" fmla="*/ 120 h 298"/>
                  <a:gd name="T92" fmla="*/ 268 w 326"/>
                  <a:gd name="T93" fmla="*/ 106 h 298"/>
                  <a:gd name="T94" fmla="*/ 250 w 326"/>
                  <a:gd name="T95" fmla="*/ 84 h 298"/>
                  <a:gd name="T96" fmla="*/ 200 w 326"/>
                  <a:gd name="T97" fmla="*/ 64 h 298"/>
                  <a:gd name="T98" fmla="*/ 182 w 326"/>
                  <a:gd name="T99" fmla="*/ 40 h 298"/>
                  <a:gd name="T100" fmla="*/ 166 w 326"/>
                  <a:gd name="T101" fmla="*/ 24 h 298"/>
                  <a:gd name="T102" fmla="*/ 132 w 326"/>
                  <a:gd name="T103" fmla="*/ 26 h 298"/>
                  <a:gd name="T104" fmla="*/ 112 w 326"/>
                  <a:gd name="T105" fmla="*/ 42 h 298"/>
                  <a:gd name="T106" fmla="*/ 104 w 326"/>
                  <a:gd name="T107" fmla="*/ 50 h 298"/>
                  <a:gd name="T108" fmla="*/ 106 w 326"/>
                  <a:gd name="T109" fmla="*/ 34 h 298"/>
                  <a:gd name="T110" fmla="*/ 114 w 326"/>
                  <a:gd name="T111" fmla="*/ 6 h 298"/>
                  <a:gd name="T112" fmla="*/ 96 w 326"/>
                  <a:gd name="T113" fmla="*/ 0 h 298"/>
                  <a:gd name="T114" fmla="*/ 74 w 326"/>
                  <a:gd name="T115" fmla="*/ 4 h 298"/>
                  <a:gd name="T116" fmla="*/ 60 w 326"/>
                  <a:gd name="T117" fmla="*/ 28 h 298"/>
                  <a:gd name="T118" fmla="*/ 56 w 326"/>
                  <a:gd name="T119" fmla="*/ 44 h 298"/>
                  <a:gd name="T120" fmla="*/ 40 w 326"/>
                  <a:gd name="T121" fmla="*/ 40 h 298"/>
                  <a:gd name="T122" fmla="*/ 46 w 326"/>
                  <a:gd name="T123" fmla="*/ 20 h 298"/>
                  <a:gd name="T124" fmla="*/ 50 w 326"/>
                  <a:gd name="T125" fmla="*/ 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 h="298">
                    <a:moveTo>
                      <a:pt x="50" y="2"/>
                    </a:moveTo>
                    <a:lnTo>
                      <a:pt x="50" y="2"/>
                    </a:lnTo>
                    <a:lnTo>
                      <a:pt x="48" y="2"/>
                    </a:lnTo>
                    <a:lnTo>
                      <a:pt x="48" y="2"/>
                    </a:lnTo>
                    <a:lnTo>
                      <a:pt x="48" y="2"/>
                    </a:lnTo>
                    <a:lnTo>
                      <a:pt x="46" y="2"/>
                    </a:lnTo>
                    <a:lnTo>
                      <a:pt x="46" y="2"/>
                    </a:lnTo>
                    <a:lnTo>
                      <a:pt x="44" y="2"/>
                    </a:lnTo>
                    <a:lnTo>
                      <a:pt x="42" y="2"/>
                    </a:lnTo>
                    <a:lnTo>
                      <a:pt x="38" y="2"/>
                    </a:lnTo>
                    <a:lnTo>
                      <a:pt x="36" y="2"/>
                    </a:lnTo>
                    <a:lnTo>
                      <a:pt x="34" y="4"/>
                    </a:lnTo>
                    <a:lnTo>
                      <a:pt x="32" y="4"/>
                    </a:lnTo>
                    <a:lnTo>
                      <a:pt x="30" y="6"/>
                    </a:lnTo>
                    <a:lnTo>
                      <a:pt x="26" y="8"/>
                    </a:lnTo>
                    <a:lnTo>
                      <a:pt x="22" y="10"/>
                    </a:lnTo>
                    <a:lnTo>
                      <a:pt x="20" y="12"/>
                    </a:lnTo>
                    <a:lnTo>
                      <a:pt x="18" y="14"/>
                    </a:lnTo>
                    <a:lnTo>
                      <a:pt x="16" y="16"/>
                    </a:lnTo>
                    <a:lnTo>
                      <a:pt x="16" y="16"/>
                    </a:lnTo>
                    <a:lnTo>
                      <a:pt x="14" y="18"/>
                    </a:lnTo>
                    <a:lnTo>
                      <a:pt x="12" y="22"/>
                    </a:lnTo>
                    <a:lnTo>
                      <a:pt x="8" y="26"/>
                    </a:lnTo>
                    <a:lnTo>
                      <a:pt x="6" y="32"/>
                    </a:lnTo>
                    <a:lnTo>
                      <a:pt x="4" y="36"/>
                    </a:lnTo>
                    <a:lnTo>
                      <a:pt x="2" y="40"/>
                    </a:lnTo>
                    <a:lnTo>
                      <a:pt x="2" y="42"/>
                    </a:lnTo>
                    <a:lnTo>
                      <a:pt x="2" y="42"/>
                    </a:lnTo>
                    <a:lnTo>
                      <a:pt x="2" y="46"/>
                    </a:lnTo>
                    <a:lnTo>
                      <a:pt x="0" y="50"/>
                    </a:lnTo>
                    <a:lnTo>
                      <a:pt x="0" y="54"/>
                    </a:lnTo>
                    <a:lnTo>
                      <a:pt x="0" y="58"/>
                    </a:lnTo>
                    <a:lnTo>
                      <a:pt x="2" y="62"/>
                    </a:lnTo>
                    <a:lnTo>
                      <a:pt x="2" y="64"/>
                    </a:lnTo>
                    <a:lnTo>
                      <a:pt x="2" y="66"/>
                    </a:lnTo>
                    <a:lnTo>
                      <a:pt x="2" y="68"/>
                    </a:lnTo>
                    <a:lnTo>
                      <a:pt x="4" y="70"/>
                    </a:lnTo>
                    <a:lnTo>
                      <a:pt x="4" y="70"/>
                    </a:lnTo>
                    <a:lnTo>
                      <a:pt x="4" y="72"/>
                    </a:lnTo>
                    <a:lnTo>
                      <a:pt x="6" y="72"/>
                    </a:lnTo>
                    <a:lnTo>
                      <a:pt x="8" y="74"/>
                    </a:lnTo>
                    <a:lnTo>
                      <a:pt x="10" y="74"/>
                    </a:lnTo>
                    <a:lnTo>
                      <a:pt x="12" y="74"/>
                    </a:lnTo>
                    <a:lnTo>
                      <a:pt x="16" y="76"/>
                    </a:lnTo>
                    <a:lnTo>
                      <a:pt x="20" y="76"/>
                    </a:lnTo>
                    <a:lnTo>
                      <a:pt x="22" y="76"/>
                    </a:lnTo>
                    <a:lnTo>
                      <a:pt x="24" y="78"/>
                    </a:lnTo>
                    <a:lnTo>
                      <a:pt x="24" y="78"/>
                    </a:lnTo>
                    <a:lnTo>
                      <a:pt x="26" y="78"/>
                    </a:lnTo>
                    <a:lnTo>
                      <a:pt x="26" y="80"/>
                    </a:lnTo>
                    <a:lnTo>
                      <a:pt x="26" y="80"/>
                    </a:lnTo>
                    <a:lnTo>
                      <a:pt x="26" y="80"/>
                    </a:lnTo>
                    <a:lnTo>
                      <a:pt x="26" y="82"/>
                    </a:lnTo>
                    <a:lnTo>
                      <a:pt x="26" y="82"/>
                    </a:lnTo>
                    <a:lnTo>
                      <a:pt x="26" y="82"/>
                    </a:lnTo>
                    <a:lnTo>
                      <a:pt x="26" y="84"/>
                    </a:lnTo>
                    <a:lnTo>
                      <a:pt x="24" y="84"/>
                    </a:lnTo>
                    <a:lnTo>
                      <a:pt x="22" y="86"/>
                    </a:lnTo>
                    <a:lnTo>
                      <a:pt x="20" y="88"/>
                    </a:lnTo>
                    <a:lnTo>
                      <a:pt x="18" y="88"/>
                    </a:lnTo>
                    <a:lnTo>
                      <a:pt x="18" y="90"/>
                    </a:lnTo>
                    <a:lnTo>
                      <a:pt x="18" y="90"/>
                    </a:lnTo>
                    <a:lnTo>
                      <a:pt x="16" y="90"/>
                    </a:lnTo>
                    <a:lnTo>
                      <a:pt x="16" y="90"/>
                    </a:lnTo>
                    <a:lnTo>
                      <a:pt x="16" y="92"/>
                    </a:lnTo>
                    <a:lnTo>
                      <a:pt x="16" y="94"/>
                    </a:lnTo>
                    <a:lnTo>
                      <a:pt x="18" y="94"/>
                    </a:lnTo>
                    <a:lnTo>
                      <a:pt x="18" y="96"/>
                    </a:lnTo>
                    <a:lnTo>
                      <a:pt x="18" y="98"/>
                    </a:lnTo>
                    <a:lnTo>
                      <a:pt x="20" y="100"/>
                    </a:lnTo>
                    <a:lnTo>
                      <a:pt x="20" y="100"/>
                    </a:lnTo>
                    <a:lnTo>
                      <a:pt x="22" y="102"/>
                    </a:lnTo>
                    <a:lnTo>
                      <a:pt x="22" y="102"/>
                    </a:lnTo>
                    <a:lnTo>
                      <a:pt x="24" y="102"/>
                    </a:lnTo>
                    <a:lnTo>
                      <a:pt x="26" y="102"/>
                    </a:lnTo>
                    <a:lnTo>
                      <a:pt x="26" y="102"/>
                    </a:lnTo>
                    <a:lnTo>
                      <a:pt x="30" y="102"/>
                    </a:lnTo>
                    <a:lnTo>
                      <a:pt x="32" y="102"/>
                    </a:lnTo>
                    <a:lnTo>
                      <a:pt x="36" y="102"/>
                    </a:lnTo>
                    <a:lnTo>
                      <a:pt x="38" y="100"/>
                    </a:lnTo>
                    <a:lnTo>
                      <a:pt x="46" y="98"/>
                    </a:lnTo>
                    <a:lnTo>
                      <a:pt x="52" y="96"/>
                    </a:lnTo>
                    <a:lnTo>
                      <a:pt x="56" y="96"/>
                    </a:lnTo>
                    <a:lnTo>
                      <a:pt x="58" y="94"/>
                    </a:lnTo>
                    <a:lnTo>
                      <a:pt x="62" y="94"/>
                    </a:lnTo>
                    <a:lnTo>
                      <a:pt x="64" y="94"/>
                    </a:lnTo>
                    <a:lnTo>
                      <a:pt x="68" y="94"/>
                    </a:lnTo>
                    <a:lnTo>
                      <a:pt x="68" y="94"/>
                    </a:lnTo>
                    <a:lnTo>
                      <a:pt x="70" y="94"/>
                    </a:lnTo>
                    <a:lnTo>
                      <a:pt x="72" y="94"/>
                    </a:lnTo>
                    <a:lnTo>
                      <a:pt x="72" y="94"/>
                    </a:lnTo>
                    <a:lnTo>
                      <a:pt x="74" y="96"/>
                    </a:lnTo>
                    <a:lnTo>
                      <a:pt x="76" y="96"/>
                    </a:lnTo>
                    <a:lnTo>
                      <a:pt x="80" y="100"/>
                    </a:lnTo>
                    <a:lnTo>
                      <a:pt x="84" y="102"/>
                    </a:lnTo>
                    <a:lnTo>
                      <a:pt x="88" y="104"/>
                    </a:lnTo>
                    <a:lnTo>
                      <a:pt x="90" y="106"/>
                    </a:lnTo>
                    <a:lnTo>
                      <a:pt x="92" y="106"/>
                    </a:lnTo>
                    <a:lnTo>
                      <a:pt x="94" y="108"/>
                    </a:lnTo>
                    <a:lnTo>
                      <a:pt x="96" y="108"/>
                    </a:lnTo>
                    <a:lnTo>
                      <a:pt x="98" y="108"/>
                    </a:lnTo>
                    <a:lnTo>
                      <a:pt x="100" y="108"/>
                    </a:lnTo>
                    <a:lnTo>
                      <a:pt x="102" y="108"/>
                    </a:lnTo>
                    <a:lnTo>
                      <a:pt x="102" y="108"/>
                    </a:lnTo>
                    <a:lnTo>
                      <a:pt x="104" y="108"/>
                    </a:lnTo>
                    <a:lnTo>
                      <a:pt x="106" y="106"/>
                    </a:lnTo>
                    <a:lnTo>
                      <a:pt x="108" y="104"/>
                    </a:lnTo>
                    <a:lnTo>
                      <a:pt x="112" y="100"/>
                    </a:lnTo>
                    <a:lnTo>
                      <a:pt x="114" y="98"/>
                    </a:lnTo>
                    <a:lnTo>
                      <a:pt x="116" y="96"/>
                    </a:lnTo>
                    <a:lnTo>
                      <a:pt x="118" y="96"/>
                    </a:lnTo>
                    <a:lnTo>
                      <a:pt x="118" y="94"/>
                    </a:lnTo>
                    <a:lnTo>
                      <a:pt x="120" y="94"/>
                    </a:lnTo>
                    <a:lnTo>
                      <a:pt x="122" y="94"/>
                    </a:lnTo>
                    <a:lnTo>
                      <a:pt x="122" y="94"/>
                    </a:lnTo>
                    <a:lnTo>
                      <a:pt x="124" y="94"/>
                    </a:lnTo>
                    <a:lnTo>
                      <a:pt x="126" y="94"/>
                    </a:lnTo>
                    <a:lnTo>
                      <a:pt x="128" y="96"/>
                    </a:lnTo>
                    <a:lnTo>
                      <a:pt x="130" y="96"/>
                    </a:lnTo>
                    <a:lnTo>
                      <a:pt x="132" y="98"/>
                    </a:lnTo>
                    <a:lnTo>
                      <a:pt x="134" y="100"/>
                    </a:lnTo>
                    <a:lnTo>
                      <a:pt x="136" y="102"/>
                    </a:lnTo>
                    <a:lnTo>
                      <a:pt x="138" y="102"/>
                    </a:lnTo>
                    <a:lnTo>
                      <a:pt x="140" y="106"/>
                    </a:lnTo>
                    <a:lnTo>
                      <a:pt x="142" y="108"/>
                    </a:lnTo>
                    <a:lnTo>
                      <a:pt x="144" y="110"/>
                    </a:lnTo>
                    <a:lnTo>
                      <a:pt x="146" y="112"/>
                    </a:lnTo>
                    <a:lnTo>
                      <a:pt x="148" y="114"/>
                    </a:lnTo>
                    <a:lnTo>
                      <a:pt x="148" y="116"/>
                    </a:lnTo>
                    <a:lnTo>
                      <a:pt x="150" y="116"/>
                    </a:lnTo>
                    <a:lnTo>
                      <a:pt x="150" y="118"/>
                    </a:lnTo>
                    <a:lnTo>
                      <a:pt x="150" y="120"/>
                    </a:lnTo>
                    <a:lnTo>
                      <a:pt x="150" y="120"/>
                    </a:lnTo>
                    <a:lnTo>
                      <a:pt x="150" y="122"/>
                    </a:lnTo>
                    <a:lnTo>
                      <a:pt x="150" y="122"/>
                    </a:lnTo>
                    <a:lnTo>
                      <a:pt x="150" y="126"/>
                    </a:lnTo>
                    <a:lnTo>
                      <a:pt x="148" y="128"/>
                    </a:lnTo>
                    <a:lnTo>
                      <a:pt x="148" y="130"/>
                    </a:lnTo>
                    <a:lnTo>
                      <a:pt x="148" y="132"/>
                    </a:lnTo>
                    <a:lnTo>
                      <a:pt x="148" y="134"/>
                    </a:lnTo>
                    <a:lnTo>
                      <a:pt x="148" y="134"/>
                    </a:lnTo>
                    <a:lnTo>
                      <a:pt x="148" y="136"/>
                    </a:lnTo>
                    <a:lnTo>
                      <a:pt x="148" y="136"/>
                    </a:lnTo>
                    <a:lnTo>
                      <a:pt x="148" y="138"/>
                    </a:lnTo>
                    <a:lnTo>
                      <a:pt x="150" y="138"/>
                    </a:lnTo>
                    <a:lnTo>
                      <a:pt x="152" y="138"/>
                    </a:lnTo>
                    <a:lnTo>
                      <a:pt x="152" y="138"/>
                    </a:lnTo>
                    <a:lnTo>
                      <a:pt x="154" y="138"/>
                    </a:lnTo>
                    <a:lnTo>
                      <a:pt x="156" y="138"/>
                    </a:lnTo>
                    <a:lnTo>
                      <a:pt x="160" y="138"/>
                    </a:lnTo>
                    <a:lnTo>
                      <a:pt x="164" y="136"/>
                    </a:lnTo>
                    <a:lnTo>
                      <a:pt x="166" y="136"/>
                    </a:lnTo>
                    <a:lnTo>
                      <a:pt x="168" y="136"/>
                    </a:lnTo>
                    <a:lnTo>
                      <a:pt x="170" y="136"/>
                    </a:lnTo>
                    <a:lnTo>
                      <a:pt x="172" y="136"/>
                    </a:lnTo>
                    <a:lnTo>
                      <a:pt x="172" y="136"/>
                    </a:lnTo>
                    <a:lnTo>
                      <a:pt x="174" y="138"/>
                    </a:lnTo>
                    <a:lnTo>
                      <a:pt x="178" y="138"/>
                    </a:lnTo>
                    <a:lnTo>
                      <a:pt x="180" y="140"/>
                    </a:lnTo>
                    <a:lnTo>
                      <a:pt x="182" y="142"/>
                    </a:lnTo>
                    <a:lnTo>
                      <a:pt x="184" y="144"/>
                    </a:lnTo>
                    <a:lnTo>
                      <a:pt x="186" y="146"/>
                    </a:lnTo>
                    <a:lnTo>
                      <a:pt x="186" y="148"/>
                    </a:lnTo>
                    <a:lnTo>
                      <a:pt x="188" y="150"/>
                    </a:lnTo>
                    <a:lnTo>
                      <a:pt x="188" y="150"/>
                    </a:lnTo>
                    <a:lnTo>
                      <a:pt x="190" y="152"/>
                    </a:lnTo>
                    <a:lnTo>
                      <a:pt x="190" y="156"/>
                    </a:lnTo>
                    <a:lnTo>
                      <a:pt x="190" y="158"/>
                    </a:lnTo>
                    <a:lnTo>
                      <a:pt x="192" y="162"/>
                    </a:lnTo>
                    <a:lnTo>
                      <a:pt x="192" y="166"/>
                    </a:lnTo>
                    <a:lnTo>
                      <a:pt x="192" y="170"/>
                    </a:lnTo>
                    <a:lnTo>
                      <a:pt x="192" y="174"/>
                    </a:lnTo>
                    <a:lnTo>
                      <a:pt x="190" y="176"/>
                    </a:lnTo>
                    <a:lnTo>
                      <a:pt x="190" y="176"/>
                    </a:lnTo>
                    <a:lnTo>
                      <a:pt x="190" y="178"/>
                    </a:lnTo>
                    <a:lnTo>
                      <a:pt x="188" y="180"/>
                    </a:lnTo>
                    <a:lnTo>
                      <a:pt x="188" y="182"/>
                    </a:lnTo>
                    <a:lnTo>
                      <a:pt x="186" y="184"/>
                    </a:lnTo>
                    <a:lnTo>
                      <a:pt x="184" y="188"/>
                    </a:lnTo>
                    <a:lnTo>
                      <a:pt x="182" y="190"/>
                    </a:lnTo>
                    <a:lnTo>
                      <a:pt x="178" y="194"/>
                    </a:lnTo>
                    <a:lnTo>
                      <a:pt x="174" y="198"/>
                    </a:lnTo>
                    <a:lnTo>
                      <a:pt x="170" y="202"/>
                    </a:lnTo>
                    <a:lnTo>
                      <a:pt x="166" y="204"/>
                    </a:lnTo>
                    <a:lnTo>
                      <a:pt x="164" y="206"/>
                    </a:lnTo>
                    <a:lnTo>
                      <a:pt x="162" y="208"/>
                    </a:lnTo>
                    <a:lnTo>
                      <a:pt x="160" y="208"/>
                    </a:lnTo>
                    <a:lnTo>
                      <a:pt x="158" y="210"/>
                    </a:lnTo>
                    <a:lnTo>
                      <a:pt x="156" y="210"/>
                    </a:lnTo>
                    <a:lnTo>
                      <a:pt x="152" y="210"/>
                    </a:lnTo>
                    <a:lnTo>
                      <a:pt x="150" y="210"/>
                    </a:lnTo>
                    <a:lnTo>
                      <a:pt x="146" y="212"/>
                    </a:lnTo>
                    <a:lnTo>
                      <a:pt x="140" y="212"/>
                    </a:lnTo>
                    <a:lnTo>
                      <a:pt x="134" y="212"/>
                    </a:lnTo>
                    <a:lnTo>
                      <a:pt x="130" y="214"/>
                    </a:lnTo>
                    <a:lnTo>
                      <a:pt x="128" y="214"/>
                    </a:lnTo>
                    <a:lnTo>
                      <a:pt x="124" y="214"/>
                    </a:lnTo>
                    <a:lnTo>
                      <a:pt x="122" y="216"/>
                    </a:lnTo>
                    <a:lnTo>
                      <a:pt x="120" y="216"/>
                    </a:lnTo>
                    <a:lnTo>
                      <a:pt x="118" y="218"/>
                    </a:lnTo>
                    <a:lnTo>
                      <a:pt x="116" y="218"/>
                    </a:lnTo>
                    <a:lnTo>
                      <a:pt x="114" y="220"/>
                    </a:lnTo>
                    <a:lnTo>
                      <a:pt x="112" y="222"/>
                    </a:lnTo>
                    <a:lnTo>
                      <a:pt x="110" y="224"/>
                    </a:lnTo>
                    <a:lnTo>
                      <a:pt x="110" y="226"/>
                    </a:lnTo>
                    <a:lnTo>
                      <a:pt x="108" y="228"/>
                    </a:lnTo>
                    <a:lnTo>
                      <a:pt x="108" y="230"/>
                    </a:lnTo>
                    <a:lnTo>
                      <a:pt x="108" y="230"/>
                    </a:lnTo>
                    <a:lnTo>
                      <a:pt x="108" y="232"/>
                    </a:lnTo>
                    <a:lnTo>
                      <a:pt x="108" y="232"/>
                    </a:lnTo>
                    <a:lnTo>
                      <a:pt x="108" y="234"/>
                    </a:lnTo>
                    <a:lnTo>
                      <a:pt x="108" y="234"/>
                    </a:lnTo>
                    <a:lnTo>
                      <a:pt x="108" y="236"/>
                    </a:lnTo>
                    <a:lnTo>
                      <a:pt x="110" y="238"/>
                    </a:lnTo>
                    <a:lnTo>
                      <a:pt x="110" y="238"/>
                    </a:lnTo>
                    <a:lnTo>
                      <a:pt x="112" y="240"/>
                    </a:lnTo>
                    <a:lnTo>
                      <a:pt x="114" y="242"/>
                    </a:lnTo>
                    <a:lnTo>
                      <a:pt x="116" y="246"/>
                    </a:lnTo>
                    <a:lnTo>
                      <a:pt x="120" y="248"/>
                    </a:lnTo>
                    <a:lnTo>
                      <a:pt x="122" y="248"/>
                    </a:lnTo>
                    <a:lnTo>
                      <a:pt x="122" y="248"/>
                    </a:lnTo>
                    <a:lnTo>
                      <a:pt x="124" y="250"/>
                    </a:lnTo>
                    <a:lnTo>
                      <a:pt x="126" y="250"/>
                    </a:lnTo>
                    <a:lnTo>
                      <a:pt x="126" y="250"/>
                    </a:lnTo>
                    <a:lnTo>
                      <a:pt x="126" y="250"/>
                    </a:lnTo>
                    <a:lnTo>
                      <a:pt x="128" y="250"/>
                    </a:lnTo>
                    <a:lnTo>
                      <a:pt x="132" y="250"/>
                    </a:lnTo>
                    <a:lnTo>
                      <a:pt x="134" y="250"/>
                    </a:lnTo>
                    <a:lnTo>
                      <a:pt x="136" y="248"/>
                    </a:lnTo>
                    <a:lnTo>
                      <a:pt x="138" y="248"/>
                    </a:lnTo>
                    <a:lnTo>
                      <a:pt x="144" y="246"/>
                    </a:lnTo>
                    <a:lnTo>
                      <a:pt x="150" y="242"/>
                    </a:lnTo>
                    <a:lnTo>
                      <a:pt x="152" y="242"/>
                    </a:lnTo>
                    <a:lnTo>
                      <a:pt x="154" y="240"/>
                    </a:lnTo>
                    <a:lnTo>
                      <a:pt x="156" y="240"/>
                    </a:lnTo>
                    <a:lnTo>
                      <a:pt x="158" y="240"/>
                    </a:lnTo>
                    <a:lnTo>
                      <a:pt x="160" y="240"/>
                    </a:lnTo>
                    <a:lnTo>
                      <a:pt x="162" y="240"/>
                    </a:lnTo>
                    <a:lnTo>
                      <a:pt x="162" y="240"/>
                    </a:lnTo>
                    <a:lnTo>
                      <a:pt x="164" y="240"/>
                    </a:lnTo>
                    <a:lnTo>
                      <a:pt x="166" y="240"/>
                    </a:lnTo>
                    <a:lnTo>
                      <a:pt x="168" y="242"/>
                    </a:lnTo>
                    <a:lnTo>
                      <a:pt x="170" y="244"/>
                    </a:lnTo>
                    <a:lnTo>
                      <a:pt x="172" y="244"/>
                    </a:lnTo>
                    <a:lnTo>
                      <a:pt x="174" y="246"/>
                    </a:lnTo>
                    <a:lnTo>
                      <a:pt x="178" y="248"/>
                    </a:lnTo>
                    <a:lnTo>
                      <a:pt x="182" y="254"/>
                    </a:lnTo>
                    <a:lnTo>
                      <a:pt x="192" y="264"/>
                    </a:lnTo>
                    <a:lnTo>
                      <a:pt x="194" y="266"/>
                    </a:lnTo>
                    <a:lnTo>
                      <a:pt x="196" y="268"/>
                    </a:lnTo>
                    <a:lnTo>
                      <a:pt x="198" y="268"/>
                    </a:lnTo>
                    <a:lnTo>
                      <a:pt x="200" y="270"/>
                    </a:lnTo>
                    <a:lnTo>
                      <a:pt x="204" y="272"/>
                    </a:lnTo>
                    <a:lnTo>
                      <a:pt x="206" y="274"/>
                    </a:lnTo>
                    <a:lnTo>
                      <a:pt x="212" y="278"/>
                    </a:lnTo>
                    <a:lnTo>
                      <a:pt x="220" y="284"/>
                    </a:lnTo>
                    <a:lnTo>
                      <a:pt x="222" y="286"/>
                    </a:lnTo>
                    <a:lnTo>
                      <a:pt x="226" y="290"/>
                    </a:lnTo>
                    <a:lnTo>
                      <a:pt x="230" y="292"/>
                    </a:lnTo>
                    <a:lnTo>
                      <a:pt x="234" y="294"/>
                    </a:lnTo>
                    <a:lnTo>
                      <a:pt x="238" y="296"/>
                    </a:lnTo>
                    <a:lnTo>
                      <a:pt x="238" y="296"/>
                    </a:lnTo>
                    <a:lnTo>
                      <a:pt x="240" y="296"/>
                    </a:lnTo>
                    <a:lnTo>
                      <a:pt x="242" y="298"/>
                    </a:lnTo>
                    <a:lnTo>
                      <a:pt x="244" y="298"/>
                    </a:lnTo>
                    <a:lnTo>
                      <a:pt x="246" y="298"/>
                    </a:lnTo>
                    <a:lnTo>
                      <a:pt x="246" y="298"/>
                    </a:lnTo>
                    <a:lnTo>
                      <a:pt x="248" y="298"/>
                    </a:lnTo>
                    <a:lnTo>
                      <a:pt x="248" y="298"/>
                    </a:lnTo>
                    <a:lnTo>
                      <a:pt x="250" y="296"/>
                    </a:lnTo>
                    <a:lnTo>
                      <a:pt x="252" y="296"/>
                    </a:lnTo>
                    <a:lnTo>
                      <a:pt x="252" y="294"/>
                    </a:lnTo>
                    <a:lnTo>
                      <a:pt x="252" y="294"/>
                    </a:lnTo>
                    <a:lnTo>
                      <a:pt x="252" y="292"/>
                    </a:lnTo>
                    <a:lnTo>
                      <a:pt x="252" y="292"/>
                    </a:lnTo>
                    <a:lnTo>
                      <a:pt x="252" y="290"/>
                    </a:lnTo>
                    <a:lnTo>
                      <a:pt x="252" y="290"/>
                    </a:lnTo>
                    <a:lnTo>
                      <a:pt x="252" y="288"/>
                    </a:lnTo>
                    <a:lnTo>
                      <a:pt x="250" y="286"/>
                    </a:lnTo>
                    <a:lnTo>
                      <a:pt x="248" y="284"/>
                    </a:lnTo>
                    <a:lnTo>
                      <a:pt x="246" y="282"/>
                    </a:lnTo>
                    <a:lnTo>
                      <a:pt x="242" y="276"/>
                    </a:lnTo>
                    <a:lnTo>
                      <a:pt x="238" y="270"/>
                    </a:lnTo>
                    <a:lnTo>
                      <a:pt x="236" y="266"/>
                    </a:lnTo>
                    <a:lnTo>
                      <a:pt x="234" y="264"/>
                    </a:lnTo>
                    <a:lnTo>
                      <a:pt x="234" y="262"/>
                    </a:lnTo>
                    <a:lnTo>
                      <a:pt x="232" y="260"/>
                    </a:lnTo>
                    <a:lnTo>
                      <a:pt x="232" y="260"/>
                    </a:lnTo>
                    <a:lnTo>
                      <a:pt x="232" y="258"/>
                    </a:lnTo>
                    <a:lnTo>
                      <a:pt x="232" y="258"/>
                    </a:lnTo>
                    <a:lnTo>
                      <a:pt x="232" y="256"/>
                    </a:lnTo>
                    <a:lnTo>
                      <a:pt x="232" y="256"/>
                    </a:lnTo>
                    <a:lnTo>
                      <a:pt x="234" y="256"/>
                    </a:lnTo>
                    <a:lnTo>
                      <a:pt x="234" y="254"/>
                    </a:lnTo>
                    <a:lnTo>
                      <a:pt x="234" y="254"/>
                    </a:lnTo>
                    <a:lnTo>
                      <a:pt x="236" y="254"/>
                    </a:lnTo>
                    <a:lnTo>
                      <a:pt x="236" y="254"/>
                    </a:lnTo>
                    <a:lnTo>
                      <a:pt x="238" y="254"/>
                    </a:lnTo>
                    <a:lnTo>
                      <a:pt x="238" y="254"/>
                    </a:lnTo>
                    <a:lnTo>
                      <a:pt x="240" y="256"/>
                    </a:lnTo>
                    <a:lnTo>
                      <a:pt x="240" y="256"/>
                    </a:lnTo>
                    <a:lnTo>
                      <a:pt x="244" y="258"/>
                    </a:lnTo>
                    <a:lnTo>
                      <a:pt x="246" y="260"/>
                    </a:lnTo>
                    <a:lnTo>
                      <a:pt x="250" y="266"/>
                    </a:lnTo>
                    <a:lnTo>
                      <a:pt x="256" y="270"/>
                    </a:lnTo>
                    <a:lnTo>
                      <a:pt x="258" y="272"/>
                    </a:lnTo>
                    <a:lnTo>
                      <a:pt x="260" y="274"/>
                    </a:lnTo>
                    <a:lnTo>
                      <a:pt x="262" y="276"/>
                    </a:lnTo>
                    <a:lnTo>
                      <a:pt x="264" y="276"/>
                    </a:lnTo>
                    <a:lnTo>
                      <a:pt x="264" y="278"/>
                    </a:lnTo>
                    <a:lnTo>
                      <a:pt x="266" y="278"/>
                    </a:lnTo>
                    <a:lnTo>
                      <a:pt x="266" y="278"/>
                    </a:lnTo>
                    <a:lnTo>
                      <a:pt x="268" y="278"/>
                    </a:lnTo>
                    <a:lnTo>
                      <a:pt x="268" y="278"/>
                    </a:lnTo>
                    <a:lnTo>
                      <a:pt x="270" y="278"/>
                    </a:lnTo>
                    <a:lnTo>
                      <a:pt x="270" y="276"/>
                    </a:lnTo>
                    <a:lnTo>
                      <a:pt x="272" y="276"/>
                    </a:lnTo>
                    <a:lnTo>
                      <a:pt x="272" y="274"/>
                    </a:lnTo>
                    <a:lnTo>
                      <a:pt x="274" y="272"/>
                    </a:lnTo>
                    <a:lnTo>
                      <a:pt x="274" y="270"/>
                    </a:lnTo>
                    <a:lnTo>
                      <a:pt x="276" y="268"/>
                    </a:lnTo>
                    <a:lnTo>
                      <a:pt x="276" y="266"/>
                    </a:lnTo>
                    <a:lnTo>
                      <a:pt x="278" y="264"/>
                    </a:lnTo>
                    <a:lnTo>
                      <a:pt x="278" y="260"/>
                    </a:lnTo>
                    <a:lnTo>
                      <a:pt x="278" y="256"/>
                    </a:lnTo>
                    <a:lnTo>
                      <a:pt x="278" y="252"/>
                    </a:lnTo>
                    <a:lnTo>
                      <a:pt x="278" y="250"/>
                    </a:lnTo>
                    <a:lnTo>
                      <a:pt x="278" y="246"/>
                    </a:lnTo>
                    <a:lnTo>
                      <a:pt x="278" y="240"/>
                    </a:lnTo>
                    <a:lnTo>
                      <a:pt x="278" y="236"/>
                    </a:lnTo>
                    <a:lnTo>
                      <a:pt x="276" y="232"/>
                    </a:lnTo>
                    <a:lnTo>
                      <a:pt x="276" y="230"/>
                    </a:lnTo>
                    <a:lnTo>
                      <a:pt x="274" y="228"/>
                    </a:lnTo>
                    <a:lnTo>
                      <a:pt x="274" y="226"/>
                    </a:lnTo>
                    <a:lnTo>
                      <a:pt x="274" y="224"/>
                    </a:lnTo>
                    <a:lnTo>
                      <a:pt x="272" y="224"/>
                    </a:lnTo>
                    <a:lnTo>
                      <a:pt x="272" y="222"/>
                    </a:lnTo>
                    <a:lnTo>
                      <a:pt x="270" y="222"/>
                    </a:lnTo>
                    <a:lnTo>
                      <a:pt x="268" y="220"/>
                    </a:lnTo>
                    <a:lnTo>
                      <a:pt x="268" y="220"/>
                    </a:lnTo>
                    <a:lnTo>
                      <a:pt x="266" y="220"/>
                    </a:lnTo>
                    <a:lnTo>
                      <a:pt x="262" y="220"/>
                    </a:lnTo>
                    <a:lnTo>
                      <a:pt x="258" y="220"/>
                    </a:lnTo>
                    <a:lnTo>
                      <a:pt x="254" y="220"/>
                    </a:lnTo>
                    <a:lnTo>
                      <a:pt x="252" y="220"/>
                    </a:lnTo>
                    <a:lnTo>
                      <a:pt x="250" y="220"/>
                    </a:lnTo>
                    <a:lnTo>
                      <a:pt x="250" y="220"/>
                    </a:lnTo>
                    <a:lnTo>
                      <a:pt x="248" y="218"/>
                    </a:lnTo>
                    <a:lnTo>
                      <a:pt x="246" y="218"/>
                    </a:lnTo>
                    <a:lnTo>
                      <a:pt x="246" y="218"/>
                    </a:lnTo>
                    <a:lnTo>
                      <a:pt x="246" y="216"/>
                    </a:lnTo>
                    <a:lnTo>
                      <a:pt x="244" y="214"/>
                    </a:lnTo>
                    <a:lnTo>
                      <a:pt x="244" y="212"/>
                    </a:lnTo>
                    <a:lnTo>
                      <a:pt x="244" y="210"/>
                    </a:lnTo>
                    <a:lnTo>
                      <a:pt x="244" y="208"/>
                    </a:lnTo>
                    <a:lnTo>
                      <a:pt x="244" y="206"/>
                    </a:lnTo>
                    <a:lnTo>
                      <a:pt x="244" y="204"/>
                    </a:lnTo>
                    <a:lnTo>
                      <a:pt x="244" y="202"/>
                    </a:lnTo>
                    <a:lnTo>
                      <a:pt x="244" y="200"/>
                    </a:lnTo>
                    <a:lnTo>
                      <a:pt x="244" y="198"/>
                    </a:lnTo>
                    <a:lnTo>
                      <a:pt x="244" y="196"/>
                    </a:lnTo>
                    <a:lnTo>
                      <a:pt x="246" y="194"/>
                    </a:lnTo>
                    <a:lnTo>
                      <a:pt x="246" y="192"/>
                    </a:lnTo>
                    <a:lnTo>
                      <a:pt x="246" y="190"/>
                    </a:lnTo>
                    <a:lnTo>
                      <a:pt x="248" y="188"/>
                    </a:lnTo>
                    <a:lnTo>
                      <a:pt x="248" y="186"/>
                    </a:lnTo>
                    <a:lnTo>
                      <a:pt x="250" y="186"/>
                    </a:lnTo>
                    <a:lnTo>
                      <a:pt x="250" y="186"/>
                    </a:lnTo>
                    <a:lnTo>
                      <a:pt x="250" y="186"/>
                    </a:lnTo>
                    <a:lnTo>
                      <a:pt x="252" y="184"/>
                    </a:lnTo>
                    <a:lnTo>
                      <a:pt x="254" y="184"/>
                    </a:lnTo>
                    <a:lnTo>
                      <a:pt x="256" y="184"/>
                    </a:lnTo>
                    <a:lnTo>
                      <a:pt x="258" y="184"/>
                    </a:lnTo>
                    <a:lnTo>
                      <a:pt x="260" y="184"/>
                    </a:lnTo>
                    <a:lnTo>
                      <a:pt x="262" y="184"/>
                    </a:lnTo>
                    <a:lnTo>
                      <a:pt x="262" y="184"/>
                    </a:lnTo>
                    <a:lnTo>
                      <a:pt x="264" y="186"/>
                    </a:lnTo>
                    <a:lnTo>
                      <a:pt x="264" y="186"/>
                    </a:lnTo>
                    <a:lnTo>
                      <a:pt x="266" y="188"/>
                    </a:lnTo>
                    <a:lnTo>
                      <a:pt x="268" y="188"/>
                    </a:lnTo>
                    <a:lnTo>
                      <a:pt x="268" y="190"/>
                    </a:lnTo>
                    <a:lnTo>
                      <a:pt x="272" y="192"/>
                    </a:lnTo>
                    <a:lnTo>
                      <a:pt x="274" y="196"/>
                    </a:lnTo>
                    <a:lnTo>
                      <a:pt x="276" y="200"/>
                    </a:lnTo>
                    <a:lnTo>
                      <a:pt x="282" y="206"/>
                    </a:lnTo>
                    <a:lnTo>
                      <a:pt x="284" y="210"/>
                    </a:lnTo>
                    <a:lnTo>
                      <a:pt x="286" y="214"/>
                    </a:lnTo>
                    <a:lnTo>
                      <a:pt x="288" y="216"/>
                    </a:lnTo>
                    <a:lnTo>
                      <a:pt x="292" y="220"/>
                    </a:lnTo>
                    <a:lnTo>
                      <a:pt x="292" y="220"/>
                    </a:lnTo>
                    <a:lnTo>
                      <a:pt x="294" y="222"/>
                    </a:lnTo>
                    <a:lnTo>
                      <a:pt x="294" y="222"/>
                    </a:lnTo>
                    <a:lnTo>
                      <a:pt x="296" y="224"/>
                    </a:lnTo>
                    <a:lnTo>
                      <a:pt x="298" y="224"/>
                    </a:lnTo>
                    <a:lnTo>
                      <a:pt x="298" y="224"/>
                    </a:lnTo>
                    <a:lnTo>
                      <a:pt x="300" y="224"/>
                    </a:lnTo>
                    <a:lnTo>
                      <a:pt x="302" y="224"/>
                    </a:lnTo>
                    <a:lnTo>
                      <a:pt x="302" y="224"/>
                    </a:lnTo>
                    <a:lnTo>
                      <a:pt x="302" y="224"/>
                    </a:lnTo>
                    <a:lnTo>
                      <a:pt x="304" y="224"/>
                    </a:lnTo>
                    <a:lnTo>
                      <a:pt x="306" y="222"/>
                    </a:lnTo>
                    <a:lnTo>
                      <a:pt x="306" y="222"/>
                    </a:lnTo>
                    <a:lnTo>
                      <a:pt x="308" y="220"/>
                    </a:lnTo>
                    <a:lnTo>
                      <a:pt x="308" y="218"/>
                    </a:lnTo>
                    <a:lnTo>
                      <a:pt x="310" y="216"/>
                    </a:lnTo>
                    <a:lnTo>
                      <a:pt x="310" y="214"/>
                    </a:lnTo>
                    <a:lnTo>
                      <a:pt x="312" y="210"/>
                    </a:lnTo>
                    <a:lnTo>
                      <a:pt x="314" y="206"/>
                    </a:lnTo>
                    <a:lnTo>
                      <a:pt x="316" y="202"/>
                    </a:lnTo>
                    <a:lnTo>
                      <a:pt x="316" y="200"/>
                    </a:lnTo>
                    <a:lnTo>
                      <a:pt x="316" y="200"/>
                    </a:lnTo>
                    <a:lnTo>
                      <a:pt x="318" y="198"/>
                    </a:lnTo>
                    <a:lnTo>
                      <a:pt x="320" y="196"/>
                    </a:lnTo>
                    <a:lnTo>
                      <a:pt x="322" y="190"/>
                    </a:lnTo>
                    <a:lnTo>
                      <a:pt x="324" y="188"/>
                    </a:lnTo>
                    <a:lnTo>
                      <a:pt x="326" y="186"/>
                    </a:lnTo>
                    <a:lnTo>
                      <a:pt x="326" y="184"/>
                    </a:lnTo>
                    <a:lnTo>
                      <a:pt x="326" y="184"/>
                    </a:lnTo>
                    <a:lnTo>
                      <a:pt x="326" y="182"/>
                    </a:lnTo>
                    <a:lnTo>
                      <a:pt x="326" y="182"/>
                    </a:lnTo>
                    <a:lnTo>
                      <a:pt x="326" y="180"/>
                    </a:lnTo>
                    <a:lnTo>
                      <a:pt x="326" y="180"/>
                    </a:lnTo>
                    <a:lnTo>
                      <a:pt x="324" y="178"/>
                    </a:lnTo>
                    <a:lnTo>
                      <a:pt x="322" y="176"/>
                    </a:lnTo>
                    <a:lnTo>
                      <a:pt x="322" y="176"/>
                    </a:lnTo>
                    <a:lnTo>
                      <a:pt x="320" y="174"/>
                    </a:lnTo>
                    <a:lnTo>
                      <a:pt x="318" y="172"/>
                    </a:lnTo>
                    <a:lnTo>
                      <a:pt x="316" y="172"/>
                    </a:lnTo>
                    <a:lnTo>
                      <a:pt x="312" y="170"/>
                    </a:lnTo>
                    <a:lnTo>
                      <a:pt x="308" y="168"/>
                    </a:lnTo>
                    <a:lnTo>
                      <a:pt x="302" y="164"/>
                    </a:lnTo>
                    <a:lnTo>
                      <a:pt x="300" y="164"/>
                    </a:lnTo>
                    <a:lnTo>
                      <a:pt x="298" y="164"/>
                    </a:lnTo>
                    <a:lnTo>
                      <a:pt x="296" y="162"/>
                    </a:lnTo>
                    <a:lnTo>
                      <a:pt x="292" y="162"/>
                    </a:lnTo>
                    <a:lnTo>
                      <a:pt x="288" y="160"/>
                    </a:lnTo>
                    <a:lnTo>
                      <a:pt x="284" y="160"/>
                    </a:lnTo>
                    <a:lnTo>
                      <a:pt x="280" y="160"/>
                    </a:lnTo>
                    <a:lnTo>
                      <a:pt x="278" y="158"/>
                    </a:lnTo>
                    <a:lnTo>
                      <a:pt x="276" y="158"/>
                    </a:lnTo>
                    <a:lnTo>
                      <a:pt x="274" y="158"/>
                    </a:lnTo>
                    <a:lnTo>
                      <a:pt x="274" y="156"/>
                    </a:lnTo>
                    <a:lnTo>
                      <a:pt x="270" y="154"/>
                    </a:lnTo>
                    <a:lnTo>
                      <a:pt x="268" y="152"/>
                    </a:lnTo>
                    <a:lnTo>
                      <a:pt x="264" y="148"/>
                    </a:lnTo>
                    <a:lnTo>
                      <a:pt x="260" y="144"/>
                    </a:lnTo>
                    <a:lnTo>
                      <a:pt x="260" y="142"/>
                    </a:lnTo>
                    <a:lnTo>
                      <a:pt x="258" y="140"/>
                    </a:lnTo>
                    <a:lnTo>
                      <a:pt x="256" y="138"/>
                    </a:lnTo>
                    <a:lnTo>
                      <a:pt x="256" y="136"/>
                    </a:lnTo>
                    <a:lnTo>
                      <a:pt x="254" y="134"/>
                    </a:lnTo>
                    <a:lnTo>
                      <a:pt x="254" y="132"/>
                    </a:lnTo>
                    <a:lnTo>
                      <a:pt x="254" y="130"/>
                    </a:lnTo>
                    <a:lnTo>
                      <a:pt x="254" y="128"/>
                    </a:lnTo>
                    <a:lnTo>
                      <a:pt x="254" y="128"/>
                    </a:lnTo>
                    <a:lnTo>
                      <a:pt x="254" y="126"/>
                    </a:lnTo>
                    <a:lnTo>
                      <a:pt x="256" y="126"/>
                    </a:lnTo>
                    <a:lnTo>
                      <a:pt x="256" y="124"/>
                    </a:lnTo>
                    <a:lnTo>
                      <a:pt x="258" y="122"/>
                    </a:lnTo>
                    <a:lnTo>
                      <a:pt x="260" y="120"/>
                    </a:lnTo>
                    <a:lnTo>
                      <a:pt x="264" y="118"/>
                    </a:lnTo>
                    <a:lnTo>
                      <a:pt x="266" y="116"/>
                    </a:lnTo>
                    <a:lnTo>
                      <a:pt x="268" y="114"/>
                    </a:lnTo>
                    <a:lnTo>
                      <a:pt x="268" y="114"/>
                    </a:lnTo>
                    <a:lnTo>
                      <a:pt x="268" y="112"/>
                    </a:lnTo>
                    <a:lnTo>
                      <a:pt x="268" y="112"/>
                    </a:lnTo>
                    <a:lnTo>
                      <a:pt x="268" y="110"/>
                    </a:lnTo>
                    <a:lnTo>
                      <a:pt x="268" y="108"/>
                    </a:lnTo>
                    <a:lnTo>
                      <a:pt x="268" y="108"/>
                    </a:lnTo>
                    <a:lnTo>
                      <a:pt x="268" y="106"/>
                    </a:lnTo>
                    <a:lnTo>
                      <a:pt x="266" y="104"/>
                    </a:lnTo>
                    <a:lnTo>
                      <a:pt x="266" y="102"/>
                    </a:lnTo>
                    <a:lnTo>
                      <a:pt x="264" y="100"/>
                    </a:lnTo>
                    <a:lnTo>
                      <a:pt x="262" y="96"/>
                    </a:lnTo>
                    <a:lnTo>
                      <a:pt x="260" y="92"/>
                    </a:lnTo>
                    <a:lnTo>
                      <a:pt x="258" y="90"/>
                    </a:lnTo>
                    <a:lnTo>
                      <a:pt x="256" y="88"/>
                    </a:lnTo>
                    <a:lnTo>
                      <a:pt x="254" y="88"/>
                    </a:lnTo>
                    <a:lnTo>
                      <a:pt x="252" y="86"/>
                    </a:lnTo>
                    <a:lnTo>
                      <a:pt x="250" y="84"/>
                    </a:lnTo>
                    <a:lnTo>
                      <a:pt x="248" y="84"/>
                    </a:lnTo>
                    <a:lnTo>
                      <a:pt x="246" y="82"/>
                    </a:lnTo>
                    <a:lnTo>
                      <a:pt x="242" y="80"/>
                    </a:lnTo>
                    <a:lnTo>
                      <a:pt x="236" y="78"/>
                    </a:lnTo>
                    <a:lnTo>
                      <a:pt x="226" y="74"/>
                    </a:lnTo>
                    <a:lnTo>
                      <a:pt x="220" y="72"/>
                    </a:lnTo>
                    <a:lnTo>
                      <a:pt x="216" y="70"/>
                    </a:lnTo>
                    <a:lnTo>
                      <a:pt x="210" y="68"/>
                    </a:lnTo>
                    <a:lnTo>
                      <a:pt x="202" y="66"/>
                    </a:lnTo>
                    <a:lnTo>
                      <a:pt x="200" y="64"/>
                    </a:lnTo>
                    <a:lnTo>
                      <a:pt x="196" y="62"/>
                    </a:lnTo>
                    <a:lnTo>
                      <a:pt x="192" y="60"/>
                    </a:lnTo>
                    <a:lnTo>
                      <a:pt x="192" y="58"/>
                    </a:lnTo>
                    <a:lnTo>
                      <a:pt x="190" y="58"/>
                    </a:lnTo>
                    <a:lnTo>
                      <a:pt x="190" y="56"/>
                    </a:lnTo>
                    <a:lnTo>
                      <a:pt x="188" y="56"/>
                    </a:lnTo>
                    <a:lnTo>
                      <a:pt x="186" y="52"/>
                    </a:lnTo>
                    <a:lnTo>
                      <a:pt x="186" y="50"/>
                    </a:lnTo>
                    <a:lnTo>
                      <a:pt x="184" y="46"/>
                    </a:lnTo>
                    <a:lnTo>
                      <a:pt x="182" y="40"/>
                    </a:lnTo>
                    <a:lnTo>
                      <a:pt x="178" y="36"/>
                    </a:lnTo>
                    <a:lnTo>
                      <a:pt x="178" y="34"/>
                    </a:lnTo>
                    <a:lnTo>
                      <a:pt x="176" y="32"/>
                    </a:lnTo>
                    <a:lnTo>
                      <a:pt x="174" y="30"/>
                    </a:lnTo>
                    <a:lnTo>
                      <a:pt x="174" y="28"/>
                    </a:lnTo>
                    <a:lnTo>
                      <a:pt x="172" y="26"/>
                    </a:lnTo>
                    <a:lnTo>
                      <a:pt x="172" y="26"/>
                    </a:lnTo>
                    <a:lnTo>
                      <a:pt x="170" y="26"/>
                    </a:lnTo>
                    <a:lnTo>
                      <a:pt x="168" y="24"/>
                    </a:lnTo>
                    <a:lnTo>
                      <a:pt x="166" y="24"/>
                    </a:lnTo>
                    <a:lnTo>
                      <a:pt x="162" y="24"/>
                    </a:lnTo>
                    <a:lnTo>
                      <a:pt x="160" y="22"/>
                    </a:lnTo>
                    <a:lnTo>
                      <a:pt x="156" y="22"/>
                    </a:lnTo>
                    <a:lnTo>
                      <a:pt x="152" y="22"/>
                    </a:lnTo>
                    <a:lnTo>
                      <a:pt x="148" y="24"/>
                    </a:lnTo>
                    <a:lnTo>
                      <a:pt x="146" y="24"/>
                    </a:lnTo>
                    <a:lnTo>
                      <a:pt x="142" y="24"/>
                    </a:lnTo>
                    <a:lnTo>
                      <a:pt x="138" y="24"/>
                    </a:lnTo>
                    <a:lnTo>
                      <a:pt x="134" y="26"/>
                    </a:lnTo>
                    <a:lnTo>
                      <a:pt x="132" y="26"/>
                    </a:lnTo>
                    <a:lnTo>
                      <a:pt x="128" y="28"/>
                    </a:lnTo>
                    <a:lnTo>
                      <a:pt x="124" y="28"/>
                    </a:lnTo>
                    <a:lnTo>
                      <a:pt x="122" y="30"/>
                    </a:lnTo>
                    <a:lnTo>
                      <a:pt x="120" y="30"/>
                    </a:lnTo>
                    <a:lnTo>
                      <a:pt x="120" y="32"/>
                    </a:lnTo>
                    <a:lnTo>
                      <a:pt x="118" y="32"/>
                    </a:lnTo>
                    <a:lnTo>
                      <a:pt x="118" y="34"/>
                    </a:lnTo>
                    <a:lnTo>
                      <a:pt x="116" y="36"/>
                    </a:lnTo>
                    <a:lnTo>
                      <a:pt x="114" y="38"/>
                    </a:lnTo>
                    <a:lnTo>
                      <a:pt x="112" y="42"/>
                    </a:lnTo>
                    <a:lnTo>
                      <a:pt x="110" y="46"/>
                    </a:lnTo>
                    <a:lnTo>
                      <a:pt x="110" y="48"/>
                    </a:lnTo>
                    <a:lnTo>
                      <a:pt x="110" y="48"/>
                    </a:lnTo>
                    <a:lnTo>
                      <a:pt x="108" y="50"/>
                    </a:lnTo>
                    <a:lnTo>
                      <a:pt x="106" y="50"/>
                    </a:lnTo>
                    <a:lnTo>
                      <a:pt x="106" y="50"/>
                    </a:lnTo>
                    <a:lnTo>
                      <a:pt x="106" y="50"/>
                    </a:lnTo>
                    <a:lnTo>
                      <a:pt x="106" y="50"/>
                    </a:lnTo>
                    <a:lnTo>
                      <a:pt x="104" y="50"/>
                    </a:lnTo>
                    <a:lnTo>
                      <a:pt x="104" y="50"/>
                    </a:lnTo>
                    <a:lnTo>
                      <a:pt x="104" y="50"/>
                    </a:lnTo>
                    <a:lnTo>
                      <a:pt x="102" y="48"/>
                    </a:lnTo>
                    <a:lnTo>
                      <a:pt x="102" y="48"/>
                    </a:lnTo>
                    <a:lnTo>
                      <a:pt x="102" y="46"/>
                    </a:lnTo>
                    <a:lnTo>
                      <a:pt x="102" y="46"/>
                    </a:lnTo>
                    <a:lnTo>
                      <a:pt x="102" y="44"/>
                    </a:lnTo>
                    <a:lnTo>
                      <a:pt x="102" y="42"/>
                    </a:lnTo>
                    <a:lnTo>
                      <a:pt x="104" y="40"/>
                    </a:lnTo>
                    <a:lnTo>
                      <a:pt x="104" y="36"/>
                    </a:lnTo>
                    <a:lnTo>
                      <a:pt x="106" y="34"/>
                    </a:lnTo>
                    <a:lnTo>
                      <a:pt x="108" y="30"/>
                    </a:lnTo>
                    <a:lnTo>
                      <a:pt x="110" y="22"/>
                    </a:lnTo>
                    <a:lnTo>
                      <a:pt x="112" y="18"/>
                    </a:lnTo>
                    <a:lnTo>
                      <a:pt x="112" y="16"/>
                    </a:lnTo>
                    <a:lnTo>
                      <a:pt x="114" y="12"/>
                    </a:lnTo>
                    <a:lnTo>
                      <a:pt x="114" y="10"/>
                    </a:lnTo>
                    <a:lnTo>
                      <a:pt x="114" y="10"/>
                    </a:lnTo>
                    <a:lnTo>
                      <a:pt x="114" y="8"/>
                    </a:lnTo>
                    <a:lnTo>
                      <a:pt x="114" y="8"/>
                    </a:lnTo>
                    <a:lnTo>
                      <a:pt x="114" y="6"/>
                    </a:lnTo>
                    <a:lnTo>
                      <a:pt x="112" y="6"/>
                    </a:lnTo>
                    <a:lnTo>
                      <a:pt x="112" y="4"/>
                    </a:lnTo>
                    <a:lnTo>
                      <a:pt x="112" y="4"/>
                    </a:lnTo>
                    <a:lnTo>
                      <a:pt x="110" y="2"/>
                    </a:lnTo>
                    <a:lnTo>
                      <a:pt x="108" y="2"/>
                    </a:lnTo>
                    <a:lnTo>
                      <a:pt x="106" y="2"/>
                    </a:lnTo>
                    <a:lnTo>
                      <a:pt x="104" y="0"/>
                    </a:lnTo>
                    <a:lnTo>
                      <a:pt x="100" y="0"/>
                    </a:lnTo>
                    <a:lnTo>
                      <a:pt x="98" y="0"/>
                    </a:lnTo>
                    <a:lnTo>
                      <a:pt x="96" y="0"/>
                    </a:lnTo>
                    <a:lnTo>
                      <a:pt x="94" y="0"/>
                    </a:lnTo>
                    <a:lnTo>
                      <a:pt x="90" y="0"/>
                    </a:lnTo>
                    <a:lnTo>
                      <a:pt x="88" y="0"/>
                    </a:lnTo>
                    <a:lnTo>
                      <a:pt x="86" y="0"/>
                    </a:lnTo>
                    <a:lnTo>
                      <a:pt x="82" y="0"/>
                    </a:lnTo>
                    <a:lnTo>
                      <a:pt x="80" y="2"/>
                    </a:lnTo>
                    <a:lnTo>
                      <a:pt x="78" y="2"/>
                    </a:lnTo>
                    <a:lnTo>
                      <a:pt x="78" y="2"/>
                    </a:lnTo>
                    <a:lnTo>
                      <a:pt x="76" y="4"/>
                    </a:lnTo>
                    <a:lnTo>
                      <a:pt x="74" y="4"/>
                    </a:lnTo>
                    <a:lnTo>
                      <a:pt x="74" y="6"/>
                    </a:lnTo>
                    <a:lnTo>
                      <a:pt x="72" y="6"/>
                    </a:lnTo>
                    <a:lnTo>
                      <a:pt x="70" y="10"/>
                    </a:lnTo>
                    <a:lnTo>
                      <a:pt x="66" y="12"/>
                    </a:lnTo>
                    <a:lnTo>
                      <a:pt x="64" y="16"/>
                    </a:lnTo>
                    <a:lnTo>
                      <a:pt x="62" y="20"/>
                    </a:lnTo>
                    <a:lnTo>
                      <a:pt x="60" y="22"/>
                    </a:lnTo>
                    <a:lnTo>
                      <a:pt x="60" y="26"/>
                    </a:lnTo>
                    <a:lnTo>
                      <a:pt x="60" y="26"/>
                    </a:lnTo>
                    <a:lnTo>
                      <a:pt x="60" y="28"/>
                    </a:lnTo>
                    <a:lnTo>
                      <a:pt x="58" y="30"/>
                    </a:lnTo>
                    <a:lnTo>
                      <a:pt x="58" y="34"/>
                    </a:lnTo>
                    <a:lnTo>
                      <a:pt x="58" y="38"/>
                    </a:lnTo>
                    <a:lnTo>
                      <a:pt x="58" y="40"/>
                    </a:lnTo>
                    <a:lnTo>
                      <a:pt x="58" y="40"/>
                    </a:lnTo>
                    <a:lnTo>
                      <a:pt x="58" y="42"/>
                    </a:lnTo>
                    <a:lnTo>
                      <a:pt x="58" y="42"/>
                    </a:lnTo>
                    <a:lnTo>
                      <a:pt x="58" y="42"/>
                    </a:lnTo>
                    <a:lnTo>
                      <a:pt x="56" y="44"/>
                    </a:lnTo>
                    <a:lnTo>
                      <a:pt x="56" y="44"/>
                    </a:lnTo>
                    <a:lnTo>
                      <a:pt x="54" y="44"/>
                    </a:lnTo>
                    <a:lnTo>
                      <a:pt x="54" y="44"/>
                    </a:lnTo>
                    <a:lnTo>
                      <a:pt x="50" y="44"/>
                    </a:lnTo>
                    <a:lnTo>
                      <a:pt x="48" y="44"/>
                    </a:lnTo>
                    <a:lnTo>
                      <a:pt x="46" y="44"/>
                    </a:lnTo>
                    <a:lnTo>
                      <a:pt x="42" y="42"/>
                    </a:lnTo>
                    <a:lnTo>
                      <a:pt x="42" y="42"/>
                    </a:lnTo>
                    <a:lnTo>
                      <a:pt x="40" y="42"/>
                    </a:lnTo>
                    <a:lnTo>
                      <a:pt x="40" y="42"/>
                    </a:lnTo>
                    <a:lnTo>
                      <a:pt x="40" y="40"/>
                    </a:lnTo>
                    <a:lnTo>
                      <a:pt x="38" y="40"/>
                    </a:lnTo>
                    <a:lnTo>
                      <a:pt x="38" y="38"/>
                    </a:lnTo>
                    <a:lnTo>
                      <a:pt x="38" y="38"/>
                    </a:lnTo>
                    <a:lnTo>
                      <a:pt x="38" y="36"/>
                    </a:lnTo>
                    <a:lnTo>
                      <a:pt x="38" y="36"/>
                    </a:lnTo>
                    <a:lnTo>
                      <a:pt x="38" y="34"/>
                    </a:lnTo>
                    <a:lnTo>
                      <a:pt x="40" y="32"/>
                    </a:lnTo>
                    <a:lnTo>
                      <a:pt x="40" y="30"/>
                    </a:lnTo>
                    <a:lnTo>
                      <a:pt x="42" y="26"/>
                    </a:lnTo>
                    <a:lnTo>
                      <a:pt x="46" y="20"/>
                    </a:lnTo>
                    <a:lnTo>
                      <a:pt x="48" y="16"/>
                    </a:lnTo>
                    <a:lnTo>
                      <a:pt x="50" y="12"/>
                    </a:lnTo>
                    <a:lnTo>
                      <a:pt x="50" y="10"/>
                    </a:lnTo>
                    <a:lnTo>
                      <a:pt x="50" y="8"/>
                    </a:lnTo>
                    <a:lnTo>
                      <a:pt x="50" y="6"/>
                    </a:lnTo>
                    <a:lnTo>
                      <a:pt x="50" y="6"/>
                    </a:lnTo>
                    <a:lnTo>
                      <a:pt x="50" y="4"/>
                    </a:lnTo>
                    <a:lnTo>
                      <a:pt x="50" y="4"/>
                    </a:lnTo>
                    <a:lnTo>
                      <a:pt x="50" y="4"/>
                    </a:lnTo>
                    <a:lnTo>
                      <a:pt x="5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8" name="Freeform 562"/>
              <p:cNvSpPr>
                <a:spLocks/>
              </p:cNvSpPr>
              <p:nvPr/>
            </p:nvSpPr>
            <p:spPr bwMode="auto">
              <a:xfrm>
                <a:off x="2745078" y="2768767"/>
                <a:ext cx="38100" cy="47625"/>
              </a:xfrm>
              <a:custGeom>
                <a:avLst/>
                <a:gdLst>
                  <a:gd name="T0" fmla="*/ 2 w 24"/>
                  <a:gd name="T1" fmla="*/ 30 h 30"/>
                  <a:gd name="T2" fmla="*/ 2 w 24"/>
                  <a:gd name="T3" fmla="*/ 30 h 30"/>
                  <a:gd name="T4" fmla="*/ 0 w 24"/>
                  <a:gd name="T5" fmla="*/ 30 h 30"/>
                  <a:gd name="T6" fmla="*/ 0 w 24"/>
                  <a:gd name="T7" fmla="*/ 30 h 30"/>
                  <a:gd name="T8" fmla="*/ 0 w 24"/>
                  <a:gd name="T9" fmla="*/ 28 h 30"/>
                  <a:gd name="T10" fmla="*/ 0 w 24"/>
                  <a:gd name="T11" fmla="*/ 28 h 30"/>
                  <a:gd name="T12" fmla="*/ 0 w 24"/>
                  <a:gd name="T13" fmla="*/ 28 h 30"/>
                  <a:gd name="T14" fmla="*/ 0 w 24"/>
                  <a:gd name="T15" fmla="*/ 26 h 30"/>
                  <a:gd name="T16" fmla="*/ 0 w 24"/>
                  <a:gd name="T17" fmla="*/ 24 h 30"/>
                  <a:gd name="T18" fmla="*/ 2 w 24"/>
                  <a:gd name="T19" fmla="*/ 18 h 30"/>
                  <a:gd name="T20" fmla="*/ 2 w 24"/>
                  <a:gd name="T21" fmla="*/ 16 h 30"/>
                  <a:gd name="T22" fmla="*/ 2 w 24"/>
                  <a:gd name="T23" fmla="*/ 14 h 30"/>
                  <a:gd name="T24" fmla="*/ 2 w 24"/>
                  <a:gd name="T25" fmla="*/ 12 h 30"/>
                  <a:gd name="T26" fmla="*/ 4 w 24"/>
                  <a:gd name="T27" fmla="*/ 12 h 30"/>
                  <a:gd name="T28" fmla="*/ 4 w 24"/>
                  <a:gd name="T29" fmla="*/ 10 h 30"/>
                  <a:gd name="T30" fmla="*/ 4 w 24"/>
                  <a:gd name="T31" fmla="*/ 8 h 30"/>
                  <a:gd name="T32" fmla="*/ 4 w 24"/>
                  <a:gd name="T33" fmla="*/ 8 h 30"/>
                  <a:gd name="T34" fmla="*/ 4 w 24"/>
                  <a:gd name="T35" fmla="*/ 6 h 30"/>
                  <a:gd name="T36" fmla="*/ 4 w 24"/>
                  <a:gd name="T37" fmla="*/ 6 h 30"/>
                  <a:gd name="T38" fmla="*/ 6 w 24"/>
                  <a:gd name="T39" fmla="*/ 4 h 30"/>
                  <a:gd name="T40" fmla="*/ 6 w 24"/>
                  <a:gd name="T41" fmla="*/ 4 h 30"/>
                  <a:gd name="T42" fmla="*/ 6 w 24"/>
                  <a:gd name="T43" fmla="*/ 2 h 30"/>
                  <a:gd name="T44" fmla="*/ 8 w 24"/>
                  <a:gd name="T45" fmla="*/ 2 h 30"/>
                  <a:gd name="T46" fmla="*/ 8 w 24"/>
                  <a:gd name="T47" fmla="*/ 2 h 30"/>
                  <a:gd name="T48" fmla="*/ 10 w 24"/>
                  <a:gd name="T49" fmla="*/ 2 h 30"/>
                  <a:gd name="T50" fmla="*/ 10 w 24"/>
                  <a:gd name="T51" fmla="*/ 0 h 30"/>
                  <a:gd name="T52" fmla="*/ 12 w 24"/>
                  <a:gd name="T53" fmla="*/ 0 h 30"/>
                  <a:gd name="T54" fmla="*/ 12 w 24"/>
                  <a:gd name="T55" fmla="*/ 0 h 30"/>
                  <a:gd name="T56" fmla="*/ 14 w 24"/>
                  <a:gd name="T57" fmla="*/ 0 h 30"/>
                  <a:gd name="T58" fmla="*/ 14 w 24"/>
                  <a:gd name="T59" fmla="*/ 0 h 30"/>
                  <a:gd name="T60" fmla="*/ 16 w 24"/>
                  <a:gd name="T61" fmla="*/ 0 h 30"/>
                  <a:gd name="T62" fmla="*/ 16 w 24"/>
                  <a:gd name="T63" fmla="*/ 0 h 30"/>
                  <a:gd name="T64" fmla="*/ 18 w 24"/>
                  <a:gd name="T65" fmla="*/ 2 h 30"/>
                  <a:gd name="T66" fmla="*/ 18 w 24"/>
                  <a:gd name="T67" fmla="*/ 2 h 30"/>
                  <a:gd name="T68" fmla="*/ 20 w 24"/>
                  <a:gd name="T69" fmla="*/ 2 h 30"/>
                  <a:gd name="T70" fmla="*/ 20 w 24"/>
                  <a:gd name="T71" fmla="*/ 2 h 30"/>
                  <a:gd name="T72" fmla="*/ 20 w 24"/>
                  <a:gd name="T73" fmla="*/ 4 h 30"/>
                  <a:gd name="T74" fmla="*/ 22 w 24"/>
                  <a:gd name="T75" fmla="*/ 4 h 30"/>
                  <a:gd name="T76" fmla="*/ 22 w 24"/>
                  <a:gd name="T77" fmla="*/ 6 h 30"/>
                  <a:gd name="T78" fmla="*/ 22 w 24"/>
                  <a:gd name="T79" fmla="*/ 6 h 30"/>
                  <a:gd name="T80" fmla="*/ 22 w 24"/>
                  <a:gd name="T81" fmla="*/ 8 h 30"/>
                  <a:gd name="T82" fmla="*/ 24 w 24"/>
                  <a:gd name="T83" fmla="*/ 8 h 30"/>
                  <a:gd name="T84" fmla="*/ 24 w 24"/>
                  <a:gd name="T85" fmla="*/ 10 h 30"/>
                  <a:gd name="T86" fmla="*/ 24 w 24"/>
                  <a:gd name="T87" fmla="*/ 12 h 30"/>
                  <a:gd name="T88" fmla="*/ 24 w 24"/>
                  <a:gd name="T89" fmla="*/ 12 h 30"/>
                  <a:gd name="T90" fmla="*/ 24 w 24"/>
                  <a:gd name="T91" fmla="*/ 14 h 30"/>
                  <a:gd name="T92" fmla="*/ 24 w 24"/>
                  <a:gd name="T93" fmla="*/ 16 h 30"/>
                  <a:gd name="T94" fmla="*/ 22 w 24"/>
                  <a:gd name="T95" fmla="*/ 16 h 30"/>
                  <a:gd name="T96" fmla="*/ 20 w 24"/>
                  <a:gd name="T97" fmla="*/ 18 h 30"/>
                  <a:gd name="T98" fmla="*/ 20 w 24"/>
                  <a:gd name="T99" fmla="*/ 20 h 30"/>
                  <a:gd name="T100" fmla="*/ 18 w 24"/>
                  <a:gd name="T101" fmla="*/ 20 h 30"/>
                  <a:gd name="T102" fmla="*/ 16 w 24"/>
                  <a:gd name="T103" fmla="*/ 22 h 30"/>
                  <a:gd name="T104" fmla="*/ 14 w 24"/>
                  <a:gd name="T105" fmla="*/ 24 h 30"/>
                  <a:gd name="T106" fmla="*/ 12 w 24"/>
                  <a:gd name="T107" fmla="*/ 24 h 30"/>
                  <a:gd name="T108" fmla="*/ 12 w 24"/>
                  <a:gd name="T109" fmla="*/ 26 h 30"/>
                  <a:gd name="T110" fmla="*/ 10 w 24"/>
                  <a:gd name="T111" fmla="*/ 28 h 30"/>
                  <a:gd name="T112" fmla="*/ 8 w 24"/>
                  <a:gd name="T113" fmla="*/ 28 h 30"/>
                  <a:gd name="T114" fmla="*/ 6 w 24"/>
                  <a:gd name="T115" fmla="*/ 28 h 30"/>
                  <a:gd name="T116" fmla="*/ 4 w 24"/>
                  <a:gd name="T117" fmla="*/ 30 h 30"/>
                  <a:gd name="T118" fmla="*/ 2 w 24"/>
                  <a:gd name="T119" fmla="*/ 30 h 30"/>
                  <a:gd name="T120" fmla="*/ 2 w 24"/>
                  <a:gd name="T1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30">
                    <a:moveTo>
                      <a:pt x="2" y="30"/>
                    </a:moveTo>
                    <a:lnTo>
                      <a:pt x="2" y="30"/>
                    </a:lnTo>
                    <a:lnTo>
                      <a:pt x="0" y="30"/>
                    </a:lnTo>
                    <a:lnTo>
                      <a:pt x="0" y="30"/>
                    </a:lnTo>
                    <a:lnTo>
                      <a:pt x="0" y="28"/>
                    </a:lnTo>
                    <a:lnTo>
                      <a:pt x="0" y="28"/>
                    </a:lnTo>
                    <a:lnTo>
                      <a:pt x="0" y="28"/>
                    </a:lnTo>
                    <a:lnTo>
                      <a:pt x="0" y="26"/>
                    </a:lnTo>
                    <a:lnTo>
                      <a:pt x="0" y="24"/>
                    </a:lnTo>
                    <a:lnTo>
                      <a:pt x="2" y="18"/>
                    </a:lnTo>
                    <a:lnTo>
                      <a:pt x="2" y="16"/>
                    </a:lnTo>
                    <a:lnTo>
                      <a:pt x="2" y="14"/>
                    </a:lnTo>
                    <a:lnTo>
                      <a:pt x="2" y="12"/>
                    </a:lnTo>
                    <a:lnTo>
                      <a:pt x="4" y="12"/>
                    </a:lnTo>
                    <a:lnTo>
                      <a:pt x="4" y="10"/>
                    </a:lnTo>
                    <a:lnTo>
                      <a:pt x="4" y="8"/>
                    </a:lnTo>
                    <a:lnTo>
                      <a:pt x="4" y="8"/>
                    </a:lnTo>
                    <a:lnTo>
                      <a:pt x="4" y="6"/>
                    </a:lnTo>
                    <a:lnTo>
                      <a:pt x="4" y="6"/>
                    </a:lnTo>
                    <a:lnTo>
                      <a:pt x="6" y="4"/>
                    </a:lnTo>
                    <a:lnTo>
                      <a:pt x="6" y="4"/>
                    </a:lnTo>
                    <a:lnTo>
                      <a:pt x="6" y="2"/>
                    </a:lnTo>
                    <a:lnTo>
                      <a:pt x="8" y="2"/>
                    </a:lnTo>
                    <a:lnTo>
                      <a:pt x="8" y="2"/>
                    </a:lnTo>
                    <a:lnTo>
                      <a:pt x="10" y="2"/>
                    </a:lnTo>
                    <a:lnTo>
                      <a:pt x="10" y="0"/>
                    </a:lnTo>
                    <a:lnTo>
                      <a:pt x="12" y="0"/>
                    </a:lnTo>
                    <a:lnTo>
                      <a:pt x="12" y="0"/>
                    </a:lnTo>
                    <a:lnTo>
                      <a:pt x="14" y="0"/>
                    </a:lnTo>
                    <a:lnTo>
                      <a:pt x="14" y="0"/>
                    </a:lnTo>
                    <a:lnTo>
                      <a:pt x="16" y="0"/>
                    </a:lnTo>
                    <a:lnTo>
                      <a:pt x="16" y="0"/>
                    </a:lnTo>
                    <a:lnTo>
                      <a:pt x="18" y="2"/>
                    </a:lnTo>
                    <a:lnTo>
                      <a:pt x="18" y="2"/>
                    </a:lnTo>
                    <a:lnTo>
                      <a:pt x="20" y="2"/>
                    </a:lnTo>
                    <a:lnTo>
                      <a:pt x="20" y="2"/>
                    </a:lnTo>
                    <a:lnTo>
                      <a:pt x="20" y="4"/>
                    </a:lnTo>
                    <a:lnTo>
                      <a:pt x="22" y="4"/>
                    </a:lnTo>
                    <a:lnTo>
                      <a:pt x="22" y="6"/>
                    </a:lnTo>
                    <a:lnTo>
                      <a:pt x="22" y="6"/>
                    </a:lnTo>
                    <a:lnTo>
                      <a:pt x="22" y="8"/>
                    </a:lnTo>
                    <a:lnTo>
                      <a:pt x="24" y="8"/>
                    </a:lnTo>
                    <a:lnTo>
                      <a:pt x="24" y="10"/>
                    </a:lnTo>
                    <a:lnTo>
                      <a:pt x="24" y="12"/>
                    </a:lnTo>
                    <a:lnTo>
                      <a:pt x="24" y="12"/>
                    </a:lnTo>
                    <a:lnTo>
                      <a:pt x="24" y="14"/>
                    </a:lnTo>
                    <a:lnTo>
                      <a:pt x="24" y="16"/>
                    </a:lnTo>
                    <a:lnTo>
                      <a:pt x="22" y="16"/>
                    </a:lnTo>
                    <a:lnTo>
                      <a:pt x="20" y="18"/>
                    </a:lnTo>
                    <a:lnTo>
                      <a:pt x="20" y="20"/>
                    </a:lnTo>
                    <a:lnTo>
                      <a:pt x="18" y="20"/>
                    </a:lnTo>
                    <a:lnTo>
                      <a:pt x="16" y="22"/>
                    </a:lnTo>
                    <a:lnTo>
                      <a:pt x="14" y="24"/>
                    </a:lnTo>
                    <a:lnTo>
                      <a:pt x="12" y="24"/>
                    </a:lnTo>
                    <a:lnTo>
                      <a:pt x="12" y="26"/>
                    </a:lnTo>
                    <a:lnTo>
                      <a:pt x="10" y="28"/>
                    </a:lnTo>
                    <a:lnTo>
                      <a:pt x="8" y="28"/>
                    </a:lnTo>
                    <a:lnTo>
                      <a:pt x="6" y="28"/>
                    </a:lnTo>
                    <a:lnTo>
                      <a:pt x="4" y="30"/>
                    </a:lnTo>
                    <a:lnTo>
                      <a:pt x="2" y="30"/>
                    </a:lnTo>
                    <a:lnTo>
                      <a:pt x="2" y="3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89" name="Freeform 564"/>
              <p:cNvSpPr>
                <a:spLocks/>
              </p:cNvSpPr>
              <p:nvPr/>
            </p:nvSpPr>
            <p:spPr bwMode="auto">
              <a:xfrm>
                <a:off x="2719678" y="2702092"/>
                <a:ext cx="22225" cy="44450"/>
              </a:xfrm>
              <a:custGeom>
                <a:avLst/>
                <a:gdLst>
                  <a:gd name="T0" fmla="*/ 6 w 14"/>
                  <a:gd name="T1" fmla="*/ 28 h 28"/>
                  <a:gd name="T2" fmla="*/ 6 w 14"/>
                  <a:gd name="T3" fmla="*/ 28 h 28"/>
                  <a:gd name="T4" fmla="*/ 6 w 14"/>
                  <a:gd name="T5" fmla="*/ 28 h 28"/>
                  <a:gd name="T6" fmla="*/ 6 w 14"/>
                  <a:gd name="T7" fmla="*/ 28 h 28"/>
                  <a:gd name="T8" fmla="*/ 4 w 14"/>
                  <a:gd name="T9" fmla="*/ 28 h 28"/>
                  <a:gd name="T10" fmla="*/ 4 w 14"/>
                  <a:gd name="T11" fmla="*/ 28 h 28"/>
                  <a:gd name="T12" fmla="*/ 4 w 14"/>
                  <a:gd name="T13" fmla="*/ 28 h 28"/>
                  <a:gd name="T14" fmla="*/ 2 w 14"/>
                  <a:gd name="T15" fmla="*/ 26 h 28"/>
                  <a:gd name="T16" fmla="*/ 2 w 14"/>
                  <a:gd name="T17" fmla="*/ 24 h 28"/>
                  <a:gd name="T18" fmla="*/ 0 w 14"/>
                  <a:gd name="T19" fmla="*/ 22 h 28"/>
                  <a:gd name="T20" fmla="*/ 0 w 14"/>
                  <a:gd name="T21" fmla="*/ 20 h 28"/>
                  <a:gd name="T22" fmla="*/ 0 w 14"/>
                  <a:gd name="T23" fmla="*/ 18 h 28"/>
                  <a:gd name="T24" fmla="*/ 0 w 14"/>
                  <a:gd name="T25" fmla="*/ 14 h 28"/>
                  <a:gd name="T26" fmla="*/ 0 w 14"/>
                  <a:gd name="T27" fmla="*/ 12 h 28"/>
                  <a:gd name="T28" fmla="*/ 0 w 14"/>
                  <a:gd name="T29" fmla="*/ 8 h 28"/>
                  <a:gd name="T30" fmla="*/ 0 w 14"/>
                  <a:gd name="T31" fmla="*/ 6 h 28"/>
                  <a:gd name="T32" fmla="*/ 2 w 14"/>
                  <a:gd name="T33" fmla="*/ 4 h 28"/>
                  <a:gd name="T34" fmla="*/ 2 w 14"/>
                  <a:gd name="T35" fmla="*/ 2 h 28"/>
                  <a:gd name="T36" fmla="*/ 4 w 14"/>
                  <a:gd name="T37" fmla="*/ 2 h 28"/>
                  <a:gd name="T38" fmla="*/ 4 w 14"/>
                  <a:gd name="T39" fmla="*/ 2 h 28"/>
                  <a:gd name="T40" fmla="*/ 4 w 14"/>
                  <a:gd name="T41" fmla="*/ 0 h 28"/>
                  <a:gd name="T42" fmla="*/ 6 w 14"/>
                  <a:gd name="T43" fmla="*/ 0 h 28"/>
                  <a:gd name="T44" fmla="*/ 6 w 14"/>
                  <a:gd name="T45" fmla="*/ 0 h 28"/>
                  <a:gd name="T46" fmla="*/ 6 w 14"/>
                  <a:gd name="T47" fmla="*/ 0 h 28"/>
                  <a:gd name="T48" fmla="*/ 8 w 14"/>
                  <a:gd name="T49" fmla="*/ 0 h 28"/>
                  <a:gd name="T50" fmla="*/ 8 w 14"/>
                  <a:gd name="T51" fmla="*/ 0 h 28"/>
                  <a:gd name="T52" fmla="*/ 8 w 14"/>
                  <a:gd name="T53" fmla="*/ 0 h 28"/>
                  <a:gd name="T54" fmla="*/ 10 w 14"/>
                  <a:gd name="T55" fmla="*/ 2 h 28"/>
                  <a:gd name="T56" fmla="*/ 10 w 14"/>
                  <a:gd name="T57" fmla="*/ 2 h 28"/>
                  <a:gd name="T58" fmla="*/ 10 w 14"/>
                  <a:gd name="T59" fmla="*/ 2 h 28"/>
                  <a:gd name="T60" fmla="*/ 12 w 14"/>
                  <a:gd name="T61" fmla="*/ 4 h 28"/>
                  <a:gd name="T62" fmla="*/ 12 w 14"/>
                  <a:gd name="T63" fmla="*/ 6 h 28"/>
                  <a:gd name="T64" fmla="*/ 14 w 14"/>
                  <a:gd name="T65" fmla="*/ 8 h 28"/>
                  <a:gd name="T66" fmla="*/ 14 w 14"/>
                  <a:gd name="T67" fmla="*/ 12 h 28"/>
                  <a:gd name="T68" fmla="*/ 14 w 14"/>
                  <a:gd name="T69" fmla="*/ 14 h 28"/>
                  <a:gd name="T70" fmla="*/ 14 w 14"/>
                  <a:gd name="T71" fmla="*/ 18 h 28"/>
                  <a:gd name="T72" fmla="*/ 14 w 14"/>
                  <a:gd name="T73" fmla="*/ 20 h 28"/>
                  <a:gd name="T74" fmla="*/ 12 w 14"/>
                  <a:gd name="T75" fmla="*/ 22 h 28"/>
                  <a:gd name="T76" fmla="*/ 12 w 14"/>
                  <a:gd name="T77" fmla="*/ 24 h 28"/>
                  <a:gd name="T78" fmla="*/ 10 w 14"/>
                  <a:gd name="T79" fmla="*/ 26 h 28"/>
                  <a:gd name="T80" fmla="*/ 10 w 14"/>
                  <a:gd name="T81" fmla="*/ 28 h 28"/>
                  <a:gd name="T82" fmla="*/ 10 w 14"/>
                  <a:gd name="T83" fmla="*/ 28 h 28"/>
                  <a:gd name="T84" fmla="*/ 8 w 14"/>
                  <a:gd name="T85" fmla="*/ 28 h 28"/>
                  <a:gd name="T86" fmla="*/ 8 w 14"/>
                  <a:gd name="T87" fmla="*/ 28 h 28"/>
                  <a:gd name="T88" fmla="*/ 8 w 14"/>
                  <a:gd name="T89" fmla="*/ 28 h 28"/>
                  <a:gd name="T90" fmla="*/ 6 w 14"/>
                  <a:gd name="T9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8">
                    <a:moveTo>
                      <a:pt x="6" y="28"/>
                    </a:moveTo>
                    <a:lnTo>
                      <a:pt x="6" y="28"/>
                    </a:lnTo>
                    <a:lnTo>
                      <a:pt x="6" y="28"/>
                    </a:lnTo>
                    <a:lnTo>
                      <a:pt x="6" y="28"/>
                    </a:lnTo>
                    <a:lnTo>
                      <a:pt x="4" y="28"/>
                    </a:lnTo>
                    <a:lnTo>
                      <a:pt x="4" y="28"/>
                    </a:lnTo>
                    <a:lnTo>
                      <a:pt x="4" y="28"/>
                    </a:lnTo>
                    <a:lnTo>
                      <a:pt x="2" y="26"/>
                    </a:lnTo>
                    <a:lnTo>
                      <a:pt x="2" y="24"/>
                    </a:lnTo>
                    <a:lnTo>
                      <a:pt x="0" y="22"/>
                    </a:lnTo>
                    <a:lnTo>
                      <a:pt x="0" y="20"/>
                    </a:lnTo>
                    <a:lnTo>
                      <a:pt x="0" y="18"/>
                    </a:lnTo>
                    <a:lnTo>
                      <a:pt x="0" y="14"/>
                    </a:lnTo>
                    <a:lnTo>
                      <a:pt x="0" y="12"/>
                    </a:lnTo>
                    <a:lnTo>
                      <a:pt x="0" y="8"/>
                    </a:lnTo>
                    <a:lnTo>
                      <a:pt x="0" y="6"/>
                    </a:lnTo>
                    <a:lnTo>
                      <a:pt x="2" y="4"/>
                    </a:lnTo>
                    <a:lnTo>
                      <a:pt x="2" y="2"/>
                    </a:lnTo>
                    <a:lnTo>
                      <a:pt x="4" y="2"/>
                    </a:lnTo>
                    <a:lnTo>
                      <a:pt x="4" y="2"/>
                    </a:lnTo>
                    <a:lnTo>
                      <a:pt x="4" y="0"/>
                    </a:lnTo>
                    <a:lnTo>
                      <a:pt x="6" y="0"/>
                    </a:lnTo>
                    <a:lnTo>
                      <a:pt x="6" y="0"/>
                    </a:lnTo>
                    <a:lnTo>
                      <a:pt x="6" y="0"/>
                    </a:lnTo>
                    <a:lnTo>
                      <a:pt x="8" y="0"/>
                    </a:lnTo>
                    <a:lnTo>
                      <a:pt x="8" y="0"/>
                    </a:lnTo>
                    <a:lnTo>
                      <a:pt x="8" y="0"/>
                    </a:lnTo>
                    <a:lnTo>
                      <a:pt x="10" y="2"/>
                    </a:lnTo>
                    <a:lnTo>
                      <a:pt x="10" y="2"/>
                    </a:lnTo>
                    <a:lnTo>
                      <a:pt x="10" y="2"/>
                    </a:lnTo>
                    <a:lnTo>
                      <a:pt x="12" y="4"/>
                    </a:lnTo>
                    <a:lnTo>
                      <a:pt x="12" y="6"/>
                    </a:lnTo>
                    <a:lnTo>
                      <a:pt x="14" y="8"/>
                    </a:lnTo>
                    <a:lnTo>
                      <a:pt x="14" y="12"/>
                    </a:lnTo>
                    <a:lnTo>
                      <a:pt x="14" y="14"/>
                    </a:lnTo>
                    <a:lnTo>
                      <a:pt x="14" y="18"/>
                    </a:lnTo>
                    <a:lnTo>
                      <a:pt x="14" y="20"/>
                    </a:lnTo>
                    <a:lnTo>
                      <a:pt x="12" y="22"/>
                    </a:lnTo>
                    <a:lnTo>
                      <a:pt x="12" y="24"/>
                    </a:lnTo>
                    <a:lnTo>
                      <a:pt x="10" y="26"/>
                    </a:lnTo>
                    <a:lnTo>
                      <a:pt x="10" y="28"/>
                    </a:lnTo>
                    <a:lnTo>
                      <a:pt x="10" y="28"/>
                    </a:lnTo>
                    <a:lnTo>
                      <a:pt x="8" y="28"/>
                    </a:lnTo>
                    <a:lnTo>
                      <a:pt x="8" y="28"/>
                    </a:lnTo>
                    <a:lnTo>
                      <a:pt x="8" y="28"/>
                    </a:lnTo>
                    <a:lnTo>
                      <a:pt x="6" y="2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90" name="Freeform 566"/>
              <p:cNvSpPr>
                <a:spLocks/>
              </p:cNvSpPr>
              <p:nvPr/>
            </p:nvSpPr>
            <p:spPr bwMode="auto">
              <a:xfrm>
                <a:off x="2541878" y="2873542"/>
                <a:ext cx="92075" cy="79375"/>
              </a:xfrm>
              <a:custGeom>
                <a:avLst/>
                <a:gdLst>
                  <a:gd name="T0" fmla="*/ 26 w 58"/>
                  <a:gd name="T1" fmla="*/ 0 h 50"/>
                  <a:gd name="T2" fmla="*/ 32 w 58"/>
                  <a:gd name="T3" fmla="*/ 0 h 50"/>
                  <a:gd name="T4" fmla="*/ 38 w 58"/>
                  <a:gd name="T5" fmla="*/ 2 h 50"/>
                  <a:gd name="T6" fmla="*/ 46 w 58"/>
                  <a:gd name="T7" fmla="*/ 4 h 50"/>
                  <a:gd name="T8" fmla="*/ 50 w 58"/>
                  <a:gd name="T9" fmla="*/ 6 h 50"/>
                  <a:gd name="T10" fmla="*/ 52 w 58"/>
                  <a:gd name="T11" fmla="*/ 10 h 50"/>
                  <a:gd name="T12" fmla="*/ 56 w 58"/>
                  <a:gd name="T13" fmla="*/ 12 h 50"/>
                  <a:gd name="T14" fmla="*/ 58 w 58"/>
                  <a:gd name="T15" fmla="*/ 16 h 50"/>
                  <a:gd name="T16" fmla="*/ 58 w 58"/>
                  <a:gd name="T17" fmla="*/ 20 h 50"/>
                  <a:gd name="T18" fmla="*/ 58 w 58"/>
                  <a:gd name="T19" fmla="*/ 22 h 50"/>
                  <a:gd name="T20" fmla="*/ 58 w 58"/>
                  <a:gd name="T21" fmla="*/ 24 h 50"/>
                  <a:gd name="T22" fmla="*/ 56 w 58"/>
                  <a:gd name="T23" fmla="*/ 24 h 50"/>
                  <a:gd name="T24" fmla="*/ 54 w 58"/>
                  <a:gd name="T25" fmla="*/ 26 h 50"/>
                  <a:gd name="T26" fmla="*/ 50 w 58"/>
                  <a:gd name="T27" fmla="*/ 28 h 50"/>
                  <a:gd name="T28" fmla="*/ 40 w 58"/>
                  <a:gd name="T29" fmla="*/ 30 h 50"/>
                  <a:gd name="T30" fmla="*/ 38 w 58"/>
                  <a:gd name="T31" fmla="*/ 30 h 50"/>
                  <a:gd name="T32" fmla="*/ 36 w 58"/>
                  <a:gd name="T33" fmla="*/ 32 h 50"/>
                  <a:gd name="T34" fmla="*/ 32 w 58"/>
                  <a:gd name="T35" fmla="*/ 34 h 50"/>
                  <a:gd name="T36" fmla="*/ 24 w 58"/>
                  <a:gd name="T37" fmla="*/ 44 h 50"/>
                  <a:gd name="T38" fmla="*/ 22 w 58"/>
                  <a:gd name="T39" fmla="*/ 48 h 50"/>
                  <a:gd name="T40" fmla="*/ 18 w 58"/>
                  <a:gd name="T41" fmla="*/ 50 h 50"/>
                  <a:gd name="T42" fmla="*/ 16 w 58"/>
                  <a:gd name="T43" fmla="*/ 50 h 50"/>
                  <a:gd name="T44" fmla="*/ 14 w 58"/>
                  <a:gd name="T45" fmla="*/ 50 h 50"/>
                  <a:gd name="T46" fmla="*/ 12 w 58"/>
                  <a:gd name="T47" fmla="*/ 48 h 50"/>
                  <a:gd name="T48" fmla="*/ 10 w 58"/>
                  <a:gd name="T49" fmla="*/ 46 h 50"/>
                  <a:gd name="T50" fmla="*/ 6 w 58"/>
                  <a:gd name="T51" fmla="*/ 44 h 50"/>
                  <a:gd name="T52" fmla="*/ 4 w 58"/>
                  <a:gd name="T53" fmla="*/ 38 h 50"/>
                  <a:gd name="T54" fmla="*/ 0 w 58"/>
                  <a:gd name="T55" fmla="*/ 32 h 50"/>
                  <a:gd name="T56" fmla="*/ 0 w 58"/>
                  <a:gd name="T57" fmla="*/ 28 h 50"/>
                  <a:gd name="T58" fmla="*/ 0 w 58"/>
                  <a:gd name="T59" fmla="*/ 22 h 50"/>
                  <a:gd name="T60" fmla="*/ 0 w 58"/>
                  <a:gd name="T61" fmla="*/ 16 h 50"/>
                  <a:gd name="T62" fmla="*/ 2 w 58"/>
                  <a:gd name="T63" fmla="*/ 12 h 50"/>
                  <a:gd name="T64" fmla="*/ 2 w 58"/>
                  <a:gd name="T65" fmla="*/ 10 h 50"/>
                  <a:gd name="T66" fmla="*/ 4 w 58"/>
                  <a:gd name="T67" fmla="*/ 8 h 50"/>
                  <a:gd name="T68" fmla="*/ 6 w 58"/>
                  <a:gd name="T69" fmla="*/ 6 h 50"/>
                  <a:gd name="T70" fmla="*/ 14 w 58"/>
                  <a:gd name="T71" fmla="*/ 4 h 50"/>
                  <a:gd name="T72" fmla="*/ 20 w 58"/>
                  <a:gd name="T73" fmla="*/ 2 h 50"/>
                  <a:gd name="T74" fmla="*/ 26 w 58"/>
                  <a:gd name="T7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0">
                    <a:moveTo>
                      <a:pt x="26" y="0"/>
                    </a:moveTo>
                    <a:lnTo>
                      <a:pt x="26" y="0"/>
                    </a:lnTo>
                    <a:lnTo>
                      <a:pt x="28" y="0"/>
                    </a:lnTo>
                    <a:lnTo>
                      <a:pt x="32" y="0"/>
                    </a:lnTo>
                    <a:lnTo>
                      <a:pt x="36" y="2"/>
                    </a:lnTo>
                    <a:lnTo>
                      <a:pt x="38" y="2"/>
                    </a:lnTo>
                    <a:lnTo>
                      <a:pt x="42" y="4"/>
                    </a:lnTo>
                    <a:lnTo>
                      <a:pt x="46" y="4"/>
                    </a:lnTo>
                    <a:lnTo>
                      <a:pt x="48" y="6"/>
                    </a:lnTo>
                    <a:lnTo>
                      <a:pt x="50" y="6"/>
                    </a:lnTo>
                    <a:lnTo>
                      <a:pt x="50" y="8"/>
                    </a:lnTo>
                    <a:lnTo>
                      <a:pt x="52" y="10"/>
                    </a:lnTo>
                    <a:lnTo>
                      <a:pt x="54" y="10"/>
                    </a:lnTo>
                    <a:lnTo>
                      <a:pt x="56" y="12"/>
                    </a:lnTo>
                    <a:lnTo>
                      <a:pt x="56" y="14"/>
                    </a:lnTo>
                    <a:lnTo>
                      <a:pt x="58" y="16"/>
                    </a:lnTo>
                    <a:lnTo>
                      <a:pt x="58" y="18"/>
                    </a:lnTo>
                    <a:lnTo>
                      <a:pt x="58" y="20"/>
                    </a:lnTo>
                    <a:lnTo>
                      <a:pt x="58" y="22"/>
                    </a:lnTo>
                    <a:lnTo>
                      <a:pt x="58" y="22"/>
                    </a:lnTo>
                    <a:lnTo>
                      <a:pt x="58" y="22"/>
                    </a:lnTo>
                    <a:lnTo>
                      <a:pt x="58" y="24"/>
                    </a:lnTo>
                    <a:lnTo>
                      <a:pt x="58" y="24"/>
                    </a:lnTo>
                    <a:lnTo>
                      <a:pt x="56" y="24"/>
                    </a:lnTo>
                    <a:lnTo>
                      <a:pt x="56" y="26"/>
                    </a:lnTo>
                    <a:lnTo>
                      <a:pt x="54" y="26"/>
                    </a:lnTo>
                    <a:lnTo>
                      <a:pt x="52" y="26"/>
                    </a:lnTo>
                    <a:lnTo>
                      <a:pt x="50" y="28"/>
                    </a:lnTo>
                    <a:lnTo>
                      <a:pt x="42" y="28"/>
                    </a:lnTo>
                    <a:lnTo>
                      <a:pt x="40" y="30"/>
                    </a:lnTo>
                    <a:lnTo>
                      <a:pt x="40" y="30"/>
                    </a:lnTo>
                    <a:lnTo>
                      <a:pt x="38" y="30"/>
                    </a:lnTo>
                    <a:lnTo>
                      <a:pt x="36" y="30"/>
                    </a:lnTo>
                    <a:lnTo>
                      <a:pt x="36" y="32"/>
                    </a:lnTo>
                    <a:lnTo>
                      <a:pt x="34" y="34"/>
                    </a:lnTo>
                    <a:lnTo>
                      <a:pt x="32" y="34"/>
                    </a:lnTo>
                    <a:lnTo>
                      <a:pt x="28" y="42"/>
                    </a:lnTo>
                    <a:lnTo>
                      <a:pt x="24" y="44"/>
                    </a:lnTo>
                    <a:lnTo>
                      <a:pt x="22" y="46"/>
                    </a:lnTo>
                    <a:lnTo>
                      <a:pt x="22" y="48"/>
                    </a:lnTo>
                    <a:lnTo>
                      <a:pt x="20" y="48"/>
                    </a:lnTo>
                    <a:lnTo>
                      <a:pt x="18" y="50"/>
                    </a:lnTo>
                    <a:lnTo>
                      <a:pt x="16" y="50"/>
                    </a:lnTo>
                    <a:lnTo>
                      <a:pt x="16" y="50"/>
                    </a:lnTo>
                    <a:lnTo>
                      <a:pt x="16" y="50"/>
                    </a:lnTo>
                    <a:lnTo>
                      <a:pt x="14" y="50"/>
                    </a:lnTo>
                    <a:lnTo>
                      <a:pt x="12" y="50"/>
                    </a:lnTo>
                    <a:lnTo>
                      <a:pt x="12" y="48"/>
                    </a:lnTo>
                    <a:lnTo>
                      <a:pt x="10" y="48"/>
                    </a:lnTo>
                    <a:lnTo>
                      <a:pt x="10" y="46"/>
                    </a:lnTo>
                    <a:lnTo>
                      <a:pt x="8" y="44"/>
                    </a:lnTo>
                    <a:lnTo>
                      <a:pt x="6" y="44"/>
                    </a:lnTo>
                    <a:lnTo>
                      <a:pt x="6" y="42"/>
                    </a:lnTo>
                    <a:lnTo>
                      <a:pt x="4" y="38"/>
                    </a:lnTo>
                    <a:lnTo>
                      <a:pt x="2" y="36"/>
                    </a:lnTo>
                    <a:lnTo>
                      <a:pt x="0" y="32"/>
                    </a:lnTo>
                    <a:lnTo>
                      <a:pt x="0" y="30"/>
                    </a:lnTo>
                    <a:lnTo>
                      <a:pt x="0" y="28"/>
                    </a:lnTo>
                    <a:lnTo>
                      <a:pt x="0" y="26"/>
                    </a:lnTo>
                    <a:lnTo>
                      <a:pt x="0" y="22"/>
                    </a:lnTo>
                    <a:lnTo>
                      <a:pt x="0" y="20"/>
                    </a:lnTo>
                    <a:lnTo>
                      <a:pt x="0" y="16"/>
                    </a:lnTo>
                    <a:lnTo>
                      <a:pt x="0" y="14"/>
                    </a:lnTo>
                    <a:lnTo>
                      <a:pt x="2" y="12"/>
                    </a:lnTo>
                    <a:lnTo>
                      <a:pt x="2" y="10"/>
                    </a:lnTo>
                    <a:lnTo>
                      <a:pt x="2" y="10"/>
                    </a:lnTo>
                    <a:lnTo>
                      <a:pt x="4" y="10"/>
                    </a:lnTo>
                    <a:lnTo>
                      <a:pt x="4" y="8"/>
                    </a:lnTo>
                    <a:lnTo>
                      <a:pt x="6" y="8"/>
                    </a:lnTo>
                    <a:lnTo>
                      <a:pt x="6" y="6"/>
                    </a:lnTo>
                    <a:lnTo>
                      <a:pt x="10" y="4"/>
                    </a:lnTo>
                    <a:lnTo>
                      <a:pt x="14" y="4"/>
                    </a:lnTo>
                    <a:lnTo>
                      <a:pt x="16" y="2"/>
                    </a:lnTo>
                    <a:lnTo>
                      <a:pt x="20" y="2"/>
                    </a:lnTo>
                    <a:lnTo>
                      <a:pt x="22" y="0"/>
                    </a:lnTo>
                    <a:lnTo>
                      <a:pt x="2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91" name="Freeform 571"/>
              <p:cNvSpPr>
                <a:spLocks/>
              </p:cNvSpPr>
              <p:nvPr/>
            </p:nvSpPr>
            <p:spPr bwMode="auto">
              <a:xfrm>
                <a:off x="2303753" y="2409992"/>
                <a:ext cx="114300" cy="73025"/>
              </a:xfrm>
              <a:custGeom>
                <a:avLst/>
                <a:gdLst>
                  <a:gd name="T0" fmla="*/ 30 w 72"/>
                  <a:gd name="T1" fmla="*/ 18 h 46"/>
                  <a:gd name="T2" fmla="*/ 30 w 72"/>
                  <a:gd name="T3" fmla="*/ 16 h 46"/>
                  <a:gd name="T4" fmla="*/ 32 w 72"/>
                  <a:gd name="T5" fmla="*/ 14 h 46"/>
                  <a:gd name="T6" fmla="*/ 34 w 72"/>
                  <a:gd name="T7" fmla="*/ 12 h 46"/>
                  <a:gd name="T8" fmla="*/ 38 w 72"/>
                  <a:gd name="T9" fmla="*/ 10 h 46"/>
                  <a:gd name="T10" fmla="*/ 44 w 72"/>
                  <a:gd name="T11" fmla="*/ 6 h 46"/>
                  <a:gd name="T12" fmla="*/ 50 w 72"/>
                  <a:gd name="T13" fmla="*/ 4 h 46"/>
                  <a:gd name="T14" fmla="*/ 54 w 72"/>
                  <a:gd name="T15" fmla="*/ 4 h 46"/>
                  <a:gd name="T16" fmla="*/ 60 w 72"/>
                  <a:gd name="T17" fmla="*/ 4 h 46"/>
                  <a:gd name="T18" fmla="*/ 64 w 72"/>
                  <a:gd name="T19" fmla="*/ 4 h 46"/>
                  <a:gd name="T20" fmla="*/ 68 w 72"/>
                  <a:gd name="T21" fmla="*/ 6 h 46"/>
                  <a:gd name="T22" fmla="*/ 70 w 72"/>
                  <a:gd name="T23" fmla="*/ 6 h 46"/>
                  <a:gd name="T24" fmla="*/ 70 w 72"/>
                  <a:gd name="T25" fmla="*/ 8 h 46"/>
                  <a:gd name="T26" fmla="*/ 72 w 72"/>
                  <a:gd name="T27" fmla="*/ 12 h 46"/>
                  <a:gd name="T28" fmla="*/ 72 w 72"/>
                  <a:gd name="T29" fmla="*/ 16 h 46"/>
                  <a:gd name="T30" fmla="*/ 72 w 72"/>
                  <a:gd name="T31" fmla="*/ 20 h 46"/>
                  <a:gd name="T32" fmla="*/ 72 w 72"/>
                  <a:gd name="T33" fmla="*/ 24 h 46"/>
                  <a:gd name="T34" fmla="*/ 72 w 72"/>
                  <a:gd name="T35" fmla="*/ 30 h 46"/>
                  <a:gd name="T36" fmla="*/ 70 w 72"/>
                  <a:gd name="T37" fmla="*/ 34 h 46"/>
                  <a:gd name="T38" fmla="*/ 68 w 72"/>
                  <a:gd name="T39" fmla="*/ 36 h 46"/>
                  <a:gd name="T40" fmla="*/ 66 w 72"/>
                  <a:gd name="T41" fmla="*/ 40 h 46"/>
                  <a:gd name="T42" fmla="*/ 62 w 72"/>
                  <a:gd name="T43" fmla="*/ 42 h 46"/>
                  <a:gd name="T44" fmla="*/ 56 w 72"/>
                  <a:gd name="T45" fmla="*/ 44 h 46"/>
                  <a:gd name="T46" fmla="*/ 50 w 72"/>
                  <a:gd name="T47" fmla="*/ 46 h 46"/>
                  <a:gd name="T48" fmla="*/ 44 w 72"/>
                  <a:gd name="T49" fmla="*/ 46 h 46"/>
                  <a:gd name="T50" fmla="*/ 38 w 72"/>
                  <a:gd name="T51" fmla="*/ 46 h 46"/>
                  <a:gd name="T52" fmla="*/ 32 w 72"/>
                  <a:gd name="T53" fmla="*/ 46 h 46"/>
                  <a:gd name="T54" fmla="*/ 26 w 72"/>
                  <a:gd name="T55" fmla="*/ 46 h 46"/>
                  <a:gd name="T56" fmla="*/ 24 w 72"/>
                  <a:gd name="T57" fmla="*/ 44 h 46"/>
                  <a:gd name="T58" fmla="*/ 22 w 72"/>
                  <a:gd name="T59" fmla="*/ 44 h 46"/>
                  <a:gd name="T60" fmla="*/ 20 w 72"/>
                  <a:gd name="T61" fmla="*/ 40 h 46"/>
                  <a:gd name="T62" fmla="*/ 14 w 72"/>
                  <a:gd name="T63" fmla="*/ 34 h 46"/>
                  <a:gd name="T64" fmla="*/ 10 w 72"/>
                  <a:gd name="T65" fmla="*/ 28 h 46"/>
                  <a:gd name="T66" fmla="*/ 6 w 72"/>
                  <a:gd name="T67" fmla="*/ 24 h 46"/>
                  <a:gd name="T68" fmla="*/ 2 w 72"/>
                  <a:gd name="T69" fmla="*/ 18 h 46"/>
                  <a:gd name="T70" fmla="*/ 0 w 72"/>
                  <a:gd name="T71" fmla="*/ 14 h 46"/>
                  <a:gd name="T72" fmla="*/ 0 w 72"/>
                  <a:gd name="T73" fmla="*/ 12 h 46"/>
                  <a:gd name="T74" fmla="*/ 0 w 72"/>
                  <a:gd name="T75" fmla="*/ 10 h 46"/>
                  <a:gd name="T76" fmla="*/ 0 w 72"/>
                  <a:gd name="T77" fmla="*/ 8 h 46"/>
                  <a:gd name="T78" fmla="*/ 2 w 72"/>
                  <a:gd name="T79" fmla="*/ 6 h 46"/>
                  <a:gd name="T80" fmla="*/ 6 w 72"/>
                  <a:gd name="T81" fmla="*/ 2 h 46"/>
                  <a:gd name="T82" fmla="*/ 8 w 72"/>
                  <a:gd name="T83" fmla="*/ 0 h 46"/>
                  <a:gd name="T84" fmla="*/ 8 w 72"/>
                  <a:gd name="T85" fmla="*/ 0 h 46"/>
                  <a:gd name="T86" fmla="*/ 10 w 72"/>
                  <a:gd name="T87" fmla="*/ 0 h 46"/>
                  <a:gd name="T88" fmla="*/ 12 w 72"/>
                  <a:gd name="T89" fmla="*/ 0 h 46"/>
                  <a:gd name="T90" fmla="*/ 14 w 72"/>
                  <a:gd name="T91" fmla="*/ 2 h 46"/>
                  <a:gd name="T92" fmla="*/ 18 w 72"/>
                  <a:gd name="T93" fmla="*/ 6 h 46"/>
                  <a:gd name="T94" fmla="*/ 22 w 72"/>
                  <a:gd name="T95" fmla="*/ 10 h 46"/>
                  <a:gd name="T96" fmla="*/ 22 w 72"/>
                  <a:gd name="T97" fmla="*/ 12 h 46"/>
                  <a:gd name="T98" fmla="*/ 22 w 72"/>
                  <a:gd name="T9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46">
                    <a:moveTo>
                      <a:pt x="30" y="18"/>
                    </a:moveTo>
                    <a:lnTo>
                      <a:pt x="30" y="18"/>
                    </a:lnTo>
                    <a:lnTo>
                      <a:pt x="30" y="16"/>
                    </a:lnTo>
                    <a:lnTo>
                      <a:pt x="30" y="16"/>
                    </a:lnTo>
                    <a:lnTo>
                      <a:pt x="32" y="14"/>
                    </a:lnTo>
                    <a:lnTo>
                      <a:pt x="32" y="14"/>
                    </a:lnTo>
                    <a:lnTo>
                      <a:pt x="34" y="12"/>
                    </a:lnTo>
                    <a:lnTo>
                      <a:pt x="34" y="12"/>
                    </a:lnTo>
                    <a:lnTo>
                      <a:pt x="36" y="10"/>
                    </a:lnTo>
                    <a:lnTo>
                      <a:pt x="38" y="10"/>
                    </a:lnTo>
                    <a:lnTo>
                      <a:pt x="40" y="8"/>
                    </a:lnTo>
                    <a:lnTo>
                      <a:pt x="44" y="6"/>
                    </a:lnTo>
                    <a:lnTo>
                      <a:pt x="48" y="6"/>
                    </a:lnTo>
                    <a:lnTo>
                      <a:pt x="50" y="4"/>
                    </a:lnTo>
                    <a:lnTo>
                      <a:pt x="52" y="4"/>
                    </a:lnTo>
                    <a:lnTo>
                      <a:pt x="54" y="4"/>
                    </a:lnTo>
                    <a:lnTo>
                      <a:pt x="58" y="4"/>
                    </a:lnTo>
                    <a:lnTo>
                      <a:pt x="60" y="4"/>
                    </a:lnTo>
                    <a:lnTo>
                      <a:pt x="64" y="4"/>
                    </a:lnTo>
                    <a:lnTo>
                      <a:pt x="64" y="4"/>
                    </a:lnTo>
                    <a:lnTo>
                      <a:pt x="66" y="6"/>
                    </a:lnTo>
                    <a:lnTo>
                      <a:pt x="68" y="6"/>
                    </a:lnTo>
                    <a:lnTo>
                      <a:pt x="68" y="6"/>
                    </a:lnTo>
                    <a:lnTo>
                      <a:pt x="70" y="6"/>
                    </a:lnTo>
                    <a:lnTo>
                      <a:pt x="70" y="8"/>
                    </a:lnTo>
                    <a:lnTo>
                      <a:pt x="70" y="8"/>
                    </a:lnTo>
                    <a:lnTo>
                      <a:pt x="72" y="10"/>
                    </a:lnTo>
                    <a:lnTo>
                      <a:pt x="72" y="12"/>
                    </a:lnTo>
                    <a:lnTo>
                      <a:pt x="72" y="14"/>
                    </a:lnTo>
                    <a:lnTo>
                      <a:pt x="72" y="16"/>
                    </a:lnTo>
                    <a:lnTo>
                      <a:pt x="72" y="18"/>
                    </a:lnTo>
                    <a:lnTo>
                      <a:pt x="72" y="20"/>
                    </a:lnTo>
                    <a:lnTo>
                      <a:pt x="72" y="22"/>
                    </a:lnTo>
                    <a:lnTo>
                      <a:pt x="72" y="24"/>
                    </a:lnTo>
                    <a:lnTo>
                      <a:pt x="72" y="28"/>
                    </a:lnTo>
                    <a:lnTo>
                      <a:pt x="72" y="30"/>
                    </a:lnTo>
                    <a:lnTo>
                      <a:pt x="70" y="32"/>
                    </a:lnTo>
                    <a:lnTo>
                      <a:pt x="70" y="34"/>
                    </a:lnTo>
                    <a:lnTo>
                      <a:pt x="68" y="36"/>
                    </a:lnTo>
                    <a:lnTo>
                      <a:pt x="68" y="36"/>
                    </a:lnTo>
                    <a:lnTo>
                      <a:pt x="68" y="38"/>
                    </a:lnTo>
                    <a:lnTo>
                      <a:pt x="66" y="40"/>
                    </a:lnTo>
                    <a:lnTo>
                      <a:pt x="64" y="40"/>
                    </a:lnTo>
                    <a:lnTo>
                      <a:pt x="62" y="42"/>
                    </a:lnTo>
                    <a:lnTo>
                      <a:pt x="58" y="42"/>
                    </a:lnTo>
                    <a:lnTo>
                      <a:pt x="56" y="44"/>
                    </a:lnTo>
                    <a:lnTo>
                      <a:pt x="54" y="44"/>
                    </a:lnTo>
                    <a:lnTo>
                      <a:pt x="50" y="46"/>
                    </a:lnTo>
                    <a:lnTo>
                      <a:pt x="48" y="46"/>
                    </a:lnTo>
                    <a:lnTo>
                      <a:pt x="44" y="46"/>
                    </a:lnTo>
                    <a:lnTo>
                      <a:pt x="40" y="46"/>
                    </a:lnTo>
                    <a:lnTo>
                      <a:pt x="38" y="46"/>
                    </a:lnTo>
                    <a:lnTo>
                      <a:pt x="34" y="46"/>
                    </a:lnTo>
                    <a:lnTo>
                      <a:pt x="32" y="46"/>
                    </a:lnTo>
                    <a:lnTo>
                      <a:pt x="30" y="46"/>
                    </a:lnTo>
                    <a:lnTo>
                      <a:pt x="26" y="46"/>
                    </a:lnTo>
                    <a:lnTo>
                      <a:pt x="24" y="46"/>
                    </a:lnTo>
                    <a:lnTo>
                      <a:pt x="24" y="44"/>
                    </a:lnTo>
                    <a:lnTo>
                      <a:pt x="24" y="44"/>
                    </a:lnTo>
                    <a:lnTo>
                      <a:pt x="22" y="44"/>
                    </a:lnTo>
                    <a:lnTo>
                      <a:pt x="22" y="42"/>
                    </a:lnTo>
                    <a:lnTo>
                      <a:pt x="20" y="40"/>
                    </a:lnTo>
                    <a:lnTo>
                      <a:pt x="18" y="38"/>
                    </a:lnTo>
                    <a:lnTo>
                      <a:pt x="14" y="34"/>
                    </a:lnTo>
                    <a:lnTo>
                      <a:pt x="12" y="30"/>
                    </a:lnTo>
                    <a:lnTo>
                      <a:pt x="10" y="28"/>
                    </a:lnTo>
                    <a:lnTo>
                      <a:pt x="8" y="26"/>
                    </a:lnTo>
                    <a:lnTo>
                      <a:pt x="6" y="24"/>
                    </a:lnTo>
                    <a:lnTo>
                      <a:pt x="4" y="20"/>
                    </a:lnTo>
                    <a:lnTo>
                      <a:pt x="2" y="18"/>
                    </a:lnTo>
                    <a:lnTo>
                      <a:pt x="2" y="16"/>
                    </a:lnTo>
                    <a:lnTo>
                      <a:pt x="0" y="14"/>
                    </a:lnTo>
                    <a:lnTo>
                      <a:pt x="0" y="14"/>
                    </a:lnTo>
                    <a:lnTo>
                      <a:pt x="0" y="12"/>
                    </a:lnTo>
                    <a:lnTo>
                      <a:pt x="0" y="12"/>
                    </a:lnTo>
                    <a:lnTo>
                      <a:pt x="0" y="10"/>
                    </a:lnTo>
                    <a:lnTo>
                      <a:pt x="0" y="10"/>
                    </a:lnTo>
                    <a:lnTo>
                      <a:pt x="0" y="8"/>
                    </a:lnTo>
                    <a:lnTo>
                      <a:pt x="2" y="6"/>
                    </a:lnTo>
                    <a:lnTo>
                      <a:pt x="2" y="6"/>
                    </a:lnTo>
                    <a:lnTo>
                      <a:pt x="4" y="4"/>
                    </a:lnTo>
                    <a:lnTo>
                      <a:pt x="6" y="2"/>
                    </a:lnTo>
                    <a:lnTo>
                      <a:pt x="6" y="0"/>
                    </a:lnTo>
                    <a:lnTo>
                      <a:pt x="8" y="0"/>
                    </a:lnTo>
                    <a:lnTo>
                      <a:pt x="8" y="0"/>
                    </a:lnTo>
                    <a:lnTo>
                      <a:pt x="8" y="0"/>
                    </a:lnTo>
                    <a:lnTo>
                      <a:pt x="10" y="0"/>
                    </a:lnTo>
                    <a:lnTo>
                      <a:pt x="10" y="0"/>
                    </a:lnTo>
                    <a:lnTo>
                      <a:pt x="12" y="0"/>
                    </a:lnTo>
                    <a:lnTo>
                      <a:pt x="12" y="0"/>
                    </a:lnTo>
                    <a:lnTo>
                      <a:pt x="14" y="2"/>
                    </a:lnTo>
                    <a:lnTo>
                      <a:pt x="14" y="2"/>
                    </a:lnTo>
                    <a:lnTo>
                      <a:pt x="16" y="4"/>
                    </a:lnTo>
                    <a:lnTo>
                      <a:pt x="18" y="6"/>
                    </a:lnTo>
                    <a:lnTo>
                      <a:pt x="20" y="8"/>
                    </a:lnTo>
                    <a:lnTo>
                      <a:pt x="22" y="10"/>
                    </a:lnTo>
                    <a:lnTo>
                      <a:pt x="22" y="12"/>
                    </a:lnTo>
                    <a:lnTo>
                      <a:pt x="22" y="12"/>
                    </a:lnTo>
                    <a:lnTo>
                      <a:pt x="22" y="14"/>
                    </a:lnTo>
                    <a:lnTo>
                      <a:pt x="22" y="14"/>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92" name="Freeform 573"/>
              <p:cNvSpPr>
                <a:spLocks/>
              </p:cNvSpPr>
              <p:nvPr/>
            </p:nvSpPr>
            <p:spPr bwMode="auto">
              <a:xfrm>
                <a:off x="2443453" y="2308392"/>
                <a:ext cx="60325" cy="63500"/>
              </a:xfrm>
              <a:custGeom>
                <a:avLst/>
                <a:gdLst>
                  <a:gd name="T0" fmla="*/ 2 w 38"/>
                  <a:gd name="T1" fmla="*/ 8 h 40"/>
                  <a:gd name="T2" fmla="*/ 2 w 38"/>
                  <a:gd name="T3" fmla="*/ 8 h 40"/>
                  <a:gd name="T4" fmla="*/ 2 w 38"/>
                  <a:gd name="T5" fmla="*/ 10 h 40"/>
                  <a:gd name="T6" fmla="*/ 2 w 38"/>
                  <a:gd name="T7" fmla="*/ 10 h 40"/>
                  <a:gd name="T8" fmla="*/ 0 w 38"/>
                  <a:gd name="T9" fmla="*/ 12 h 40"/>
                  <a:gd name="T10" fmla="*/ 0 w 38"/>
                  <a:gd name="T11" fmla="*/ 14 h 40"/>
                  <a:gd name="T12" fmla="*/ 0 w 38"/>
                  <a:gd name="T13" fmla="*/ 18 h 40"/>
                  <a:gd name="T14" fmla="*/ 0 w 38"/>
                  <a:gd name="T15" fmla="*/ 20 h 40"/>
                  <a:gd name="T16" fmla="*/ 2 w 38"/>
                  <a:gd name="T17" fmla="*/ 22 h 40"/>
                  <a:gd name="T18" fmla="*/ 2 w 38"/>
                  <a:gd name="T19" fmla="*/ 24 h 40"/>
                  <a:gd name="T20" fmla="*/ 2 w 38"/>
                  <a:gd name="T21" fmla="*/ 26 h 40"/>
                  <a:gd name="T22" fmla="*/ 4 w 38"/>
                  <a:gd name="T23" fmla="*/ 28 h 40"/>
                  <a:gd name="T24" fmla="*/ 4 w 38"/>
                  <a:gd name="T25" fmla="*/ 30 h 40"/>
                  <a:gd name="T26" fmla="*/ 6 w 38"/>
                  <a:gd name="T27" fmla="*/ 32 h 40"/>
                  <a:gd name="T28" fmla="*/ 8 w 38"/>
                  <a:gd name="T29" fmla="*/ 34 h 40"/>
                  <a:gd name="T30" fmla="*/ 10 w 38"/>
                  <a:gd name="T31" fmla="*/ 36 h 40"/>
                  <a:gd name="T32" fmla="*/ 12 w 38"/>
                  <a:gd name="T33" fmla="*/ 38 h 40"/>
                  <a:gd name="T34" fmla="*/ 14 w 38"/>
                  <a:gd name="T35" fmla="*/ 38 h 40"/>
                  <a:gd name="T36" fmla="*/ 14 w 38"/>
                  <a:gd name="T37" fmla="*/ 38 h 40"/>
                  <a:gd name="T38" fmla="*/ 14 w 38"/>
                  <a:gd name="T39" fmla="*/ 40 h 40"/>
                  <a:gd name="T40" fmla="*/ 16 w 38"/>
                  <a:gd name="T41" fmla="*/ 40 h 40"/>
                  <a:gd name="T42" fmla="*/ 18 w 38"/>
                  <a:gd name="T43" fmla="*/ 40 h 40"/>
                  <a:gd name="T44" fmla="*/ 20 w 38"/>
                  <a:gd name="T45" fmla="*/ 40 h 40"/>
                  <a:gd name="T46" fmla="*/ 22 w 38"/>
                  <a:gd name="T47" fmla="*/ 40 h 40"/>
                  <a:gd name="T48" fmla="*/ 24 w 38"/>
                  <a:gd name="T49" fmla="*/ 38 h 40"/>
                  <a:gd name="T50" fmla="*/ 26 w 38"/>
                  <a:gd name="T51" fmla="*/ 38 h 40"/>
                  <a:gd name="T52" fmla="*/ 28 w 38"/>
                  <a:gd name="T53" fmla="*/ 38 h 40"/>
                  <a:gd name="T54" fmla="*/ 30 w 38"/>
                  <a:gd name="T55" fmla="*/ 36 h 40"/>
                  <a:gd name="T56" fmla="*/ 30 w 38"/>
                  <a:gd name="T57" fmla="*/ 36 h 40"/>
                  <a:gd name="T58" fmla="*/ 30 w 38"/>
                  <a:gd name="T59" fmla="*/ 36 h 40"/>
                  <a:gd name="T60" fmla="*/ 32 w 38"/>
                  <a:gd name="T61" fmla="*/ 34 h 40"/>
                  <a:gd name="T62" fmla="*/ 34 w 38"/>
                  <a:gd name="T63" fmla="*/ 30 h 40"/>
                  <a:gd name="T64" fmla="*/ 34 w 38"/>
                  <a:gd name="T65" fmla="*/ 28 h 40"/>
                  <a:gd name="T66" fmla="*/ 36 w 38"/>
                  <a:gd name="T67" fmla="*/ 26 h 40"/>
                  <a:gd name="T68" fmla="*/ 36 w 38"/>
                  <a:gd name="T69" fmla="*/ 24 h 40"/>
                  <a:gd name="T70" fmla="*/ 36 w 38"/>
                  <a:gd name="T71" fmla="*/ 20 h 40"/>
                  <a:gd name="T72" fmla="*/ 38 w 38"/>
                  <a:gd name="T73" fmla="*/ 20 h 40"/>
                  <a:gd name="T74" fmla="*/ 36 w 38"/>
                  <a:gd name="T75" fmla="*/ 18 h 40"/>
                  <a:gd name="T76" fmla="*/ 36 w 38"/>
                  <a:gd name="T77" fmla="*/ 18 h 40"/>
                  <a:gd name="T78" fmla="*/ 36 w 38"/>
                  <a:gd name="T79" fmla="*/ 16 h 40"/>
                  <a:gd name="T80" fmla="*/ 36 w 38"/>
                  <a:gd name="T81" fmla="*/ 14 h 40"/>
                  <a:gd name="T82" fmla="*/ 34 w 38"/>
                  <a:gd name="T83" fmla="*/ 12 h 40"/>
                  <a:gd name="T84" fmla="*/ 32 w 38"/>
                  <a:gd name="T85" fmla="*/ 8 h 40"/>
                  <a:gd name="T86" fmla="*/ 30 w 38"/>
                  <a:gd name="T87" fmla="*/ 6 h 40"/>
                  <a:gd name="T88" fmla="*/ 28 w 38"/>
                  <a:gd name="T89" fmla="*/ 4 h 40"/>
                  <a:gd name="T90" fmla="*/ 28 w 38"/>
                  <a:gd name="T91" fmla="*/ 2 h 40"/>
                  <a:gd name="T92" fmla="*/ 26 w 38"/>
                  <a:gd name="T93" fmla="*/ 2 h 40"/>
                  <a:gd name="T94" fmla="*/ 26 w 38"/>
                  <a:gd name="T95" fmla="*/ 2 h 40"/>
                  <a:gd name="T96" fmla="*/ 24 w 38"/>
                  <a:gd name="T97" fmla="*/ 0 h 40"/>
                  <a:gd name="T98" fmla="*/ 24 w 38"/>
                  <a:gd name="T99" fmla="*/ 0 h 40"/>
                  <a:gd name="T100" fmla="*/ 22 w 38"/>
                  <a:gd name="T101" fmla="*/ 0 h 40"/>
                  <a:gd name="T102" fmla="*/ 20 w 38"/>
                  <a:gd name="T103" fmla="*/ 0 h 40"/>
                  <a:gd name="T104" fmla="*/ 20 w 38"/>
                  <a:gd name="T105" fmla="*/ 0 h 40"/>
                  <a:gd name="T106" fmla="*/ 18 w 38"/>
                  <a:gd name="T107" fmla="*/ 0 h 40"/>
                  <a:gd name="T108" fmla="*/ 16 w 38"/>
                  <a:gd name="T109" fmla="*/ 2 h 40"/>
                  <a:gd name="T110" fmla="*/ 12 w 38"/>
                  <a:gd name="T111" fmla="*/ 2 h 40"/>
                  <a:gd name="T112" fmla="*/ 10 w 38"/>
                  <a:gd name="T113" fmla="*/ 4 h 40"/>
                  <a:gd name="T114" fmla="*/ 8 w 38"/>
                  <a:gd name="T115" fmla="*/ 4 h 40"/>
                  <a:gd name="T116" fmla="*/ 6 w 38"/>
                  <a:gd name="T117" fmla="*/ 4 h 40"/>
                  <a:gd name="T118" fmla="*/ 6 w 38"/>
                  <a:gd name="T119" fmla="*/ 6 h 40"/>
                  <a:gd name="T120" fmla="*/ 4 w 38"/>
                  <a:gd name="T121" fmla="*/ 6 h 40"/>
                  <a:gd name="T122" fmla="*/ 2 w 38"/>
                  <a:gd name="T123" fmla="*/ 8 h 40"/>
                  <a:gd name="T124" fmla="*/ 2 w 38"/>
                  <a:gd name="T125"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 h="40">
                    <a:moveTo>
                      <a:pt x="2" y="8"/>
                    </a:moveTo>
                    <a:lnTo>
                      <a:pt x="2" y="8"/>
                    </a:lnTo>
                    <a:lnTo>
                      <a:pt x="2" y="10"/>
                    </a:lnTo>
                    <a:lnTo>
                      <a:pt x="2" y="10"/>
                    </a:lnTo>
                    <a:lnTo>
                      <a:pt x="0" y="12"/>
                    </a:lnTo>
                    <a:lnTo>
                      <a:pt x="0" y="14"/>
                    </a:lnTo>
                    <a:lnTo>
                      <a:pt x="0" y="18"/>
                    </a:lnTo>
                    <a:lnTo>
                      <a:pt x="0" y="20"/>
                    </a:lnTo>
                    <a:lnTo>
                      <a:pt x="2" y="22"/>
                    </a:lnTo>
                    <a:lnTo>
                      <a:pt x="2" y="24"/>
                    </a:lnTo>
                    <a:lnTo>
                      <a:pt x="2" y="26"/>
                    </a:lnTo>
                    <a:lnTo>
                      <a:pt x="4" y="28"/>
                    </a:lnTo>
                    <a:lnTo>
                      <a:pt x="4" y="30"/>
                    </a:lnTo>
                    <a:lnTo>
                      <a:pt x="6" y="32"/>
                    </a:lnTo>
                    <a:lnTo>
                      <a:pt x="8" y="34"/>
                    </a:lnTo>
                    <a:lnTo>
                      <a:pt x="10" y="36"/>
                    </a:lnTo>
                    <a:lnTo>
                      <a:pt x="12" y="38"/>
                    </a:lnTo>
                    <a:lnTo>
                      <a:pt x="14" y="38"/>
                    </a:lnTo>
                    <a:lnTo>
                      <a:pt x="14" y="38"/>
                    </a:lnTo>
                    <a:lnTo>
                      <a:pt x="14" y="40"/>
                    </a:lnTo>
                    <a:lnTo>
                      <a:pt x="16" y="40"/>
                    </a:lnTo>
                    <a:lnTo>
                      <a:pt x="18" y="40"/>
                    </a:lnTo>
                    <a:lnTo>
                      <a:pt x="20" y="40"/>
                    </a:lnTo>
                    <a:lnTo>
                      <a:pt x="22" y="40"/>
                    </a:lnTo>
                    <a:lnTo>
                      <a:pt x="24" y="38"/>
                    </a:lnTo>
                    <a:lnTo>
                      <a:pt x="26" y="38"/>
                    </a:lnTo>
                    <a:lnTo>
                      <a:pt x="28" y="38"/>
                    </a:lnTo>
                    <a:lnTo>
                      <a:pt x="30" y="36"/>
                    </a:lnTo>
                    <a:lnTo>
                      <a:pt x="30" y="36"/>
                    </a:lnTo>
                    <a:lnTo>
                      <a:pt x="30" y="36"/>
                    </a:lnTo>
                    <a:lnTo>
                      <a:pt x="32" y="34"/>
                    </a:lnTo>
                    <a:lnTo>
                      <a:pt x="34" y="30"/>
                    </a:lnTo>
                    <a:lnTo>
                      <a:pt x="34" y="28"/>
                    </a:lnTo>
                    <a:lnTo>
                      <a:pt x="36" y="26"/>
                    </a:lnTo>
                    <a:lnTo>
                      <a:pt x="36" y="24"/>
                    </a:lnTo>
                    <a:lnTo>
                      <a:pt x="36" y="20"/>
                    </a:lnTo>
                    <a:lnTo>
                      <a:pt x="38" y="20"/>
                    </a:lnTo>
                    <a:lnTo>
                      <a:pt x="36" y="18"/>
                    </a:lnTo>
                    <a:lnTo>
                      <a:pt x="36" y="18"/>
                    </a:lnTo>
                    <a:lnTo>
                      <a:pt x="36" y="16"/>
                    </a:lnTo>
                    <a:lnTo>
                      <a:pt x="36" y="14"/>
                    </a:lnTo>
                    <a:lnTo>
                      <a:pt x="34" y="12"/>
                    </a:lnTo>
                    <a:lnTo>
                      <a:pt x="32" y="8"/>
                    </a:lnTo>
                    <a:lnTo>
                      <a:pt x="30" y="6"/>
                    </a:lnTo>
                    <a:lnTo>
                      <a:pt x="28" y="4"/>
                    </a:lnTo>
                    <a:lnTo>
                      <a:pt x="28" y="2"/>
                    </a:lnTo>
                    <a:lnTo>
                      <a:pt x="26" y="2"/>
                    </a:lnTo>
                    <a:lnTo>
                      <a:pt x="26" y="2"/>
                    </a:lnTo>
                    <a:lnTo>
                      <a:pt x="24" y="0"/>
                    </a:lnTo>
                    <a:lnTo>
                      <a:pt x="24" y="0"/>
                    </a:lnTo>
                    <a:lnTo>
                      <a:pt x="22" y="0"/>
                    </a:lnTo>
                    <a:lnTo>
                      <a:pt x="20" y="0"/>
                    </a:lnTo>
                    <a:lnTo>
                      <a:pt x="20" y="0"/>
                    </a:lnTo>
                    <a:lnTo>
                      <a:pt x="18" y="0"/>
                    </a:lnTo>
                    <a:lnTo>
                      <a:pt x="16" y="2"/>
                    </a:lnTo>
                    <a:lnTo>
                      <a:pt x="12" y="2"/>
                    </a:lnTo>
                    <a:lnTo>
                      <a:pt x="10" y="4"/>
                    </a:lnTo>
                    <a:lnTo>
                      <a:pt x="8" y="4"/>
                    </a:lnTo>
                    <a:lnTo>
                      <a:pt x="6" y="4"/>
                    </a:lnTo>
                    <a:lnTo>
                      <a:pt x="6" y="6"/>
                    </a:lnTo>
                    <a:lnTo>
                      <a:pt x="4" y="6"/>
                    </a:lnTo>
                    <a:lnTo>
                      <a:pt x="2" y="8"/>
                    </a:lnTo>
                    <a:lnTo>
                      <a:pt x="2"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93" name="Freeform 575"/>
              <p:cNvSpPr>
                <a:spLocks/>
              </p:cNvSpPr>
              <p:nvPr/>
            </p:nvSpPr>
            <p:spPr bwMode="auto">
              <a:xfrm>
                <a:off x="2430753" y="2248067"/>
                <a:ext cx="44450" cy="38100"/>
              </a:xfrm>
              <a:custGeom>
                <a:avLst/>
                <a:gdLst>
                  <a:gd name="T0" fmla="*/ 4 w 28"/>
                  <a:gd name="T1" fmla="*/ 0 h 24"/>
                  <a:gd name="T2" fmla="*/ 4 w 28"/>
                  <a:gd name="T3" fmla="*/ 0 h 24"/>
                  <a:gd name="T4" fmla="*/ 4 w 28"/>
                  <a:gd name="T5" fmla="*/ 2 h 24"/>
                  <a:gd name="T6" fmla="*/ 4 w 28"/>
                  <a:gd name="T7" fmla="*/ 2 h 24"/>
                  <a:gd name="T8" fmla="*/ 2 w 28"/>
                  <a:gd name="T9" fmla="*/ 4 h 24"/>
                  <a:gd name="T10" fmla="*/ 2 w 28"/>
                  <a:gd name="T11" fmla="*/ 4 h 24"/>
                  <a:gd name="T12" fmla="*/ 2 w 28"/>
                  <a:gd name="T13" fmla="*/ 6 h 24"/>
                  <a:gd name="T14" fmla="*/ 2 w 28"/>
                  <a:gd name="T15" fmla="*/ 8 h 24"/>
                  <a:gd name="T16" fmla="*/ 0 w 28"/>
                  <a:gd name="T17" fmla="*/ 10 h 24"/>
                  <a:gd name="T18" fmla="*/ 0 w 28"/>
                  <a:gd name="T19" fmla="*/ 14 h 24"/>
                  <a:gd name="T20" fmla="*/ 0 w 28"/>
                  <a:gd name="T21" fmla="*/ 16 h 24"/>
                  <a:gd name="T22" fmla="*/ 0 w 28"/>
                  <a:gd name="T23" fmla="*/ 16 h 24"/>
                  <a:gd name="T24" fmla="*/ 0 w 28"/>
                  <a:gd name="T25" fmla="*/ 18 h 24"/>
                  <a:gd name="T26" fmla="*/ 2 w 28"/>
                  <a:gd name="T27" fmla="*/ 20 h 24"/>
                  <a:gd name="T28" fmla="*/ 2 w 28"/>
                  <a:gd name="T29" fmla="*/ 20 h 24"/>
                  <a:gd name="T30" fmla="*/ 2 w 28"/>
                  <a:gd name="T31" fmla="*/ 22 h 24"/>
                  <a:gd name="T32" fmla="*/ 4 w 28"/>
                  <a:gd name="T33" fmla="*/ 22 h 24"/>
                  <a:gd name="T34" fmla="*/ 4 w 28"/>
                  <a:gd name="T35" fmla="*/ 22 h 24"/>
                  <a:gd name="T36" fmla="*/ 6 w 28"/>
                  <a:gd name="T37" fmla="*/ 22 h 24"/>
                  <a:gd name="T38" fmla="*/ 6 w 28"/>
                  <a:gd name="T39" fmla="*/ 24 h 24"/>
                  <a:gd name="T40" fmla="*/ 8 w 28"/>
                  <a:gd name="T41" fmla="*/ 24 h 24"/>
                  <a:gd name="T42" fmla="*/ 8 w 28"/>
                  <a:gd name="T43" fmla="*/ 24 h 24"/>
                  <a:gd name="T44" fmla="*/ 12 w 28"/>
                  <a:gd name="T45" fmla="*/ 24 h 24"/>
                  <a:gd name="T46" fmla="*/ 14 w 28"/>
                  <a:gd name="T47" fmla="*/ 24 h 24"/>
                  <a:gd name="T48" fmla="*/ 18 w 28"/>
                  <a:gd name="T49" fmla="*/ 22 h 24"/>
                  <a:gd name="T50" fmla="*/ 20 w 28"/>
                  <a:gd name="T51" fmla="*/ 22 h 24"/>
                  <a:gd name="T52" fmla="*/ 20 w 28"/>
                  <a:gd name="T53" fmla="*/ 22 h 24"/>
                  <a:gd name="T54" fmla="*/ 22 w 28"/>
                  <a:gd name="T55" fmla="*/ 22 h 24"/>
                  <a:gd name="T56" fmla="*/ 22 w 28"/>
                  <a:gd name="T57" fmla="*/ 22 h 24"/>
                  <a:gd name="T58" fmla="*/ 22 w 28"/>
                  <a:gd name="T59" fmla="*/ 20 h 24"/>
                  <a:gd name="T60" fmla="*/ 24 w 28"/>
                  <a:gd name="T61" fmla="*/ 20 h 24"/>
                  <a:gd name="T62" fmla="*/ 24 w 28"/>
                  <a:gd name="T63" fmla="*/ 18 h 24"/>
                  <a:gd name="T64" fmla="*/ 26 w 28"/>
                  <a:gd name="T65" fmla="*/ 16 h 24"/>
                  <a:gd name="T66" fmla="*/ 26 w 28"/>
                  <a:gd name="T67" fmla="*/ 14 h 24"/>
                  <a:gd name="T68" fmla="*/ 28 w 28"/>
                  <a:gd name="T69" fmla="*/ 12 h 24"/>
                  <a:gd name="T70" fmla="*/ 28 w 28"/>
                  <a:gd name="T71" fmla="*/ 10 h 24"/>
                  <a:gd name="T72" fmla="*/ 28 w 28"/>
                  <a:gd name="T73" fmla="*/ 8 h 24"/>
                  <a:gd name="T74" fmla="*/ 28 w 28"/>
                  <a:gd name="T75" fmla="*/ 8 h 24"/>
                  <a:gd name="T76" fmla="*/ 28 w 28"/>
                  <a:gd name="T77" fmla="*/ 6 h 24"/>
                  <a:gd name="T78" fmla="*/ 26 w 28"/>
                  <a:gd name="T79" fmla="*/ 6 h 24"/>
                  <a:gd name="T80" fmla="*/ 26 w 28"/>
                  <a:gd name="T81" fmla="*/ 4 h 24"/>
                  <a:gd name="T82" fmla="*/ 26 w 28"/>
                  <a:gd name="T83" fmla="*/ 4 h 24"/>
                  <a:gd name="T84" fmla="*/ 24 w 28"/>
                  <a:gd name="T85" fmla="*/ 4 h 24"/>
                  <a:gd name="T86" fmla="*/ 24 w 28"/>
                  <a:gd name="T87" fmla="*/ 2 h 24"/>
                  <a:gd name="T88" fmla="*/ 22 w 28"/>
                  <a:gd name="T89" fmla="*/ 2 h 24"/>
                  <a:gd name="T90" fmla="*/ 20 w 28"/>
                  <a:gd name="T91" fmla="*/ 2 h 24"/>
                  <a:gd name="T92" fmla="*/ 18 w 28"/>
                  <a:gd name="T93" fmla="*/ 0 h 24"/>
                  <a:gd name="T94" fmla="*/ 16 w 28"/>
                  <a:gd name="T95" fmla="*/ 0 h 24"/>
                  <a:gd name="T96" fmla="*/ 14 w 28"/>
                  <a:gd name="T97" fmla="*/ 0 h 24"/>
                  <a:gd name="T98" fmla="*/ 14 w 28"/>
                  <a:gd name="T99" fmla="*/ 0 h 24"/>
                  <a:gd name="T100" fmla="*/ 12 w 28"/>
                  <a:gd name="T101" fmla="*/ 0 h 24"/>
                  <a:gd name="T102" fmla="*/ 10 w 28"/>
                  <a:gd name="T103" fmla="*/ 0 h 24"/>
                  <a:gd name="T104" fmla="*/ 8 w 28"/>
                  <a:gd name="T105" fmla="*/ 0 h 24"/>
                  <a:gd name="T106" fmla="*/ 6 w 28"/>
                  <a:gd name="T107" fmla="*/ 0 h 24"/>
                  <a:gd name="T108" fmla="*/ 6 w 28"/>
                  <a:gd name="T109" fmla="*/ 0 h 24"/>
                  <a:gd name="T110" fmla="*/ 4 w 28"/>
                  <a:gd name="T11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24">
                    <a:moveTo>
                      <a:pt x="4" y="0"/>
                    </a:moveTo>
                    <a:lnTo>
                      <a:pt x="4" y="0"/>
                    </a:lnTo>
                    <a:lnTo>
                      <a:pt x="4" y="2"/>
                    </a:lnTo>
                    <a:lnTo>
                      <a:pt x="4" y="2"/>
                    </a:lnTo>
                    <a:lnTo>
                      <a:pt x="2" y="4"/>
                    </a:lnTo>
                    <a:lnTo>
                      <a:pt x="2" y="4"/>
                    </a:lnTo>
                    <a:lnTo>
                      <a:pt x="2" y="6"/>
                    </a:lnTo>
                    <a:lnTo>
                      <a:pt x="2" y="8"/>
                    </a:lnTo>
                    <a:lnTo>
                      <a:pt x="0" y="10"/>
                    </a:lnTo>
                    <a:lnTo>
                      <a:pt x="0" y="14"/>
                    </a:lnTo>
                    <a:lnTo>
                      <a:pt x="0" y="16"/>
                    </a:lnTo>
                    <a:lnTo>
                      <a:pt x="0" y="16"/>
                    </a:lnTo>
                    <a:lnTo>
                      <a:pt x="0" y="18"/>
                    </a:lnTo>
                    <a:lnTo>
                      <a:pt x="2" y="20"/>
                    </a:lnTo>
                    <a:lnTo>
                      <a:pt x="2" y="20"/>
                    </a:lnTo>
                    <a:lnTo>
                      <a:pt x="2" y="22"/>
                    </a:lnTo>
                    <a:lnTo>
                      <a:pt x="4" y="22"/>
                    </a:lnTo>
                    <a:lnTo>
                      <a:pt x="4" y="22"/>
                    </a:lnTo>
                    <a:lnTo>
                      <a:pt x="6" y="22"/>
                    </a:lnTo>
                    <a:lnTo>
                      <a:pt x="6" y="24"/>
                    </a:lnTo>
                    <a:lnTo>
                      <a:pt x="8" y="24"/>
                    </a:lnTo>
                    <a:lnTo>
                      <a:pt x="8" y="24"/>
                    </a:lnTo>
                    <a:lnTo>
                      <a:pt x="12" y="24"/>
                    </a:lnTo>
                    <a:lnTo>
                      <a:pt x="14" y="24"/>
                    </a:lnTo>
                    <a:lnTo>
                      <a:pt x="18" y="22"/>
                    </a:lnTo>
                    <a:lnTo>
                      <a:pt x="20" y="22"/>
                    </a:lnTo>
                    <a:lnTo>
                      <a:pt x="20" y="22"/>
                    </a:lnTo>
                    <a:lnTo>
                      <a:pt x="22" y="22"/>
                    </a:lnTo>
                    <a:lnTo>
                      <a:pt x="22" y="22"/>
                    </a:lnTo>
                    <a:lnTo>
                      <a:pt x="22" y="20"/>
                    </a:lnTo>
                    <a:lnTo>
                      <a:pt x="24" y="20"/>
                    </a:lnTo>
                    <a:lnTo>
                      <a:pt x="24" y="18"/>
                    </a:lnTo>
                    <a:lnTo>
                      <a:pt x="26" y="16"/>
                    </a:lnTo>
                    <a:lnTo>
                      <a:pt x="26" y="14"/>
                    </a:lnTo>
                    <a:lnTo>
                      <a:pt x="28" y="12"/>
                    </a:lnTo>
                    <a:lnTo>
                      <a:pt x="28" y="10"/>
                    </a:lnTo>
                    <a:lnTo>
                      <a:pt x="28" y="8"/>
                    </a:lnTo>
                    <a:lnTo>
                      <a:pt x="28" y="8"/>
                    </a:lnTo>
                    <a:lnTo>
                      <a:pt x="28" y="6"/>
                    </a:lnTo>
                    <a:lnTo>
                      <a:pt x="26" y="6"/>
                    </a:lnTo>
                    <a:lnTo>
                      <a:pt x="26" y="4"/>
                    </a:lnTo>
                    <a:lnTo>
                      <a:pt x="26" y="4"/>
                    </a:lnTo>
                    <a:lnTo>
                      <a:pt x="24" y="4"/>
                    </a:lnTo>
                    <a:lnTo>
                      <a:pt x="24" y="2"/>
                    </a:lnTo>
                    <a:lnTo>
                      <a:pt x="22" y="2"/>
                    </a:lnTo>
                    <a:lnTo>
                      <a:pt x="20" y="2"/>
                    </a:lnTo>
                    <a:lnTo>
                      <a:pt x="18" y="0"/>
                    </a:lnTo>
                    <a:lnTo>
                      <a:pt x="16" y="0"/>
                    </a:lnTo>
                    <a:lnTo>
                      <a:pt x="14" y="0"/>
                    </a:lnTo>
                    <a:lnTo>
                      <a:pt x="14" y="0"/>
                    </a:lnTo>
                    <a:lnTo>
                      <a:pt x="12" y="0"/>
                    </a:lnTo>
                    <a:lnTo>
                      <a:pt x="10" y="0"/>
                    </a:lnTo>
                    <a:lnTo>
                      <a:pt x="8" y="0"/>
                    </a:lnTo>
                    <a:lnTo>
                      <a:pt x="6" y="0"/>
                    </a:lnTo>
                    <a:lnTo>
                      <a:pt x="6" y="0"/>
                    </a:lnTo>
                    <a:lnTo>
                      <a:pt x="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94" name="Freeform 577"/>
              <p:cNvSpPr>
                <a:spLocks/>
              </p:cNvSpPr>
              <p:nvPr/>
            </p:nvSpPr>
            <p:spPr bwMode="auto">
              <a:xfrm>
                <a:off x="2516478" y="2197267"/>
                <a:ext cx="136525" cy="142875"/>
              </a:xfrm>
              <a:custGeom>
                <a:avLst/>
                <a:gdLst>
                  <a:gd name="T0" fmla="*/ 30 w 86"/>
                  <a:gd name="T1" fmla="*/ 0 h 90"/>
                  <a:gd name="T2" fmla="*/ 28 w 86"/>
                  <a:gd name="T3" fmla="*/ 2 h 90"/>
                  <a:gd name="T4" fmla="*/ 26 w 86"/>
                  <a:gd name="T5" fmla="*/ 4 h 90"/>
                  <a:gd name="T6" fmla="*/ 24 w 86"/>
                  <a:gd name="T7" fmla="*/ 6 h 90"/>
                  <a:gd name="T8" fmla="*/ 20 w 86"/>
                  <a:gd name="T9" fmla="*/ 14 h 90"/>
                  <a:gd name="T10" fmla="*/ 16 w 86"/>
                  <a:gd name="T11" fmla="*/ 18 h 90"/>
                  <a:gd name="T12" fmla="*/ 12 w 86"/>
                  <a:gd name="T13" fmla="*/ 22 h 90"/>
                  <a:gd name="T14" fmla="*/ 6 w 86"/>
                  <a:gd name="T15" fmla="*/ 30 h 90"/>
                  <a:gd name="T16" fmla="*/ 4 w 86"/>
                  <a:gd name="T17" fmla="*/ 32 h 90"/>
                  <a:gd name="T18" fmla="*/ 2 w 86"/>
                  <a:gd name="T19" fmla="*/ 34 h 90"/>
                  <a:gd name="T20" fmla="*/ 0 w 86"/>
                  <a:gd name="T21" fmla="*/ 38 h 90"/>
                  <a:gd name="T22" fmla="*/ 0 w 86"/>
                  <a:gd name="T23" fmla="*/ 44 h 90"/>
                  <a:gd name="T24" fmla="*/ 2 w 86"/>
                  <a:gd name="T25" fmla="*/ 50 h 90"/>
                  <a:gd name="T26" fmla="*/ 2 w 86"/>
                  <a:gd name="T27" fmla="*/ 54 h 90"/>
                  <a:gd name="T28" fmla="*/ 4 w 86"/>
                  <a:gd name="T29" fmla="*/ 56 h 90"/>
                  <a:gd name="T30" fmla="*/ 4 w 86"/>
                  <a:gd name="T31" fmla="*/ 56 h 90"/>
                  <a:gd name="T32" fmla="*/ 6 w 86"/>
                  <a:gd name="T33" fmla="*/ 56 h 90"/>
                  <a:gd name="T34" fmla="*/ 10 w 86"/>
                  <a:gd name="T35" fmla="*/ 56 h 90"/>
                  <a:gd name="T36" fmla="*/ 16 w 86"/>
                  <a:gd name="T37" fmla="*/ 56 h 90"/>
                  <a:gd name="T38" fmla="*/ 20 w 86"/>
                  <a:gd name="T39" fmla="*/ 54 h 90"/>
                  <a:gd name="T40" fmla="*/ 22 w 86"/>
                  <a:gd name="T41" fmla="*/ 56 h 90"/>
                  <a:gd name="T42" fmla="*/ 22 w 86"/>
                  <a:gd name="T43" fmla="*/ 56 h 90"/>
                  <a:gd name="T44" fmla="*/ 22 w 86"/>
                  <a:gd name="T45" fmla="*/ 58 h 90"/>
                  <a:gd name="T46" fmla="*/ 22 w 86"/>
                  <a:gd name="T47" fmla="*/ 60 h 90"/>
                  <a:gd name="T48" fmla="*/ 20 w 86"/>
                  <a:gd name="T49" fmla="*/ 66 h 90"/>
                  <a:gd name="T50" fmla="*/ 20 w 86"/>
                  <a:gd name="T51" fmla="*/ 68 h 90"/>
                  <a:gd name="T52" fmla="*/ 20 w 86"/>
                  <a:gd name="T53" fmla="*/ 70 h 90"/>
                  <a:gd name="T54" fmla="*/ 20 w 86"/>
                  <a:gd name="T55" fmla="*/ 74 h 90"/>
                  <a:gd name="T56" fmla="*/ 22 w 86"/>
                  <a:gd name="T57" fmla="*/ 78 h 90"/>
                  <a:gd name="T58" fmla="*/ 24 w 86"/>
                  <a:gd name="T59" fmla="*/ 82 h 90"/>
                  <a:gd name="T60" fmla="*/ 24 w 86"/>
                  <a:gd name="T61" fmla="*/ 84 h 90"/>
                  <a:gd name="T62" fmla="*/ 28 w 86"/>
                  <a:gd name="T63" fmla="*/ 86 h 90"/>
                  <a:gd name="T64" fmla="*/ 34 w 86"/>
                  <a:gd name="T65" fmla="*/ 88 h 90"/>
                  <a:gd name="T66" fmla="*/ 40 w 86"/>
                  <a:gd name="T67" fmla="*/ 90 h 90"/>
                  <a:gd name="T68" fmla="*/ 46 w 86"/>
                  <a:gd name="T69" fmla="*/ 90 h 90"/>
                  <a:gd name="T70" fmla="*/ 52 w 86"/>
                  <a:gd name="T71" fmla="*/ 90 h 90"/>
                  <a:gd name="T72" fmla="*/ 60 w 86"/>
                  <a:gd name="T73" fmla="*/ 90 h 90"/>
                  <a:gd name="T74" fmla="*/ 64 w 86"/>
                  <a:gd name="T75" fmla="*/ 90 h 90"/>
                  <a:gd name="T76" fmla="*/ 70 w 86"/>
                  <a:gd name="T77" fmla="*/ 88 h 90"/>
                  <a:gd name="T78" fmla="*/ 72 w 86"/>
                  <a:gd name="T79" fmla="*/ 88 h 90"/>
                  <a:gd name="T80" fmla="*/ 74 w 86"/>
                  <a:gd name="T81" fmla="*/ 86 h 90"/>
                  <a:gd name="T82" fmla="*/ 76 w 86"/>
                  <a:gd name="T83" fmla="*/ 80 h 90"/>
                  <a:gd name="T84" fmla="*/ 80 w 86"/>
                  <a:gd name="T85" fmla="*/ 76 h 90"/>
                  <a:gd name="T86" fmla="*/ 82 w 86"/>
                  <a:gd name="T87" fmla="*/ 70 h 90"/>
                  <a:gd name="T88" fmla="*/ 84 w 86"/>
                  <a:gd name="T89" fmla="*/ 64 h 90"/>
                  <a:gd name="T90" fmla="*/ 84 w 86"/>
                  <a:gd name="T91" fmla="*/ 58 h 90"/>
                  <a:gd name="T92" fmla="*/ 86 w 86"/>
                  <a:gd name="T93" fmla="*/ 50 h 90"/>
                  <a:gd name="T94" fmla="*/ 84 w 86"/>
                  <a:gd name="T95" fmla="*/ 44 h 90"/>
                  <a:gd name="T96" fmla="*/ 84 w 86"/>
                  <a:gd name="T97" fmla="*/ 42 h 90"/>
                  <a:gd name="T98" fmla="*/ 82 w 86"/>
                  <a:gd name="T99" fmla="*/ 38 h 90"/>
                  <a:gd name="T100" fmla="*/ 78 w 86"/>
                  <a:gd name="T101" fmla="*/ 32 h 90"/>
                  <a:gd name="T102" fmla="*/ 72 w 86"/>
                  <a:gd name="T103" fmla="*/ 26 h 90"/>
                  <a:gd name="T104" fmla="*/ 66 w 86"/>
                  <a:gd name="T105" fmla="*/ 20 h 90"/>
                  <a:gd name="T106" fmla="*/ 60 w 86"/>
                  <a:gd name="T107" fmla="*/ 14 h 90"/>
                  <a:gd name="T108" fmla="*/ 48 w 86"/>
                  <a:gd name="T109" fmla="*/ 8 h 90"/>
                  <a:gd name="T110" fmla="*/ 44 w 86"/>
                  <a:gd name="T111" fmla="*/ 4 h 90"/>
                  <a:gd name="T112" fmla="*/ 38 w 86"/>
                  <a:gd name="T113" fmla="*/ 2 h 90"/>
                  <a:gd name="T114" fmla="*/ 34 w 86"/>
                  <a:gd name="T115" fmla="*/ 0 h 90"/>
                  <a:gd name="T116" fmla="*/ 30 w 86"/>
                  <a:gd name="T1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 h="90">
                    <a:moveTo>
                      <a:pt x="30" y="0"/>
                    </a:moveTo>
                    <a:lnTo>
                      <a:pt x="30" y="0"/>
                    </a:lnTo>
                    <a:lnTo>
                      <a:pt x="28" y="2"/>
                    </a:lnTo>
                    <a:lnTo>
                      <a:pt x="28" y="2"/>
                    </a:lnTo>
                    <a:lnTo>
                      <a:pt x="26" y="2"/>
                    </a:lnTo>
                    <a:lnTo>
                      <a:pt x="26" y="4"/>
                    </a:lnTo>
                    <a:lnTo>
                      <a:pt x="24" y="4"/>
                    </a:lnTo>
                    <a:lnTo>
                      <a:pt x="24" y="6"/>
                    </a:lnTo>
                    <a:lnTo>
                      <a:pt x="22" y="8"/>
                    </a:lnTo>
                    <a:lnTo>
                      <a:pt x="20" y="14"/>
                    </a:lnTo>
                    <a:lnTo>
                      <a:pt x="18" y="16"/>
                    </a:lnTo>
                    <a:lnTo>
                      <a:pt x="16" y="18"/>
                    </a:lnTo>
                    <a:lnTo>
                      <a:pt x="14" y="20"/>
                    </a:lnTo>
                    <a:lnTo>
                      <a:pt x="12" y="22"/>
                    </a:lnTo>
                    <a:lnTo>
                      <a:pt x="8" y="26"/>
                    </a:lnTo>
                    <a:lnTo>
                      <a:pt x="6" y="30"/>
                    </a:lnTo>
                    <a:lnTo>
                      <a:pt x="4" y="32"/>
                    </a:lnTo>
                    <a:lnTo>
                      <a:pt x="4" y="32"/>
                    </a:lnTo>
                    <a:lnTo>
                      <a:pt x="2" y="34"/>
                    </a:lnTo>
                    <a:lnTo>
                      <a:pt x="2" y="34"/>
                    </a:lnTo>
                    <a:lnTo>
                      <a:pt x="2" y="36"/>
                    </a:lnTo>
                    <a:lnTo>
                      <a:pt x="0" y="38"/>
                    </a:lnTo>
                    <a:lnTo>
                      <a:pt x="0" y="40"/>
                    </a:lnTo>
                    <a:lnTo>
                      <a:pt x="0" y="44"/>
                    </a:lnTo>
                    <a:lnTo>
                      <a:pt x="0" y="46"/>
                    </a:lnTo>
                    <a:lnTo>
                      <a:pt x="2" y="50"/>
                    </a:lnTo>
                    <a:lnTo>
                      <a:pt x="2" y="52"/>
                    </a:lnTo>
                    <a:lnTo>
                      <a:pt x="2" y="54"/>
                    </a:lnTo>
                    <a:lnTo>
                      <a:pt x="2" y="54"/>
                    </a:lnTo>
                    <a:lnTo>
                      <a:pt x="4" y="56"/>
                    </a:lnTo>
                    <a:lnTo>
                      <a:pt x="4" y="56"/>
                    </a:lnTo>
                    <a:lnTo>
                      <a:pt x="4" y="56"/>
                    </a:lnTo>
                    <a:lnTo>
                      <a:pt x="6" y="56"/>
                    </a:lnTo>
                    <a:lnTo>
                      <a:pt x="6" y="56"/>
                    </a:lnTo>
                    <a:lnTo>
                      <a:pt x="8" y="56"/>
                    </a:lnTo>
                    <a:lnTo>
                      <a:pt x="10" y="56"/>
                    </a:lnTo>
                    <a:lnTo>
                      <a:pt x="12" y="56"/>
                    </a:lnTo>
                    <a:lnTo>
                      <a:pt x="16" y="56"/>
                    </a:lnTo>
                    <a:lnTo>
                      <a:pt x="18" y="54"/>
                    </a:lnTo>
                    <a:lnTo>
                      <a:pt x="20" y="54"/>
                    </a:lnTo>
                    <a:lnTo>
                      <a:pt x="20" y="56"/>
                    </a:lnTo>
                    <a:lnTo>
                      <a:pt x="22" y="56"/>
                    </a:lnTo>
                    <a:lnTo>
                      <a:pt x="22" y="56"/>
                    </a:lnTo>
                    <a:lnTo>
                      <a:pt x="22" y="56"/>
                    </a:lnTo>
                    <a:lnTo>
                      <a:pt x="22" y="56"/>
                    </a:lnTo>
                    <a:lnTo>
                      <a:pt x="22" y="58"/>
                    </a:lnTo>
                    <a:lnTo>
                      <a:pt x="22" y="58"/>
                    </a:lnTo>
                    <a:lnTo>
                      <a:pt x="22" y="60"/>
                    </a:lnTo>
                    <a:lnTo>
                      <a:pt x="22" y="62"/>
                    </a:lnTo>
                    <a:lnTo>
                      <a:pt x="20" y="66"/>
                    </a:lnTo>
                    <a:lnTo>
                      <a:pt x="20" y="66"/>
                    </a:lnTo>
                    <a:lnTo>
                      <a:pt x="20" y="68"/>
                    </a:lnTo>
                    <a:lnTo>
                      <a:pt x="20" y="68"/>
                    </a:lnTo>
                    <a:lnTo>
                      <a:pt x="20" y="70"/>
                    </a:lnTo>
                    <a:lnTo>
                      <a:pt x="20" y="72"/>
                    </a:lnTo>
                    <a:lnTo>
                      <a:pt x="20" y="74"/>
                    </a:lnTo>
                    <a:lnTo>
                      <a:pt x="20" y="76"/>
                    </a:lnTo>
                    <a:lnTo>
                      <a:pt x="22" y="78"/>
                    </a:lnTo>
                    <a:lnTo>
                      <a:pt x="22" y="80"/>
                    </a:lnTo>
                    <a:lnTo>
                      <a:pt x="24" y="82"/>
                    </a:lnTo>
                    <a:lnTo>
                      <a:pt x="24" y="82"/>
                    </a:lnTo>
                    <a:lnTo>
                      <a:pt x="24" y="84"/>
                    </a:lnTo>
                    <a:lnTo>
                      <a:pt x="26" y="84"/>
                    </a:lnTo>
                    <a:lnTo>
                      <a:pt x="28" y="86"/>
                    </a:lnTo>
                    <a:lnTo>
                      <a:pt x="30" y="86"/>
                    </a:lnTo>
                    <a:lnTo>
                      <a:pt x="34" y="88"/>
                    </a:lnTo>
                    <a:lnTo>
                      <a:pt x="36" y="88"/>
                    </a:lnTo>
                    <a:lnTo>
                      <a:pt x="40" y="90"/>
                    </a:lnTo>
                    <a:lnTo>
                      <a:pt x="42" y="90"/>
                    </a:lnTo>
                    <a:lnTo>
                      <a:pt x="46" y="90"/>
                    </a:lnTo>
                    <a:lnTo>
                      <a:pt x="50" y="90"/>
                    </a:lnTo>
                    <a:lnTo>
                      <a:pt x="52" y="90"/>
                    </a:lnTo>
                    <a:lnTo>
                      <a:pt x="56" y="90"/>
                    </a:lnTo>
                    <a:lnTo>
                      <a:pt x="60" y="90"/>
                    </a:lnTo>
                    <a:lnTo>
                      <a:pt x="62" y="90"/>
                    </a:lnTo>
                    <a:lnTo>
                      <a:pt x="64" y="90"/>
                    </a:lnTo>
                    <a:lnTo>
                      <a:pt x="68" y="90"/>
                    </a:lnTo>
                    <a:lnTo>
                      <a:pt x="70" y="88"/>
                    </a:lnTo>
                    <a:lnTo>
                      <a:pt x="70" y="88"/>
                    </a:lnTo>
                    <a:lnTo>
                      <a:pt x="72" y="88"/>
                    </a:lnTo>
                    <a:lnTo>
                      <a:pt x="72" y="86"/>
                    </a:lnTo>
                    <a:lnTo>
                      <a:pt x="74" y="86"/>
                    </a:lnTo>
                    <a:lnTo>
                      <a:pt x="76" y="84"/>
                    </a:lnTo>
                    <a:lnTo>
                      <a:pt x="76" y="80"/>
                    </a:lnTo>
                    <a:lnTo>
                      <a:pt x="78" y="78"/>
                    </a:lnTo>
                    <a:lnTo>
                      <a:pt x="80" y="76"/>
                    </a:lnTo>
                    <a:lnTo>
                      <a:pt x="82" y="74"/>
                    </a:lnTo>
                    <a:lnTo>
                      <a:pt x="82" y="70"/>
                    </a:lnTo>
                    <a:lnTo>
                      <a:pt x="84" y="68"/>
                    </a:lnTo>
                    <a:lnTo>
                      <a:pt x="84" y="64"/>
                    </a:lnTo>
                    <a:lnTo>
                      <a:pt x="84" y="60"/>
                    </a:lnTo>
                    <a:lnTo>
                      <a:pt x="84" y="58"/>
                    </a:lnTo>
                    <a:lnTo>
                      <a:pt x="86" y="54"/>
                    </a:lnTo>
                    <a:lnTo>
                      <a:pt x="86" y="50"/>
                    </a:lnTo>
                    <a:lnTo>
                      <a:pt x="86" y="46"/>
                    </a:lnTo>
                    <a:lnTo>
                      <a:pt x="84" y="44"/>
                    </a:lnTo>
                    <a:lnTo>
                      <a:pt x="84" y="44"/>
                    </a:lnTo>
                    <a:lnTo>
                      <a:pt x="84" y="42"/>
                    </a:lnTo>
                    <a:lnTo>
                      <a:pt x="84" y="40"/>
                    </a:lnTo>
                    <a:lnTo>
                      <a:pt x="82" y="38"/>
                    </a:lnTo>
                    <a:lnTo>
                      <a:pt x="80" y="34"/>
                    </a:lnTo>
                    <a:lnTo>
                      <a:pt x="78" y="32"/>
                    </a:lnTo>
                    <a:lnTo>
                      <a:pt x="74" y="28"/>
                    </a:lnTo>
                    <a:lnTo>
                      <a:pt x="72" y="26"/>
                    </a:lnTo>
                    <a:lnTo>
                      <a:pt x="70" y="22"/>
                    </a:lnTo>
                    <a:lnTo>
                      <a:pt x="66" y="20"/>
                    </a:lnTo>
                    <a:lnTo>
                      <a:pt x="64" y="18"/>
                    </a:lnTo>
                    <a:lnTo>
                      <a:pt x="60" y="14"/>
                    </a:lnTo>
                    <a:lnTo>
                      <a:pt x="54" y="10"/>
                    </a:lnTo>
                    <a:lnTo>
                      <a:pt x="48" y="8"/>
                    </a:lnTo>
                    <a:lnTo>
                      <a:pt x="46" y="6"/>
                    </a:lnTo>
                    <a:lnTo>
                      <a:pt x="44" y="4"/>
                    </a:lnTo>
                    <a:lnTo>
                      <a:pt x="40" y="2"/>
                    </a:lnTo>
                    <a:lnTo>
                      <a:pt x="38" y="2"/>
                    </a:lnTo>
                    <a:lnTo>
                      <a:pt x="36" y="2"/>
                    </a:lnTo>
                    <a:lnTo>
                      <a:pt x="34" y="0"/>
                    </a:lnTo>
                    <a:lnTo>
                      <a:pt x="32" y="0"/>
                    </a:lnTo>
                    <a:lnTo>
                      <a:pt x="30" y="0"/>
                    </a:lnTo>
                    <a:lnTo>
                      <a:pt x="3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95" name="Freeform 579"/>
              <p:cNvSpPr>
                <a:spLocks/>
              </p:cNvSpPr>
              <p:nvPr/>
            </p:nvSpPr>
            <p:spPr bwMode="auto">
              <a:xfrm>
                <a:off x="2595853" y="2114717"/>
                <a:ext cx="561975" cy="323850"/>
              </a:xfrm>
              <a:custGeom>
                <a:avLst/>
                <a:gdLst>
                  <a:gd name="T0" fmla="*/ 32 w 354"/>
                  <a:gd name="T1" fmla="*/ 50 h 204"/>
                  <a:gd name="T2" fmla="*/ 48 w 354"/>
                  <a:gd name="T3" fmla="*/ 70 h 204"/>
                  <a:gd name="T4" fmla="*/ 84 w 354"/>
                  <a:gd name="T5" fmla="*/ 82 h 204"/>
                  <a:gd name="T6" fmla="*/ 108 w 354"/>
                  <a:gd name="T7" fmla="*/ 72 h 204"/>
                  <a:gd name="T8" fmla="*/ 144 w 354"/>
                  <a:gd name="T9" fmla="*/ 62 h 204"/>
                  <a:gd name="T10" fmla="*/ 150 w 354"/>
                  <a:gd name="T11" fmla="*/ 62 h 204"/>
                  <a:gd name="T12" fmla="*/ 148 w 354"/>
                  <a:gd name="T13" fmla="*/ 78 h 204"/>
                  <a:gd name="T14" fmla="*/ 118 w 354"/>
                  <a:gd name="T15" fmla="*/ 84 h 204"/>
                  <a:gd name="T16" fmla="*/ 98 w 354"/>
                  <a:gd name="T17" fmla="*/ 92 h 204"/>
                  <a:gd name="T18" fmla="*/ 98 w 354"/>
                  <a:gd name="T19" fmla="*/ 98 h 204"/>
                  <a:gd name="T20" fmla="*/ 112 w 354"/>
                  <a:gd name="T21" fmla="*/ 102 h 204"/>
                  <a:gd name="T22" fmla="*/ 110 w 354"/>
                  <a:gd name="T23" fmla="*/ 106 h 204"/>
                  <a:gd name="T24" fmla="*/ 84 w 354"/>
                  <a:gd name="T25" fmla="*/ 104 h 204"/>
                  <a:gd name="T26" fmla="*/ 68 w 354"/>
                  <a:gd name="T27" fmla="*/ 92 h 204"/>
                  <a:gd name="T28" fmla="*/ 62 w 354"/>
                  <a:gd name="T29" fmla="*/ 98 h 204"/>
                  <a:gd name="T30" fmla="*/ 66 w 354"/>
                  <a:gd name="T31" fmla="*/ 116 h 204"/>
                  <a:gd name="T32" fmla="*/ 76 w 354"/>
                  <a:gd name="T33" fmla="*/ 130 h 204"/>
                  <a:gd name="T34" fmla="*/ 60 w 354"/>
                  <a:gd name="T35" fmla="*/ 142 h 204"/>
                  <a:gd name="T36" fmla="*/ 32 w 354"/>
                  <a:gd name="T37" fmla="*/ 162 h 204"/>
                  <a:gd name="T38" fmla="*/ 24 w 354"/>
                  <a:gd name="T39" fmla="*/ 176 h 204"/>
                  <a:gd name="T40" fmla="*/ 6 w 354"/>
                  <a:gd name="T41" fmla="*/ 170 h 204"/>
                  <a:gd name="T42" fmla="*/ 0 w 354"/>
                  <a:gd name="T43" fmla="*/ 172 h 204"/>
                  <a:gd name="T44" fmla="*/ 8 w 354"/>
                  <a:gd name="T45" fmla="*/ 188 h 204"/>
                  <a:gd name="T46" fmla="*/ 28 w 354"/>
                  <a:gd name="T47" fmla="*/ 198 h 204"/>
                  <a:gd name="T48" fmla="*/ 82 w 354"/>
                  <a:gd name="T49" fmla="*/ 204 h 204"/>
                  <a:gd name="T50" fmla="*/ 122 w 354"/>
                  <a:gd name="T51" fmla="*/ 196 h 204"/>
                  <a:gd name="T52" fmla="*/ 140 w 354"/>
                  <a:gd name="T53" fmla="*/ 180 h 204"/>
                  <a:gd name="T54" fmla="*/ 136 w 354"/>
                  <a:gd name="T55" fmla="*/ 170 h 204"/>
                  <a:gd name="T56" fmla="*/ 126 w 354"/>
                  <a:gd name="T57" fmla="*/ 156 h 204"/>
                  <a:gd name="T58" fmla="*/ 140 w 354"/>
                  <a:gd name="T59" fmla="*/ 150 h 204"/>
                  <a:gd name="T60" fmla="*/ 162 w 354"/>
                  <a:gd name="T61" fmla="*/ 144 h 204"/>
                  <a:gd name="T62" fmla="*/ 186 w 354"/>
                  <a:gd name="T63" fmla="*/ 118 h 204"/>
                  <a:gd name="T64" fmla="*/ 204 w 354"/>
                  <a:gd name="T65" fmla="*/ 98 h 204"/>
                  <a:gd name="T66" fmla="*/ 222 w 354"/>
                  <a:gd name="T67" fmla="*/ 98 h 204"/>
                  <a:gd name="T68" fmla="*/ 246 w 354"/>
                  <a:gd name="T69" fmla="*/ 100 h 204"/>
                  <a:gd name="T70" fmla="*/ 280 w 354"/>
                  <a:gd name="T71" fmla="*/ 76 h 204"/>
                  <a:gd name="T72" fmla="*/ 290 w 354"/>
                  <a:gd name="T73" fmla="*/ 58 h 204"/>
                  <a:gd name="T74" fmla="*/ 280 w 354"/>
                  <a:gd name="T75" fmla="*/ 44 h 204"/>
                  <a:gd name="T76" fmla="*/ 284 w 354"/>
                  <a:gd name="T77" fmla="*/ 38 h 204"/>
                  <a:gd name="T78" fmla="*/ 320 w 354"/>
                  <a:gd name="T79" fmla="*/ 36 h 204"/>
                  <a:gd name="T80" fmla="*/ 348 w 354"/>
                  <a:gd name="T81" fmla="*/ 28 h 204"/>
                  <a:gd name="T82" fmla="*/ 354 w 354"/>
                  <a:gd name="T83" fmla="*/ 20 h 204"/>
                  <a:gd name="T84" fmla="*/ 340 w 354"/>
                  <a:gd name="T85" fmla="*/ 6 h 204"/>
                  <a:gd name="T86" fmla="*/ 310 w 354"/>
                  <a:gd name="T87" fmla="*/ 4 h 204"/>
                  <a:gd name="T88" fmla="*/ 252 w 354"/>
                  <a:gd name="T89" fmla="*/ 0 h 204"/>
                  <a:gd name="T90" fmla="*/ 226 w 354"/>
                  <a:gd name="T91" fmla="*/ 4 h 204"/>
                  <a:gd name="T92" fmla="*/ 208 w 354"/>
                  <a:gd name="T93" fmla="*/ 22 h 204"/>
                  <a:gd name="T94" fmla="*/ 198 w 354"/>
                  <a:gd name="T95" fmla="*/ 16 h 204"/>
                  <a:gd name="T96" fmla="*/ 184 w 354"/>
                  <a:gd name="T97" fmla="*/ 2 h 204"/>
                  <a:gd name="T98" fmla="*/ 182 w 354"/>
                  <a:gd name="T99" fmla="*/ 10 h 204"/>
                  <a:gd name="T100" fmla="*/ 172 w 354"/>
                  <a:gd name="T101" fmla="*/ 14 h 204"/>
                  <a:gd name="T102" fmla="*/ 140 w 354"/>
                  <a:gd name="T103" fmla="*/ 8 h 204"/>
                  <a:gd name="T104" fmla="*/ 126 w 354"/>
                  <a:gd name="T105" fmla="*/ 24 h 204"/>
                  <a:gd name="T106" fmla="*/ 108 w 354"/>
                  <a:gd name="T107" fmla="*/ 34 h 204"/>
                  <a:gd name="T108" fmla="*/ 94 w 354"/>
                  <a:gd name="T109" fmla="*/ 28 h 204"/>
                  <a:gd name="T110" fmla="*/ 86 w 354"/>
                  <a:gd name="T111" fmla="*/ 18 h 204"/>
                  <a:gd name="T112" fmla="*/ 66 w 354"/>
                  <a:gd name="T113" fmla="*/ 24 h 204"/>
                  <a:gd name="T114" fmla="*/ 60 w 354"/>
                  <a:gd name="T115" fmla="*/ 34 h 204"/>
                  <a:gd name="T116" fmla="*/ 42 w 354"/>
                  <a:gd name="T117" fmla="*/ 36 h 204"/>
                  <a:gd name="T118" fmla="*/ 28 w 354"/>
                  <a:gd name="T119" fmla="*/ 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4" h="204">
                    <a:moveTo>
                      <a:pt x="28" y="40"/>
                    </a:moveTo>
                    <a:lnTo>
                      <a:pt x="28" y="40"/>
                    </a:lnTo>
                    <a:lnTo>
                      <a:pt x="28" y="40"/>
                    </a:lnTo>
                    <a:lnTo>
                      <a:pt x="28" y="42"/>
                    </a:lnTo>
                    <a:lnTo>
                      <a:pt x="28" y="42"/>
                    </a:lnTo>
                    <a:lnTo>
                      <a:pt x="28" y="44"/>
                    </a:lnTo>
                    <a:lnTo>
                      <a:pt x="28" y="46"/>
                    </a:lnTo>
                    <a:lnTo>
                      <a:pt x="30" y="48"/>
                    </a:lnTo>
                    <a:lnTo>
                      <a:pt x="32" y="50"/>
                    </a:lnTo>
                    <a:lnTo>
                      <a:pt x="32" y="52"/>
                    </a:lnTo>
                    <a:lnTo>
                      <a:pt x="34" y="54"/>
                    </a:lnTo>
                    <a:lnTo>
                      <a:pt x="38" y="58"/>
                    </a:lnTo>
                    <a:lnTo>
                      <a:pt x="40" y="62"/>
                    </a:lnTo>
                    <a:lnTo>
                      <a:pt x="42" y="64"/>
                    </a:lnTo>
                    <a:lnTo>
                      <a:pt x="44" y="66"/>
                    </a:lnTo>
                    <a:lnTo>
                      <a:pt x="46" y="68"/>
                    </a:lnTo>
                    <a:lnTo>
                      <a:pt x="48" y="70"/>
                    </a:lnTo>
                    <a:lnTo>
                      <a:pt x="48" y="70"/>
                    </a:lnTo>
                    <a:lnTo>
                      <a:pt x="50" y="72"/>
                    </a:lnTo>
                    <a:lnTo>
                      <a:pt x="54" y="72"/>
                    </a:lnTo>
                    <a:lnTo>
                      <a:pt x="60" y="74"/>
                    </a:lnTo>
                    <a:lnTo>
                      <a:pt x="66" y="76"/>
                    </a:lnTo>
                    <a:lnTo>
                      <a:pt x="72" y="80"/>
                    </a:lnTo>
                    <a:lnTo>
                      <a:pt x="76" y="80"/>
                    </a:lnTo>
                    <a:lnTo>
                      <a:pt x="80" y="82"/>
                    </a:lnTo>
                    <a:lnTo>
                      <a:pt x="82" y="82"/>
                    </a:lnTo>
                    <a:lnTo>
                      <a:pt x="84" y="82"/>
                    </a:lnTo>
                    <a:lnTo>
                      <a:pt x="86" y="82"/>
                    </a:lnTo>
                    <a:lnTo>
                      <a:pt x="86" y="82"/>
                    </a:lnTo>
                    <a:lnTo>
                      <a:pt x="88" y="82"/>
                    </a:lnTo>
                    <a:lnTo>
                      <a:pt x="90" y="82"/>
                    </a:lnTo>
                    <a:lnTo>
                      <a:pt x="94" y="80"/>
                    </a:lnTo>
                    <a:lnTo>
                      <a:pt x="96" y="78"/>
                    </a:lnTo>
                    <a:lnTo>
                      <a:pt x="102" y="74"/>
                    </a:lnTo>
                    <a:lnTo>
                      <a:pt x="106" y="74"/>
                    </a:lnTo>
                    <a:lnTo>
                      <a:pt x="108" y="72"/>
                    </a:lnTo>
                    <a:lnTo>
                      <a:pt x="112" y="72"/>
                    </a:lnTo>
                    <a:lnTo>
                      <a:pt x="114" y="70"/>
                    </a:lnTo>
                    <a:lnTo>
                      <a:pt x="124" y="68"/>
                    </a:lnTo>
                    <a:lnTo>
                      <a:pt x="132" y="66"/>
                    </a:lnTo>
                    <a:lnTo>
                      <a:pt x="136" y="66"/>
                    </a:lnTo>
                    <a:lnTo>
                      <a:pt x="138" y="64"/>
                    </a:lnTo>
                    <a:lnTo>
                      <a:pt x="140" y="64"/>
                    </a:lnTo>
                    <a:lnTo>
                      <a:pt x="140" y="64"/>
                    </a:lnTo>
                    <a:lnTo>
                      <a:pt x="144" y="62"/>
                    </a:lnTo>
                    <a:lnTo>
                      <a:pt x="144" y="60"/>
                    </a:lnTo>
                    <a:lnTo>
                      <a:pt x="146" y="60"/>
                    </a:lnTo>
                    <a:lnTo>
                      <a:pt x="146" y="60"/>
                    </a:lnTo>
                    <a:lnTo>
                      <a:pt x="148" y="60"/>
                    </a:lnTo>
                    <a:lnTo>
                      <a:pt x="148" y="60"/>
                    </a:lnTo>
                    <a:lnTo>
                      <a:pt x="148" y="60"/>
                    </a:lnTo>
                    <a:lnTo>
                      <a:pt x="148" y="60"/>
                    </a:lnTo>
                    <a:lnTo>
                      <a:pt x="150" y="60"/>
                    </a:lnTo>
                    <a:lnTo>
                      <a:pt x="150" y="62"/>
                    </a:lnTo>
                    <a:lnTo>
                      <a:pt x="150" y="62"/>
                    </a:lnTo>
                    <a:lnTo>
                      <a:pt x="150" y="64"/>
                    </a:lnTo>
                    <a:lnTo>
                      <a:pt x="150" y="66"/>
                    </a:lnTo>
                    <a:lnTo>
                      <a:pt x="150" y="68"/>
                    </a:lnTo>
                    <a:lnTo>
                      <a:pt x="150" y="70"/>
                    </a:lnTo>
                    <a:lnTo>
                      <a:pt x="150" y="74"/>
                    </a:lnTo>
                    <a:lnTo>
                      <a:pt x="150" y="76"/>
                    </a:lnTo>
                    <a:lnTo>
                      <a:pt x="148" y="76"/>
                    </a:lnTo>
                    <a:lnTo>
                      <a:pt x="148" y="78"/>
                    </a:lnTo>
                    <a:lnTo>
                      <a:pt x="148" y="78"/>
                    </a:lnTo>
                    <a:lnTo>
                      <a:pt x="146" y="80"/>
                    </a:lnTo>
                    <a:lnTo>
                      <a:pt x="144" y="80"/>
                    </a:lnTo>
                    <a:lnTo>
                      <a:pt x="142" y="80"/>
                    </a:lnTo>
                    <a:lnTo>
                      <a:pt x="140" y="82"/>
                    </a:lnTo>
                    <a:lnTo>
                      <a:pt x="138" y="82"/>
                    </a:lnTo>
                    <a:lnTo>
                      <a:pt x="132" y="82"/>
                    </a:lnTo>
                    <a:lnTo>
                      <a:pt x="124" y="84"/>
                    </a:lnTo>
                    <a:lnTo>
                      <a:pt x="118" y="84"/>
                    </a:lnTo>
                    <a:lnTo>
                      <a:pt x="118" y="84"/>
                    </a:lnTo>
                    <a:lnTo>
                      <a:pt x="116" y="84"/>
                    </a:lnTo>
                    <a:lnTo>
                      <a:pt x="114" y="86"/>
                    </a:lnTo>
                    <a:lnTo>
                      <a:pt x="110" y="86"/>
                    </a:lnTo>
                    <a:lnTo>
                      <a:pt x="106" y="88"/>
                    </a:lnTo>
                    <a:lnTo>
                      <a:pt x="104" y="88"/>
                    </a:lnTo>
                    <a:lnTo>
                      <a:pt x="100" y="90"/>
                    </a:lnTo>
                    <a:lnTo>
                      <a:pt x="98" y="90"/>
                    </a:lnTo>
                    <a:lnTo>
                      <a:pt x="98" y="92"/>
                    </a:lnTo>
                    <a:lnTo>
                      <a:pt x="96" y="92"/>
                    </a:lnTo>
                    <a:lnTo>
                      <a:pt x="96" y="92"/>
                    </a:lnTo>
                    <a:lnTo>
                      <a:pt x="96" y="94"/>
                    </a:lnTo>
                    <a:lnTo>
                      <a:pt x="96" y="94"/>
                    </a:lnTo>
                    <a:lnTo>
                      <a:pt x="96" y="96"/>
                    </a:lnTo>
                    <a:lnTo>
                      <a:pt x="96" y="96"/>
                    </a:lnTo>
                    <a:lnTo>
                      <a:pt x="96" y="96"/>
                    </a:lnTo>
                    <a:lnTo>
                      <a:pt x="98" y="98"/>
                    </a:lnTo>
                    <a:lnTo>
                      <a:pt x="98" y="98"/>
                    </a:lnTo>
                    <a:lnTo>
                      <a:pt x="100" y="98"/>
                    </a:lnTo>
                    <a:lnTo>
                      <a:pt x="102" y="98"/>
                    </a:lnTo>
                    <a:lnTo>
                      <a:pt x="104" y="98"/>
                    </a:lnTo>
                    <a:lnTo>
                      <a:pt x="108" y="100"/>
                    </a:lnTo>
                    <a:lnTo>
                      <a:pt x="110" y="100"/>
                    </a:lnTo>
                    <a:lnTo>
                      <a:pt x="110" y="100"/>
                    </a:lnTo>
                    <a:lnTo>
                      <a:pt x="112" y="100"/>
                    </a:lnTo>
                    <a:lnTo>
                      <a:pt x="112" y="102"/>
                    </a:lnTo>
                    <a:lnTo>
                      <a:pt x="112" y="102"/>
                    </a:lnTo>
                    <a:lnTo>
                      <a:pt x="114" y="102"/>
                    </a:lnTo>
                    <a:lnTo>
                      <a:pt x="114" y="102"/>
                    </a:lnTo>
                    <a:lnTo>
                      <a:pt x="114" y="102"/>
                    </a:lnTo>
                    <a:lnTo>
                      <a:pt x="112" y="104"/>
                    </a:lnTo>
                    <a:lnTo>
                      <a:pt x="112" y="104"/>
                    </a:lnTo>
                    <a:lnTo>
                      <a:pt x="112" y="104"/>
                    </a:lnTo>
                    <a:lnTo>
                      <a:pt x="112" y="104"/>
                    </a:lnTo>
                    <a:lnTo>
                      <a:pt x="110" y="106"/>
                    </a:lnTo>
                    <a:lnTo>
                      <a:pt x="110" y="106"/>
                    </a:lnTo>
                    <a:lnTo>
                      <a:pt x="108" y="106"/>
                    </a:lnTo>
                    <a:lnTo>
                      <a:pt x="106" y="106"/>
                    </a:lnTo>
                    <a:lnTo>
                      <a:pt x="104" y="106"/>
                    </a:lnTo>
                    <a:lnTo>
                      <a:pt x="102" y="106"/>
                    </a:lnTo>
                    <a:lnTo>
                      <a:pt x="98" y="106"/>
                    </a:lnTo>
                    <a:lnTo>
                      <a:pt x="96" y="106"/>
                    </a:lnTo>
                    <a:lnTo>
                      <a:pt x="94" y="106"/>
                    </a:lnTo>
                    <a:lnTo>
                      <a:pt x="88" y="104"/>
                    </a:lnTo>
                    <a:lnTo>
                      <a:pt x="84" y="104"/>
                    </a:lnTo>
                    <a:lnTo>
                      <a:pt x="80" y="102"/>
                    </a:lnTo>
                    <a:lnTo>
                      <a:pt x="80" y="102"/>
                    </a:lnTo>
                    <a:lnTo>
                      <a:pt x="78" y="102"/>
                    </a:lnTo>
                    <a:lnTo>
                      <a:pt x="76" y="100"/>
                    </a:lnTo>
                    <a:lnTo>
                      <a:pt x="72" y="96"/>
                    </a:lnTo>
                    <a:lnTo>
                      <a:pt x="70" y="94"/>
                    </a:lnTo>
                    <a:lnTo>
                      <a:pt x="70" y="94"/>
                    </a:lnTo>
                    <a:lnTo>
                      <a:pt x="68" y="94"/>
                    </a:lnTo>
                    <a:lnTo>
                      <a:pt x="68" y="92"/>
                    </a:lnTo>
                    <a:lnTo>
                      <a:pt x="66" y="92"/>
                    </a:lnTo>
                    <a:lnTo>
                      <a:pt x="66" y="92"/>
                    </a:lnTo>
                    <a:lnTo>
                      <a:pt x="66" y="92"/>
                    </a:lnTo>
                    <a:lnTo>
                      <a:pt x="64" y="92"/>
                    </a:lnTo>
                    <a:lnTo>
                      <a:pt x="64" y="94"/>
                    </a:lnTo>
                    <a:lnTo>
                      <a:pt x="64" y="94"/>
                    </a:lnTo>
                    <a:lnTo>
                      <a:pt x="62" y="96"/>
                    </a:lnTo>
                    <a:lnTo>
                      <a:pt x="62" y="98"/>
                    </a:lnTo>
                    <a:lnTo>
                      <a:pt x="62" y="98"/>
                    </a:lnTo>
                    <a:lnTo>
                      <a:pt x="62" y="102"/>
                    </a:lnTo>
                    <a:lnTo>
                      <a:pt x="62" y="104"/>
                    </a:lnTo>
                    <a:lnTo>
                      <a:pt x="62" y="108"/>
                    </a:lnTo>
                    <a:lnTo>
                      <a:pt x="62" y="110"/>
                    </a:lnTo>
                    <a:lnTo>
                      <a:pt x="62" y="112"/>
                    </a:lnTo>
                    <a:lnTo>
                      <a:pt x="62" y="114"/>
                    </a:lnTo>
                    <a:lnTo>
                      <a:pt x="64" y="114"/>
                    </a:lnTo>
                    <a:lnTo>
                      <a:pt x="64" y="116"/>
                    </a:lnTo>
                    <a:lnTo>
                      <a:pt x="66" y="116"/>
                    </a:lnTo>
                    <a:lnTo>
                      <a:pt x="68" y="120"/>
                    </a:lnTo>
                    <a:lnTo>
                      <a:pt x="70" y="122"/>
                    </a:lnTo>
                    <a:lnTo>
                      <a:pt x="72" y="124"/>
                    </a:lnTo>
                    <a:lnTo>
                      <a:pt x="72" y="124"/>
                    </a:lnTo>
                    <a:lnTo>
                      <a:pt x="74" y="126"/>
                    </a:lnTo>
                    <a:lnTo>
                      <a:pt x="74" y="126"/>
                    </a:lnTo>
                    <a:lnTo>
                      <a:pt x="74" y="128"/>
                    </a:lnTo>
                    <a:lnTo>
                      <a:pt x="76" y="130"/>
                    </a:lnTo>
                    <a:lnTo>
                      <a:pt x="76" y="130"/>
                    </a:lnTo>
                    <a:lnTo>
                      <a:pt x="76" y="132"/>
                    </a:lnTo>
                    <a:lnTo>
                      <a:pt x="74" y="132"/>
                    </a:lnTo>
                    <a:lnTo>
                      <a:pt x="74" y="132"/>
                    </a:lnTo>
                    <a:lnTo>
                      <a:pt x="74" y="134"/>
                    </a:lnTo>
                    <a:lnTo>
                      <a:pt x="72" y="136"/>
                    </a:lnTo>
                    <a:lnTo>
                      <a:pt x="68" y="138"/>
                    </a:lnTo>
                    <a:lnTo>
                      <a:pt x="64" y="140"/>
                    </a:lnTo>
                    <a:lnTo>
                      <a:pt x="62" y="142"/>
                    </a:lnTo>
                    <a:lnTo>
                      <a:pt x="60" y="142"/>
                    </a:lnTo>
                    <a:lnTo>
                      <a:pt x="54" y="148"/>
                    </a:lnTo>
                    <a:lnTo>
                      <a:pt x="50" y="150"/>
                    </a:lnTo>
                    <a:lnTo>
                      <a:pt x="48" y="152"/>
                    </a:lnTo>
                    <a:lnTo>
                      <a:pt x="46" y="154"/>
                    </a:lnTo>
                    <a:lnTo>
                      <a:pt x="44" y="156"/>
                    </a:lnTo>
                    <a:lnTo>
                      <a:pt x="40" y="158"/>
                    </a:lnTo>
                    <a:lnTo>
                      <a:pt x="36" y="160"/>
                    </a:lnTo>
                    <a:lnTo>
                      <a:pt x="34" y="162"/>
                    </a:lnTo>
                    <a:lnTo>
                      <a:pt x="32" y="162"/>
                    </a:lnTo>
                    <a:lnTo>
                      <a:pt x="32" y="164"/>
                    </a:lnTo>
                    <a:lnTo>
                      <a:pt x="30" y="166"/>
                    </a:lnTo>
                    <a:lnTo>
                      <a:pt x="30" y="170"/>
                    </a:lnTo>
                    <a:lnTo>
                      <a:pt x="28" y="172"/>
                    </a:lnTo>
                    <a:lnTo>
                      <a:pt x="28" y="174"/>
                    </a:lnTo>
                    <a:lnTo>
                      <a:pt x="26" y="174"/>
                    </a:lnTo>
                    <a:lnTo>
                      <a:pt x="26" y="176"/>
                    </a:lnTo>
                    <a:lnTo>
                      <a:pt x="24" y="176"/>
                    </a:lnTo>
                    <a:lnTo>
                      <a:pt x="24" y="176"/>
                    </a:lnTo>
                    <a:lnTo>
                      <a:pt x="24" y="176"/>
                    </a:lnTo>
                    <a:lnTo>
                      <a:pt x="22" y="176"/>
                    </a:lnTo>
                    <a:lnTo>
                      <a:pt x="20" y="176"/>
                    </a:lnTo>
                    <a:lnTo>
                      <a:pt x="18" y="176"/>
                    </a:lnTo>
                    <a:lnTo>
                      <a:pt x="18" y="174"/>
                    </a:lnTo>
                    <a:lnTo>
                      <a:pt x="16" y="174"/>
                    </a:lnTo>
                    <a:lnTo>
                      <a:pt x="12" y="172"/>
                    </a:lnTo>
                    <a:lnTo>
                      <a:pt x="8" y="170"/>
                    </a:lnTo>
                    <a:lnTo>
                      <a:pt x="6" y="170"/>
                    </a:lnTo>
                    <a:lnTo>
                      <a:pt x="4" y="170"/>
                    </a:lnTo>
                    <a:lnTo>
                      <a:pt x="2" y="170"/>
                    </a:lnTo>
                    <a:lnTo>
                      <a:pt x="2" y="170"/>
                    </a:lnTo>
                    <a:lnTo>
                      <a:pt x="2" y="170"/>
                    </a:lnTo>
                    <a:lnTo>
                      <a:pt x="0" y="170"/>
                    </a:lnTo>
                    <a:lnTo>
                      <a:pt x="0" y="170"/>
                    </a:lnTo>
                    <a:lnTo>
                      <a:pt x="0" y="170"/>
                    </a:lnTo>
                    <a:lnTo>
                      <a:pt x="0" y="170"/>
                    </a:lnTo>
                    <a:lnTo>
                      <a:pt x="0" y="172"/>
                    </a:lnTo>
                    <a:lnTo>
                      <a:pt x="0" y="172"/>
                    </a:lnTo>
                    <a:lnTo>
                      <a:pt x="0" y="174"/>
                    </a:lnTo>
                    <a:lnTo>
                      <a:pt x="0" y="176"/>
                    </a:lnTo>
                    <a:lnTo>
                      <a:pt x="0" y="178"/>
                    </a:lnTo>
                    <a:lnTo>
                      <a:pt x="0" y="180"/>
                    </a:lnTo>
                    <a:lnTo>
                      <a:pt x="2" y="180"/>
                    </a:lnTo>
                    <a:lnTo>
                      <a:pt x="2" y="182"/>
                    </a:lnTo>
                    <a:lnTo>
                      <a:pt x="6" y="186"/>
                    </a:lnTo>
                    <a:lnTo>
                      <a:pt x="8" y="188"/>
                    </a:lnTo>
                    <a:lnTo>
                      <a:pt x="10" y="192"/>
                    </a:lnTo>
                    <a:lnTo>
                      <a:pt x="12" y="192"/>
                    </a:lnTo>
                    <a:lnTo>
                      <a:pt x="12" y="194"/>
                    </a:lnTo>
                    <a:lnTo>
                      <a:pt x="14" y="194"/>
                    </a:lnTo>
                    <a:lnTo>
                      <a:pt x="16" y="194"/>
                    </a:lnTo>
                    <a:lnTo>
                      <a:pt x="18" y="196"/>
                    </a:lnTo>
                    <a:lnTo>
                      <a:pt x="18" y="196"/>
                    </a:lnTo>
                    <a:lnTo>
                      <a:pt x="22" y="198"/>
                    </a:lnTo>
                    <a:lnTo>
                      <a:pt x="28" y="198"/>
                    </a:lnTo>
                    <a:lnTo>
                      <a:pt x="32" y="200"/>
                    </a:lnTo>
                    <a:lnTo>
                      <a:pt x="36" y="200"/>
                    </a:lnTo>
                    <a:lnTo>
                      <a:pt x="42" y="202"/>
                    </a:lnTo>
                    <a:lnTo>
                      <a:pt x="46" y="202"/>
                    </a:lnTo>
                    <a:lnTo>
                      <a:pt x="52" y="202"/>
                    </a:lnTo>
                    <a:lnTo>
                      <a:pt x="56" y="202"/>
                    </a:lnTo>
                    <a:lnTo>
                      <a:pt x="66" y="204"/>
                    </a:lnTo>
                    <a:lnTo>
                      <a:pt x="76" y="204"/>
                    </a:lnTo>
                    <a:lnTo>
                      <a:pt x="82" y="204"/>
                    </a:lnTo>
                    <a:lnTo>
                      <a:pt x="88" y="204"/>
                    </a:lnTo>
                    <a:lnTo>
                      <a:pt x="92" y="202"/>
                    </a:lnTo>
                    <a:lnTo>
                      <a:pt x="98" y="202"/>
                    </a:lnTo>
                    <a:lnTo>
                      <a:pt x="104" y="202"/>
                    </a:lnTo>
                    <a:lnTo>
                      <a:pt x="110" y="200"/>
                    </a:lnTo>
                    <a:lnTo>
                      <a:pt x="114" y="198"/>
                    </a:lnTo>
                    <a:lnTo>
                      <a:pt x="116" y="198"/>
                    </a:lnTo>
                    <a:lnTo>
                      <a:pt x="120" y="198"/>
                    </a:lnTo>
                    <a:lnTo>
                      <a:pt x="122" y="196"/>
                    </a:lnTo>
                    <a:lnTo>
                      <a:pt x="124" y="196"/>
                    </a:lnTo>
                    <a:lnTo>
                      <a:pt x="126" y="194"/>
                    </a:lnTo>
                    <a:lnTo>
                      <a:pt x="128" y="192"/>
                    </a:lnTo>
                    <a:lnTo>
                      <a:pt x="132" y="190"/>
                    </a:lnTo>
                    <a:lnTo>
                      <a:pt x="134" y="186"/>
                    </a:lnTo>
                    <a:lnTo>
                      <a:pt x="136" y="184"/>
                    </a:lnTo>
                    <a:lnTo>
                      <a:pt x="138" y="182"/>
                    </a:lnTo>
                    <a:lnTo>
                      <a:pt x="138" y="180"/>
                    </a:lnTo>
                    <a:lnTo>
                      <a:pt x="140" y="180"/>
                    </a:lnTo>
                    <a:lnTo>
                      <a:pt x="140" y="178"/>
                    </a:lnTo>
                    <a:lnTo>
                      <a:pt x="140" y="176"/>
                    </a:lnTo>
                    <a:lnTo>
                      <a:pt x="140" y="176"/>
                    </a:lnTo>
                    <a:lnTo>
                      <a:pt x="140" y="174"/>
                    </a:lnTo>
                    <a:lnTo>
                      <a:pt x="140" y="174"/>
                    </a:lnTo>
                    <a:lnTo>
                      <a:pt x="140" y="174"/>
                    </a:lnTo>
                    <a:lnTo>
                      <a:pt x="140" y="172"/>
                    </a:lnTo>
                    <a:lnTo>
                      <a:pt x="138" y="170"/>
                    </a:lnTo>
                    <a:lnTo>
                      <a:pt x="136" y="170"/>
                    </a:lnTo>
                    <a:lnTo>
                      <a:pt x="136" y="168"/>
                    </a:lnTo>
                    <a:lnTo>
                      <a:pt x="132" y="166"/>
                    </a:lnTo>
                    <a:lnTo>
                      <a:pt x="130" y="162"/>
                    </a:lnTo>
                    <a:lnTo>
                      <a:pt x="128" y="162"/>
                    </a:lnTo>
                    <a:lnTo>
                      <a:pt x="128" y="160"/>
                    </a:lnTo>
                    <a:lnTo>
                      <a:pt x="126" y="158"/>
                    </a:lnTo>
                    <a:lnTo>
                      <a:pt x="126" y="158"/>
                    </a:lnTo>
                    <a:lnTo>
                      <a:pt x="126" y="156"/>
                    </a:lnTo>
                    <a:lnTo>
                      <a:pt x="126" y="156"/>
                    </a:lnTo>
                    <a:lnTo>
                      <a:pt x="126" y="156"/>
                    </a:lnTo>
                    <a:lnTo>
                      <a:pt x="126" y="154"/>
                    </a:lnTo>
                    <a:lnTo>
                      <a:pt x="126" y="154"/>
                    </a:lnTo>
                    <a:lnTo>
                      <a:pt x="128" y="154"/>
                    </a:lnTo>
                    <a:lnTo>
                      <a:pt x="128" y="154"/>
                    </a:lnTo>
                    <a:lnTo>
                      <a:pt x="130" y="152"/>
                    </a:lnTo>
                    <a:lnTo>
                      <a:pt x="132" y="152"/>
                    </a:lnTo>
                    <a:lnTo>
                      <a:pt x="136" y="152"/>
                    </a:lnTo>
                    <a:lnTo>
                      <a:pt x="140" y="150"/>
                    </a:lnTo>
                    <a:lnTo>
                      <a:pt x="140" y="150"/>
                    </a:lnTo>
                    <a:lnTo>
                      <a:pt x="144" y="150"/>
                    </a:lnTo>
                    <a:lnTo>
                      <a:pt x="150" y="148"/>
                    </a:lnTo>
                    <a:lnTo>
                      <a:pt x="152" y="148"/>
                    </a:lnTo>
                    <a:lnTo>
                      <a:pt x="154" y="146"/>
                    </a:lnTo>
                    <a:lnTo>
                      <a:pt x="156" y="146"/>
                    </a:lnTo>
                    <a:lnTo>
                      <a:pt x="158" y="146"/>
                    </a:lnTo>
                    <a:lnTo>
                      <a:pt x="160" y="144"/>
                    </a:lnTo>
                    <a:lnTo>
                      <a:pt x="162" y="144"/>
                    </a:lnTo>
                    <a:lnTo>
                      <a:pt x="164" y="140"/>
                    </a:lnTo>
                    <a:lnTo>
                      <a:pt x="168" y="138"/>
                    </a:lnTo>
                    <a:lnTo>
                      <a:pt x="172" y="134"/>
                    </a:lnTo>
                    <a:lnTo>
                      <a:pt x="176" y="130"/>
                    </a:lnTo>
                    <a:lnTo>
                      <a:pt x="178" y="126"/>
                    </a:lnTo>
                    <a:lnTo>
                      <a:pt x="182" y="124"/>
                    </a:lnTo>
                    <a:lnTo>
                      <a:pt x="184" y="120"/>
                    </a:lnTo>
                    <a:lnTo>
                      <a:pt x="184" y="118"/>
                    </a:lnTo>
                    <a:lnTo>
                      <a:pt x="186" y="118"/>
                    </a:lnTo>
                    <a:lnTo>
                      <a:pt x="188" y="114"/>
                    </a:lnTo>
                    <a:lnTo>
                      <a:pt x="190" y="110"/>
                    </a:lnTo>
                    <a:lnTo>
                      <a:pt x="190" y="108"/>
                    </a:lnTo>
                    <a:lnTo>
                      <a:pt x="192" y="108"/>
                    </a:lnTo>
                    <a:lnTo>
                      <a:pt x="192" y="106"/>
                    </a:lnTo>
                    <a:lnTo>
                      <a:pt x="196" y="104"/>
                    </a:lnTo>
                    <a:lnTo>
                      <a:pt x="198" y="102"/>
                    </a:lnTo>
                    <a:lnTo>
                      <a:pt x="200" y="100"/>
                    </a:lnTo>
                    <a:lnTo>
                      <a:pt x="204" y="98"/>
                    </a:lnTo>
                    <a:lnTo>
                      <a:pt x="206" y="96"/>
                    </a:lnTo>
                    <a:lnTo>
                      <a:pt x="208" y="96"/>
                    </a:lnTo>
                    <a:lnTo>
                      <a:pt x="210" y="96"/>
                    </a:lnTo>
                    <a:lnTo>
                      <a:pt x="212" y="94"/>
                    </a:lnTo>
                    <a:lnTo>
                      <a:pt x="212" y="94"/>
                    </a:lnTo>
                    <a:lnTo>
                      <a:pt x="214" y="94"/>
                    </a:lnTo>
                    <a:lnTo>
                      <a:pt x="216" y="96"/>
                    </a:lnTo>
                    <a:lnTo>
                      <a:pt x="218" y="96"/>
                    </a:lnTo>
                    <a:lnTo>
                      <a:pt x="222" y="98"/>
                    </a:lnTo>
                    <a:lnTo>
                      <a:pt x="226" y="98"/>
                    </a:lnTo>
                    <a:lnTo>
                      <a:pt x="230" y="100"/>
                    </a:lnTo>
                    <a:lnTo>
                      <a:pt x="232" y="102"/>
                    </a:lnTo>
                    <a:lnTo>
                      <a:pt x="234" y="102"/>
                    </a:lnTo>
                    <a:lnTo>
                      <a:pt x="236" y="102"/>
                    </a:lnTo>
                    <a:lnTo>
                      <a:pt x="238" y="102"/>
                    </a:lnTo>
                    <a:lnTo>
                      <a:pt x="238" y="102"/>
                    </a:lnTo>
                    <a:lnTo>
                      <a:pt x="242" y="102"/>
                    </a:lnTo>
                    <a:lnTo>
                      <a:pt x="246" y="100"/>
                    </a:lnTo>
                    <a:lnTo>
                      <a:pt x="250" y="98"/>
                    </a:lnTo>
                    <a:lnTo>
                      <a:pt x="254" y="96"/>
                    </a:lnTo>
                    <a:lnTo>
                      <a:pt x="258" y="94"/>
                    </a:lnTo>
                    <a:lnTo>
                      <a:pt x="262" y="92"/>
                    </a:lnTo>
                    <a:lnTo>
                      <a:pt x="266" y="88"/>
                    </a:lnTo>
                    <a:lnTo>
                      <a:pt x="270" y="86"/>
                    </a:lnTo>
                    <a:lnTo>
                      <a:pt x="272" y="82"/>
                    </a:lnTo>
                    <a:lnTo>
                      <a:pt x="276" y="80"/>
                    </a:lnTo>
                    <a:lnTo>
                      <a:pt x="280" y="76"/>
                    </a:lnTo>
                    <a:lnTo>
                      <a:pt x="282" y="72"/>
                    </a:lnTo>
                    <a:lnTo>
                      <a:pt x="286" y="70"/>
                    </a:lnTo>
                    <a:lnTo>
                      <a:pt x="286" y="68"/>
                    </a:lnTo>
                    <a:lnTo>
                      <a:pt x="286" y="66"/>
                    </a:lnTo>
                    <a:lnTo>
                      <a:pt x="288" y="64"/>
                    </a:lnTo>
                    <a:lnTo>
                      <a:pt x="288" y="62"/>
                    </a:lnTo>
                    <a:lnTo>
                      <a:pt x="288" y="62"/>
                    </a:lnTo>
                    <a:lnTo>
                      <a:pt x="290" y="60"/>
                    </a:lnTo>
                    <a:lnTo>
                      <a:pt x="290" y="58"/>
                    </a:lnTo>
                    <a:lnTo>
                      <a:pt x="290" y="58"/>
                    </a:lnTo>
                    <a:lnTo>
                      <a:pt x="288" y="56"/>
                    </a:lnTo>
                    <a:lnTo>
                      <a:pt x="288" y="56"/>
                    </a:lnTo>
                    <a:lnTo>
                      <a:pt x="286" y="54"/>
                    </a:lnTo>
                    <a:lnTo>
                      <a:pt x="284" y="50"/>
                    </a:lnTo>
                    <a:lnTo>
                      <a:pt x="282" y="48"/>
                    </a:lnTo>
                    <a:lnTo>
                      <a:pt x="280" y="48"/>
                    </a:lnTo>
                    <a:lnTo>
                      <a:pt x="280" y="46"/>
                    </a:lnTo>
                    <a:lnTo>
                      <a:pt x="280" y="44"/>
                    </a:lnTo>
                    <a:lnTo>
                      <a:pt x="280" y="44"/>
                    </a:lnTo>
                    <a:lnTo>
                      <a:pt x="280" y="44"/>
                    </a:lnTo>
                    <a:lnTo>
                      <a:pt x="280" y="42"/>
                    </a:lnTo>
                    <a:lnTo>
                      <a:pt x="280" y="42"/>
                    </a:lnTo>
                    <a:lnTo>
                      <a:pt x="280" y="40"/>
                    </a:lnTo>
                    <a:lnTo>
                      <a:pt x="282" y="40"/>
                    </a:lnTo>
                    <a:lnTo>
                      <a:pt x="282" y="38"/>
                    </a:lnTo>
                    <a:lnTo>
                      <a:pt x="284" y="38"/>
                    </a:lnTo>
                    <a:lnTo>
                      <a:pt x="284" y="38"/>
                    </a:lnTo>
                    <a:lnTo>
                      <a:pt x="286" y="38"/>
                    </a:lnTo>
                    <a:lnTo>
                      <a:pt x="290" y="36"/>
                    </a:lnTo>
                    <a:lnTo>
                      <a:pt x="292" y="36"/>
                    </a:lnTo>
                    <a:lnTo>
                      <a:pt x="296" y="36"/>
                    </a:lnTo>
                    <a:lnTo>
                      <a:pt x="300" y="36"/>
                    </a:lnTo>
                    <a:lnTo>
                      <a:pt x="306" y="36"/>
                    </a:lnTo>
                    <a:lnTo>
                      <a:pt x="314" y="36"/>
                    </a:lnTo>
                    <a:lnTo>
                      <a:pt x="316" y="36"/>
                    </a:lnTo>
                    <a:lnTo>
                      <a:pt x="320" y="36"/>
                    </a:lnTo>
                    <a:lnTo>
                      <a:pt x="322" y="36"/>
                    </a:lnTo>
                    <a:lnTo>
                      <a:pt x="324" y="34"/>
                    </a:lnTo>
                    <a:lnTo>
                      <a:pt x="328" y="34"/>
                    </a:lnTo>
                    <a:lnTo>
                      <a:pt x="332" y="32"/>
                    </a:lnTo>
                    <a:lnTo>
                      <a:pt x="338" y="32"/>
                    </a:lnTo>
                    <a:lnTo>
                      <a:pt x="342" y="30"/>
                    </a:lnTo>
                    <a:lnTo>
                      <a:pt x="344" y="30"/>
                    </a:lnTo>
                    <a:lnTo>
                      <a:pt x="346" y="28"/>
                    </a:lnTo>
                    <a:lnTo>
                      <a:pt x="348" y="28"/>
                    </a:lnTo>
                    <a:lnTo>
                      <a:pt x="350" y="26"/>
                    </a:lnTo>
                    <a:lnTo>
                      <a:pt x="352" y="26"/>
                    </a:lnTo>
                    <a:lnTo>
                      <a:pt x="354" y="24"/>
                    </a:lnTo>
                    <a:lnTo>
                      <a:pt x="354" y="24"/>
                    </a:lnTo>
                    <a:lnTo>
                      <a:pt x="354" y="24"/>
                    </a:lnTo>
                    <a:lnTo>
                      <a:pt x="354" y="22"/>
                    </a:lnTo>
                    <a:lnTo>
                      <a:pt x="354" y="22"/>
                    </a:lnTo>
                    <a:lnTo>
                      <a:pt x="354" y="20"/>
                    </a:lnTo>
                    <a:lnTo>
                      <a:pt x="354" y="20"/>
                    </a:lnTo>
                    <a:lnTo>
                      <a:pt x="354" y="18"/>
                    </a:lnTo>
                    <a:lnTo>
                      <a:pt x="354" y="16"/>
                    </a:lnTo>
                    <a:lnTo>
                      <a:pt x="352" y="16"/>
                    </a:lnTo>
                    <a:lnTo>
                      <a:pt x="352" y="14"/>
                    </a:lnTo>
                    <a:lnTo>
                      <a:pt x="350" y="14"/>
                    </a:lnTo>
                    <a:lnTo>
                      <a:pt x="348" y="12"/>
                    </a:lnTo>
                    <a:lnTo>
                      <a:pt x="346" y="10"/>
                    </a:lnTo>
                    <a:lnTo>
                      <a:pt x="342" y="8"/>
                    </a:lnTo>
                    <a:lnTo>
                      <a:pt x="340" y="6"/>
                    </a:lnTo>
                    <a:lnTo>
                      <a:pt x="338" y="4"/>
                    </a:lnTo>
                    <a:lnTo>
                      <a:pt x="336" y="4"/>
                    </a:lnTo>
                    <a:lnTo>
                      <a:pt x="334" y="4"/>
                    </a:lnTo>
                    <a:lnTo>
                      <a:pt x="332" y="4"/>
                    </a:lnTo>
                    <a:lnTo>
                      <a:pt x="330" y="4"/>
                    </a:lnTo>
                    <a:lnTo>
                      <a:pt x="326" y="4"/>
                    </a:lnTo>
                    <a:lnTo>
                      <a:pt x="322" y="4"/>
                    </a:lnTo>
                    <a:lnTo>
                      <a:pt x="314" y="4"/>
                    </a:lnTo>
                    <a:lnTo>
                      <a:pt x="310" y="4"/>
                    </a:lnTo>
                    <a:lnTo>
                      <a:pt x="306" y="4"/>
                    </a:lnTo>
                    <a:lnTo>
                      <a:pt x="304" y="4"/>
                    </a:lnTo>
                    <a:lnTo>
                      <a:pt x="298" y="4"/>
                    </a:lnTo>
                    <a:lnTo>
                      <a:pt x="290" y="4"/>
                    </a:lnTo>
                    <a:lnTo>
                      <a:pt x="280" y="2"/>
                    </a:lnTo>
                    <a:lnTo>
                      <a:pt x="268" y="0"/>
                    </a:lnTo>
                    <a:lnTo>
                      <a:pt x="264" y="0"/>
                    </a:lnTo>
                    <a:lnTo>
                      <a:pt x="258" y="0"/>
                    </a:lnTo>
                    <a:lnTo>
                      <a:pt x="252" y="0"/>
                    </a:lnTo>
                    <a:lnTo>
                      <a:pt x="248" y="0"/>
                    </a:lnTo>
                    <a:lnTo>
                      <a:pt x="244" y="0"/>
                    </a:lnTo>
                    <a:lnTo>
                      <a:pt x="238" y="0"/>
                    </a:lnTo>
                    <a:lnTo>
                      <a:pt x="236" y="0"/>
                    </a:lnTo>
                    <a:lnTo>
                      <a:pt x="234" y="2"/>
                    </a:lnTo>
                    <a:lnTo>
                      <a:pt x="232" y="2"/>
                    </a:lnTo>
                    <a:lnTo>
                      <a:pt x="230" y="2"/>
                    </a:lnTo>
                    <a:lnTo>
                      <a:pt x="228" y="4"/>
                    </a:lnTo>
                    <a:lnTo>
                      <a:pt x="226" y="4"/>
                    </a:lnTo>
                    <a:lnTo>
                      <a:pt x="226" y="6"/>
                    </a:lnTo>
                    <a:lnTo>
                      <a:pt x="222" y="10"/>
                    </a:lnTo>
                    <a:lnTo>
                      <a:pt x="220" y="12"/>
                    </a:lnTo>
                    <a:lnTo>
                      <a:pt x="216" y="16"/>
                    </a:lnTo>
                    <a:lnTo>
                      <a:pt x="214" y="18"/>
                    </a:lnTo>
                    <a:lnTo>
                      <a:pt x="212" y="20"/>
                    </a:lnTo>
                    <a:lnTo>
                      <a:pt x="210" y="20"/>
                    </a:lnTo>
                    <a:lnTo>
                      <a:pt x="210" y="22"/>
                    </a:lnTo>
                    <a:lnTo>
                      <a:pt x="208" y="22"/>
                    </a:lnTo>
                    <a:lnTo>
                      <a:pt x="208" y="22"/>
                    </a:lnTo>
                    <a:lnTo>
                      <a:pt x="206" y="22"/>
                    </a:lnTo>
                    <a:lnTo>
                      <a:pt x="206" y="22"/>
                    </a:lnTo>
                    <a:lnTo>
                      <a:pt x="204" y="22"/>
                    </a:lnTo>
                    <a:lnTo>
                      <a:pt x="204" y="22"/>
                    </a:lnTo>
                    <a:lnTo>
                      <a:pt x="202" y="20"/>
                    </a:lnTo>
                    <a:lnTo>
                      <a:pt x="200" y="18"/>
                    </a:lnTo>
                    <a:lnTo>
                      <a:pt x="198" y="16"/>
                    </a:lnTo>
                    <a:lnTo>
                      <a:pt x="198" y="16"/>
                    </a:lnTo>
                    <a:lnTo>
                      <a:pt x="194" y="12"/>
                    </a:lnTo>
                    <a:lnTo>
                      <a:pt x="192" y="8"/>
                    </a:lnTo>
                    <a:lnTo>
                      <a:pt x="190" y="6"/>
                    </a:lnTo>
                    <a:lnTo>
                      <a:pt x="190" y="4"/>
                    </a:lnTo>
                    <a:lnTo>
                      <a:pt x="188" y="2"/>
                    </a:lnTo>
                    <a:lnTo>
                      <a:pt x="186" y="2"/>
                    </a:lnTo>
                    <a:lnTo>
                      <a:pt x="186" y="2"/>
                    </a:lnTo>
                    <a:lnTo>
                      <a:pt x="184" y="2"/>
                    </a:lnTo>
                    <a:lnTo>
                      <a:pt x="184" y="2"/>
                    </a:lnTo>
                    <a:lnTo>
                      <a:pt x="184" y="2"/>
                    </a:lnTo>
                    <a:lnTo>
                      <a:pt x="184" y="2"/>
                    </a:lnTo>
                    <a:lnTo>
                      <a:pt x="182" y="2"/>
                    </a:lnTo>
                    <a:lnTo>
                      <a:pt x="182" y="2"/>
                    </a:lnTo>
                    <a:lnTo>
                      <a:pt x="182" y="4"/>
                    </a:lnTo>
                    <a:lnTo>
                      <a:pt x="182" y="4"/>
                    </a:lnTo>
                    <a:lnTo>
                      <a:pt x="182" y="6"/>
                    </a:lnTo>
                    <a:lnTo>
                      <a:pt x="182" y="8"/>
                    </a:lnTo>
                    <a:lnTo>
                      <a:pt x="182" y="10"/>
                    </a:lnTo>
                    <a:lnTo>
                      <a:pt x="182" y="12"/>
                    </a:lnTo>
                    <a:lnTo>
                      <a:pt x="182" y="12"/>
                    </a:lnTo>
                    <a:lnTo>
                      <a:pt x="180" y="12"/>
                    </a:lnTo>
                    <a:lnTo>
                      <a:pt x="180" y="12"/>
                    </a:lnTo>
                    <a:lnTo>
                      <a:pt x="180" y="12"/>
                    </a:lnTo>
                    <a:lnTo>
                      <a:pt x="178" y="14"/>
                    </a:lnTo>
                    <a:lnTo>
                      <a:pt x="178" y="14"/>
                    </a:lnTo>
                    <a:lnTo>
                      <a:pt x="174" y="14"/>
                    </a:lnTo>
                    <a:lnTo>
                      <a:pt x="172" y="14"/>
                    </a:lnTo>
                    <a:lnTo>
                      <a:pt x="170" y="14"/>
                    </a:lnTo>
                    <a:lnTo>
                      <a:pt x="166" y="12"/>
                    </a:lnTo>
                    <a:lnTo>
                      <a:pt x="160" y="12"/>
                    </a:lnTo>
                    <a:lnTo>
                      <a:pt x="154" y="10"/>
                    </a:lnTo>
                    <a:lnTo>
                      <a:pt x="150" y="10"/>
                    </a:lnTo>
                    <a:lnTo>
                      <a:pt x="148" y="10"/>
                    </a:lnTo>
                    <a:lnTo>
                      <a:pt x="146" y="8"/>
                    </a:lnTo>
                    <a:lnTo>
                      <a:pt x="142" y="8"/>
                    </a:lnTo>
                    <a:lnTo>
                      <a:pt x="140" y="8"/>
                    </a:lnTo>
                    <a:lnTo>
                      <a:pt x="140" y="10"/>
                    </a:lnTo>
                    <a:lnTo>
                      <a:pt x="138" y="10"/>
                    </a:lnTo>
                    <a:lnTo>
                      <a:pt x="136" y="10"/>
                    </a:lnTo>
                    <a:lnTo>
                      <a:pt x="136" y="12"/>
                    </a:lnTo>
                    <a:lnTo>
                      <a:pt x="134" y="12"/>
                    </a:lnTo>
                    <a:lnTo>
                      <a:pt x="134" y="14"/>
                    </a:lnTo>
                    <a:lnTo>
                      <a:pt x="130" y="16"/>
                    </a:lnTo>
                    <a:lnTo>
                      <a:pt x="128" y="20"/>
                    </a:lnTo>
                    <a:lnTo>
                      <a:pt x="126" y="24"/>
                    </a:lnTo>
                    <a:lnTo>
                      <a:pt x="124" y="28"/>
                    </a:lnTo>
                    <a:lnTo>
                      <a:pt x="122" y="28"/>
                    </a:lnTo>
                    <a:lnTo>
                      <a:pt x="120" y="30"/>
                    </a:lnTo>
                    <a:lnTo>
                      <a:pt x="120" y="32"/>
                    </a:lnTo>
                    <a:lnTo>
                      <a:pt x="118" y="32"/>
                    </a:lnTo>
                    <a:lnTo>
                      <a:pt x="116" y="32"/>
                    </a:lnTo>
                    <a:lnTo>
                      <a:pt x="114" y="34"/>
                    </a:lnTo>
                    <a:lnTo>
                      <a:pt x="110" y="34"/>
                    </a:lnTo>
                    <a:lnTo>
                      <a:pt x="108" y="34"/>
                    </a:lnTo>
                    <a:lnTo>
                      <a:pt x="106" y="34"/>
                    </a:lnTo>
                    <a:lnTo>
                      <a:pt x="102" y="34"/>
                    </a:lnTo>
                    <a:lnTo>
                      <a:pt x="100" y="32"/>
                    </a:lnTo>
                    <a:lnTo>
                      <a:pt x="98" y="32"/>
                    </a:lnTo>
                    <a:lnTo>
                      <a:pt x="98" y="32"/>
                    </a:lnTo>
                    <a:lnTo>
                      <a:pt x="98" y="32"/>
                    </a:lnTo>
                    <a:lnTo>
                      <a:pt x="96" y="32"/>
                    </a:lnTo>
                    <a:lnTo>
                      <a:pt x="96" y="30"/>
                    </a:lnTo>
                    <a:lnTo>
                      <a:pt x="94" y="28"/>
                    </a:lnTo>
                    <a:lnTo>
                      <a:pt x="94" y="26"/>
                    </a:lnTo>
                    <a:lnTo>
                      <a:pt x="92" y="24"/>
                    </a:lnTo>
                    <a:lnTo>
                      <a:pt x="90" y="22"/>
                    </a:lnTo>
                    <a:lnTo>
                      <a:pt x="90" y="22"/>
                    </a:lnTo>
                    <a:lnTo>
                      <a:pt x="90" y="20"/>
                    </a:lnTo>
                    <a:lnTo>
                      <a:pt x="88" y="20"/>
                    </a:lnTo>
                    <a:lnTo>
                      <a:pt x="88" y="20"/>
                    </a:lnTo>
                    <a:lnTo>
                      <a:pt x="86" y="20"/>
                    </a:lnTo>
                    <a:lnTo>
                      <a:pt x="86" y="18"/>
                    </a:lnTo>
                    <a:lnTo>
                      <a:pt x="84" y="18"/>
                    </a:lnTo>
                    <a:lnTo>
                      <a:pt x="82" y="18"/>
                    </a:lnTo>
                    <a:lnTo>
                      <a:pt x="80" y="20"/>
                    </a:lnTo>
                    <a:lnTo>
                      <a:pt x="76" y="20"/>
                    </a:lnTo>
                    <a:lnTo>
                      <a:pt x="72" y="20"/>
                    </a:lnTo>
                    <a:lnTo>
                      <a:pt x="70" y="22"/>
                    </a:lnTo>
                    <a:lnTo>
                      <a:pt x="68" y="24"/>
                    </a:lnTo>
                    <a:lnTo>
                      <a:pt x="66" y="24"/>
                    </a:lnTo>
                    <a:lnTo>
                      <a:pt x="66" y="24"/>
                    </a:lnTo>
                    <a:lnTo>
                      <a:pt x="64" y="24"/>
                    </a:lnTo>
                    <a:lnTo>
                      <a:pt x="64" y="26"/>
                    </a:lnTo>
                    <a:lnTo>
                      <a:pt x="64" y="26"/>
                    </a:lnTo>
                    <a:lnTo>
                      <a:pt x="64" y="28"/>
                    </a:lnTo>
                    <a:lnTo>
                      <a:pt x="62" y="30"/>
                    </a:lnTo>
                    <a:lnTo>
                      <a:pt x="62" y="32"/>
                    </a:lnTo>
                    <a:lnTo>
                      <a:pt x="62" y="32"/>
                    </a:lnTo>
                    <a:lnTo>
                      <a:pt x="60" y="34"/>
                    </a:lnTo>
                    <a:lnTo>
                      <a:pt x="60" y="34"/>
                    </a:lnTo>
                    <a:lnTo>
                      <a:pt x="60" y="34"/>
                    </a:lnTo>
                    <a:lnTo>
                      <a:pt x="60" y="34"/>
                    </a:lnTo>
                    <a:lnTo>
                      <a:pt x="58" y="36"/>
                    </a:lnTo>
                    <a:lnTo>
                      <a:pt x="58" y="36"/>
                    </a:lnTo>
                    <a:lnTo>
                      <a:pt x="54" y="36"/>
                    </a:lnTo>
                    <a:lnTo>
                      <a:pt x="52" y="36"/>
                    </a:lnTo>
                    <a:lnTo>
                      <a:pt x="50" y="36"/>
                    </a:lnTo>
                    <a:lnTo>
                      <a:pt x="48" y="36"/>
                    </a:lnTo>
                    <a:lnTo>
                      <a:pt x="42" y="36"/>
                    </a:lnTo>
                    <a:lnTo>
                      <a:pt x="38" y="36"/>
                    </a:lnTo>
                    <a:lnTo>
                      <a:pt x="36" y="36"/>
                    </a:lnTo>
                    <a:lnTo>
                      <a:pt x="34" y="36"/>
                    </a:lnTo>
                    <a:lnTo>
                      <a:pt x="32" y="36"/>
                    </a:lnTo>
                    <a:lnTo>
                      <a:pt x="30" y="38"/>
                    </a:lnTo>
                    <a:lnTo>
                      <a:pt x="30" y="38"/>
                    </a:lnTo>
                    <a:lnTo>
                      <a:pt x="28" y="38"/>
                    </a:lnTo>
                    <a:lnTo>
                      <a:pt x="28" y="38"/>
                    </a:lnTo>
                    <a:lnTo>
                      <a:pt x="28" y="4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96" name="Freeform 581"/>
              <p:cNvSpPr>
                <a:spLocks/>
              </p:cNvSpPr>
              <p:nvPr/>
            </p:nvSpPr>
            <p:spPr bwMode="auto">
              <a:xfrm>
                <a:off x="2497428" y="2387767"/>
                <a:ext cx="260350" cy="120650"/>
              </a:xfrm>
              <a:custGeom>
                <a:avLst/>
                <a:gdLst>
                  <a:gd name="T0" fmla="*/ 18 w 164"/>
                  <a:gd name="T1" fmla="*/ 2 h 76"/>
                  <a:gd name="T2" fmla="*/ 8 w 164"/>
                  <a:gd name="T3" fmla="*/ 8 h 76"/>
                  <a:gd name="T4" fmla="*/ 4 w 164"/>
                  <a:gd name="T5" fmla="*/ 12 h 76"/>
                  <a:gd name="T6" fmla="*/ 2 w 164"/>
                  <a:gd name="T7" fmla="*/ 16 h 76"/>
                  <a:gd name="T8" fmla="*/ 0 w 164"/>
                  <a:gd name="T9" fmla="*/ 20 h 76"/>
                  <a:gd name="T10" fmla="*/ 2 w 164"/>
                  <a:gd name="T11" fmla="*/ 24 h 76"/>
                  <a:gd name="T12" fmla="*/ 6 w 164"/>
                  <a:gd name="T13" fmla="*/ 28 h 76"/>
                  <a:gd name="T14" fmla="*/ 12 w 164"/>
                  <a:gd name="T15" fmla="*/ 34 h 76"/>
                  <a:gd name="T16" fmla="*/ 24 w 164"/>
                  <a:gd name="T17" fmla="*/ 50 h 76"/>
                  <a:gd name="T18" fmla="*/ 32 w 164"/>
                  <a:gd name="T19" fmla="*/ 60 h 76"/>
                  <a:gd name="T20" fmla="*/ 38 w 164"/>
                  <a:gd name="T21" fmla="*/ 64 h 76"/>
                  <a:gd name="T22" fmla="*/ 46 w 164"/>
                  <a:gd name="T23" fmla="*/ 68 h 76"/>
                  <a:gd name="T24" fmla="*/ 56 w 164"/>
                  <a:gd name="T25" fmla="*/ 70 h 76"/>
                  <a:gd name="T26" fmla="*/ 66 w 164"/>
                  <a:gd name="T27" fmla="*/ 72 h 76"/>
                  <a:gd name="T28" fmla="*/ 78 w 164"/>
                  <a:gd name="T29" fmla="*/ 70 h 76"/>
                  <a:gd name="T30" fmla="*/ 100 w 164"/>
                  <a:gd name="T31" fmla="*/ 66 h 76"/>
                  <a:gd name="T32" fmla="*/ 116 w 164"/>
                  <a:gd name="T33" fmla="*/ 64 h 76"/>
                  <a:gd name="T34" fmla="*/ 126 w 164"/>
                  <a:gd name="T35" fmla="*/ 64 h 76"/>
                  <a:gd name="T36" fmla="*/ 132 w 164"/>
                  <a:gd name="T37" fmla="*/ 66 h 76"/>
                  <a:gd name="T38" fmla="*/ 146 w 164"/>
                  <a:gd name="T39" fmla="*/ 74 h 76"/>
                  <a:gd name="T40" fmla="*/ 154 w 164"/>
                  <a:gd name="T41" fmla="*/ 76 h 76"/>
                  <a:gd name="T42" fmla="*/ 158 w 164"/>
                  <a:gd name="T43" fmla="*/ 76 h 76"/>
                  <a:gd name="T44" fmla="*/ 160 w 164"/>
                  <a:gd name="T45" fmla="*/ 74 h 76"/>
                  <a:gd name="T46" fmla="*/ 162 w 164"/>
                  <a:gd name="T47" fmla="*/ 72 h 76"/>
                  <a:gd name="T48" fmla="*/ 164 w 164"/>
                  <a:gd name="T49" fmla="*/ 66 h 76"/>
                  <a:gd name="T50" fmla="*/ 162 w 164"/>
                  <a:gd name="T51" fmla="*/ 60 h 76"/>
                  <a:gd name="T52" fmla="*/ 160 w 164"/>
                  <a:gd name="T53" fmla="*/ 54 h 76"/>
                  <a:gd name="T54" fmla="*/ 158 w 164"/>
                  <a:gd name="T55" fmla="*/ 48 h 76"/>
                  <a:gd name="T56" fmla="*/ 156 w 164"/>
                  <a:gd name="T57" fmla="*/ 46 h 76"/>
                  <a:gd name="T58" fmla="*/ 152 w 164"/>
                  <a:gd name="T59" fmla="*/ 44 h 76"/>
                  <a:gd name="T60" fmla="*/ 146 w 164"/>
                  <a:gd name="T61" fmla="*/ 42 h 76"/>
                  <a:gd name="T62" fmla="*/ 134 w 164"/>
                  <a:gd name="T63" fmla="*/ 42 h 76"/>
                  <a:gd name="T64" fmla="*/ 116 w 164"/>
                  <a:gd name="T65" fmla="*/ 44 h 76"/>
                  <a:gd name="T66" fmla="*/ 106 w 164"/>
                  <a:gd name="T67" fmla="*/ 44 h 76"/>
                  <a:gd name="T68" fmla="*/ 86 w 164"/>
                  <a:gd name="T69" fmla="*/ 42 h 76"/>
                  <a:gd name="T70" fmla="*/ 72 w 164"/>
                  <a:gd name="T71" fmla="*/ 38 h 76"/>
                  <a:gd name="T72" fmla="*/ 62 w 164"/>
                  <a:gd name="T73" fmla="*/ 36 h 76"/>
                  <a:gd name="T74" fmla="*/ 56 w 164"/>
                  <a:gd name="T75" fmla="*/ 32 h 76"/>
                  <a:gd name="T76" fmla="*/ 54 w 164"/>
                  <a:gd name="T77" fmla="*/ 30 h 76"/>
                  <a:gd name="T78" fmla="*/ 52 w 164"/>
                  <a:gd name="T79" fmla="*/ 24 h 76"/>
                  <a:gd name="T80" fmla="*/ 52 w 164"/>
                  <a:gd name="T81" fmla="*/ 14 h 76"/>
                  <a:gd name="T82" fmla="*/ 50 w 164"/>
                  <a:gd name="T83" fmla="*/ 8 h 76"/>
                  <a:gd name="T84" fmla="*/ 48 w 164"/>
                  <a:gd name="T85" fmla="*/ 4 h 76"/>
                  <a:gd name="T86" fmla="*/ 44 w 164"/>
                  <a:gd name="T87" fmla="*/ 2 h 76"/>
                  <a:gd name="T88" fmla="*/ 38 w 164"/>
                  <a:gd name="T89" fmla="*/ 0 h 76"/>
                  <a:gd name="T90" fmla="*/ 26 w 164"/>
                  <a:gd name="T91" fmla="*/ 0 h 76"/>
                  <a:gd name="T92" fmla="*/ 20 w 164"/>
                  <a:gd name="T93"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 h="76">
                    <a:moveTo>
                      <a:pt x="20" y="2"/>
                    </a:moveTo>
                    <a:lnTo>
                      <a:pt x="20" y="2"/>
                    </a:lnTo>
                    <a:lnTo>
                      <a:pt x="18" y="2"/>
                    </a:lnTo>
                    <a:lnTo>
                      <a:pt x="14" y="4"/>
                    </a:lnTo>
                    <a:lnTo>
                      <a:pt x="12" y="6"/>
                    </a:lnTo>
                    <a:lnTo>
                      <a:pt x="8" y="8"/>
                    </a:lnTo>
                    <a:lnTo>
                      <a:pt x="6" y="10"/>
                    </a:lnTo>
                    <a:lnTo>
                      <a:pt x="6" y="12"/>
                    </a:lnTo>
                    <a:lnTo>
                      <a:pt x="4" y="12"/>
                    </a:lnTo>
                    <a:lnTo>
                      <a:pt x="4" y="14"/>
                    </a:lnTo>
                    <a:lnTo>
                      <a:pt x="2" y="16"/>
                    </a:lnTo>
                    <a:lnTo>
                      <a:pt x="2" y="16"/>
                    </a:lnTo>
                    <a:lnTo>
                      <a:pt x="0" y="18"/>
                    </a:lnTo>
                    <a:lnTo>
                      <a:pt x="0" y="20"/>
                    </a:lnTo>
                    <a:lnTo>
                      <a:pt x="0" y="20"/>
                    </a:lnTo>
                    <a:lnTo>
                      <a:pt x="0" y="22"/>
                    </a:lnTo>
                    <a:lnTo>
                      <a:pt x="0" y="22"/>
                    </a:lnTo>
                    <a:lnTo>
                      <a:pt x="2" y="24"/>
                    </a:lnTo>
                    <a:lnTo>
                      <a:pt x="2" y="24"/>
                    </a:lnTo>
                    <a:lnTo>
                      <a:pt x="4" y="26"/>
                    </a:lnTo>
                    <a:lnTo>
                      <a:pt x="6" y="28"/>
                    </a:lnTo>
                    <a:lnTo>
                      <a:pt x="8" y="30"/>
                    </a:lnTo>
                    <a:lnTo>
                      <a:pt x="10" y="32"/>
                    </a:lnTo>
                    <a:lnTo>
                      <a:pt x="12" y="34"/>
                    </a:lnTo>
                    <a:lnTo>
                      <a:pt x="12" y="36"/>
                    </a:lnTo>
                    <a:lnTo>
                      <a:pt x="18" y="42"/>
                    </a:lnTo>
                    <a:lnTo>
                      <a:pt x="24" y="50"/>
                    </a:lnTo>
                    <a:lnTo>
                      <a:pt x="26" y="54"/>
                    </a:lnTo>
                    <a:lnTo>
                      <a:pt x="30" y="56"/>
                    </a:lnTo>
                    <a:lnTo>
                      <a:pt x="32" y="60"/>
                    </a:lnTo>
                    <a:lnTo>
                      <a:pt x="34" y="60"/>
                    </a:lnTo>
                    <a:lnTo>
                      <a:pt x="36" y="62"/>
                    </a:lnTo>
                    <a:lnTo>
                      <a:pt x="38" y="64"/>
                    </a:lnTo>
                    <a:lnTo>
                      <a:pt x="40" y="64"/>
                    </a:lnTo>
                    <a:lnTo>
                      <a:pt x="44" y="66"/>
                    </a:lnTo>
                    <a:lnTo>
                      <a:pt x="46" y="68"/>
                    </a:lnTo>
                    <a:lnTo>
                      <a:pt x="50" y="70"/>
                    </a:lnTo>
                    <a:lnTo>
                      <a:pt x="52" y="70"/>
                    </a:lnTo>
                    <a:lnTo>
                      <a:pt x="56" y="70"/>
                    </a:lnTo>
                    <a:lnTo>
                      <a:pt x="58" y="72"/>
                    </a:lnTo>
                    <a:lnTo>
                      <a:pt x="62" y="72"/>
                    </a:lnTo>
                    <a:lnTo>
                      <a:pt x="66" y="72"/>
                    </a:lnTo>
                    <a:lnTo>
                      <a:pt x="68" y="72"/>
                    </a:lnTo>
                    <a:lnTo>
                      <a:pt x="74" y="72"/>
                    </a:lnTo>
                    <a:lnTo>
                      <a:pt x="78" y="70"/>
                    </a:lnTo>
                    <a:lnTo>
                      <a:pt x="82" y="70"/>
                    </a:lnTo>
                    <a:lnTo>
                      <a:pt x="90" y="68"/>
                    </a:lnTo>
                    <a:lnTo>
                      <a:pt x="100" y="66"/>
                    </a:lnTo>
                    <a:lnTo>
                      <a:pt x="108" y="66"/>
                    </a:lnTo>
                    <a:lnTo>
                      <a:pt x="112" y="64"/>
                    </a:lnTo>
                    <a:lnTo>
                      <a:pt x="116" y="64"/>
                    </a:lnTo>
                    <a:lnTo>
                      <a:pt x="120" y="64"/>
                    </a:lnTo>
                    <a:lnTo>
                      <a:pt x="124" y="64"/>
                    </a:lnTo>
                    <a:lnTo>
                      <a:pt x="126" y="64"/>
                    </a:lnTo>
                    <a:lnTo>
                      <a:pt x="128" y="66"/>
                    </a:lnTo>
                    <a:lnTo>
                      <a:pt x="130" y="66"/>
                    </a:lnTo>
                    <a:lnTo>
                      <a:pt x="132" y="66"/>
                    </a:lnTo>
                    <a:lnTo>
                      <a:pt x="138" y="70"/>
                    </a:lnTo>
                    <a:lnTo>
                      <a:pt x="144" y="72"/>
                    </a:lnTo>
                    <a:lnTo>
                      <a:pt x="146" y="74"/>
                    </a:lnTo>
                    <a:lnTo>
                      <a:pt x="148" y="74"/>
                    </a:lnTo>
                    <a:lnTo>
                      <a:pt x="152" y="74"/>
                    </a:lnTo>
                    <a:lnTo>
                      <a:pt x="154" y="76"/>
                    </a:lnTo>
                    <a:lnTo>
                      <a:pt x="156" y="76"/>
                    </a:lnTo>
                    <a:lnTo>
                      <a:pt x="156" y="76"/>
                    </a:lnTo>
                    <a:lnTo>
                      <a:pt x="158" y="76"/>
                    </a:lnTo>
                    <a:lnTo>
                      <a:pt x="158" y="76"/>
                    </a:lnTo>
                    <a:lnTo>
                      <a:pt x="160" y="74"/>
                    </a:lnTo>
                    <a:lnTo>
                      <a:pt x="160" y="74"/>
                    </a:lnTo>
                    <a:lnTo>
                      <a:pt x="162" y="74"/>
                    </a:lnTo>
                    <a:lnTo>
                      <a:pt x="162" y="74"/>
                    </a:lnTo>
                    <a:lnTo>
                      <a:pt x="162" y="72"/>
                    </a:lnTo>
                    <a:lnTo>
                      <a:pt x="164" y="70"/>
                    </a:lnTo>
                    <a:lnTo>
                      <a:pt x="164" y="68"/>
                    </a:lnTo>
                    <a:lnTo>
                      <a:pt x="164" y="66"/>
                    </a:lnTo>
                    <a:lnTo>
                      <a:pt x="164" y="64"/>
                    </a:lnTo>
                    <a:lnTo>
                      <a:pt x="164" y="62"/>
                    </a:lnTo>
                    <a:lnTo>
                      <a:pt x="162" y="60"/>
                    </a:lnTo>
                    <a:lnTo>
                      <a:pt x="162" y="58"/>
                    </a:lnTo>
                    <a:lnTo>
                      <a:pt x="162" y="56"/>
                    </a:lnTo>
                    <a:lnTo>
                      <a:pt x="160" y="54"/>
                    </a:lnTo>
                    <a:lnTo>
                      <a:pt x="160" y="52"/>
                    </a:lnTo>
                    <a:lnTo>
                      <a:pt x="160" y="50"/>
                    </a:lnTo>
                    <a:lnTo>
                      <a:pt x="158" y="48"/>
                    </a:lnTo>
                    <a:lnTo>
                      <a:pt x="158" y="48"/>
                    </a:lnTo>
                    <a:lnTo>
                      <a:pt x="156" y="46"/>
                    </a:lnTo>
                    <a:lnTo>
                      <a:pt x="156" y="46"/>
                    </a:lnTo>
                    <a:lnTo>
                      <a:pt x="154" y="46"/>
                    </a:lnTo>
                    <a:lnTo>
                      <a:pt x="152" y="44"/>
                    </a:lnTo>
                    <a:lnTo>
                      <a:pt x="152" y="44"/>
                    </a:lnTo>
                    <a:lnTo>
                      <a:pt x="150" y="44"/>
                    </a:lnTo>
                    <a:lnTo>
                      <a:pt x="148" y="44"/>
                    </a:lnTo>
                    <a:lnTo>
                      <a:pt x="146" y="42"/>
                    </a:lnTo>
                    <a:lnTo>
                      <a:pt x="142" y="42"/>
                    </a:lnTo>
                    <a:lnTo>
                      <a:pt x="138" y="42"/>
                    </a:lnTo>
                    <a:lnTo>
                      <a:pt x="134" y="42"/>
                    </a:lnTo>
                    <a:lnTo>
                      <a:pt x="132" y="42"/>
                    </a:lnTo>
                    <a:lnTo>
                      <a:pt x="124" y="44"/>
                    </a:lnTo>
                    <a:lnTo>
                      <a:pt x="116" y="44"/>
                    </a:lnTo>
                    <a:lnTo>
                      <a:pt x="112" y="44"/>
                    </a:lnTo>
                    <a:lnTo>
                      <a:pt x="110" y="44"/>
                    </a:lnTo>
                    <a:lnTo>
                      <a:pt x="106" y="44"/>
                    </a:lnTo>
                    <a:lnTo>
                      <a:pt x="104" y="44"/>
                    </a:lnTo>
                    <a:lnTo>
                      <a:pt x="92" y="42"/>
                    </a:lnTo>
                    <a:lnTo>
                      <a:pt x="86" y="42"/>
                    </a:lnTo>
                    <a:lnTo>
                      <a:pt x="78" y="40"/>
                    </a:lnTo>
                    <a:lnTo>
                      <a:pt x="74" y="40"/>
                    </a:lnTo>
                    <a:lnTo>
                      <a:pt x="72" y="38"/>
                    </a:lnTo>
                    <a:lnTo>
                      <a:pt x="68" y="38"/>
                    </a:lnTo>
                    <a:lnTo>
                      <a:pt x="66" y="36"/>
                    </a:lnTo>
                    <a:lnTo>
                      <a:pt x="62" y="36"/>
                    </a:lnTo>
                    <a:lnTo>
                      <a:pt x="60" y="34"/>
                    </a:lnTo>
                    <a:lnTo>
                      <a:pt x="58" y="34"/>
                    </a:lnTo>
                    <a:lnTo>
                      <a:pt x="56" y="32"/>
                    </a:lnTo>
                    <a:lnTo>
                      <a:pt x="56" y="32"/>
                    </a:lnTo>
                    <a:lnTo>
                      <a:pt x="54" y="30"/>
                    </a:lnTo>
                    <a:lnTo>
                      <a:pt x="54" y="30"/>
                    </a:lnTo>
                    <a:lnTo>
                      <a:pt x="54" y="28"/>
                    </a:lnTo>
                    <a:lnTo>
                      <a:pt x="54" y="26"/>
                    </a:lnTo>
                    <a:lnTo>
                      <a:pt x="52" y="24"/>
                    </a:lnTo>
                    <a:lnTo>
                      <a:pt x="52" y="22"/>
                    </a:lnTo>
                    <a:lnTo>
                      <a:pt x="52" y="18"/>
                    </a:lnTo>
                    <a:lnTo>
                      <a:pt x="52" y="14"/>
                    </a:lnTo>
                    <a:lnTo>
                      <a:pt x="52" y="12"/>
                    </a:lnTo>
                    <a:lnTo>
                      <a:pt x="50" y="10"/>
                    </a:lnTo>
                    <a:lnTo>
                      <a:pt x="50" y="8"/>
                    </a:lnTo>
                    <a:lnTo>
                      <a:pt x="50" y="6"/>
                    </a:lnTo>
                    <a:lnTo>
                      <a:pt x="50" y="6"/>
                    </a:lnTo>
                    <a:lnTo>
                      <a:pt x="48" y="4"/>
                    </a:lnTo>
                    <a:lnTo>
                      <a:pt x="48" y="4"/>
                    </a:lnTo>
                    <a:lnTo>
                      <a:pt x="46" y="2"/>
                    </a:lnTo>
                    <a:lnTo>
                      <a:pt x="44" y="2"/>
                    </a:lnTo>
                    <a:lnTo>
                      <a:pt x="42" y="2"/>
                    </a:lnTo>
                    <a:lnTo>
                      <a:pt x="40" y="2"/>
                    </a:lnTo>
                    <a:lnTo>
                      <a:pt x="38" y="0"/>
                    </a:lnTo>
                    <a:lnTo>
                      <a:pt x="34" y="0"/>
                    </a:lnTo>
                    <a:lnTo>
                      <a:pt x="30" y="0"/>
                    </a:lnTo>
                    <a:lnTo>
                      <a:pt x="26" y="0"/>
                    </a:lnTo>
                    <a:lnTo>
                      <a:pt x="24" y="0"/>
                    </a:lnTo>
                    <a:lnTo>
                      <a:pt x="22" y="2"/>
                    </a:lnTo>
                    <a:lnTo>
                      <a:pt x="2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997" name="Freeform 583"/>
              <p:cNvSpPr>
                <a:spLocks/>
              </p:cNvSpPr>
              <p:nvPr/>
            </p:nvSpPr>
            <p:spPr bwMode="auto">
              <a:xfrm>
                <a:off x="2443453" y="2457617"/>
                <a:ext cx="53975" cy="34925"/>
              </a:xfrm>
              <a:custGeom>
                <a:avLst/>
                <a:gdLst>
                  <a:gd name="T0" fmla="*/ 12 w 34"/>
                  <a:gd name="T1" fmla="*/ 0 h 22"/>
                  <a:gd name="T2" fmla="*/ 12 w 34"/>
                  <a:gd name="T3" fmla="*/ 0 h 22"/>
                  <a:gd name="T4" fmla="*/ 10 w 34"/>
                  <a:gd name="T5" fmla="*/ 2 h 22"/>
                  <a:gd name="T6" fmla="*/ 8 w 34"/>
                  <a:gd name="T7" fmla="*/ 2 h 22"/>
                  <a:gd name="T8" fmla="*/ 6 w 34"/>
                  <a:gd name="T9" fmla="*/ 4 h 22"/>
                  <a:gd name="T10" fmla="*/ 4 w 34"/>
                  <a:gd name="T11" fmla="*/ 6 h 22"/>
                  <a:gd name="T12" fmla="*/ 2 w 34"/>
                  <a:gd name="T13" fmla="*/ 8 h 22"/>
                  <a:gd name="T14" fmla="*/ 2 w 34"/>
                  <a:gd name="T15" fmla="*/ 10 h 22"/>
                  <a:gd name="T16" fmla="*/ 0 w 34"/>
                  <a:gd name="T17" fmla="*/ 10 h 22"/>
                  <a:gd name="T18" fmla="*/ 0 w 34"/>
                  <a:gd name="T19" fmla="*/ 12 h 22"/>
                  <a:gd name="T20" fmla="*/ 0 w 34"/>
                  <a:gd name="T21" fmla="*/ 12 h 22"/>
                  <a:gd name="T22" fmla="*/ 0 w 34"/>
                  <a:gd name="T23" fmla="*/ 14 h 22"/>
                  <a:gd name="T24" fmla="*/ 0 w 34"/>
                  <a:gd name="T25" fmla="*/ 14 h 22"/>
                  <a:gd name="T26" fmla="*/ 0 w 34"/>
                  <a:gd name="T27" fmla="*/ 16 h 22"/>
                  <a:gd name="T28" fmla="*/ 0 w 34"/>
                  <a:gd name="T29" fmla="*/ 16 h 22"/>
                  <a:gd name="T30" fmla="*/ 2 w 34"/>
                  <a:gd name="T31" fmla="*/ 18 h 22"/>
                  <a:gd name="T32" fmla="*/ 2 w 34"/>
                  <a:gd name="T33" fmla="*/ 18 h 22"/>
                  <a:gd name="T34" fmla="*/ 4 w 34"/>
                  <a:gd name="T35" fmla="*/ 18 h 22"/>
                  <a:gd name="T36" fmla="*/ 4 w 34"/>
                  <a:gd name="T37" fmla="*/ 20 h 22"/>
                  <a:gd name="T38" fmla="*/ 8 w 34"/>
                  <a:gd name="T39" fmla="*/ 20 h 22"/>
                  <a:gd name="T40" fmla="*/ 10 w 34"/>
                  <a:gd name="T41" fmla="*/ 22 h 22"/>
                  <a:gd name="T42" fmla="*/ 12 w 34"/>
                  <a:gd name="T43" fmla="*/ 22 h 22"/>
                  <a:gd name="T44" fmla="*/ 16 w 34"/>
                  <a:gd name="T45" fmla="*/ 22 h 22"/>
                  <a:gd name="T46" fmla="*/ 18 w 34"/>
                  <a:gd name="T47" fmla="*/ 22 h 22"/>
                  <a:gd name="T48" fmla="*/ 20 w 34"/>
                  <a:gd name="T49" fmla="*/ 22 h 22"/>
                  <a:gd name="T50" fmla="*/ 22 w 34"/>
                  <a:gd name="T51" fmla="*/ 22 h 22"/>
                  <a:gd name="T52" fmla="*/ 24 w 34"/>
                  <a:gd name="T53" fmla="*/ 20 h 22"/>
                  <a:gd name="T54" fmla="*/ 26 w 34"/>
                  <a:gd name="T55" fmla="*/ 20 h 22"/>
                  <a:gd name="T56" fmla="*/ 28 w 34"/>
                  <a:gd name="T57" fmla="*/ 18 h 22"/>
                  <a:gd name="T58" fmla="*/ 30 w 34"/>
                  <a:gd name="T59" fmla="*/ 18 h 22"/>
                  <a:gd name="T60" fmla="*/ 32 w 34"/>
                  <a:gd name="T61" fmla="*/ 16 h 22"/>
                  <a:gd name="T62" fmla="*/ 32 w 34"/>
                  <a:gd name="T63" fmla="*/ 16 h 22"/>
                  <a:gd name="T64" fmla="*/ 32 w 34"/>
                  <a:gd name="T65" fmla="*/ 14 h 22"/>
                  <a:gd name="T66" fmla="*/ 32 w 34"/>
                  <a:gd name="T67" fmla="*/ 14 h 22"/>
                  <a:gd name="T68" fmla="*/ 34 w 34"/>
                  <a:gd name="T69" fmla="*/ 12 h 22"/>
                  <a:gd name="T70" fmla="*/ 32 w 34"/>
                  <a:gd name="T71" fmla="*/ 10 h 22"/>
                  <a:gd name="T72" fmla="*/ 32 w 34"/>
                  <a:gd name="T73" fmla="*/ 8 h 22"/>
                  <a:gd name="T74" fmla="*/ 32 w 34"/>
                  <a:gd name="T75" fmla="*/ 6 h 22"/>
                  <a:gd name="T76" fmla="*/ 32 w 34"/>
                  <a:gd name="T77" fmla="*/ 6 h 22"/>
                  <a:gd name="T78" fmla="*/ 30 w 34"/>
                  <a:gd name="T79" fmla="*/ 4 h 22"/>
                  <a:gd name="T80" fmla="*/ 30 w 34"/>
                  <a:gd name="T81" fmla="*/ 2 h 22"/>
                  <a:gd name="T82" fmla="*/ 30 w 34"/>
                  <a:gd name="T83" fmla="*/ 2 h 22"/>
                  <a:gd name="T84" fmla="*/ 28 w 34"/>
                  <a:gd name="T85" fmla="*/ 2 h 22"/>
                  <a:gd name="T86" fmla="*/ 26 w 34"/>
                  <a:gd name="T87" fmla="*/ 0 h 22"/>
                  <a:gd name="T88" fmla="*/ 24 w 34"/>
                  <a:gd name="T89" fmla="*/ 0 h 22"/>
                  <a:gd name="T90" fmla="*/ 22 w 34"/>
                  <a:gd name="T91" fmla="*/ 0 h 22"/>
                  <a:gd name="T92" fmla="*/ 18 w 34"/>
                  <a:gd name="T93" fmla="*/ 0 h 22"/>
                  <a:gd name="T94" fmla="*/ 16 w 34"/>
                  <a:gd name="T95" fmla="*/ 0 h 22"/>
                  <a:gd name="T96" fmla="*/ 14 w 34"/>
                  <a:gd name="T97" fmla="*/ 0 h 22"/>
                  <a:gd name="T98" fmla="*/ 12 w 34"/>
                  <a:gd name="T9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22">
                    <a:moveTo>
                      <a:pt x="12" y="0"/>
                    </a:moveTo>
                    <a:lnTo>
                      <a:pt x="12" y="0"/>
                    </a:lnTo>
                    <a:lnTo>
                      <a:pt x="10" y="2"/>
                    </a:lnTo>
                    <a:lnTo>
                      <a:pt x="8" y="2"/>
                    </a:lnTo>
                    <a:lnTo>
                      <a:pt x="6" y="4"/>
                    </a:lnTo>
                    <a:lnTo>
                      <a:pt x="4" y="6"/>
                    </a:lnTo>
                    <a:lnTo>
                      <a:pt x="2" y="8"/>
                    </a:lnTo>
                    <a:lnTo>
                      <a:pt x="2" y="10"/>
                    </a:lnTo>
                    <a:lnTo>
                      <a:pt x="0" y="10"/>
                    </a:lnTo>
                    <a:lnTo>
                      <a:pt x="0" y="12"/>
                    </a:lnTo>
                    <a:lnTo>
                      <a:pt x="0" y="12"/>
                    </a:lnTo>
                    <a:lnTo>
                      <a:pt x="0" y="14"/>
                    </a:lnTo>
                    <a:lnTo>
                      <a:pt x="0" y="14"/>
                    </a:lnTo>
                    <a:lnTo>
                      <a:pt x="0" y="16"/>
                    </a:lnTo>
                    <a:lnTo>
                      <a:pt x="0" y="16"/>
                    </a:lnTo>
                    <a:lnTo>
                      <a:pt x="2" y="18"/>
                    </a:lnTo>
                    <a:lnTo>
                      <a:pt x="2" y="18"/>
                    </a:lnTo>
                    <a:lnTo>
                      <a:pt x="4" y="18"/>
                    </a:lnTo>
                    <a:lnTo>
                      <a:pt x="4" y="20"/>
                    </a:lnTo>
                    <a:lnTo>
                      <a:pt x="8" y="20"/>
                    </a:lnTo>
                    <a:lnTo>
                      <a:pt x="10" y="22"/>
                    </a:lnTo>
                    <a:lnTo>
                      <a:pt x="12" y="22"/>
                    </a:lnTo>
                    <a:lnTo>
                      <a:pt x="16" y="22"/>
                    </a:lnTo>
                    <a:lnTo>
                      <a:pt x="18" y="22"/>
                    </a:lnTo>
                    <a:lnTo>
                      <a:pt x="20" y="22"/>
                    </a:lnTo>
                    <a:lnTo>
                      <a:pt x="22" y="22"/>
                    </a:lnTo>
                    <a:lnTo>
                      <a:pt x="24" y="20"/>
                    </a:lnTo>
                    <a:lnTo>
                      <a:pt x="26" y="20"/>
                    </a:lnTo>
                    <a:lnTo>
                      <a:pt x="28" y="18"/>
                    </a:lnTo>
                    <a:lnTo>
                      <a:pt x="30" y="18"/>
                    </a:lnTo>
                    <a:lnTo>
                      <a:pt x="32" y="16"/>
                    </a:lnTo>
                    <a:lnTo>
                      <a:pt x="32" y="16"/>
                    </a:lnTo>
                    <a:lnTo>
                      <a:pt x="32" y="14"/>
                    </a:lnTo>
                    <a:lnTo>
                      <a:pt x="32" y="14"/>
                    </a:lnTo>
                    <a:lnTo>
                      <a:pt x="34" y="12"/>
                    </a:lnTo>
                    <a:lnTo>
                      <a:pt x="32" y="10"/>
                    </a:lnTo>
                    <a:lnTo>
                      <a:pt x="32" y="8"/>
                    </a:lnTo>
                    <a:lnTo>
                      <a:pt x="32" y="6"/>
                    </a:lnTo>
                    <a:lnTo>
                      <a:pt x="32" y="6"/>
                    </a:lnTo>
                    <a:lnTo>
                      <a:pt x="30" y="4"/>
                    </a:lnTo>
                    <a:lnTo>
                      <a:pt x="30" y="2"/>
                    </a:lnTo>
                    <a:lnTo>
                      <a:pt x="30" y="2"/>
                    </a:lnTo>
                    <a:lnTo>
                      <a:pt x="28" y="2"/>
                    </a:lnTo>
                    <a:lnTo>
                      <a:pt x="26" y="0"/>
                    </a:lnTo>
                    <a:lnTo>
                      <a:pt x="24" y="0"/>
                    </a:lnTo>
                    <a:lnTo>
                      <a:pt x="22" y="0"/>
                    </a:lnTo>
                    <a:lnTo>
                      <a:pt x="18" y="0"/>
                    </a:lnTo>
                    <a:lnTo>
                      <a:pt x="16" y="0"/>
                    </a:lnTo>
                    <a:lnTo>
                      <a:pt x="14" y="0"/>
                    </a:lnTo>
                    <a:lnTo>
                      <a:pt x="1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grpSp>
        <p:grpSp>
          <p:nvGrpSpPr>
            <p:cNvPr id="998" name="Gruppieren 679"/>
            <p:cNvGrpSpPr/>
            <p:nvPr/>
          </p:nvGrpSpPr>
          <p:grpSpPr>
            <a:xfrm>
              <a:off x="4899687" y="1802144"/>
              <a:ext cx="3637358" cy="1551939"/>
              <a:chOff x="4888203" y="2184567"/>
              <a:chExt cx="3333750" cy="1422400"/>
            </a:xfrm>
            <a:solidFill>
              <a:srgbClr val="778888">
                <a:lumMod val="20000"/>
                <a:lumOff val="80000"/>
              </a:srgbClr>
            </a:solidFill>
          </p:grpSpPr>
          <p:sp>
            <p:nvSpPr>
              <p:cNvPr id="999" name="Freeform 160"/>
              <p:cNvSpPr>
                <a:spLocks/>
              </p:cNvSpPr>
              <p:nvPr/>
            </p:nvSpPr>
            <p:spPr bwMode="auto">
              <a:xfrm>
                <a:off x="5275553" y="2692567"/>
                <a:ext cx="34925" cy="38100"/>
              </a:xfrm>
              <a:custGeom>
                <a:avLst/>
                <a:gdLst>
                  <a:gd name="T0" fmla="*/ 10 w 22"/>
                  <a:gd name="T1" fmla="*/ 0 h 24"/>
                  <a:gd name="T2" fmla="*/ 10 w 22"/>
                  <a:gd name="T3" fmla="*/ 0 h 24"/>
                  <a:gd name="T4" fmla="*/ 10 w 22"/>
                  <a:gd name="T5" fmla="*/ 2 h 24"/>
                  <a:gd name="T6" fmla="*/ 10 w 22"/>
                  <a:gd name="T7" fmla="*/ 2 h 24"/>
                  <a:gd name="T8" fmla="*/ 8 w 22"/>
                  <a:gd name="T9" fmla="*/ 2 h 24"/>
                  <a:gd name="T10" fmla="*/ 8 w 22"/>
                  <a:gd name="T11" fmla="*/ 2 h 24"/>
                  <a:gd name="T12" fmla="*/ 6 w 22"/>
                  <a:gd name="T13" fmla="*/ 4 h 24"/>
                  <a:gd name="T14" fmla="*/ 4 w 22"/>
                  <a:gd name="T15" fmla="*/ 6 h 24"/>
                  <a:gd name="T16" fmla="*/ 2 w 22"/>
                  <a:gd name="T17" fmla="*/ 8 h 24"/>
                  <a:gd name="T18" fmla="*/ 0 w 22"/>
                  <a:gd name="T19" fmla="*/ 10 h 24"/>
                  <a:gd name="T20" fmla="*/ 0 w 22"/>
                  <a:gd name="T21" fmla="*/ 12 h 24"/>
                  <a:gd name="T22" fmla="*/ 0 w 22"/>
                  <a:gd name="T23" fmla="*/ 12 h 24"/>
                  <a:gd name="T24" fmla="*/ 0 w 22"/>
                  <a:gd name="T25" fmla="*/ 14 h 24"/>
                  <a:gd name="T26" fmla="*/ 0 w 22"/>
                  <a:gd name="T27" fmla="*/ 14 h 24"/>
                  <a:gd name="T28" fmla="*/ 0 w 22"/>
                  <a:gd name="T29" fmla="*/ 16 h 24"/>
                  <a:gd name="T30" fmla="*/ 0 w 22"/>
                  <a:gd name="T31" fmla="*/ 18 h 24"/>
                  <a:gd name="T32" fmla="*/ 0 w 22"/>
                  <a:gd name="T33" fmla="*/ 20 h 24"/>
                  <a:gd name="T34" fmla="*/ 2 w 22"/>
                  <a:gd name="T35" fmla="*/ 20 h 24"/>
                  <a:gd name="T36" fmla="*/ 2 w 22"/>
                  <a:gd name="T37" fmla="*/ 22 h 24"/>
                  <a:gd name="T38" fmla="*/ 4 w 22"/>
                  <a:gd name="T39" fmla="*/ 22 h 24"/>
                  <a:gd name="T40" fmla="*/ 4 w 22"/>
                  <a:gd name="T41" fmla="*/ 24 h 24"/>
                  <a:gd name="T42" fmla="*/ 6 w 22"/>
                  <a:gd name="T43" fmla="*/ 24 h 24"/>
                  <a:gd name="T44" fmla="*/ 6 w 22"/>
                  <a:gd name="T45" fmla="*/ 24 h 24"/>
                  <a:gd name="T46" fmla="*/ 8 w 22"/>
                  <a:gd name="T47" fmla="*/ 24 h 24"/>
                  <a:gd name="T48" fmla="*/ 8 w 22"/>
                  <a:gd name="T49" fmla="*/ 24 h 24"/>
                  <a:gd name="T50" fmla="*/ 10 w 22"/>
                  <a:gd name="T51" fmla="*/ 24 h 24"/>
                  <a:gd name="T52" fmla="*/ 12 w 22"/>
                  <a:gd name="T53" fmla="*/ 24 h 24"/>
                  <a:gd name="T54" fmla="*/ 12 w 22"/>
                  <a:gd name="T55" fmla="*/ 22 h 24"/>
                  <a:gd name="T56" fmla="*/ 14 w 22"/>
                  <a:gd name="T57" fmla="*/ 22 h 24"/>
                  <a:gd name="T58" fmla="*/ 14 w 22"/>
                  <a:gd name="T59" fmla="*/ 22 h 24"/>
                  <a:gd name="T60" fmla="*/ 16 w 22"/>
                  <a:gd name="T61" fmla="*/ 20 h 24"/>
                  <a:gd name="T62" fmla="*/ 18 w 22"/>
                  <a:gd name="T63" fmla="*/ 18 h 24"/>
                  <a:gd name="T64" fmla="*/ 20 w 22"/>
                  <a:gd name="T65" fmla="*/ 16 h 24"/>
                  <a:gd name="T66" fmla="*/ 20 w 22"/>
                  <a:gd name="T67" fmla="*/ 14 h 24"/>
                  <a:gd name="T68" fmla="*/ 22 w 22"/>
                  <a:gd name="T69" fmla="*/ 14 h 24"/>
                  <a:gd name="T70" fmla="*/ 22 w 22"/>
                  <a:gd name="T71" fmla="*/ 12 h 24"/>
                  <a:gd name="T72" fmla="*/ 22 w 22"/>
                  <a:gd name="T73" fmla="*/ 12 h 24"/>
                  <a:gd name="T74" fmla="*/ 22 w 22"/>
                  <a:gd name="T75" fmla="*/ 10 h 24"/>
                  <a:gd name="T76" fmla="*/ 22 w 22"/>
                  <a:gd name="T77" fmla="*/ 10 h 24"/>
                  <a:gd name="T78" fmla="*/ 22 w 22"/>
                  <a:gd name="T79" fmla="*/ 10 h 24"/>
                  <a:gd name="T80" fmla="*/ 22 w 22"/>
                  <a:gd name="T81" fmla="*/ 8 h 24"/>
                  <a:gd name="T82" fmla="*/ 20 w 22"/>
                  <a:gd name="T83" fmla="*/ 6 h 24"/>
                  <a:gd name="T84" fmla="*/ 20 w 22"/>
                  <a:gd name="T85" fmla="*/ 6 h 24"/>
                  <a:gd name="T86" fmla="*/ 18 w 22"/>
                  <a:gd name="T87" fmla="*/ 4 h 24"/>
                  <a:gd name="T88" fmla="*/ 16 w 22"/>
                  <a:gd name="T89" fmla="*/ 2 h 24"/>
                  <a:gd name="T90" fmla="*/ 14 w 22"/>
                  <a:gd name="T91" fmla="*/ 2 h 24"/>
                  <a:gd name="T92" fmla="*/ 12 w 22"/>
                  <a:gd name="T93" fmla="*/ 2 h 24"/>
                  <a:gd name="T94" fmla="*/ 12 w 22"/>
                  <a:gd name="T95" fmla="*/ 0 h 24"/>
                  <a:gd name="T96" fmla="*/ 10 w 22"/>
                  <a:gd name="T9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24">
                    <a:moveTo>
                      <a:pt x="10" y="0"/>
                    </a:moveTo>
                    <a:lnTo>
                      <a:pt x="10" y="0"/>
                    </a:lnTo>
                    <a:lnTo>
                      <a:pt x="10" y="2"/>
                    </a:lnTo>
                    <a:lnTo>
                      <a:pt x="10" y="2"/>
                    </a:lnTo>
                    <a:lnTo>
                      <a:pt x="8" y="2"/>
                    </a:lnTo>
                    <a:lnTo>
                      <a:pt x="8" y="2"/>
                    </a:lnTo>
                    <a:lnTo>
                      <a:pt x="6" y="4"/>
                    </a:lnTo>
                    <a:lnTo>
                      <a:pt x="4" y="6"/>
                    </a:lnTo>
                    <a:lnTo>
                      <a:pt x="2" y="8"/>
                    </a:lnTo>
                    <a:lnTo>
                      <a:pt x="0" y="10"/>
                    </a:lnTo>
                    <a:lnTo>
                      <a:pt x="0" y="12"/>
                    </a:lnTo>
                    <a:lnTo>
                      <a:pt x="0" y="12"/>
                    </a:lnTo>
                    <a:lnTo>
                      <a:pt x="0" y="14"/>
                    </a:lnTo>
                    <a:lnTo>
                      <a:pt x="0" y="14"/>
                    </a:lnTo>
                    <a:lnTo>
                      <a:pt x="0" y="16"/>
                    </a:lnTo>
                    <a:lnTo>
                      <a:pt x="0" y="18"/>
                    </a:lnTo>
                    <a:lnTo>
                      <a:pt x="0" y="20"/>
                    </a:lnTo>
                    <a:lnTo>
                      <a:pt x="2" y="20"/>
                    </a:lnTo>
                    <a:lnTo>
                      <a:pt x="2" y="22"/>
                    </a:lnTo>
                    <a:lnTo>
                      <a:pt x="4" y="22"/>
                    </a:lnTo>
                    <a:lnTo>
                      <a:pt x="4" y="24"/>
                    </a:lnTo>
                    <a:lnTo>
                      <a:pt x="6" y="24"/>
                    </a:lnTo>
                    <a:lnTo>
                      <a:pt x="6" y="24"/>
                    </a:lnTo>
                    <a:lnTo>
                      <a:pt x="8" y="24"/>
                    </a:lnTo>
                    <a:lnTo>
                      <a:pt x="8" y="24"/>
                    </a:lnTo>
                    <a:lnTo>
                      <a:pt x="10" y="24"/>
                    </a:lnTo>
                    <a:lnTo>
                      <a:pt x="12" y="24"/>
                    </a:lnTo>
                    <a:lnTo>
                      <a:pt x="12" y="22"/>
                    </a:lnTo>
                    <a:lnTo>
                      <a:pt x="14" y="22"/>
                    </a:lnTo>
                    <a:lnTo>
                      <a:pt x="14" y="22"/>
                    </a:lnTo>
                    <a:lnTo>
                      <a:pt x="16" y="20"/>
                    </a:lnTo>
                    <a:lnTo>
                      <a:pt x="18" y="18"/>
                    </a:lnTo>
                    <a:lnTo>
                      <a:pt x="20" y="16"/>
                    </a:lnTo>
                    <a:lnTo>
                      <a:pt x="20" y="14"/>
                    </a:lnTo>
                    <a:lnTo>
                      <a:pt x="22" y="14"/>
                    </a:lnTo>
                    <a:lnTo>
                      <a:pt x="22" y="12"/>
                    </a:lnTo>
                    <a:lnTo>
                      <a:pt x="22" y="12"/>
                    </a:lnTo>
                    <a:lnTo>
                      <a:pt x="22" y="10"/>
                    </a:lnTo>
                    <a:lnTo>
                      <a:pt x="22" y="10"/>
                    </a:lnTo>
                    <a:lnTo>
                      <a:pt x="22" y="10"/>
                    </a:lnTo>
                    <a:lnTo>
                      <a:pt x="22" y="8"/>
                    </a:lnTo>
                    <a:lnTo>
                      <a:pt x="20" y="6"/>
                    </a:lnTo>
                    <a:lnTo>
                      <a:pt x="20" y="6"/>
                    </a:lnTo>
                    <a:lnTo>
                      <a:pt x="18" y="4"/>
                    </a:lnTo>
                    <a:lnTo>
                      <a:pt x="16" y="2"/>
                    </a:lnTo>
                    <a:lnTo>
                      <a:pt x="14" y="2"/>
                    </a:lnTo>
                    <a:lnTo>
                      <a:pt x="12" y="2"/>
                    </a:lnTo>
                    <a:lnTo>
                      <a:pt x="12" y="0"/>
                    </a:lnTo>
                    <a:lnTo>
                      <a:pt x="1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0" name="Freeform 162"/>
              <p:cNvSpPr>
                <a:spLocks/>
              </p:cNvSpPr>
              <p:nvPr/>
            </p:nvSpPr>
            <p:spPr bwMode="auto">
              <a:xfrm>
                <a:off x="5453353" y="2660817"/>
                <a:ext cx="50800" cy="25400"/>
              </a:xfrm>
              <a:custGeom>
                <a:avLst/>
                <a:gdLst>
                  <a:gd name="T0" fmla="*/ 28 w 32"/>
                  <a:gd name="T1" fmla="*/ 4 h 16"/>
                  <a:gd name="T2" fmla="*/ 28 w 32"/>
                  <a:gd name="T3" fmla="*/ 4 h 16"/>
                  <a:gd name="T4" fmla="*/ 26 w 32"/>
                  <a:gd name="T5" fmla="*/ 4 h 16"/>
                  <a:gd name="T6" fmla="*/ 24 w 32"/>
                  <a:gd name="T7" fmla="*/ 2 h 16"/>
                  <a:gd name="T8" fmla="*/ 24 w 32"/>
                  <a:gd name="T9" fmla="*/ 2 h 16"/>
                  <a:gd name="T10" fmla="*/ 22 w 32"/>
                  <a:gd name="T11" fmla="*/ 0 h 16"/>
                  <a:gd name="T12" fmla="*/ 20 w 32"/>
                  <a:gd name="T13" fmla="*/ 0 h 16"/>
                  <a:gd name="T14" fmla="*/ 18 w 32"/>
                  <a:gd name="T15" fmla="*/ 0 h 16"/>
                  <a:gd name="T16" fmla="*/ 16 w 32"/>
                  <a:gd name="T17" fmla="*/ 0 h 16"/>
                  <a:gd name="T18" fmla="*/ 14 w 32"/>
                  <a:gd name="T19" fmla="*/ 0 h 16"/>
                  <a:gd name="T20" fmla="*/ 14 w 32"/>
                  <a:gd name="T21" fmla="*/ 0 h 16"/>
                  <a:gd name="T22" fmla="*/ 12 w 32"/>
                  <a:gd name="T23" fmla="*/ 0 h 16"/>
                  <a:gd name="T24" fmla="*/ 10 w 32"/>
                  <a:gd name="T25" fmla="*/ 2 h 16"/>
                  <a:gd name="T26" fmla="*/ 8 w 32"/>
                  <a:gd name="T27" fmla="*/ 2 h 16"/>
                  <a:gd name="T28" fmla="*/ 6 w 32"/>
                  <a:gd name="T29" fmla="*/ 4 h 16"/>
                  <a:gd name="T30" fmla="*/ 4 w 32"/>
                  <a:gd name="T31" fmla="*/ 6 h 16"/>
                  <a:gd name="T32" fmla="*/ 2 w 32"/>
                  <a:gd name="T33" fmla="*/ 8 h 16"/>
                  <a:gd name="T34" fmla="*/ 2 w 32"/>
                  <a:gd name="T35" fmla="*/ 8 h 16"/>
                  <a:gd name="T36" fmla="*/ 2 w 32"/>
                  <a:gd name="T37" fmla="*/ 8 h 16"/>
                  <a:gd name="T38" fmla="*/ 0 w 32"/>
                  <a:gd name="T39" fmla="*/ 10 h 16"/>
                  <a:gd name="T40" fmla="*/ 0 w 32"/>
                  <a:gd name="T41" fmla="*/ 10 h 16"/>
                  <a:gd name="T42" fmla="*/ 0 w 32"/>
                  <a:gd name="T43" fmla="*/ 12 h 16"/>
                  <a:gd name="T44" fmla="*/ 2 w 32"/>
                  <a:gd name="T45" fmla="*/ 12 h 16"/>
                  <a:gd name="T46" fmla="*/ 2 w 32"/>
                  <a:gd name="T47" fmla="*/ 12 h 16"/>
                  <a:gd name="T48" fmla="*/ 2 w 32"/>
                  <a:gd name="T49" fmla="*/ 12 h 16"/>
                  <a:gd name="T50" fmla="*/ 2 w 32"/>
                  <a:gd name="T51" fmla="*/ 12 h 16"/>
                  <a:gd name="T52" fmla="*/ 4 w 32"/>
                  <a:gd name="T53" fmla="*/ 12 h 16"/>
                  <a:gd name="T54" fmla="*/ 4 w 32"/>
                  <a:gd name="T55" fmla="*/ 14 h 16"/>
                  <a:gd name="T56" fmla="*/ 8 w 32"/>
                  <a:gd name="T57" fmla="*/ 12 h 16"/>
                  <a:gd name="T58" fmla="*/ 10 w 32"/>
                  <a:gd name="T59" fmla="*/ 12 h 16"/>
                  <a:gd name="T60" fmla="*/ 10 w 32"/>
                  <a:gd name="T61" fmla="*/ 12 h 16"/>
                  <a:gd name="T62" fmla="*/ 12 w 32"/>
                  <a:gd name="T63" fmla="*/ 14 h 16"/>
                  <a:gd name="T64" fmla="*/ 16 w 32"/>
                  <a:gd name="T65" fmla="*/ 14 h 16"/>
                  <a:gd name="T66" fmla="*/ 18 w 32"/>
                  <a:gd name="T67" fmla="*/ 16 h 16"/>
                  <a:gd name="T68" fmla="*/ 22 w 32"/>
                  <a:gd name="T69" fmla="*/ 16 h 16"/>
                  <a:gd name="T70" fmla="*/ 26 w 32"/>
                  <a:gd name="T71" fmla="*/ 16 h 16"/>
                  <a:gd name="T72" fmla="*/ 28 w 32"/>
                  <a:gd name="T73" fmla="*/ 16 h 16"/>
                  <a:gd name="T74" fmla="*/ 28 w 32"/>
                  <a:gd name="T75" fmla="*/ 16 h 16"/>
                  <a:gd name="T76" fmla="*/ 30 w 32"/>
                  <a:gd name="T77" fmla="*/ 16 h 16"/>
                  <a:gd name="T78" fmla="*/ 30 w 32"/>
                  <a:gd name="T79" fmla="*/ 16 h 16"/>
                  <a:gd name="T80" fmla="*/ 32 w 32"/>
                  <a:gd name="T81" fmla="*/ 16 h 16"/>
                  <a:gd name="T82" fmla="*/ 32 w 32"/>
                  <a:gd name="T83" fmla="*/ 16 h 16"/>
                  <a:gd name="T84" fmla="*/ 32 w 32"/>
                  <a:gd name="T85" fmla="*/ 14 h 16"/>
                  <a:gd name="T86" fmla="*/ 32 w 32"/>
                  <a:gd name="T87" fmla="*/ 14 h 16"/>
                  <a:gd name="T88" fmla="*/ 32 w 32"/>
                  <a:gd name="T89" fmla="*/ 14 h 16"/>
                  <a:gd name="T90" fmla="*/ 32 w 32"/>
                  <a:gd name="T91" fmla="*/ 12 h 16"/>
                  <a:gd name="T92" fmla="*/ 32 w 32"/>
                  <a:gd name="T93" fmla="*/ 12 h 16"/>
                  <a:gd name="T94" fmla="*/ 32 w 32"/>
                  <a:gd name="T95" fmla="*/ 10 h 16"/>
                  <a:gd name="T96" fmla="*/ 30 w 32"/>
                  <a:gd name="T97" fmla="*/ 8 h 16"/>
                  <a:gd name="T98" fmla="*/ 30 w 32"/>
                  <a:gd name="T99" fmla="*/ 6 h 16"/>
                  <a:gd name="T100" fmla="*/ 28 w 32"/>
                  <a:gd name="T101" fmla="*/ 6 h 16"/>
                  <a:gd name="T102" fmla="*/ 28 w 32"/>
                  <a:gd name="T103"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16">
                    <a:moveTo>
                      <a:pt x="28" y="4"/>
                    </a:moveTo>
                    <a:lnTo>
                      <a:pt x="28" y="4"/>
                    </a:lnTo>
                    <a:lnTo>
                      <a:pt x="26" y="4"/>
                    </a:lnTo>
                    <a:lnTo>
                      <a:pt x="24" y="2"/>
                    </a:lnTo>
                    <a:lnTo>
                      <a:pt x="24" y="2"/>
                    </a:lnTo>
                    <a:lnTo>
                      <a:pt x="22" y="0"/>
                    </a:lnTo>
                    <a:lnTo>
                      <a:pt x="20" y="0"/>
                    </a:lnTo>
                    <a:lnTo>
                      <a:pt x="18" y="0"/>
                    </a:lnTo>
                    <a:lnTo>
                      <a:pt x="16" y="0"/>
                    </a:lnTo>
                    <a:lnTo>
                      <a:pt x="14" y="0"/>
                    </a:lnTo>
                    <a:lnTo>
                      <a:pt x="14" y="0"/>
                    </a:lnTo>
                    <a:lnTo>
                      <a:pt x="12" y="0"/>
                    </a:lnTo>
                    <a:lnTo>
                      <a:pt x="10" y="2"/>
                    </a:lnTo>
                    <a:lnTo>
                      <a:pt x="8" y="2"/>
                    </a:lnTo>
                    <a:lnTo>
                      <a:pt x="6" y="4"/>
                    </a:lnTo>
                    <a:lnTo>
                      <a:pt x="4" y="6"/>
                    </a:lnTo>
                    <a:lnTo>
                      <a:pt x="2" y="8"/>
                    </a:lnTo>
                    <a:lnTo>
                      <a:pt x="2" y="8"/>
                    </a:lnTo>
                    <a:lnTo>
                      <a:pt x="2" y="8"/>
                    </a:lnTo>
                    <a:lnTo>
                      <a:pt x="0" y="10"/>
                    </a:lnTo>
                    <a:lnTo>
                      <a:pt x="0" y="10"/>
                    </a:lnTo>
                    <a:lnTo>
                      <a:pt x="0" y="12"/>
                    </a:lnTo>
                    <a:lnTo>
                      <a:pt x="2" y="12"/>
                    </a:lnTo>
                    <a:lnTo>
                      <a:pt x="2" y="12"/>
                    </a:lnTo>
                    <a:lnTo>
                      <a:pt x="2" y="12"/>
                    </a:lnTo>
                    <a:lnTo>
                      <a:pt x="2" y="12"/>
                    </a:lnTo>
                    <a:lnTo>
                      <a:pt x="4" y="12"/>
                    </a:lnTo>
                    <a:lnTo>
                      <a:pt x="4" y="14"/>
                    </a:lnTo>
                    <a:lnTo>
                      <a:pt x="8" y="12"/>
                    </a:lnTo>
                    <a:lnTo>
                      <a:pt x="10" y="12"/>
                    </a:lnTo>
                    <a:lnTo>
                      <a:pt x="10" y="12"/>
                    </a:lnTo>
                    <a:lnTo>
                      <a:pt x="12" y="14"/>
                    </a:lnTo>
                    <a:lnTo>
                      <a:pt x="16" y="14"/>
                    </a:lnTo>
                    <a:lnTo>
                      <a:pt x="18" y="16"/>
                    </a:lnTo>
                    <a:lnTo>
                      <a:pt x="22" y="16"/>
                    </a:lnTo>
                    <a:lnTo>
                      <a:pt x="26" y="16"/>
                    </a:lnTo>
                    <a:lnTo>
                      <a:pt x="28" y="16"/>
                    </a:lnTo>
                    <a:lnTo>
                      <a:pt x="28" y="16"/>
                    </a:lnTo>
                    <a:lnTo>
                      <a:pt x="30" y="16"/>
                    </a:lnTo>
                    <a:lnTo>
                      <a:pt x="30" y="16"/>
                    </a:lnTo>
                    <a:lnTo>
                      <a:pt x="32" y="16"/>
                    </a:lnTo>
                    <a:lnTo>
                      <a:pt x="32" y="16"/>
                    </a:lnTo>
                    <a:lnTo>
                      <a:pt x="32" y="14"/>
                    </a:lnTo>
                    <a:lnTo>
                      <a:pt x="32" y="14"/>
                    </a:lnTo>
                    <a:lnTo>
                      <a:pt x="32" y="14"/>
                    </a:lnTo>
                    <a:lnTo>
                      <a:pt x="32" y="12"/>
                    </a:lnTo>
                    <a:lnTo>
                      <a:pt x="32" y="12"/>
                    </a:lnTo>
                    <a:lnTo>
                      <a:pt x="32" y="10"/>
                    </a:lnTo>
                    <a:lnTo>
                      <a:pt x="30" y="8"/>
                    </a:lnTo>
                    <a:lnTo>
                      <a:pt x="30" y="6"/>
                    </a:lnTo>
                    <a:lnTo>
                      <a:pt x="28" y="6"/>
                    </a:lnTo>
                    <a:lnTo>
                      <a:pt x="28"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1" name="Freeform 164"/>
              <p:cNvSpPr>
                <a:spLocks/>
              </p:cNvSpPr>
              <p:nvPr/>
            </p:nvSpPr>
            <p:spPr bwMode="auto">
              <a:xfrm>
                <a:off x="5339053" y="2390942"/>
                <a:ext cx="311150" cy="269875"/>
              </a:xfrm>
              <a:custGeom>
                <a:avLst/>
                <a:gdLst>
                  <a:gd name="T0" fmla="*/ 50 w 196"/>
                  <a:gd name="T1" fmla="*/ 96 h 170"/>
                  <a:gd name="T2" fmla="*/ 60 w 196"/>
                  <a:gd name="T3" fmla="*/ 88 h 170"/>
                  <a:gd name="T4" fmla="*/ 66 w 196"/>
                  <a:gd name="T5" fmla="*/ 80 h 170"/>
                  <a:gd name="T6" fmla="*/ 86 w 196"/>
                  <a:gd name="T7" fmla="*/ 66 h 170"/>
                  <a:gd name="T8" fmla="*/ 106 w 196"/>
                  <a:gd name="T9" fmla="*/ 52 h 170"/>
                  <a:gd name="T10" fmla="*/ 126 w 196"/>
                  <a:gd name="T11" fmla="*/ 40 h 170"/>
                  <a:gd name="T12" fmla="*/ 160 w 196"/>
                  <a:gd name="T13" fmla="*/ 28 h 170"/>
                  <a:gd name="T14" fmla="*/ 184 w 196"/>
                  <a:gd name="T15" fmla="*/ 20 h 170"/>
                  <a:gd name="T16" fmla="*/ 194 w 196"/>
                  <a:gd name="T17" fmla="*/ 16 h 170"/>
                  <a:gd name="T18" fmla="*/ 196 w 196"/>
                  <a:gd name="T19" fmla="*/ 12 h 170"/>
                  <a:gd name="T20" fmla="*/ 192 w 196"/>
                  <a:gd name="T21" fmla="*/ 6 h 170"/>
                  <a:gd name="T22" fmla="*/ 184 w 196"/>
                  <a:gd name="T23" fmla="*/ 2 h 170"/>
                  <a:gd name="T24" fmla="*/ 170 w 196"/>
                  <a:gd name="T25" fmla="*/ 2 h 170"/>
                  <a:gd name="T26" fmla="*/ 160 w 196"/>
                  <a:gd name="T27" fmla="*/ 4 h 170"/>
                  <a:gd name="T28" fmla="*/ 150 w 196"/>
                  <a:gd name="T29" fmla="*/ 14 h 170"/>
                  <a:gd name="T30" fmla="*/ 136 w 196"/>
                  <a:gd name="T31" fmla="*/ 18 h 170"/>
                  <a:gd name="T32" fmla="*/ 110 w 196"/>
                  <a:gd name="T33" fmla="*/ 22 h 170"/>
                  <a:gd name="T34" fmla="*/ 98 w 196"/>
                  <a:gd name="T35" fmla="*/ 22 h 170"/>
                  <a:gd name="T36" fmla="*/ 92 w 196"/>
                  <a:gd name="T37" fmla="*/ 26 h 170"/>
                  <a:gd name="T38" fmla="*/ 84 w 196"/>
                  <a:gd name="T39" fmla="*/ 34 h 170"/>
                  <a:gd name="T40" fmla="*/ 76 w 196"/>
                  <a:gd name="T41" fmla="*/ 36 h 170"/>
                  <a:gd name="T42" fmla="*/ 68 w 196"/>
                  <a:gd name="T43" fmla="*/ 34 h 170"/>
                  <a:gd name="T44" fmla="*/ 64 w 196"/>
                  <a:gd name="T45" fmla="*/ 40 h 170"/>
                  <a:gd name="T46" fmla="*/ 60 w 196"/>
                  <a:gd name="T47" fmla="*/ 46 h 170"/>
                  <a:gd name="T48" fmla="*/ 54 w 196"/>
                  <a:gd name="T49" fmla="*/ 48 h 170"/>
                  <a:gd name="T50" fmla="*/ 38 w 196"/>
                  <a:gd name="T51" fmla="*/ 50 h 170"/>
                  <a:gd name="T52" fmla="*/ 32 w 196"/>
                  <a:gd name="T53" fmla="*/ 54 h 170"/>
                  <a:gd name="T54" fmla="*/ 30 w 196"/>
                  <a:gd name="T55" fmla="*/ 66 h 170"/>
                  <a:gd name="T56" fmla="*/ 30 w 196"/>
                  <a:gd name="T57" fmla="*/ 76 h 170"/>
                  <a:gd name="T58" fmla="*/ 28 w 196"/>
                  <a:gd name="T59" fmla="*/ 80 h 170"/>
                  <a:gd name="T60" fmla="*/ 24 w 196"/>
                  <a:gd name="T61" fmla="*/ 80 h 170"/>
                  <a:gd name="T62" fmla="*/ 18 w 196"/>
                  <a:gd name="T63" fmla="*/ 78 h 170"/>
                  <a:gd name="T64" fmla="*/ 16 w 196"/>
                  <a:gd name="T65" fmla="*/ 82 h 170"/>
                  <a:gd name="T66" fmla="*/ 18 w 196"/>
                  <a:gd name="T67" fmla="*/ 88 h 170"/>
                  <a:gd name="T68" fmla="*/ 16 w 196"/>
                  <a:gd name="T69" fmla="*/ 94 h 170"/>
                  <a:gd name="T70" fmla="*/ 8 w 196"/>
                  <a:gd name="T71" fmla="*/ 100 h 170"/>
                  <a:gd name="T72" fmla="*/ 4 w 196"/>
                  <a:gd name="T73" fmla="*/ 106 h 170"/>
                  <a:gd name="T74" fmla="*/ 2 w 196"/>
                  <a:gd name="T75" fmla="*/ 122 h 170"/>
                  <a:gd name="T76" fmla="*/ 0 w 196"/>
                  <a:gd name="T77" fmla="*/ 136 h 170"/>
                  <a:gd name="T78" fmla="*/ 2 w 196"/>
                  <a:gd name="T79" fmla="*/ 140 h 170"/>
                  <a:gd name="T80" fmla="*/ 12 w 196"/>
                  <a:gd name="T81" fmla="*/ 144 h 170"/>
                  <a:gd name="T82" fmla="*/ 16 w 196"/>
                  <a:gd name="T83" fmla="*/ 150 h 170"/>
                  <a:gd name="T84" fmla="*/ 22 w 196"/>
                  <a:gd name="T85" fmla="*/ 164 h 170"/>
                  <a:gd name="T86" fmla="*/ 26 w 196"/>
                  <a:gd name="T87" fmla="*/ 168 h 170"/>
                  <a:gd name="T88" fmla="*/ 40 w 196"/>
                  <a:gd name="T89" fmla="*/ 170 h 170"/>
                  <a:gd name="T90" fmla="*/ 60 w 196"/>
                  <a:gd name="T91" fmla="*/ 170 h 170"/>
                  <a:gd name="T92" fmla="*/ 68 w 196"/>
                  <a:gd name="T93" fmla="*/ 168 h 170"/>
                  <a:gd name="T94" fmla="*/ 70 w 196"/>
                  <a:gd name="T95" fmla="*/ 162 h 170"/>
                  <a:gd name="T96" fmla="*/ 70 w 196"/>
                  <a:gd name="T97" fmla="*/ 156 h 170"/>
                  <a:gd name="T98" fmla="*/ 58 w 196"/>
                  <a:gd name="T99" fmla="*/ 152 h 170"/>
                  <a:gd name="T100" fmla="*/ 48 w 196"/>
                  <a:gd name="T101" fmla="*/ 144 h 170"/>
                  <a:gd name="T102" fmla="*/ 44 w 196"/>
                  <a:gd name="T103" fmla="*/ 138 h 170"/>
                  <a:gd name="T104" fmla="*/ 44 w 196"/>
                  <a:gd name="T105" fmla="*/ 118 h 170"/>
                  <a:gd name="T106" fmla="*/ 48 w 196"/>
                  <a:gd name="T107" fmla="*/ 104 h 170"/>
                  <a:gd name="T108" fmla="*/ 48 w 196"/>
                  <a:gd name="T109" fmla="*/ 9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6" h="170">
                    <a:moveTo>
                      <a:pt x="48" y="98"/>
                    </a:moveTo>
                    <a:lnTo>
                      <a:pt x="48" y="98"/>
                    </a:lnTo>
                    <a:lnTo>
                      <a:pt x="48" y="98"/>
                    </a:lnTo>
                    <a:lnTo>
                      <a:pt x="50" y="98"/>
                    </a:lnTo>
                    <a:lnTo>
                      <a:pt x="50" y="96"/>
                    </a:lnTo>
                    <a:lnTo>
                      <a:pt x="52" y="94"/>
                    </a:lnTo>
                    <a:lnTo>
                      <a:pt x="54" y="94"/>
                    </a:lnTo>
                    <a:lnTo>
                      <a:pt x="58" y="90"/>
                    </a:lnTo>
                    <a:lnTo>
                      <a:pt x="58" y="90"/>
                    </a:lnTo>
                    <a:lnTo>
                      <a:pt x="60" y="88"/>
                    </a:lnTo>
                    <a:lnTo>
                      <a:pt x="62" y="86"/>
                    </a:lnTo>
                    <a:lnTo>
                      <a:pt x="62" y="86"/>
                    </a:lnTo>
                    <a:lnTo>
                      <a:pt x="64" y="84"/>
                    </a:lnTo>
                    <a:lnTo>
                      <a:pt x="66" y="82"/>
                    </a:lnTo>
                    <a:lnTo>
                      <a:pt x="66" y="80"/>
                    </a:lnTo>
                    <a:lnTo>
                      <a:pt x="68" y="78"/>
                    </a:lnTo>
                    <a:lnTo>
                      <a:pt x="74" y="74"/>
                    </a:lnTo>
                    <a:lnTo>
                      <a:pt x="78" y="72"/>
                    </a:lnTo>
                    <a:lnTo>
                      <a:pt x="82" y="68"/>
                    </a:lnTo>
                    <a:lnTo>
                      <a:pt x="86" y="66"/>
                    </a:lnTo>
                    <a:lnTo>
                      <a:pt x="92" y="62"/>
                    </a:lnTo>
                    <a:lnTo>
                      <a:pt x="98" y="60"/>
                    </a:lnTo>
                    <a:lnTo>
                      <a:pt x="102" y="56"/>
                    </a:lnTo>
                    <a:lnTo>
                      <a:pt x="104" y="54"/>
                    </a:lnTo>
                    <a:lnTo>
                      <a:pt x="106" y="52"/>
                    </a:lnTo>
                    <a:lnTo>
                      <a:pt x="112" y="48"/>
                    </a:lnTo>
                    <a:lnTo>
                      <a:pt x="120" y="44"/>
                    </a:lnTo>
                    <a:lnTo>
                      <a:pt x="122" y="42"/>
                    </a:lnTo>
                    <a:lnTo>
                      <a:pt x="124" y="40"/>
                    </a:lnTo>
                    <a:lnTo>
                      <a:pt x="126" y="40"/>
                    </a:lnTo>
                    <a:lnTo>
                      <a:pt x="128" y="38"/>
                    </a:lnTo>
                    <a:lnTo>
                      <a:pt x="132" y="38"/>
                    </a:lnTo>
                    <a:lnTo>
                      <a:pt x="138" y="36"/>
                    </a:lnTo>
                    <a:lnTo>
                      <a:pt x="152" y="30"/>
                    </a:lnTo>
                    <a:lnTo>
                      <a:pt x="160" y="28"/>
                    </a:lnTo>
                    <a:lnTo>
                      <a:pt x="166" y="26"/>
                    </a:lnTo>
                    <a:lnTo>
                      <a:pt x="170" y="24"/>
                    </a:lnTo>
                    <a:lnTo>
                      <a:pt x="176" y="22"/>
                    </a:lnTo>
                    <a:lnTo>
                      <a:pt x="182" y="20"/>
                    </a:lnTo>
                    <a:lnTo>
                      <a:pt x="184" y="20"/>
                    </a:lnTo>
                    <a:lnTo>
                      <a:pt x="186" y="18"/>
                    </a:lnTo>
                    <a:lnTo>
                      <a:pt x="188" y="18"/>
                    </a:lnTo>
                    <a:lnTo>
                      <a:pt x="192" y="16"/>
                    </a:lnTo>
                    <a:lnTo>
                      <a:pt x="192" y="16"/>
                    </a:lnTo>
                    <a:lnTo>
                      <a:pt x="194" y="16"/>
                    </a:lnTo>
                    <a:lnTo>
                      <a:pt x="194" y="14"/>
                    </a:lnTo>
                    <a:lnTo>
                      <a:pt x="196" y="14"/>
                    </a:lnTo>
                    <a:lnTo>
                      <a:pt x="196" y="14"/>
                    </a:lnTo>
                    <a:lnTo>
                      <a:pt x="196" y="14"/>
                    </a:lnTo>
                    <a:lnTo>
                      <a:pt x="196" y="12"/>
                    </a:lnTo>
                    <a:lnTo>
                      <a:pt x="194" y="12"/>
                    </a:lnTo>
                    <a:lnTo>
                      <a:pt x="194" y="10"/>
                    </a:lnTo>
                    <a:lnTo>
                      <a:pt x="194" y="8"/>
                    </a:lnTo>
                    <a:lnTo>
                      <a:pt x="192" y="6"/>
                    </a:lnTo>
                    <a:lnTo>
                      <a:pt x="192" y="6"/>
                    </a:lnTo>
                    <a:lnTo>
                      <a:pt x="190" y="4"/>
                    </a:lnTo>
                    <a:lnTo>
                      <a:pt x="188" y="4"/>
                    </a:lnTo>
                    <a:lnTo>
                      <a:pt x="188" y="2"/>
                    </a:lnTo>
                    <a:lnTo>
                      <a:pt x="186" y="2"/>
                    </a:lnTo>
                    <a:lnTo>
                      <a:pt x="184" y="2"/>
                    </a:lnTo>
                    <a:lnTo>
                      <a:pt x="184" y="2"/>
                    </a:lnTo>
                    <a:lnTo>
                      <a:pt x="180" y="2"/>
                    </a:lnTo>
                    <a:lnTo>
                      <a:pt x="176" y="0"/>
                    </a:lnTo>
                    <a:lnTo>
                      <a:pt x="172" y="0"/>
                    </a:lnTo>
                    <a:lnTo>
                      <a:pt x="170" y="2"/>
                    </a:lnTo>
                    <a:lnTo>
                      <a:pt x="166" y="2"/>
                    </a:lnTo>
                    <a:lnTo>
                      <a:pt x="164" y="2"/>
                    </a:lnTo>
                    <a:lnTo>
                      <a:pt x="162" y="2"/>
                    </a:lnTo>
                    <a:lnTo>
                      <a:pt x="162" y="4"/>
                    </a:lnTo>
                    <a:lnTo>
                      <a:pt x="160" y="4"/>
                    </a:lnTo>
                    <a:lnTo>
                      <a:pt x="158" y="6"/>
                    </a:lnTo>
                    <a:lnTo>
                      <a:pt x="156" y="8"/>
                    </a:lnTo>
                    <a:lnTo>
                      <a:pt x="152" y="12"/>
                    </a:lnTo>
                    <a:lnTo>
                      <a:pt x="150" y="14"/>
                    </a:lnTo>
                    <a:lnTo>
                      <a:pt x="150" y="14"/>
                    </a:lnTo>
                    <a:lnTo>
                      <a:pt x="148" y="14"/>
                    </a:lnTo>
                    <a:lnTo>
                      <a:pt x="146" y="16"/>
                    </a:lnTo>
                    <a:lnTo>
                      <a:pt x="144" y="18"/>
                    </a:lnTo>
                    <a:lnTo>
                      <a:pt x="140" y="18"/>
                    </a:lnTo>
                    <a:lnTo>
                      <a:pt x="136" y="18"/>
                    </a:lnTo>
                    <a:lnTo>
                      <a:pt x="130" y="20"/>
                    </a:lnTo>
                    <a:lnTo>
                      <a:pt x="124" y="22"/>
                    </a:lnTo>
                    <a:lnTo>
                      <a:pt x="122" y="22"/>
                    </a:lnTo>
                    <a:lnTo>
                      <a:pt x="118" y="22"/>
                    </a:lnTo>
                    <a:lnTo>
                      <a:pt x="110" y="22"/>
                    </a:lnTo>
                    <a:lnTo>
                      <a:pt x="106" y="22"/>
                    </a:lnTo>
                    <a:lnTo>
                      <a:pt x="102" y="22"/>
                    </a:lnTo>
                    <a:lnTo>
                      <a:pt x="102" y="22"/>
                    </a:lnTo>
                    <a:lnTo>
                      <a:pt x="100" y="22"/>
                    </a:lnTo>
                    <a:lnTo>
                      <a:pt x="98" y="22"/>
                    </a:lnTo>
                    <a:lnTo>
                      <a:pt x="96" y="22"/>
                    </a:lnTo>
                    <a:lnTo>
                      <a:pt x="96" y="22"/>
                    </a:lnTo>
                    <a:lnTo>
                      <a:pt x="96" y="24"/>
                    </a:lnTo>
                    <a:lnTo>
                      <a:pt x="94" y="24"/>
                    </a:lnTo>
                    <a:lnTo>
                      <a:pt x="92" y="26"/>
                    </a:lnTo>
                    <a:lnTo>
                      <a:pt x="90" y="28"/>
                    </a:lnTo>
                    <a:lnTo>
                      <a:pt x="88" y="30"/>
                    </a:lnTo>
                    <a:lnTo>
                      <a:pt x="86" y="32"/>
                    </a:lnTo>
                    <a:lnTo>
                      <a:pt x="84" y="34"/>
                    </a:lnTo>
                    <a:lnTo>
                      <a:pt x="84" y="34"/>
                    </a:lnTo>
                    <a:lnTo>
                      <a:pt x="82" y="36"/>
                    </a:lnTo>
                    <a:lnTo>
                      <a:pt x="82" y="36"/>
                    </a:lnTo>
                    <a:lnTo>
                      <a:pt x="82" y="36"/>
                    </a:lnTo>
                    <a:lnTo>
                      <a:pt x="78" y="36"/>
                    </a:lnTo>
                    <a:lnTo>
                      <a:pt x="76" y="36"/>
                    </a:lnTo>
                    <a:lnTo>
                      <a:pt x="74" y="34"/>
                    </a:lnTo>
                    <a:lnTo>
                      <a:pt x="72" y="34"/>
                    </a:lnTo>
                    <a:lnTo>
                      <a:pt x="70" y="34"/>
                    </a:lnTo>
                    <a:lnTo>
                      <a:pt x="68" y="34"/>
                    </a:lnTo>
                    <a:lnTo>
                      <a:pt x="68" y="34"/>
                    </a:lnTo>
                    <a:lnTo>
                      <a:pt x="66" y="36"/>
                    </a:lnTo>
                    <a:lnTo>
                      <a:pt x="66" y="36"/>
                    </a:lnTo>
                    <a:lnTo>
                      <a:pt x="66" y="36"/>
                    </a:lnTo>
                    <a:lnTo>
                      <a:pt x="64" y="38"/>
                    </a:lnTo>
                    <a:lnTo>
                      <a:pt x="64" y="40"/>
                    </a:lnTo>
                    <a:lnTo>
                      <a:pt x="62" y="40"/>
                    </a:lnTo>
                    <a:lnTo>
                      <a:pt x="62" y="42"/>
                    </a:lnTo>
                    <a:lnTo>
                      <a:pt x="60" y="44"/>
                    </a:lnTo>
                    <a:lnTo>
                      <a:pt x="60" y="46"/>
                    </a:lnTo>
                    <a:lnTo>
                      <a:pt x="60" y="46"/>
                    </a:lnTo>
                    <a:lnTo>
                      <a:pt x="58" y="46"/>
                    </a:lnTo>
                    <a:lnTo>
                      <a:pt x="58" y="48"/>
                    </a:lnTo>
                    <a:lnTo>
                      <a:pt x="56" y="48"/>
                    </a:lnTo>
                    <a:lnTo>
                      <a:pt x="54" y="48"/>
                    </a:lnTo>
                    <a:lnTo>
                      <a:pt x="54" y="48"/>
                    </a:lnTo>
                    <a:lnTo>
                      <a:pt x="50" y="48"/>
                    </a:lnTo>
                    <a:lnTo>
                      <a:pt x="46" y="48"/>
                    </a:lnTo>
                    <a:lnTo>
                      <a:pt x="42" y="48"/>
                    </a:lnTo>
                    <a:lnTo>
                      <a:pt x="38" y="50"/>
                    </a:lnTo>
                    <a:lnTo>
                      <a:pt x="38" y="50"/>
                    </a:lnTo>
                    <a:lnTo>
                      <a:pt x="36" y="50"/>
                    </a:lnTo>
                    <a:lnTo>
                      <a:pt x="34" y="50"/>
                    </a:lnTo>
                    <a:lnTo>
                      <a:pt x="34" y="52"/>
                    </a:lnTo>
                    <a:lnTo>
                      <a:pt x="32" y="52"/>
                    </a:lnTo>
                    <a:lnTo>
                      <a:pt x="32" y="54"/>
                    </a:lnTo>
                    <a:lnTo>
                      <a:pt x="32" y="54"/>
                    </a:lnTo>
                    <a:lnTo>
                      <a:pt x="32" y="56"/>
                    </a:lnTo>
                    <a:lnTo>
                      <a:pt x="30" y="58"/>
                    </a:lnTo>
                    <a:lnTo>
                      <a:pt x="30" y="60"/>
                    </a:lnTo>
                    <a:lnTo>
                      <a:pt x="30" y="66"/>
                    </a:lnTo>
                    <a:lnTo>
                      <a:pt x="30" y="68"/>
                    </a:lnTo>
                    <a:lnTo>
                      <a:pt x="30" y="70"/>
                    </a:lnTo>
                    <a:lnTo>
                      <a:pt x="30" y="72"/>
                    </a:lnTo>
                    <a:lnTo>
                      <a:pt x="30" y="72"/>
                    </a:lnTo>
                    <a:lnTo>
                      <a:pt x="30" y="76"/>
                    </a:lnTo>
                    <a:lnTo>
                      <a:pt x="30" y="78"/>
                    </a:lnTo>
                    <a:lnTo>
                      <a:pt x="30" y="78"/>
                    </a:lnTo>
                    <a:lnTo>
                      <a:pt x="28" y="80"/>
                    </a:lnTo>
                    <a:lnTo>
                      <a:pt x="28" y="80"/>
                    </a:lnTo>
                    <a:lnTo>
                      <a:pt x="28" y="80"/>
                    </a:lnTo>
                    <a:lnTo>
                      <a:pt x="28" y="82"/>
                    </a:lnTo>
                    <a:lnTo>
                      <a:pt x="28" y="82"/>
                    </a:lnTo>
                    <a:lnTo>
                      <a:pt x="26" y="82"/>
                    </a:lnTo>
                    <a:lnTo>
                      <a:pt x="26" y="82"/>
                    </a:lnTo>
                    <a:lnTo>
                      <a:pt x="24" y="80"/>
                    </a:lnTo>
                    <a:lnTo>
                      <a:pt x="22" y="80"/>
                    </a:lnTo>
                    <a:lnTo>
                      <a:pt x="20" y="80"/>
                    </a:lnTo>
                    <a:lnTo>
                      <a:pt x="20" y="80"/>
                    </a:lnTo>
                    <a:lnTo>
                      <a:pt x="18" y="78"/>
                    </a:lnTo>
                    <a:lnTo>
                      <a:pt x="18" y="78"/>
                    </a:lnTo>
                    <a:lnTo>
                      <a:pt x="18" y="80"/>
                    </a:lnTo>
                    <a:lnTo>
                      <a:pt x="18" y="80"/>
                    </a:lnTo>
                    <a:lnTo>
                      <a:pt x="16" y="80"/>
                    </a:lnTo>
                    <a:lnTo>
                      <a:pt x="16" y="80"/>
                    </a:lnTo>
                    <a:lnTo>
                      <a:pt x="16" y="82"/>
                    </a:lnTo>
                    <a:lnTo>
                      <a:pt x="18" y="84"/>
                    </a:lnTo>
                    <a:lnTo>
                      <a:pt x="18" y="84"/>
                    </a:lnTo>
                    <a:lnTo>
                      <a:pt x="18" y="86"/>
                    </a:lnTo>
                    <a:lnTo>
                      <a:pt x="18" y="88"/>
                    </a:lnTo>
                    <a:lnTo>
                      <a:pt x="18" y="88"/>
                    </a:lnTo>
                    <a:lnTo>
                      <a:pt x="18" y="88"/>
                    </a:lnTo>
                    <a:lnTo>
                      <a:pt x="18" y="90"/>
                    </a:lnTo>
                    <a:lnTo>
                      <a:pt x="18" y="90"/>
                    </a:lnTo>
                    <a:lnTo>
                      <a:pt x="16" y="92"/>
                    </a:lnTo>
                    <a:lnTo>
                      <a:pt x="16" y="94"/>
                    </a:lnTo>
                    <a:lnTo>
                      <a:pt x="14" y="96"/>
                    </a:lnTo>
                    <a:lnTo>
                      <a:pt x="14" y="96"/>
                    </a:lnTo>
                    <a:lnTo>
                      <a:pt x="12" y="98"/>
                    </a:lnTo>
                    <a:lnTo>
                      <a:pt x="10" y="98"/>
                    </a:lnTo>
                    <a:lnTo>
                      <a:pt x="8" y="100"/>
                    </a:lnTo>
                    <a:lnTo>
                      <a:pt x="8" y="100"/>
                    </a:lnTo>
                    <a:lnTo>
                      <a:pt x="6" y="100"/>
                    </a:lnTo>
                    <a:lnTo>
                      <a:pt x="6" y="102"/>
                    </a:lnTo>
                    <a:lnTo>
                      <a:pt x="6" y="104"/>
                    </a:lnTo>
                    <a:lnTo>
                      <a:pt x="4" y="106"/>
                    </a:lnTo>
                    <a:lnTo>
                      <a:pt x="4" y="110"/>
                    </a:lnTo>
                    <a:lnTo>
                      <a:pt x="4" y="114"/>
                    </a:lnTo>
                    <a:lnTo>
                      <a:pt x="4" y="118"/>
                    </a:lnTo>
                    <a:lnTo>
                      <a:pt x="2" y="120"/>
                    </a:lnTo>
                    <a:lnTo>
                      <a:pt x="2" y="122"/>
                    </a:lnTo>
                    <a:lnTo>
                      <a:pt x="0" y="128"/>
                    </a:lnTo>
                    <a:lnTo>
                      <a:pt x="0" y="130"/>
                    </a:lnTo>
                    <a:lnTo>
                      <a:pt x="0" y="134"/>
                    </a:lnTo>
                    <a:lnTo>
                      <a:pt x="0" y="134"/>
                    </a:lnTo>
                    <a:lnTo>
                      <a:pt x="0" y="136"/>
                    </a:lnTo>
                    <a:lnTo>
                      <a:pt x="0" y="136"/>
                    </a:lnTo>
                    <a:lnTo>
                      <a:pt x="0" y="138"/>
                    </a:lnTo>
                    <a:lnTo>
                      <a:pt x="0" y="138"/>
                    </a:lnTo>
                    <a:lnTo>
                      <a:pt x="2" y="138"/>
                    </a:lnTo>
                    <a:lnTo>
                      <a:pt x="2" y="140"/>
                    </a:lnTo>
                    <a:lnTo>
                      <a:pt x="4" y="140"/>
                    </a:lnTo>
                    <a:lnTo>
                      <a:pt x="6" y="142"/>
                    </a:lnTo>
                    <a:lnTo>
                      <a:pt x="10" y="142"/>
                    </a:lnTo>
                    <a:lnTo>
                      <a:pt x="12" y="144"/>
                    </a:lnTo>
                    <a:lnTo>
                      <a:pt x="12" y="144"/>
                    </a:lnTo>
                    <a:lnTo>
                      <a:pt x="14" y="144"/>
                    </a:lnTo>
                    <a:lnTo>
                      <a:pt x="14" y="146"/>
                    </a:lnTo>
                    <a:lnTo>
                      <a:pt x="14" y="146"/>
                    </a:lnTo>
                    <a:lnTo>
                      <a:pt x="16" y="148"/>
                    </a:lnTo>
                    <a:lnTo>
                      <a:pt x="16" y="150"/>
                    </a:lnTo>
                    <a:lnTo>
                      <a:pt x="18" y="152"/>
                    </a:lnTo>
                    <a:lnTo>
                      <a:pt x="18" y="156"/>
                    </a:lnTo>
                    <a:lnTo>
                      <a:pt x="20" y="160"/>
                    </a:lnTo>
                    <a:lnTo>
                      <a:pt x="22" y="164"/>
                    </a:lnTo>
                    <a:lnTo>
                      <a:pt x="22" y="164"/>
                    </a:lnTo>
                    <a:lnTo>
                      <a:pt x="22" y="166"/>
                    </a:lnTo>
                    <a:lnTo>
                      <a:pt x="24" y="168"/>
                    </a:lnTo>
                    <a:lnTo>
                      <a:pt x="24" y="168"/>
                    </a:lnTo>
                    <a:lnTo>
                      <a:pt x="26" y="168"/>
                    </a:lnTo>
                    <a:lnTo>
                      <a:pt x="26" y="168"/>
                    </a:lnTo>
                    <a:lnTo>
                      <a:pt x="28" y="170"/>
                    </a:lnTo>
                    <a:lnTo>
                      <a:pt x="32" y="170"/>
                    </a:lnTo>
                    <a:lnTo>
                      <a:pt x="34" y="170"/>
                    </a:lnTo>
                    <a:lnTo>
                      <a:pt x="36" y="170"/>
                    </a:lnTo>
                    <a:lnTo>
                      <a:pt x="40" y="170"/>
                    </a:lnTo>
                    <a:lnTo>
                      <a:pt x="44" y="170"/>
                    </a:lnTo>
                    <a:lnTo>
                      <a:pt x="50" y="170"/>
                    </a:lnTo>
                    <a:lnTo>
                      <a:pt x="52" y="170"/>
                    </a:lnTo>
                    <a:lnTo>
                      <a:pt x="56" y="170"/>
                    </a:lnTo>
                    <a:lnTo>
                      <a:pt x="60" y="170"/>
                    </a:lnTo>
                    <a:lnTo>
                      <a:pt x="62" y="170"/>
                    </a:lnTo>
                    <a:lnTo>
                      <a:pt x="64" y="170"/>
                    </a:lnTo>
                    <a:lnTo>
                      <a:pt x="66" y="170"/>
                    </a:lnTo>
                    <a:lnTo>
                      <a:pt x="66" y="168"/>
                    </a:lnTo>
                    <a:lnTo>
                      <a:pt x="68" y="168"/>
                    </a:lnTo>
                    <a:lnTo>
                      <a:pt x="68" y="168"/>
                    </a:lnTo>
                    <a:lnTo>
                      <a:pt x="68" y="166"/>
                    </a:lnTo>
                    <a:lnTo>
                      <a:pt x="70" y="164"/>
                    </a:lnTo>
                    <a:lnTo>
                      <a:pt x="70" y="164"/>
                    </a:lnTo>
                    <a:lnTo>
                      <a:pt x="70" y="162"/>
                    </a:lnTo>
                    <a:lnTo>
                      <a:pt x="70" y="160"/>
                    </a:lnTo>
                    <a:lnTo>
                      <a:pt x="70" y="160"/>
                    </a:lnTo>
                    <a:lnTo>
                      <a:pt x="70" y="158"/>
                    </a:lnTo>
                    <a:lnTo>
                      <a:pt x="70" y="158"/>
                    </a:lnTo>
                    <a:lnTo>
                      <a:pt x="70" y="156"/>
                    </a:lnTo>
                    <a:lnTo>
                      <a:pt x="68" y="156"/>
                    </a:lnTo>
                    <a:lnTo>
                      <a:pt x="68" y="156"/>
                    </a:lnTo>
                    <a:lnTo>
                      <a:pt x="66" y="154"/>
                    </a:lnTo>
                    <a:lnTo>
                      <a:pt x="64" y="152"/>
                    </a:lnTo>
                    <a:lnTo>
                      <a:pt x="58" y="152"/>
                    </a:lnTo>
                    <a:lnTo>
                      <a:pt x="56" y="150"/>
                    </a:lnTo>
                    <a:lnTo>
                      <a:pt x="54" y="148"/>
                    </a:lnTo>
                    <a:lnTo>
                      <a:pt x="52" y="148"/>
                    </a:lnTo>
                    <a:lnTo>
                      <a:pt x="50" y="144"/>
                    </a:lnTo>
                    <a:lnTo>
                      <a:pt x="48" y="144"/>
                    </a:lnTo>
                    <a:lnTo>
                      <a:pt x="46" y="142"/>
                    </a:lnTo>
                    <a:lnTo>
                      <a:pt x="46" y="140"/>
                    </a:lnTo>
                    <a:lnTo>
                      <a:pt x="44" y="138"/>
                    </a:lnTo>
                    <a:lnTo>
                      <a:pt x="44" y="138"/>
                    </a:lnTo>
                    <a:lnTo>
                      <a:pt x="44" y="138"/>
                    </a:lnTo>
                    <a:lnTo>
                      <a:pt x="44" y="134"/>
                    </a:lnTo>
                    <a:lnTo>
                      <a:pt x="44" y="132"/>
                    </a:lnTo>
                    <a:lnTo>
                      <a:pt x="44" y="128"/>
                    </a:lnTo>
                    <a:lnTo>
                      <a:pt x="44" y="124"/>
                    </a:lnTo>
                    <a:lnTo>
                      <a:pt x="44" y="118"/>
                    </a:lnTo>
                    <a:lnTo>
                      <a:pt x="46" y="116"/>
                    </a:lnTo>
                    <a:lnTo>
                      <a:pt x="46" y="116"/>
                    </a:lnTo>
                    <a:lnTo>
                      <a:pt x="46" y="110"/>
                    </a:lnTo>
                    <a:lnTo>
                      <a:pt x="48" y="106"/>
                    </a:lnTo>
                    <a:lnTo>
                      <a:pt x="48" y="104"/>
                    </a:lnTo>
                    <a:lnTo>
                      <a:pt x="48" y="102"/>
                    </a:lnTo>
                    <a:lnTo>
                      <a:pt x="48" y="102"/>
                    </a:lnTo>
                    <a:lnTo>
                      <a:pt x="48" y="100"/>
                    </a:lnTo>
                    <a:lnTo>
                      <a:pt x="48" y="100"/>
                    </a:lnTo>
                    <a:lnTo>
                      <a:pt x="48" y="9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2" name="Freeform 166"/>
              <p:cNvSpPr>
                <a:spLocks/>
              </p:cNvSpPr>
              <p:nvPr/>
            </p:nvSpPr>
            <p:spPr bwMode="auto">
              <a:xfrm>
                <a:off x="5688303" y="2489367"/>
                <a:ext cx="15875" cy="28575"/>
              </a:xfrm>
              <a:custGeom>
                <a:avLst/>
                <a:gdLst>
                  <a:gd name="T0" fmla="*/ 6 w 10"/>
                  <a:gd name="T1" fmla="*/ 18 h 18"/>
                  <a:gd name="T2" fmla="*/ 6 w 10"/>
                  <a:gd name="T3" fmla="*/ 18 h 18"/>
                  <a:gd name="T4" fmla="*/ 6 w 10"/>
                  <a:gd name="T5" fmla="*/ 16 h 18"/>
                  <a:gd name="T6" fmla="*/ 8 w 10"/>
                  <a:gd name="T7" fmla="*/ 16 h 18"/>
                  <a:gd name="T8" fmla="*/ 8 w 10"/>
                  <a:gd name="T9" fmla="*/ 16 h 18"/>
                  <a:gd name="T10" fmla="*/ 8 w 10"/>
                  <a:gd name="T11" fmla="*/ 14 h 18"/>
                  <a:gd name="T12" fmla="*/ 10 w 10"/>
                  <a:gd name="T13" fmla="*/ 14 h 18"/>
                  <a:gd name="T14" fmla="*/ 10 w 10"/>
                  <a:gd name="T15" fmla="*/ 12 h 18"/>
                  <a:gd name="T16" fmla="*/ 10 w 10"/>
                  <a:gd name="T17" fmla="*/ 10 h 18"/>
                  <a:gd name="T18" fmla="*/ 10 w 10"/>
                  <a:gd name="T19" fmla="*/ 10 h 18"/>
                  <a:gd name="T20" fmla="*/ 10 w 10"/>
                  <a:gd name="T21" fmla="*/ 8 h 18"/>
                  <a:gd name="T22" fmla="*/ 10 w 10"/>
                  <a:gd name="T23" fmla="*/ 6 h 18"/>
                  <a:gd name="T24" fmla="*/ 10 w 10"/>
                  <a:gd name="T25" fmla="*/ 4 h 18"/>
                  <a:gd name="T26" fmla="*/ 8 w 10"/>
                  <a:gd name="T27" fmla="*/ 4 h 18"/>
                  <a:gd name="T28" fmla="*/ 8 w 10"/>
                  <a:gd name="T29" fmla="*/ 2 h 18"/>
                  <a:gd name="T30" fmla="*/ 8 w 10"/>
                  <a:gd name="T31" fmla="*/ 2 h 18"/>
                  <a:gd name="T32" fmla="*/ 6 w 10"/>
                  <a:gd name="T33" fmla="*/ 2 h 18"/>
                  <a:gd name="T34" fmla="*/ 6 w 10"/>
                  <a:gd name="T35" fmla="*/ 0 h 18"/>
                  <a:gd name="T36" fmla="*/ 4 w 10"/>
                  <a:gd name="T37" fmla="*/ 2 h 18"/>
                  <a:gd name="T38" fmla="*/ 4 w 10"/>
                  <a:gd name="T39" fmla="*/ 2 h 18"/>
                  <a:gd name="T40" fmla="*/ 2 w 10"/>
                  <a:gd name="T41" fmla="*/ 2 h 18"/>
                  <a:gd name="T42" fmla="*/ 2 w 10"/>
                  <a:gd name="T43" fmla="*/ 4 h 18"/>
                  <a:gd name="T44" fmla="*/ 2 w 10"/>
                  <a:gd name="T45" fmla="*/ 4 h 18"/>
                  <a:gd name="T46" fmla="*/ 2 w 10"/>
                  <a:gd name="T47" fmla="*/ 6 h 18"/>
                  <a:gd name="T48" fmla="*/ 0 w 10"/>
                  <a:gd name="T49" fmla="*/ 8 h 18"/>
                  <a:gd name="T50" fmla="*/ 0 w 10"/>
                  <a:gd name="T51" fmla="*/ 10 h 18"/>
                  <a:gd name="T52" fmla="*/ 0 w 10"/>
                  <a:gd name="T53" fmla="*/ 10 h 18"/>
                  <a:gd name="T54" fmla="*/ 2 w 10"/>
                  <a:gd name="T55" fmla="*/ 12 h 18"/>
                  <a:gd name="T56" fmla="*/ 2 w 10"/>
                  <a:gd name="T57" fmla="*/ 14 h 18"/>
                  <a:gd name="T58" fmla="*/ 2 w 10"/>
                  <a:gd name="T59" fmla="*/ 14 h 18"/>
                  <a:gd name="T60" fmla="*/ 2 w 10"/>
                  <a:gd name="T61" fmla="*/ 16 h 18"/>
                  <a:gd name="T62" fmla="*/ 4 w 10"/>
                  <a:gd name="T63" fmla="*/ 16 h 18"/>
                  <a:gd name="T64" fmla="*/ 4 w 10"/>
                  <a:gd name="T65" fmla="*/ 16 h 18"/>
                  <a:gd name="T66" fmla="*/ 6 w 10"/>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8">
                    <a:moveTo>
                      <a:pt x="6" y="18"/>
                    </a:moveTo>
                    <a:lnTo>
                      <a:pt x="6" y="18"/>
                    </a:lnTo>
                    <a:lnTo>
                      <a:pt x="6" y="16"/>
                    </a:lnTo>
                    <a:lnTo>
                      <a:pt x="8" y="16"/>
                    </a:lnTo>
                    <a:lnTo>
                      <a:pt x="8" y="16"/>
                    </a:lnTo>
                    <a:lnTo>
                      <a:pt x="8" y="14"/>
                    </a:lnTo>
                    <a:lnTo>
                      <a:pt x="10" y="14"/>
                    </a:lnTo>
                    <a:lnTo>
                      <a:pt x="10" y="12"/>
                    </a:lnTo>
                    <a:lnTo>
                      <a:pt x="10" y="10"/>
                    </a:lnTo>
                    <a:lnTo>
                      <a:pt x="10" y="10"/>
                    </a:lnTo>
                    <a:lnTo>
                      <a:pt x="10" y="8"/>
                    </a:lnTo>
                    <a:lnTo>
                      <a:pt x="10" y="6"/>
                    </a:lnTo>
                    <a:lnTo>
                      <a:pt x="10" y="4"/>
                    </a:lnTo>
                    <a:lnTo>
                      <a:pt x="8" y="4"/>
                    </a:lnTo>
                    <a:lnTo>
                      <a:pt x="8" y="2"/>
                    </a:lnTo>
                    <a:lnTo>
                      <a:pt x="8" y="2"/>
                    </a:lnTo>
                    <a:lnTo>
                      <a:pt x="6" y="2"/>
                    </a:lnTo>
                    <a:lnTo>
                      <a:pt x="6" y="0"/>
                    </a:lnTo>
                    <a:lnTo>
                      <a:pt x="4" y="2"/>
                    </a:lnTo>
                    <a:lnTo>
                      <a:pt x="4" y="2"/>
                    </a:lnTo>
                    <a:lnTo>
                      <a:pt x="2" y="2"/>
                    </a:lnTo>
                    <a:lnTo>
                      <a:pt x="2" y="4"/>
                    </a:lnTo>
                    <a:lnTo>
                      <a:pt x="2" y="4"/>
                    </a:lnTo>
                    <a:lnTo>
                      <a:pt x="2" y="6"/>
                    </a:lnTo>
                    <a:lnTo>
                      <a:pt x="0" y="8"/>
                    </a:lnTo>
                    <a:lnTo>
                      <a:pt x="0" y="10"/>
                    </a:lnTo>
                    <a:lnTo>
                      <a:pt x="0" y="10"/>
                    </a:lnTo>
                    <a:lnTo>
                      <a:pt x="2" y="12"/>
                    </a:lnTo>
                    <a:lnTo>
                      <a:pt x="2" y="14"/>
                    </a:lnTo>
                    <a:lnTo>
                      <a:pt x="2" y="14"/>
                    </a:lnTo>
                    <a:lnTo>
                      <a:pt x="2" y="16"/>
                    </a:lnTo>
                    <a:lnTo>
                      <a:pt x="4" y="16"/>
                    </a:lnTo>
                    <a:lnTo>
                      <a:pt x="4" y="16"/>
                    </a:lnTo>
                    <a:lnTo>
                      <a:pt x="6"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3" name="Freeform 168"/>
              <p:cNvSpPr>
                <a:spLocks/>
              </p:cNvSpPr>
              <p:nvPr/>
            </p:nvSpPr>
            <p:spPr bwMode="auto">
              <a:xfrm>
                <a:off x="6037553" y="2184567"/>
                <a:ext cx="107950" cy="82550"/>
              </a:xfrm>
              <a:custGeom>
                <a:avLst/>
                <a:gdLst>
                  <a:gd name="T0" fmla="*/ 34 w 68"/>
                  <a:gd name="T1" fmla="*/ 8 h 52"/>
                  <a:gd name="T2" fmla="*/ 30 w 68"/>
                  <a:gd name="T3" fmla="*/ 10 h 52"/>
                  <a:gd name="T4" fmla="*/ 26 w 68"/>
                  <a:gd name="T5" fmla="*/ 14 h 52"/>
                  <a:gd name="T6" fmla="*/ 24 w 68"/>
                  <a:gd name="T7" fmla="*/ 16 h 52"/>
                  <a:gd name="T8" fmla="*/ 20 w 68"/>
                  <a:gd name="T9" fmla="*/ 18 h 52"/>
                  <a:gd name="T10" fmla="*/ 16 w 68"/>
                  <a:gd name="T11" fmla="*/ 18 h 52"/>
                  <a:gd name="T12" fmla="*/ 12 w 68"/>
                  <a:gd name="T13" fmla="*/ 18 h 52"/>
                  <a:gd name="T14" fmla="*/ 8 w 68"/>
                  <a:gd name="T15" fmla="*/ 20 h 52"/>
                  <a:gd name="T16" fmla="*/ 4 w 68"/>
                  <a:gd name="T17" fmla="*/ 22 h 52"/>
                  <a:gd name="T18" fmla="*/ 0 w 68"/>
                  <a:gd name="T19" fmla="*/ 26 h 52"/>
                  <a:gd name="T20" fmla="*/ 0 w 68"/>
                  <a:gd name="T21" fmla="*/ 26 h 52"/>
                  <a:gd name="T22" fmla="*/ 0 w 68"/>
                  <a:gd name="T23" fmla="*/ 28 h 52"/>
                  <a:gd name="T24" fmla="*/ 0 w 68"/>
                  <a:gd name="T25" fmla="*/ 30 h 52"/>
                  <a:gd name="T26" fmla="*/ 0 w 68"/>
                  <a:gd name="T27" fmla="*/ 30 h 52"/>
                  <a:gd name="T28" fmla="*/ 2 w 68"/>
                  <a:gd name="T29" fmla="*/ 34 h 52"/>
                  <a:gd name="T30" fmla="*/ 6 w 68"/>
                  <a:gd name="T31" fmla="*/ 38 h 52"/>
                  <a:gd name="T32" fmla="*/ 12 w 68"/>
                  <a:gd name="T33" fmla="*/ 44 h 52"/>
                  <a:gd name="T34" fmla="*/ 16 w 68"/>
                  <a:gd name="T35" fmla="*/ 48 h 52"/>
                  <a:gd name="T36" fmla="*/ 22 w 68"/>
                  <a:gd name="T37" fmla="*/ 50 h 52"/>
                  <a:gd name="T38" fmla="*/ 24 w 68"/>
                  <a:gd name="T39" fmla="*/ 52 h 52"/>
                  <a:gd name="T40" fmla="*/ 26 w 68"/>
                  <a:gd name="T41" fmla="*/ 52 h 52"/>
                  <a:gd name="T42" fmla="*/ 30 w 68"/>
                  <a:gd name="T43" fmla="*/ 52 h 52"/>
                  <a:gd name="T44" fmla="*/ 34 w 68"/>
                  <a:gd name="T45" fmla="*/ 50 h 52"/>
                  <a:gd name="T46" fmla="*/ 44 w 68"/>
                  <a:gd name="T47" fmla="*/ 44 h 52"/>
                  <a:gd name="T48" fmla="*/ 48 w 68"/>
                  <a:gd name="T49" fmla="*/ 42 h 52"/>
                  <a:gd name="T50" fmla="*/ 52 w 68"/>
                  <a:gd name="T51" fmla="*/ 40 h 52"/>
                  <a:gd name="T52" fmla="*/ 62 w 68"/>
                  <a:gd name="T53" fmla="*/ 38 h 52"/>
                  <a:gd name="T54" fmla="*/ 64 w 68"/>
                  <a:gd name="T55" fmla="*/ 36 h 52"/>
                  <a:gd name="T56" fmla="*/ 66 w 68"/>
                  <a:gd name="T57" fmla="*/ 34 h 52"/>
                  <a:gd name="T58" fmla="*/ 68 w 68"/>
                  <a:gd name="T59" fmla="*/ 32 h 52"/>
                  <a:gd name="T60" fmla="*/ 68 w 68"/>
                  <a:gd name="T61" fmla="*/ 30 h 52"/>
                  <a:gd name="T62" fmla="*/ 68 w 68"/>
                  <a:gd name="T63" fmla="*/ 26 h 52"/>
                  <a:gd name="T64" fmla="*/ 66 w 68"/>
                  <a:gd name="T65" fmla="*/ 18 h 52"/>
                  <a:gd name="T66" fmla="*/ 64 w 68"/>
                  <a:gd name="T67" fmla="*/ 14 h 52"/>
                  <a:gd name="T68" fmla="*/ 62 w 68"/>
                  <a:gd name="T69" fmla="*/ 10 h 52"/>
                  <a:gd name="T70" fmla="*/ 58 w 68"/>
                  <a:gd name="T71" fmla="*/ 6 h 52"/>
                  <a:gd name="T72" fmla="*/ 52 w 68"/>
                  <a:gd name="T73" fmla="*/ 2 h 52"/>
                  <a:gd name="T74" fmla="*/ 48 w 68"/>
                  <a:gd name="T75" fmla="*/ 0 h 52"/>
                  <a:gd name="T76" fmla="*/ 46 w 68"/>
                  <a:gd name="T77" fmla="*/ 0 h 52"/>
                  <a:gd name="T78" fmla="*/ 44 w 68"/>
                  <a:gd name="T79" fmla="*/ 0 h 52"/>
                  <a:gd name="T80" fmla="*/ 42 w 68"/>
                  <a:gd name="T81" fmla="*/ 2 h 52"/>
                  <a:gd name="T82" fmla="*/ 38 w 68"/>
                  <a:gd name="T83" fmla="*/ 4 h 52"/>
                  <a:gd name="T84" fmla="*/ 34 w 68"/>
                  <a:gd name="T8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52">
                    <a:moveTo>
                      <a:pt x="34" y="8"/>
                    </a:moveTo>
                    <a:lnTo>
                      <a:pt x="34" y="8"/>
                    </a:lnTo>
                    <a:lnTo>
                      <a:pt x="32" y="8"/>
                    </a:lnTo>
                    <a:lnTo>
                      <a:pt x="30" y="10"/>
                    </a:lnTo>
                    <a:lnTo>
                      <a:pt x="28" y="14"/>
                    </a:lnTo>
                    <a:lnTo>
                      <a:pt x="26" y="14"/>
                    </a:lnTo>
                    <a:lnTo>
                      <a:pt x="24" y="16"/>
                    </a:lnTo>
                    <a:lnTo>
                      <a:pt x="24" y="16"/>
                    </a:lnTo>
                    <a:lnTo>
                      <a:pt x="22" y="18"/>
                    </a:lnTo>
                    <a:lnTo>
                      <a:pt x="20" y="18"/>
                    </a:lnTo>
                    <a:lnTo>
                      <a:pt x="20" y="18"/>
                    </a:lnTo>
                    <a:lnTo>
                      <a:pt x="16" y="18"/>
                    </a:lnTo>
                    <a:lnTo>
                      <a:pt x="12" y="18"/>
                    </a:lnTo>
                    <a:lnTo>
                      <a:pt x="12" y="18"/>
                    </a:lnTo>
                    <a:lnTo>
                      <a:pt x="10" y="20"/>
                    </a:lnTo>
                    <a:lnTo>
                      <a:pt x="8" y="20"/>
                    </a:lnTo>
                    <a:lnTo>
                      <a:pt x="6" y="22"/>
                    </a:lnTo>
                    <a:lnTo>
                      <a:pt x="4" y="22"/>
                    </a:lnTo>
                    <a:lnTo>
                      <a:pt x="2" y="24"/>
                    </a:lnTo>
                    <a:lnTo>
                      <a:pt x="0" y="26"/>
                    </a:lnTo>
                    <a:lnTo>
                      <a:pt x="0" y="26"/>
                    </a:lnTo>
                    <a:lnTo>
                      <a:pt x="0" y="26"/>
                    </a:lnTo>
                    <a:lnTo>
                      <a:pt x="0" y="28"/>
                    </a:lnTo>
                    <a:lnTo>
                      <a:pt x="0" y="28"/>
                    </a:lnTo>
                    <a:lnTo>
                      <a:pt x="0" y="28"/>
                    </a:lnTo>
                    <a:lnTo>
                      <a:pt x="0" y="30"/>
                    </a:lnTo>
                    <a:lnTo>
                      <a:pt x="0" y="30"/>
                    </a:lnTo>
                    <a:lnTo>
                      <a:pt x="0" y="30"/>
                    </a:lnTo>
                    <a:lnTo>
                      <a:pt x="2" y="32"/>
                    </a:lnTo>
                    <a:lnTo>
                      <a:pt x="2" y="34"/>
                    </a:lnTo>
                    <a:lnTo>
                      <a:pt x="4" y="36"/>
                    </a:lnTo>
                    <a:lnTo>
                      <a:pt x="6" y="38"/>
                    </a:lnTo>
                    <a:lnTo>
                      <a:pt x="8" y="40"/>
                    </a:lnTo>
                    <a:lnTo>
                      <a:pt x="12" y="44"/>
                    </a:lnTo>
                    <a:lnTo>
                      <a:pt x="14" y="46"/>
                    </a:lnTo>
                    <a:lnTo>
                      <a:pt x="16" y="48"/>
                    </a:lnTo>
                    <a:lnTo>
                      <a:pt x="18" y="48"/>
                    </a:lnTo>
                    <a:lnTo>
                      <a:pt x="22" y="50"/>
                    </a:lnTo>
                    <a:lnTo>
                      <a:pt x="24" y="52"/>
                    </a:lnTo>
                    <a:lnTo>
                      <a:pt x="24" y="52"/>
                    </a:lnTo>
                    <a:lnTo>
                      <a:pt x="26" y="52"/>
                    </a:lnTo>
                    <a:lnTo>
                      <a:pt x="26" y="52"/>
                    </a:lnTo>
                    <a:lnTo>
                      <a:pt x="28" y="52"/>
                    </a:lnTo>
                    <a:lnTo>
                      <a:pt x="30" y="52"/>
                    </a:lnTo>
                    <a:lnTo>
                      <a:pt x="30" y="50"/>
                    </a:lnTo>
                    <a:lnTo>
                      <a:pt x="34" y="50"/>
                    </a:lnTo>
                    <a:lnTo>
                      <a:pt x="38" y="48"/>
                    </a:lnTo>
                    <a:lnTo>
                      <a:pt x="44" y="44"/>
                    </a:lnTo>
                    <a:lnTo>
                      <a:pt x="46" y="42"/>
                    </a:lnTo>
                    <a:lnTo>
                      <a:pt x="48" y="42"/>
                    </a:lnTo>
                    <a:lnTo>
                      <a:pt x="50" y="40"/>
                    </a:lnTo>
                    <a:lnTo>
                      <a:pt x="52" y="40"/>
                    </a:lnTo>
                    <a:lnTo>
                      <a:pt x="58" y="38"/>
                    </a:lnTo>
                    <a:lnTo>
                      <a:pt x="62" y="38"/>
                    </a:lnTo>
                    <a:lnTo>
                      <a:pt x="64" y="36"/>
                    </a:lnTo>
                    <a:lnTo>
                      <a:pt x="64" y="36"/>
                    </a:lnTo>
                    <a:lnTo>
                      <a:pt x="66" y="34"/>
                    </a:lnTo>
                    <a:lnTo>
                      <a:pt x="66" y="34"/>
                    </a:lnTo>
                    <a:lnTo>
                      <a:pt x="68" y="32"/>
                    </a:lnTo>
                    <a:lnTo>
                      <a:pt x="68" y="32"/>
                    </a:lnTo>
                    <a:lnTo>
                      <a:pt x="68" y="30"/>
                    </a:lnTo>
                    <a:lnTo>
                      <a:pt x="68" y="30"/>
                    </a:lnTo>
                    <a:lnTo>
                      <a:pt x="68" y="28"/>
                    </a:lnTo>
                    <a:lnTo>
                      <a:pt x="68" y="26"/>
                    </a:lnTo>
                    <a:lnTo>
                      <a:pt x="68" y="22"/>
                    </a:lnTo>
                    <a:lnTo>
                      <a:pt x="66" y="18"/>
                    </a:lnTo>
                    <a:lnTo>
                      <a:pt x="66" y="16"/>
                    </a:lnTo>
                    <a:lnTo>
                      <a:pt x="64" y="14"/>
                    </a:lnTo>
                    <a:lnTo>
                      <a:pt x="64" y="12"/>
                    </a:lnTo>
                    <a:lnTo>
                      <a:pt x="62" y="10"/>
                    </a:lnTo>
                    <a:lnTo>
                      <a:pt x="60" y="8"/>
                    </a:lnTo>
                    <a:lnTo>
                      <a:pt x="58" y="6"/>
                    </a:lnTo>
                    <a:lnTo>
                      <a:pt x="54" y="4"/>
                    </a:lnTo>
                    <a:lnTo>
                      <a:pt x="52" y="2"/>
                    </a:lnTo>
                    <a:lnTo>
                      <a:pt x="50" y="2"/>
                    </a:lnTo>
                    <a:lnTo>
                      <a:pt x="48" y="0"/>
                    </a:lnTo>
                    <a:lnTo>
                      <a:pt x="46" y="0"/>
                    </a:lnTo>
                    <a:lnTo>
                      <a:pt x="46" y="0"/>
                    </a:lnTo>
                    <a:lnTo>
                      <a:pt x="44" y="0"/>
                    </a:lnTo>
                    <a:lnTo>
                      <a:pt x="44" y="0"/>
                    </a:lnTo>
                    <a:lnTo>
                      <a:pt x="44" y="0"/>
                    </a:lnTo>
                    <a:lnTo>
                      <a:pt x="42" y="2"/>
                    </a:lnTo>
                    <a:lnTo>
                      <a:pt x="40" y="2"/>
                    </a:lnTo>
                    <a:lnTo>
                      <a:pt x="38" y="4"/>
                    </a:lnTo>
                    <a:lnTo>
                      <a:pt x="36" y="6"/>
                    </a:lnTo>
                    <a:lnTo>
                      <a:pt x="34"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4" name="Freeform 170"/>
              <p:cNvSpPr>
                <a:spLocks/>
              </p:cNvSpPr>
              <p:nvPr/>
            </p:nvSpPr>
            <p:spPr bwMode="auto">
              <a:xfrm>
                <a:off x="6107403" y="2244892"/>
                <a:ext cx="107950" cy="69850"/>
              </a:xfrm>
              <a:custGeom>
                <a:avLst/>
                <a:gdLst>
                  <a:gd name="T0" fmla="*/ 20 w 68"/>
                  <a:gd name="T1" fmla="*/ 16 h 44"/>
                  <a:gd name="T2" fmla="*/ 20 w 68"/>
                  <a:gd name="T3" fmla="*/ 14 h 44"/>
                  <a:gd name="T4" fmla="*/ 22 w 68"/>
                  <a:gd name="T5" fmla="*/ 10 h 44"/>
                  <a:gd name="T6" fmla="*/ 24 w 68"/>
                  <a:gd name="T7" fmla="*/ 6 h 44"/>
                  <a:gd name="T8" fmla="*/ 26 w 68"/>
                  <a:gd name="T9" fmla="*/ 4 h 44"/>
                  <a:gd name="T10" fmla="*/ 26 w 68"/>
                  <a:gd name="T11" fmla="*/ 2 h 44"/>
                  <a:gd name="T12" fmla="*/ 30 w 68"/>
                  <a:gd name="T13" fmla="*/ 2 h 44"/>
                  <a:gd name="T14" fmla="*/ 32 w 68"/>
                  <a:gd name="T15" fmla="*/ 0 h 44"/>
                  <a:gd name="T16" fmla="*/ 38 w 68"/>
                  <a:gd name="T17" fmla="*/ 0 h 44"/>
                  <a:gd name="T18" fmla="*/ 40 w 68"/>
                  <a:gd name="T19" fmla="*/ 0 h 44"/>
                  <a:gd name="T20" fmla="*/ 46 w 68"/>
                  <a:gd name="T21" fmla="*/ 2 h 44"/>
                  <a:gd name="T22" fmla="*/ 48 w 68"/>
                  <a:gd name="T23" fmla="*/ 4 h 44"/>
                  <a:gd name="T24" fmla="*/ 50 w 68"/>
                  <a:gd name="T25" fmla="*/ 4 h 44"/>
                  <a:gd name="T26" fmla="*/ 54 w 68"/>
                  <a:gd name="T27" fmla="*/ 8 h 44"/>
                  <a:gd name="T28" fmla="*/ 56 w 68"/>
                  <a:gd name="T29" fmla="*/ 12 h 44"/>
                  <a:gd name="T30" fmla="*/ 58 w 68"/>
                  <a:gd name="T31" fmla="*/ 16 h 44"/>
                  <a:gd name="T32" fmla="*/ 58 w 68"/>
                  <a:gd name="T33" fmla="*/ 18 h 44"/>
                  <a:gd name="T34" fmla="*/ 58 w 68"/>
                  <a:gd name="T35" fmla="*/ 24 h 44"/>
                  <a:gd name="T36" fmla="*/ 58 w 68"/>
                  <a:gd name="T37" fmla="*/ 26 h 44"/>
                  <a:gd name="T38" fmla="*/ 58 w 68"/>
                  <a:gd name="T39" fmla="*/ 28 h 44"/>
                  <a:gd name="T40" fmla="*/ 58 w 68"/>
                  <a:gd name="T41" fmla="*/ 28 h 44"/>
                  <a:gd name="T42" fmla="*/ 60 w 68"/>
                  <a:gd name="T43" fmla="*/ 28 h 44"/>
                  <a:gd name="T44" fmla="*/ 62 w 68"/>
                  <a:gd name="T45" fmla="*/ 28 h 44"/>
                  <a:gd name="T46" fmla="*/ 64 w 68"/>
                  <a:gd name="T47" fmla="*/ 26 h 44"/>
                  <a:gd name="T48" fmla="*/ 66 w 68"/>
                  <a:gd name="T49" fmla="*/ 26 h 44"/>
                  <a:gd name="T50" fmla="*/ 66 w 68"/>
                  <a:gd name="T51" fmla="*/ 26 h 44"/>
                  <a:gd name="T52" fmla="*/ 68 w 68"/>
                  <a:gd name="T53" fmla="*/ 28 h 44"/>
                  <a:gd name="T54" fmla="*/ 68 w 68"/>
                  <a:gd name="T55" fmla="*/ 32 h 44"/>
                  <a:gd name="T56" fmla="*/ 68 w 68"/>
                  <a:gd name="T57" fmla="*/ 34 h 44"/>
                  <a:gd name="T58" fmla="*/ 68 w 68"/>
                  <a:gd name="T59" fmla="*/ 36 h 44"/>
                  <a:gd name="T60" fmla="*/ 66 w 68"/>
                  <a:gd name="T61" fmla="*/ 38 h 44"/>
                  <a:gd name="T62" fmla="*/ 64 w 68"/>
                  <a:gd name="T63" fmla="*/ 40 h 44"/>
                  <a:gd name="T64" fmla="*/ 60 w 68"/>
                  <a:gd name="T65" fmla="*/ 40 h 44"/>
                  <a:gd name="T66" fmla="*/ 54 w 68"/>
                  <a:gd name="T67" fmla="*/ 42 h 44"/>
                  <a:gd name="T68" fmla="*/ 48 w 68"/>
                  <a:gd name="T69" fmla="*/ 44 h 44"/>
                  <a:gd name="T70" fmla="*/ 44 w 68"/>
                  <a:gd name="T71" fmla="*/ 42 h 44"/>
                  <a:gd name="T72" fmla="*/ 40 w 68"/>
                  <a:gd name="T73" fmla="*/ 42 h 44"/>
                  <a:gd name="T74" fmla="*/ 34 w 68"/>
                  <a:gd name="T75" fmla="*/ 40 h 44"/>
                  <a:gd name="T76" fmla="*/ 26 w 68"/>
                  <a:gd name="T77" fmla="*/ 36 h 44"/>
                  <a:gd name="T78" fmla="*/ 20 w 68"/>
                  <a:gd name="T79" fmla="*/ 34 h 44"/>
                  <a:gd name="T80" fmla="*/ 10 w 68"/>
                  <a:gd name="T81" fmla="*/ 32 h 44"/>
                  <a:gd name="T82" fmla="*/ 6 w 68"/>
                  <a:gd name="T83" fmla="*/ 30 h 44"/>
                  <a:gd name="T84" fmla="*/ 4 w 68"/>
                  <a:gd name="T85" fmla="*/ 30 h 44"/>
                  <a:gd name="T86" fmla="*/ 2 w 68"/>
                  <a:gd name="T87" fmla="*/ 28 h 44"/>
                  <a:gd name="T88" fmla="*/ 2 w 68"/>
                  <a:gd name="T89" fmla="*/ 26 h 44"/>
                  <a:gd name="T90" fmla="*/ 0 w 68"/>
                  <a:gd name="T91" fmla="*/ 24 h 44"/>
                  <a:gd name="T92" fmla="*/ 2 w 68"/>
                  <a:gd name="T93" fmla="*/ 22 h 44"/>
                  <a:gd name="T94" fmla="*/ 4 w 68"/>
                  <a:gd name="T95" fmla="*/ 18 h 44"/>
                  <a:gd name="T96" fmla="*/ 6 w 68"/>
                  <a:gd name="T97" fmla="*/ 16 h 44"/>
                  <a:gd name="T98" fmla="*/ 6 w 68"/>
                  <a:gd name="T99" fmla="*/ 16 h 44"/>
                  <a:gd name="T100" fmla="*/ 10 w 68"/>
                  <a:gd name="T101" fmla="*/ 16 h 44"/>
                  <a:gd name="T102" fmla="*/ 14 w 68"/>
                  <a:gd name="T103" fmla="*/ 16 h 44"/>
                  <a:gd name="T104" fmla="*/ 18 w 68"/>
                  <a:gd name="T105" fmla="*/ 16 h 44"/>
                  <a:gd name="T106" fmla="*/ 20 w 68"/>
                  <a:gd name="T107"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44">
                    <a:moveTo>
                      <a:pt x="20" y="16"/>
                    </a:moveTo>
                    <a:lnTo>
                      <a:pt x="20" y="16"/>
                    </a:lnTo>
                    <a:lnTo>
                      <a:pt x="20" y="14"/>
                    </a:lnTo>
                    <a:lnTo>
                      <a:pt x="20" y="14"/>
                    </a:lnTo>
                    <a:lnTo>
                      <a:pt x="22" y="12"/>
                    </a:lnTo>
                    <a:lnTo>
                      <a:pt x="22" y="10"/>
                    </a:lnTo>
                    <a:lnTo>
                      <a:pt x="22" y="8"/>
                    </a:lnTo>
                    <a:lnTo>
                      <a:pt x="24" y="6"/>
                    </a:lnTo>
                    <a:lnTo>
                      <a:pt x="24" y="6"/>
                    </a:lnTo>
                    <a:lnTo>
                      <a:pt x="26" y="4"/>
                    </a:lnTo>
                    <a:lnTo>
                      <a:pt x="26" y="4"/>
                    </a:lnTo>
                    <a:lnTo>
                      <a:pt x="26" y="2"/>
                    </a:lnTo>
                    <a:lnTo>
                      <a:pt x="28" y="2"/>
                    </a:lnTo>
                    <a:lnTo>
                      <a:pt x="30" y="2"/>
                    </a:lnTo>
                    <a:lnTo>
                      <a:pt x="30" y="0"/>
                    </a:lnTo>
                    <a:lnTo>
                      <a:pt x="32" y="0"/>
                    </a:lnTo>
                    <a:lnTo>
                      <a:pt x="36" y="0"/>
                    </a:lnTo>
                    <a:lnTo>
                      <a:pt x="38" y="0"/>
                    </a:lnTo>
                    <a:lnTo>
                      <a:pt x="40" y="0"/>
                    </a:lnTo>
                    <a:lnTo>
                      <a:pt x="40" y="0"/>
                    </a:lnTo>
                    <a:lnTo>
                      <a:pt x="44" y="2"/>
                    </a:lnTo>
                    <a:lnTo>
                      <a:pt x="46" y="2"/>
                    </a:lnTo>
                    <a:lnTo>
                      <a:pt x="48" y="2"/>
                    </a:lnTo>
                    <a:lnTo>
                      <a:pt x="48" y="4"/>
                    </a:lnTo>
                    <a:lnTo>
                      <a:pt x="50" y="4"/>
                    </a:lnTo>
                    <a:lnTo>
                      <a:pt x="50" y="4"/>
                    </a:lnTo>
                    <a:lnTo>
                      <a:pt x="52" y="6"/>
                    </a:lnTo>
                    <a:lnTo>
                      <a:pt x="54" y="8"/>
                    </a:lnTo>
                    <a:lnTo>
                      <a:pt x="54" y="10"/>
                    </a:lnTo>
                    <a:lnTo>
                      <a:pt x="56" y="12"/>
                    </a:lnTo>
                    <a:lnTo>
                      <a:pt x="58" y="14"/>
                    </a:lnTo>
                    <a:lnTo>
                      <a:pt x="58" y="16"/>
                    </a:lnTo>
                    <a:lnTo>
                      <a:pt x="58" y="18"/>
                    </a:lnTo>
                    <a:lnTo>
                      <a:pt x="58" y="18"/>
                    </a:lnTo>
                    <a:lnTo>
                      <a:pt x="58" y="20"/>
                    </a:lnTo>
                    <a:lnTo>
                      <a:pt x="58" y="24"/>
                    </a:lnTo>
                    <a:lnTo>
                      <a:pt x="58" y="24"/>
                    </a:lnTo>
                    <a:lnTo>
                      <a:pt x="58" y="26"/>
                    </a:lnTo>
                    <a:lnTo>
                      <a:pt x="58" y="28"/>
                    </a:lnTo>
                    <a:lnTo>
                      <a:pt x="58" y="28"/>
                    </a:lnTo>
                    <a:lnTo>
                      <a:pt x="58" y="28"/>
                    </a:lnTo>
                    <a:lnTo>
                      <a:pt x="58" y="28"/>
                    </a:lnTo>
                    <a:lnTo>
                      <a:pt x="60" y="28"/>
                    </a:lnTo>
                    <a:lnTo>
                      <a:pt x="60" y="28"/>
                    </a:lnTo>
                    <a:lnTo>
                      <a:pt x="62" y="28"/>
                    </a:lnTo>
                    <a:lnTo>
                      <a:pt x="62" y="28"/>
                    </a:lnTo>
                    <a:lnTo>
                      <a:pt x="64" y="26"/>
                    </a:lnTo>
                    <a:lnTo>
                      <a:pt x="64" y="26"/>
                    </a:lnTo>
                    <a:lnTo>
                      <a:pt x="66" y="26"/>
                    </a:lnTo>
                    <a:lnTo>
                      <a:pt x="66" y="26"/>
                    </a:lnTo>
                    <a:lnTo>
                      <a:pt x="66" y="26"/>
                    </a:lnTo>
                    <a:lnTo>
                      <a:pt x="66" y="26"/>
                    </a:lnTo>
                    <a:lnTo>
                      <a:pt x="66" y="28"/>
                    </a:lnTo>
                    <a:lnTo>
                      <a:pt x="68" y="28"/>
                    </a:lnTo>
                    <a:lnTo>
                      <a:pt x="68" y="30"/>
                    </a:lnTo>
                    <a:lnTo>
                      <a:pt x="68" y="32"/>
                    </a:lnTo>
                    <a:lnTo>
                      <a:pt x="68" y="32"/>
                    </a:lnTo>
                    <a:lnTo>
                      <a:pt x="68" y="34"/>
                    </a:lnTo>
                    <a:lnTo>
                      <a:pt x="68" y="36"/>
                    </a:lnTo>
                    <a:lnTo>
                      <a:pt x="68" y="36"/>
                    </a:lnTo>
                    <a:lnTo>
                      <a:pt x="66" y="38"/>
                    </a:lnTo>
                    <a:lnTo>
                      <a:pt x="66" y="38"/>
                    </a:lnTo>
                    <a:lnTo>
                      <a:pt x="64" y="40"/>
                    </a:lnTo>
                    <a:lnTo>
                      <a:pt x="64" y="40"/>
                    </a:lnTo>
                    <a:lnTo>
                      <a:pt x="62" y="40"/>
                    </a:lnTo>
                    <a:lnTo>
                      <a:pt x="60" y="40"/>
                    </a:lnTo>
                    <a:lnTo>
                      <a:pt x="58" y="42"/>
                    </a:lnTo>
                    <a:lnTo>
                      <a:pt x="54" y="42"/>
                    </a:lnTo>
                    <a:lnTo>
                      <a:pt x="50" y="42"/>
                    </a:lnTo>
                    <a:lnTo>
                      <a:pt x="48" y="44"/>
                    </a:lnTo>
                    <a:lnTo>
                      <a:pt x="44" y="44"/>
                    </a:lnTo>
                    <a:lnTo>
                      <a:pt x="44" y="42"/>
                    </a:lnTo>
                    <a:lnTo>
                      <a:pt x="42" y="42"/>
                    </a:lnTo>
                    <a:lnTo>
                      <a:pt x="40" y="42"/>
                    </a:lnTo>
                    <a:lnTo>
                      <a:pt x="36" y="40"/>
                    </a:lnTo>
                    <a:lnTo>
                      <a:pt x="34" y="40"/>
                    </a:lnTo>
                    <a:lnTo>
                      <a:pt x="28" y="36"/>
                    </a:lnTo>
                    <a:lnTo>
                      <a:pt x="26" y="36"/>
                    </a:lnTo>
                    <a:lnTo>
                      <a:pt x="22" y="34"/>
                    </a:lnTo>
                    <a:lnTo>
                      <a:pt x="20" y="34"/>
                    </a:lnTo>
                    <a:lnTo>
                      <a:pt x="18" y="32"/>
                    </a:lnTo>
                    <a:lnTo>
                      <a:pt x="10" y="32"/>
                    </a:lnTo>
                    <a:lnTo>
                      <a:pt x="8" y="30"/>
                    </a:lnTo>
                    <a:lnTo>
                      <a:pt x="6" y="30"/>
                    </a:lnTo>
                    <a:lnTo>
                      <a:pt x="4" y="30"/>
                    </a:lnTo>
                    <a:lnTo>
                      <a:pt x="4" y="30"/>
                    </a:lnTo>
                    <a:lnTo>
                      <a:pt x="2" y="28"/>
                    </a:lnTo>
                    <a:lnTo>
                      <a:pt x="2" y="28"/>
                    </a:lnTo>
                    <a:lnTo>
                      <a:pt x="2" y="26"/>
                    </a:lnTo>
                    <a:lnTo>
                      <a:pt x="2" y="26"/>
                    </a:lnTo>
                    <a:lnTo>
                      <a:pt x="0" y="26"/>
                    </a:lnTo>
                    <a:lnTo>
                      <a:pt x="0" y="24"/>
                    </a:lnTo>
                    <a:lnTo>
                      <a:pt x="2" y="22"/>
                    </a:lnTo>
                    <a:lnTo>
                      <a:pt x="2" y="22"/>
                    </a:lnTo>
                    <a:lnTo>
                      <a:pt x="2" y="20"/>
                    </a:lnTo>
                    <a:lnTo>
                      <a:pt x="4" y="18"/>
                    </a:lnTo>
                    <a:lnTo>
                      <a:pt x="4" y="18"/>
                    </a:lnTo>
                    <a:lnTo>
                      <a:pt x="6" y="16"/>
                    </a:lnTo>
                    <a:lnTo>
                      <a:pt x="6" y="16"/>
                    </a:lnTo>
                    <a:lnTo>
                      <a:pt x="6" y="16"/>
                    </a:lnTo>
                    <a:lnTo>
                      <a:pt x="8" y="16"/>
                    </a:lnTo>
                    <a:lnTo>
                      <a:pt x="10" y="16"/>
                    </a:lnTo>
                    <a:lnTo>
                      <a:pt x="12" y="16"/>
                    </a:lnTo>
                    <a:lnTo>
                      <a:pt x="14" y="16"/>
                    </a:lnTo>
                    <a:lnTo>
                      <a:pt x="16" y="16"/>
                    </a:lnTo>
                    <a:lnTo>
                      <a:pt x="18" y="16"/>
                    </a:lnTo>
                    <a:lnTo>
                      <a:pt x="18" y="16"/>
                    </a:lnTo>
                    <a:lnTo>
                      <a:pt x="20"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5" name="Freeform 172"/>
              <p:cNvSpPr>
                <a:spLocks/>
              </p:cNvSpPr>
              <p:nvPr/>
            </p:nvSpPr>
            <p:spPr bwMode="auto">
              <a:xfrm>
                <a:off x="6228053" y="2273467"/>
                <a:ext cx="82550" cy="66675"/>
              </a:xfrm>
              <a:custGeom>
                <a:avLst/>
                <a:gdLst>
                  <a:gd name="T0" fmla="*/ 6 w 52"/>
                  <a:gd name="T1" fmla="*/ 18 h 42"/>
                  <a:gd name="T2" fmla="*/ 10 w 52"/>
                  <a:gd name="T3" fmla="*/ 10 h 42"/>
                  <a:gd name="T4" fmla="*/ 12 w 52"/>
                  <a:gd name="T5" fmla="*/ 8 h 42"/>
                  <a:gd name="T6" fmla="*/ 16 w 52"/>
                  <a:gd name="T7" fmla="*/ 4 h 42"/>
                  <a:gd name="T8" fmla="*/ 18 w 52"/>
                  <a:gd name="T9" fmla="*/ 2 h 42"/>
                  <a:gd name="T10" fmla="*/ 20 w 52"/>
                  <a:gd name="T11" fmla="*/ 2 h 42"/>
                  <a:gd name="T12" fmla="*/ 22 w 52"/>
                  <a:gd name="T13" fmla="*/ 0 h 42"/>
                  <a:gd name="T14" fmla="*/ 24 w 52"/>
                  <a:gd name="T15" fmla="*/ 2 h 42"/>
                  <a:gd name="T16" fmla="*/ 24 w 52"/>
                  <a:gd name="T17" fmla="*/ 2 h 42"/>
                  <a:gd name="T18" fmla="*/ 24 w 52"/>
                  <a:gd name="T19" fmla="*/ 4 h 42"/>
                  <a:gd name="T20" fmla="*/ 26 w 52"/>
                  <a:gd name="T21" fmla="*/ 8 h 42"/>
                  <a:gd name="T22" fmla="*/ 28 w 52"/>
                  <a:gd name="T23" fmla="*/ 10 h 42"/>
                  <a:gd name="T24" fmla="*/ 30 w 52"/>
                  <a:gd name="T25" fmla="*/ 10 h 42"/>
                  <a:gd name="T26" fmla="*/ 32 w 52"/>
                  <a:gd name="T27" fmla="*/ 12 h 42"/>
                  <a:gd name="T28" fmla="*/ 36 w 52"/>
                  <a:gd name="T29" fmla="*/ 12 h 42"/>
                  <a:gd name="T30" fmla="*/ 40 w 52"/>
                  <a:gd name="T31" fmla="*/ 12 h 42"/>
                  <a:gd name="T32" fmla="*/ 46 w 52"/>
                  <a:gd name="T33" fmla="*/ 12 h 42"/>
                  <a:gd name="T34" fmla="*/ 48 w 52"/>
                  <a:gd name="T35" fmla="*/ 14 h 42"/>
                  <a:gd name="T36" fmla="*/ 50 w 52"/>
                  <a:gd name="T37" fmla="*/ 14 h 42"/>
                  <a:gd name="T38" fmla="*/ 52 w 52"/>
                  <a:gd name="T39" fmla="*/ 18 h 42"/>
                  <a:gd name="T40" fmla="*/ 52 w 52"/>
                  <a:gd name="T41" fmla="*/ 20 h 42"/>
                  <a:gd name="T42" fmla="*/ 52 w 52"/>
                  <a:gd name="T43" fmla="*/ 24 h 42"/>
                  <a:gd name="T44" fmla="*/ 52 w 52"/>
                  <a:gd name="T45" fmla="*/ 28 h 42"/>
                  <a:gd name="T46" fmla="*/ 52 w 52"/>
                  <a:gd name="T47" fmla="*/ 30 h 42"/>
                  <a:gd name="T48" fmla="*/ 50 w 52"/>
                  <a:gd name="T49" fmla="*/ 34 h 42"/>
                  <a:gd name="T50" fmla="*/ 48 w 52"/>
                  <a:gd name="T51" fmla="*/ 36 h 42"/>
                  <a:gd name="T52" fmla="*/ 46 w 52"/>
                  <a:gd name="T53" fmla="*/ 38 h 42"/>
                  <a:gd name="T54" fmla="*/ 44 w 52"/>
                  <a:gd name="T55" fmla="*/ 40 h 42"/>
                  <a:gd name="T56" fmla="*/ 40 w 52"/>
                  <a:gd name="T57" fmla="*/ 42 h 42"/>
                  <a:gd name="T58" fmla="*/ 34 w 52"/>
                  <a:gd name="T59" fmla="*/ 42 h 42"/>
                  <a:gd name="T60" fmla="*/ 28 w 52"/>
                  <a:gd name="T61" fmla="*/ 42 h 42"/>
                  <a:gd name="T62" fmla="*/ 20 w 52"/>
                  <a:gd name="T63" fmla="*/ 42 h 42"/>
                  <a:gd name="T64" fmla="*/ 14 w 52"/>
                  <a:gd name="T65" fmla="*/ 42 h 42"/>
                  <a:gd name="T66" fmla="*/ 8 w 52"/>
                  <a:gd name="T67" fmla="*/ 40 h 42"/>
                  <a:gd name="T68" fmla="*/ 6 w 52"/>
                  <a:gd name="T69" fmla="*/ 40 h 42"/>
                  <a:gd name="T70" fmla="*/ 4 w 52"/>
                  <a:gd name="T71" fmla="*/ 38 h 42"/>
                  <a:gd name="T72" fmla="*/ 2 w 52"/>
                  <a:gd name="T73" fmla="*/ 36 h 42"/>
                  <a:gd name="T74" fmla="*/ 0 w 52"/>
                  <a:gd name="T75" fmla="*/ 34 h 42"/>
                  <a:gd name="T76" fmla="*/ 0 w 52"/>
                  <a:gd name="T77" fmla="*/ 32 h 42"/>
                  <a:gd name="T78" fmla="*/ 0 w 52"/>
                  <a:gd name="T79" fmla="*/ 30 h 42"/>
                  <a:gd name="T80" fmla="*/ 0 w 52"/>
                  <a:gd name="T81" fmla="*/ 28 h 42"/>
                  <a:gd name="T82" fmla="*/ 4 w 52"/>
                  <a:gd name="T8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42">
                    <a:moveTo>
                      <a:pt x="6" y="18"/>
                    </a:moveTo>
                    <a:lnTo>
                      <a:pt x="6" y="18"/>
                    </a:lnTo>
                    <a:lnTo>
                      <a:pt x="8" y="14"/>
                    </a:lnTo>
                    <a:lnTo>
                      <a:pt x="10" y="10"/>
                    </a:lnTo>
                    <a:lnTo>
                      <a:pt x="10" y="10"/>
                    </a:lnTo>
                    <a:lnTo>
                      <a:pt x="12" y="8"/>
                    </a:lnTo>
                    <a:lnTo>
                      <a:pt x="14" y="6"/>
                    </a:lnTo>
                    <a:lnTo>
                      <a:pt x="16" y="4"/>
                    </a:lnTo>
                    <a:lnTo>
                      <a:pt x="16" y="4"/>
                    </a:lnTo>
                    <a:lnTo>
                      <a:pt x="18" y="2"/>
                    </a:lnTo>
                    <a:lnTo>
                      <a:pt x="20" y="2"/>
                    </a:lnTo>
                    <a:lnTo>
                      <a:pt x="20" y="2"/>
                    </a:lnTo>
                    <a:lnTo>
                      <a:pt x="22" y="2"/>
                    </a:lnTo>
                    <a:lnTo>
                      <a:pt x="22" y="0"/>
                    </a:lnTo>
                    <a:lnTo>
                      <a:pt x="22" y="2"/>
                    </a:lnTo>
                    <a:lnTo>
                      <a:pt x="24" y="2"/>
                    </a:lnTo>
                    <a:lnTo>
                      <a:pt x="24" y="2"/>
                    </a:lnTo>
                    <a:lnTo>
                      <a:pt x="24" y="2"/>
                    </a:lnTo>
                    <a:lnTo>
                      <a:pt x="24" y="4"/>
                    </a:lnTo>
                    <a:lnTo>
                      <a:pt x="24" y="4"/>
                    </a:lnTo>
                    <a:lnTo>
                      <a:pt x="26" y="6"/>
                    </a:lnTo>
                    <a:lnTo>
                      <a:pt x="26" y="8"/>
                    </a:lnTo>
                    <a:lnTo>
                      <a:pt x="26" y="8"/>
                    </a:lnTo>
                    <a:lnTo>
                      <a:pt x="28" y="10"/>
                    </a:lnTo>
                    <a:lnTo>
                      <a:pt x="28" y="10"/>
                    </a:lnTo>
                    <a:lnTo>
                      <a:pt x="30" y="10"/>
                    </a:lnTo>
                    <a:lnTo>
                      <a:pt x="32" y="10"/>
                    </a:lnTo>
                    <a:lnTo>
                      <a:pt x="32" y="12"/>
                    </a:lnTo>
                    <a:lnTo>
                      <a:pt x="34" y="12"/>
                    </a:lnTo>
                    <a:lnTo>
                      <a:pt x="36" y="12"/>
                    </a:lnTo>
                    <a:lnTo>
                      <a:pt x="38" y="10"/>
                    </a:lnTo>
                    <a:lnTo>
                      <a:pt x="40" y="12"/>
                    </a:lnTo>
                    <a:lnTo>
                      <a:pt x="42" y="12"/>
                    </a:lnTo>
                    <a:lnTo>
                      <a:pt x="46" y="12"/>
                    </a:lnTo>
                    <a:lnTo>
                      <a:pt x="48" y="12"/>
                    </a:lnTo>
                    <a:lnTo>
                      <a:pt x="48" y="14"/>
                    </a:lnTo>
                    <a:lnTo>
                      <a:pt x="50" y="14"/>
                    </a:lnTo>
                    <a:lnTo>
                      <a:pt x="50" y="14"/>
                    </a:lnTo>
                    <a:lnTo>
                      <a:pt x="50" y="16"/>
                    </a:lnTo>
                    <a:lnTo>
                      <a:pt x="52" y="18"/>
                    </a:lnTo>
                    <a:lnTo>
                      <a:pt x="52" y="20"/>
                    </a:lnTo>
                    <a:lnTo>
                      <a:pt x="52" y="20"/>
                    </a:lnTo>
                    <a:lnTo>
                      <a:pt x="52" y="22"/>
                    </a:lnTo>
                    <a:lnTo>
                      <a:pt x="52" y="24"/>
                    </a:lnTo>
                    <a:lnTo>
                      <a:pt x="52" y="26"/>
                    </a:lnTo>
                    <a:lnTo>
                      <a:pt x="52" y="28"/>
                    </a:lnTo>
                    <a:lnTo>
                      <a:pt x="52" y="28"/>
                    </a:lnTo>
                    <a:lnTo>
                      <a:pt x="52" y="30"/>
                    </a:lnTo>
                    <a:lnTo>
                      <a:pt x="52" y="32"/>
                    </a:lnTo>
                    <a:lnTo>
                      <a:pt x="50" y="34"/>
                    </a:lnTo>
                    <a:lnTo>
                      <a:pt x="50" y="36"/>
                    </a:lnTo>
                    <a:lnTo>
                      <a:pt x="48" y="36"/>
                    </a:lnTo>
                    <a:lnTo>
                      <a:pt x="48" y="38"/>
                    </a:lnTo>
                    <a:lnTo>
                      <a:pt x="46" y="38"/>
                    </a:lnTo>
                    <a:lnTo>
                      <a:pt x="46" y="40"/>
                    </a:lnTo>
                    <a:lnTo>
                      <a:pt x="44" y="40"/>
                    </a:lnTo>
                    <a:lnTo>
                      <a:pt x="42" y="40"/>
                    </a:lnTo>
                    <a:lnTo>
                      <a:pt x="40" y="42"/>
                    </a:lnTo>
                    <a:lnTo>
                      <a:pt x="38" y="42"/>
                    </a:lnTo>
                    <a:lnTo>
                      <a:pt x="34" y="42"/>
                    </a:lnTo>
                    <a:lnTo>
                      <a:pt x="32" y="42"/>
                    </a:lnTo>
                    <a:lnTo>
                      <a:pt x="28" y="42"/>
                    </a:lnTo>
                    <a:lnTo>
                      <a:pt x="22" y="42"/>
                    </a:lnTo>
                    <a:lnTo>
                      <a:pt x="20" y="42"/>
                    </a:lnTo>
                    <a:lnTo>
                      <a:pt x="16" y="42"/>
                    </a:lnTo>
                    <a:lnTo>
                      <a:pt x="14" y="42"/>
                    </a:lnTo>
                    <a:lnTo>
                      <a:pt x="10" y="42"/>
                    </a:lnTo>
                    <a:lnTo>
                      <a:pt x="8" y="40"/>
                    </a:lnTo>
                    <a:lnTo>
                      <a:pt x="6" y="40"/>
                    </a:lnTo>
                    <a:lnTo>
                      <a:pt x="6" y="40"/>
                    </a:lnTo>
                    <a:lnTo>
                      <a:pt x="4" y="40"/>
                    </a:lnTo>
                    <a:lnTo>
                      <a:pt x="4" y="38"/>
                    </a:lnTo>
                    <a:lnTo>
                      <a:pt x="2" y="38"/>
                    </a:lnTo>
                    <a:lnTo>
                      <a:pt x="2" y="36"/>
                    </a:lnTo>
                    <a:lnTo>
                      <a:pt x="0" y="36"/>
                    </a:lnTo>
                    <a:lnTo>
                      <a:pt x="0" y="34"/>
                    </a:lnTo>
                    <a:lnTo>
                      <a:pt x="0" y="34"/>
                    </a:lnTo>
                    <a:lnTo>
                      <a:pt x="0" y="32"/>
                    </a:lnTo>
                    <a:lnTo>
                      <a:pt x="0" y="32"/>
                    </a:lnTo>
                    <a:lnTo>
                      <a:pt x="0" y="30"/>
                    </a:lnTo>
                    <a:lnTo>
                      <a:pt x="0" y="30"/>
                    </a:lnTo>
                    <a:lnTo>
                      <a:pt x="0" y="28"/>
                    </a:lnTo>
                    <a:lnTo>
                      <a:pt x="2" y="26"/>
                    </a:lnTo>
                    <a:lnTo>
                      <a:pt x="4" y="22"/>
                    </a:lnTo>
                    <a:lnTo>
                      <a:pt x="6"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6" name="Freeform 174"/>
              <p:cNvSpPr>
                <a:spLocks/>
              </p:cNvSpPr>
              <p:nvPr/>
            </p:nvSpPr>
            <p:spPr bwMode="auto">
              <a:xfrm>
                <a:off x="6977353" y="2419517"/>
                <a:ext cx="152400" cy="69850"/>
              </a:xfrm>
              <a:custGeom>
                <a:avLst/>
                <a:gdLst>
                  <a:gd name="T0" fmla="*/ 52 w 96"/>
                  <a:gd name="T1" fmla="*/ 4 h 44"/>
                  <a:gd name="T2" fmla="*/ 52 w 96"/>
                  <a:gd name="T3" fmla="*/ 8 h 44"/>
                  <a:gd name="T4" fmla="*/ 52 w 96"/>
                  <a:gd name="T5" fmla="*/ 14 h 44"/>
                  <a:gd name="T6" fmla="*/ 50 w 96"/>
                  <a:gd name="T7" fmla="*/ 16 h 44"/>
                  <a:gd name="T8" fmla="*/ 48 w 96"/>
                  <a:gd name="T9" fmla="*/ 16 h 44"/>
                  <a:gd name="T10" fmla="*/ 42 w 96"/>
                  <a:gd name="T11" fmla="*/ 16 h 44"/>
                  <a:gd name="T12" fmla="*/ 36 w 96"/>
                  <a:gd name="T13" fmla="*/ 16 h 44"/>
                  <a:gd name="T14" fmla="*/ 32 w 96"/>
                  <a:gd name="T15" fmla="*/ 14 h 44"/>
                  <a:gd name="T16" fmla="*/ 30 w 96"/>
                  <a:gd name="T17" fmla="*/ 8 h 44"/>
                  <a:gd name="T18" fmla="*/ 24 w 96"/>
                  <a:gd name="T19" fmla="*/ 4 h 44"/>
                  <a:gd name="T20" fmla="*/ 18 w 96"/>
                  <a:gd name="T21" fmla="*/ 2 h 44"/>
                  <a:gd name="T22" fmla="*/ 14 w 96"/>
                  <a:gd name="T23" fmla="*/ 0 h 44"/>
                  <a:gd name="T24" fmla="*/ 8 w 96"/>
                  <a:gd name="T25" fmla="*/ 2 h 44"/>
                  <a:gd name="T26" fmla="*/ 4 w 96"/>
                  <a:gd name="T27" fmla="*/ 6 h 44"/>
                  <a:gd name="T28" fmla="*/ 2 w 96"/>
                  <a:gd name="T29" fmla="*/ 10 h 44"/>
                  <a:gd name="T30" fmla="*/ 0 w 96"/>
                  <a:gd name="T31" fmla="*/ 14 h 44"/>
                  <a:gd name="T32" fmla="*/ 0 w 96"/>
                  <a:gd name="T33" fmla="*/ 22 h 44"/>
                  <a:gd name="T34" fmla="*/ 2 w 96"/>
                  <a:gd name="T35" fmla="*/ 28 h 44"/>
                  <a:gd name="T36" fmla="*/ 4 w 96"/>
                  <a:gd name="T37" fmla="*/ 30 h 44"/>
                  <a:gd name="T38" fmla="*/ 12 w 96"/>
                  <a:gd name="T39" fmla="*/ 36 h 44"/>
                  <a:gd name="T40" fmla="*/ 20 w 96"/>
                  <a:gd name="T41" fmla="*/ 40 h 44"/>
                  <a:gd name="T42" fmla="*/ 28 w 96"/>
                  <a:gd name="T43" fmla="*/ 42 h 44"/>
                  <a:gd name="T44" fmla="*/ 38 w 96"/>
                  <a:gd name="T45" fmla="*/ 44 h 44"/>
                  <a:gd name="T46" fmla="*/ 44 w 96"/>
                  <a:gd name="T47" fmla="*/ 42 h 44"/>
                  <a:gd name="T48" fmla="*/ 46 w 96"/>
                  <a:gd name="T49" fmla="*/ 42 h 44"/>
                  <a:gd name="T50" fmla="*/ 50 w 96"/>
                  <a:gd name="T51" fmla="*/ 36 h 44"/>
                  <a:gd name="T52" fmla="*/ 54 w 96"/>
                  <a:gd name="T53" fmla="*/ 34 h 44"/>
                  <a:gd name="T54" fmla="*/ 56 w 96"/>
                  <a:gd name="T55" fmla="*/ 34 h 44"/>
                  <a:gd name="T56" fmla="*/ 60 w 96"/>
                  <a:gd name="T57" fmla="*/ 36 h 44"/>
                  <a:gd name="T58" fmla="*/ 68 w 96"/>
                  <a:gd name="T59" fmla="*/ 40 h 44"/>
                  <a:gd name="T60" fmla="*/ 72 w 96"/>
                  <a:gd name="T61" fmla="*/ 40 h 44"/>
                  <a:gd name="T62" fmla="*/ 78 w 96"/>
                  <a:gd name="T63" fmla="*/ 40 h 44"/>
                  <a:gd name="T64" fmla="*/ 86 w 96"/>
                  <a:gd name="T65" fmla="*/ 40 h 44"/>
                  <a:gd name="T66" fmla="*/ 90 w 96"/>
                  <a:gd name="T67" fmla="*/ 38 h 44"/>
                  <a:gd name="T68" fmla="*/ 94 w 96"/>
                  <a:gd name="T69" fmla="*/ 34 h 44"/>
                  <a:gd name="T70" fmla="*/ 96 w 96"/>
                  <a:gd name="T71" fmla="*/ 30 h 44"/>
                  <a:gd name="T72" fmla="*/ 96 w 96"/>
                  <a:gd name="T73" fmla="*/ 28 h 44"/>
                  <a:gd name="T74" fmla="*/ 94 w 96"/>
                  <a:gd name="T75" fmla="*/ 26 h 44"/>
                  <a:gd name="T76" fmla="*/ 88 w 96"/>
                  <a:gd name="T77" fmla="*/ 26 h 44"/>
                  <a:gd name="T78" fmla="*/ 82 w 96"/>
                  <a:gd name="T79" fmla="*/ 24 h 44"/>
                  <a:gd name="T80" fmla="*/ 80 w 96"/>
                  <a:gd name="T81" fmla="*/ 22 h 44"/>
                  <a:gd name="T82" fmla="*/ 78 w 96"/>
                  <a:gd name="T83" fmla="*/ 18 h 44"/>
                  <a:gd name="T84" fmla="*/ 76 w 96"/>
                  <a:gd name="T85" fmla="*/ 12 h 44"/>
                  <a:gd name="T86" fmla="*/ 74 w 96"/>
                  <a:gd name="T87" fmla="*/ 8 h 44"/>
                  <a:gd name="T88" fmla="*/ 68 w 96"/>
                  <a:gd name="T89" fmla="*/ 6 h 44"/>
                  <a:gd name="T90" fmla="*/ 62 w 96"/>
                  <a:gd name="T91" fmla="*/ 2 h 44"/>
                  <a:gd name="T92" fmla="*/ 58 w 96"/>
                  <a:gd name="T93" fmla="*/ 2 h 44"/>
                  <a:gd name="T94" fmla="*/ 54 w 96"/>
                  <a:gd name="T95"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44">
                    <a:moveTo>
                      <a:pt x="54" y="4"/>
                    </a:moveTo>
                    <a:lnTo>
                      <a:pt x="54" y="4"/>
                    </a:lnTo>
                    <a:lnTo>
                      <a:pt x="52" y="4"/>
                    </a:lnTo>
                    <a:lnTo>
                      <a:pt x="52" y="6"/>
                    </a:lnTo>
                    <a:lnTo>
                      <a:pt x="52" y="6"/>
                    </a:lnTo>
                    <a:lnTo>
                      <a:pt x="52" y="8"/>
                    </a:lnTo>
                    <a:lnTo>
                      <a:pt x="52" y="10"/>
                    </a:lnTo>
                    <a:lnTo>
                      <a:pt x="52" y="12"/>
                    </a:lnTo>
                    <a:lnTo>
                      <a:pt x="52" y="14"/>
                    </a:lnTo>
                    <a:lnTo>
                      <a:pt x="52" y="16"/>
                    </a:lnTo>
                    <a:lnTo>
                      <a:pt x="50" y="16"/>
                    </a:lnTo>
                    <a:lnTo>
                      <a:pt x="50" y="16"/>
                    </a:lnTo>
                    <a:lnTo>
                      <a:pt x="50" y="16"/>
                    </a:lnTo>
                    <a:lnTo>
                      <a:pt x="48" y="16"/>
                    </a:lnTo>
                    <a:lnTo>
                      <a:pt x="48" y="16"/>
                    </a:lnTo>
                    <a:lnTo>
                      <a:pt x="48" y="16"/>
                    </a:lnTo>
                    <a:lnTo>
                      <a:pt x="44" y="16"/>
                    </a:lnTo>
                    <a:lnTo>
                      <a:pt x="42" y="16"/>
                    </a:lnTo>
                    <a:lnTo>
                      <a:pt x="40" y="16"/>
                    </a:lnTo>
                    <a:lnTo>
                      <a:pt x="38" y="16"/>
                    </a:lnTo>
                    <a:lnTo>
                      <a:pt x="36" y="16"/>
                    </a:lnTo>
                    <a:lnTo>
                      <a:pt x="34" y="14"/>
                    </a:lnTo>
                    <a:lnTo>
                      <a:pt x="34" y="14"/>
                    </a:lnTo>
                    <a:lnTo>
                      <a:pt x="32" y="14"/>
                    </a:lnTo>
                    <a:lnTo>
                      <a:pt x="32" y="12"/>
                    </a:lnTo>
                    <a:lnTo>
                      <a:pt x="30" y="10"/>
                    </a:lnTo>
                    <a:lnTo>
                      <a:pt x="30" y="8"/>
                    </a:lnTo>
                    <a:lnTo>
                      <a:pt x="30" y="8"/>
                    </a:lnTo>
                    <a:lnTo>
                      <a:pt x="26" y="6"/>
                    </a:lnTo>
                    <a:lnTo>
                      <a:pt x="24" y="4"/>
                    </a:lnTo>
                    <a:lnTo>
                      <a:pt x="22" y="4"/>
                    </a:lnTo>
                    <a:lnTo>
                      <a:pt x="20" y="2"/>
                    </a:lnTo>
                    <a:lnTo>
                      <a:pt x="18" y="2"/>
                    </a:lnTo>
                    <a:lnTo>
                      <a:pt x="16" y="0"/>
                    </a:lnTo>
                    <a:lnTo>
                      <a:pt x="14" y="0"/>
                    </a:lnTo>
                    <a:lnTo>
                      <a:pt x="14" y="0"/>
                    </a:lnTo>
                    <a:lnTo>
                      <a:pt x="12" y="0"/>
                    </a:lnTo>
                    <a:lnTo>
                      <a:pt x="10" y="2"/>
                    </a:lnTo>
                    <a:lnTo>
                      <a:pt x="8" y="2"/>
                    </a:lnTo>
                    <a:lnTo>
                      <a:pt x="8" y="4"/>
                    </a:lnTo>
                    <a:lnTo>
                      <a:pt x="6" y="4"/>
                    </a:lnTo>
                    <a:lnTo>
                      <a:pt x="4" y="6"/>
                    </a:lnTo>
                    <a:lnTo>
                      <a:pt x="2" y="6"/>
                    </a:lnTo>
                    <a:lnTo>
                      <a:pt x="2" y="8"/>
                    </a:lnTo>
                    <a:lnTo>
                      <a:pt x="2" y="10"/>
                    </a:lnTo>
                    <a:lnTo>
                      <a:pt x="0" y="10"/>
                    </a:lnTo>
                    <a:lnTo>
                      <a:pt x="0" y="12"/>
                    </a:lnTo>
                    <a:lnTo>
                      <a:pt x="0" y="14"/>
                    </a:lnTo>
                    <a:lnTo>
                      <a:pt x="0" y="16"/>
                    </a:lnTo>
                    <a:lnTo>
                      <a:pt x="0" y="20"/>
                    </a:lnTo>
                    <a:lnTo>
                      <a:pt x="0" y="22"/>
                    </a:lnTo>
                    <a:lnTo>
                      <a:pt x="0" y="24"/>
                    </a:lnTo>
                    <a:lnTo>
                      <a:pt x="2" y="26"/>
                    </a:lnTo>
                    <a:lnTo>
                      <a:pt x="2" y="28"/>
                    </a:lnTo>
                    <a:lnTo>
                      <a:pt x="2" y="28"/>
                    </a:lnTo>
                    <a:lnTo>
                      <a:pt x="4" y="30"/>
                    </a:lnTo>
                    <a:lnTo>
                      <a:pt x="4" y="30"/>
                    </a:lnTo>
                    <a:lnTo>
                      <a:pt x="8" y="32"/>
                    </a:lnTo>
                    <a:lnTo>
                      <a:pt x="10" y="34"/>
                    </a:lnTo>
                    <a:lnTo>
                      <a:pt x="12" y="36"/>
                    </a:lnTo>
                    <a:lnTo>
                      <a:pt x="16" y="38"/>
                    </a:lnTo>
                    <a:lnTo>
                      <a:pt x="18" y="40"/>
                    </a:lnTo>
                    <a:lnTo>
                      <a:pt x="20" y="40"/>
                    </a:lnTo>
                    <a:lnTo>
                      <a:pt x="22" y="42"/>
                    </a:lnTo>
                    <a:lnTo>
                      <a:pt x="26" y="42"/>
                    </a:lnTo>
                    <a:lnTo>
                      <a:pt x="28" y="42"/>
                    </a:lnTo>
                    <a:lnTo>
                      <a:pt x="32" y="42"/>
                    </a:lnTo>
                    <a:lnTo>
                      <a:pt x="36" y="44"/>
                    </a:lnTo>
                    <a:lnTo>
                      <a:pt x="38" y="44"/>
                    </a:lnTo>
                    <a:lnTo>
                      <a:pt x="42" y="44"/>
                    </a:lnTo>
                    <a:lnTo>
                      <a:pt x="42" y="44"/>
                    </a:lnTo>
                    <a:lnTo>
                      <a:pt x="44" y="42"/>
                    </a:lnTo>
                    <a:lnTo>
                      <a:pt x="44" y="42"/>
                    </a:lnTo>
                    <a:lnTo>
                      <a:pt x="46" y="42"/>
                    </a:lnTo>
                    <a:lnTo>
                      <a:pt x="46" y="42"/>
                    </a:lnTo>
                    <a:lnTo>
                      <a:pt x="48" y="40"/>
                    </a:lnTo>
                    <a:lnTo>
                      <a:pt x="50" y="38"/>
                    </a:lnTo>
                    <a:lnTo>
                      <a:pt x="50" y="36"/>
                    </a:lnTo>
                    <a:lnTo>
                      <a:pt x="52" y="36"/>
                    </a:lnTo>
                    <a:lnTo>
                      <a:pt x="54" y="34"/>
                    </a:lnTo>
                    <a:lnTo>
                      <a:pt x="54" y="34"/>
                    </a:lnTo>
                    <a:lnTo>
                      <a:pt x="54" y="34"/>
                    </a:lnTo>
                    <a:lnTo>
                      <a:pt x="54" y="34"/>
                    </a:lnTo>
                    <a:lnTo>
                      <a:pt x="56" y="34"/>
                    </a:lnTo>
                    <a:lnTo>
                      <a:pt x="56" y="34"/>
                    </a:lnTo>
                    <a:lnTo>
                      <a:pt x="58" y="34"/>
                    </a:lnTo>
                    <a:lnTo>
                      <a:pt x="60" y="36"/>
                    </a:lnTo>
                    <a:lnTo>
                      <a:pt x="62" y="36"/>
                    </a:lnTo>
                    <a:lnTo>
                      <a:pt x="66" y="38"/>
                    </a:lnTo>
                    <a:lnTo>
                      <a:pt x="68" y="40"/>
                    </a:lnTo>
                    <a:lnTo>
                      <a:pt x="68" y="40"/>
                    </a:lnTo>
                    <a:lnTo>
                      <a:pt x="70" y="40"/>
                    </a:lnTo>
                    <a:lnTo>
                      <a:pt x="72" y="40"/>
                    </a:lnTo>
                    <a:lnTo>
                      <a:pt x="74" y="40"/>
                    </a:lnTo>
                    <a:lnTo>
                      <a:pt x="76" y="40"/>
                    </a:lnTo>
                    <a:lnTo>
                      <a:pt x="78" y="40"/>
                    </a:lnTo>
                    <a:lnTo>
                      <a:pt x="82" y="40"/>
                    </a:lnTo>
                    <a:lnTo>
                      <a:pt x="84" y="40"/>
                    </a:lnTo>
                    <a:lnTo>
                      <a:pt x="86" y="40"/>
                    </a:lnTo>
                    <a:lnTo>
                      <a:pt x="88" y="40"/>
                    </a:lnTo>
                    <a:lnTo>
                      <a:pt x="88" y="40"/>
                    </a:lnTo>
                    <a:lnTo>
                      <a:pt x="90" y="38"/>
                    </a:lnTo>
                    <a:lnTo>
                      <a:pt x="90" y="38"/>
                    </a:lnTo>
                    <a:lnTo>
                      <a:pt x="92" y="36"/>
                    </a:lnTo>
                    <a:lnTo>
                      <a:pt x="94" y="34"/>
                    </a:lnTo>
                    <a:lnTo>
                      <a:pt x="94" y="32"/>
                    </a:lnTo>
                    <a:lnTo>
                      <a:pt x="96" y="32"/>
                    </a:lnTo>
                    <a:lnTo>
                      <a:pt x="96" y="30"/>
                    </a:lnTo>
                    <a:lnTo>
                      <a:pt x="96" y="30"/>
                    </a:lnTo>
                    <a:lnTo>
                      <a:pt x="96" y="30"/>
                    </a:lnTo>
                    <a:lnTo>
                      <a:pt x="96" y="28"/>
                    </a:lnTo>
                    <a:lnTo>
                      <a:pt x="96" y="28"/>
                    </a:lnTo>
                    <a:lnTo>
                      <a:pt x="94" y="28"/>
                    </a:lnTo>
                    <a:lnTo>
                      <a:pt x="94" y="26"/>
                    </a:lnTo>
                    <a:lnTo>
                      <a:pt x="92" y="26"/>
                    </a:lnTo>
                    <a:lnTo>
                      <a:pt x="92" y="26"/>
                    </a:lnTo>
                    <a:lnTo>
                      <a:pt x="88" y="26"/>
                    </a:lnTo>
                    <a:lnTo>
                      <a:pt x="86" y="26"/>
                    </a:lnTo>
                    <a:lnTo>
                      <a:pt x="84" y="24"/>
                    </a:lnTo>
                    <a:lnTo>
                      <a:pt x="82" y="24"/>
                    </a:lnTo>
                    <a:lnTo>
                      <a:pt x="82" y="24"/>
                    </a:lnTo>
                    <a:lnTo>
                      <a:pt x="80" y="24"/>
                    </a:lnTo>
                    <a:lnTo>
                      <a:pt x="80" y="22"/>
                    </a:lnTo>
                    <a:lnTo>
                      <a:pt x="80" y="22"/>
                    </a:lnTo>
                    <a:lnTo>
                      <a:pt x="78" y="20"/>
                    </a:lnTo>
                    <a:lnTo>
                      <a:pt x="78" y="18"/>
                    </a:lnTo>
                    <a:lnTo>
                      <a:pt x="76" y="16"/>
                    </a:lnTo>
                    <a:lnTo>
                      <a:pt x="76" y="14"/>
                    </a:lnTo>
                    <a:lnTo>
                      <a:pt x="76" y="12"/>
                    </a:lnTo>
                    <a:lnTo>
                      <a:pt x="74" y="10"/>
                    </a:lnTo>
                    <a:lnTo>
                      <a:pt x="74" y="8"/>
                    </a:lnTo>
                    <a:lnTo>
                      <a:pt x="74" y="8"/>
                    </a:lnTo>
                    <a:lnTo>
                      <a:pt x="72" y="8"/>
                    </a:lnTo>
                    <a:lnTo>
                      <a:pt x="70" y="6"/>
                    </a:lnTo>
                    <a:lnTo>
                      <a:pt x="68" y="6"/>
                    </a:lnTo>
                    <a:lnTo>
                      <a:pt x="66" y="4"/>
                    </a:lnTo>
                    <a:lnTo>
                      <a:pt x="64" y="4"/>
                    </a:lnTo>
                    <a:lnTo>
                      <a:pt x="62" y="2"/>
                    </a:lnTo>
                    <a:lnTo>
                      <a:pt x="60" y="2"/>
                    </a:lnTo>
                    <a:lnTo>
                      <a:pt x="60" y="2"/>
                    </a:lnTo>
                    <a:lnTo>
                      <a:pt x="58" y="2"/>
                    </a:lnTo>
                    <a:lnTo>
                      <a:pt x="58" y="2"/>
                    </a:lnTo>
                    <a:lnTo>
                      <a:pt x="56" y="2"/>
                    </a:lnTo>
                    <a:lnTo>
                      <a:pt x="54" y="4"/>
                    </a:lnTo>
                    <a:lnTo>
                      <a:pt x="54" y="4"/>
                    </a:lnTo>
                    <a:lnTo>
                      <a:pt x="54"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7" name="Freeform 176"/>
              <p:cNvSpPr>
                <a:spLocks/>
              </p:cNvSpPr>
              <p:nvPr/>
            </p:nvSpPr>
            <p:spPr bwMode="auto">
              <a:xfrm>
                <a:off x="7164678" y="2444917"/>
                <a:ext cx="92075" cy="34925"/>
              </a:xfrm>
              <a:custGeom>
                <a:avLst/>
                <a:gdLst>
                  <a:gd name="T0" fmla="*/ 2 w 58"/>
                  <a:gd name="T1" fmla="*/ 0 h 22"/>
                  <a:gd name="T2" fmla="*/ 4 w 58"/>
                  <a:gd name="T3" fmla="*/ 0 h 22"/>
                  <a:gd name="T4" fmla="*/ 4 w 58"/>
                  <a:gd name="T5" fmla="*/ 0 h 22"/>
                  <a:gd name="T6" fmla="*/ 6 w 58"/>
                  <a:gd name="T7" fmla="*/ 2 h 22"/>
                  <a:gd name="T8" fmla="*/ 8 w 58"/>
                  <a:gd name="T9" fmla="*/ 4 h 22"/>
                  <a:gd name="T10" fmla="*/ 10 w 58"/>
                  <a:gd name="T11" fmla="*/ 6 h 22"/>
                  <a:gd name="T12" fmla="*/ 14 w 58"/>
                  <a:gd name="T13" fmla="*/ 6 h 22"/>
                  <a:gd name="T14" fmla="*/ 20 w 58"/>
                  <a:gd name="T15" fmla="*/ 6 h 22"/>
                  <a:gd name="T16" fmla="*/ 28 w 58"/>
                  <a:gd name="T17" fmla="*/ 6 h 22"/>
                  <a:gd name="T18" fmla="*/ 34 w 58"/>
                  <a:gd name="T19" fmla="*/ 6 h 22"/>
                  <a:gd name="T20" fmla="*/ 40 w 58"/>
                  <a:gd name="T21" fmla="*/ 4 h 22"/>
                  <a:gd name="T22" fmla="*/ 46 w 58"/>
                  <a:gd name="T23" fmla="*/ 4 h 22"/>
                  <a:gd name="T24" fmla="*/ 50 w 58"/>
                  <a:gd name="T25" fmla="*/ 4 h 22"/>
                  <a:gd name="T26" fmla="*/ 52 w 58"/>
                  <a:gd name="T27" fmla="*/ 4 h 22"/>
                  <a:gd name="T28" fmla="*/ 56 w 58"/>
                  <a:gd name="T29" fmla="*/ 6 h 22"/>
                  <a:gd name="T30" fmla="*/ 56 w 58"/>
                  <a:gd name="T31" fmla="*/ 6 h 22"/>
                  <a:gd name="T32" fmla="*/ 58 w 58"/>
                  <a:gd name="T33" fmla="*/ 10 h 22"/>
                  <a:gd name="T34" fmla="*/ 58 w 58"/>
                  <a:gd name="T35" fmla="*/ 14 h 22"/>
                  <a:gd name="T36" fmla="*/ 58 w 58"/>
                  <a:gd name="T37" fmla="*/ 16 h 22"/>
                  <a:gd name="T38" fmla="*/ 58 w 58"/>
                  <a:gd name="T39" fmla="*/ 18 h 22"/>
                  <a:gd name="T40" fmla="*/ 56 w 58"/>
                  <a:gd name="T41" fmla="*/ 20 h 22"/>
                  <a:gd name="T42" fmla="*/ 54 w 58"/>
                  <a:gd name="T43" fmla="*/ 22 h 22"/>
                  <a:gd name="T44" fmla="*/ 50 w 58"/>
                  <a:gd name="T45" fmla="*/ 22 h 22"/>
                  <a:gd name="T46" fmla="*/ 46 w 58"/>
                  <a:gd name="T47" fmla="*/ 22 h 22"/>
                  <a:gd name="T48" fmla="*/ 40 w 58"/>
                  <a:gd name="T49" fmla="*/ 22 h 22"/>
                  <a:gd name="T50" fmla="*/ 28 w 58"/>
                  <a:gd name="T51" fmla="*/ 22 h 22"/>
                  <a:gd name="T52" fmla="*/ 18 w 58"/>
                  <a:gd name="T53" fmla="*/ 20 h 22"/>
                  <a:gd name="T54" fmla="*/ 14 w 58"/>
                  <a:gd name="T55" fmla="*/ 18 h 22"/>
                  <a:gd name="T56" fmla="*/ 10 w 58"/>
                  <a:gd name="T57" fmla="*/ 16 h 22"/>
                  <a:gd name="T58" fmla="*/ 8 w 58"/>
                  <a:gd name="T59" fmla="*/ 14 h 22"/>
                  <a:gd name="T60" fmla="*/ 4 w 58"/>
                  <a:gd name="T61" fmla="*/ 12 h 22"/>
                  <a:gd name="T62" fmla="*/ 2 w 58"/>
                  <a:gd name="T63" fmla="*/ 10 h 22"/>
                  <a:gd name="T64" fmla="*/ 2 w 58"/>
                  <a:gd name="T65" fmla="*/ 6 h 22"/>
                  <a:gd name="T66" fmla="*/ 0 w 58"/>
                  <a:gd name="T67" fmla="*/ 4 h 22"/>
                  <a:gd name="T68" fmla="*/ 2 w 58"/>
                  <a:gd name="T69" fmla="*/ 2 h 22"/>
                  <a:gd name="T70" fmla="*/ 2 w 58"/>
                  <a:gd name="T71" fmla="*/ 0 h 22"/>
                  <a:gd name="T72" fmla="*/ 2 w 58"/>
                  <a:gd name="T7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22">
                    <a:moveTo>
                      <a:pt x="2" y="0"/>
                    </a:moveTo>
                    <a:lnTo>
                      <a:pt x="2" y="0"/>
                    </a:lnTo>
                    <a:lnTo>
                      <a:pt x="2" y="0"/>
                    </a:lnTo>
                    <a:lnTo>
                      <a:pt x="4" y="0"/>
                    </a:lnTo>
                    <a:lnTo>
                      <a:pt x="4" y="0"/>
                    </a:lnTo>
                    <a:lnTo>
                      <a:pt x="4" y="0"/>
                    </a:lnTo>
                    <a:lnTo>
                      <a:pt x="6" y="0"/>
                    </a:lnTo>
                    <a:lnTo>
                      <a:pt x="6" y="2"/>
                    </a:lnTo>
                    <a:lnTo>
                      <a:pt x="8" y="4"/>
                    </a:lnTo>
                    <a:lnTo>
                      <a:pt x="8" y="4"/>
                    </a:lnTo>
                    <a:lnTo>
                      <a:pt x="10" y="6"/>
                    </a:lnTo>
                    <a:lnTo>
                      <a:pt x="10" y="6"/>
                    </a:lnTo>
                    <a:lnTo>
                      <a:pt x="12" y="6"/>
                    </a:lnTo>
                    <a:lnTo>
                      <a:pt x="14" y="6"/>
                    </a:lnTo>
                    <a:lnTo>
                      <a:pt x="18" y="6"/>
                    </a:lnTo>
                    <a:lnTo>
                      <a:pt x="20" y="6"/>
                    </a:lnTo>
                    <a:lnTo>
                      <a:pt x="26" y="6"/>
                    </a:lnTo>
                    <a:lnTo>
                      <a:pt x="28" y="6"/>
                    </a:lnTo>
                    <a:lnTo>
                      <a:pt x="32" y="6"/>
                    </a:lnTo>
                    <a:lnTo>
                      <a:pt x="34" y="6"/>
                    </a:lnTo>
                    <a:lnTo>
                      <a:pt x="36" y="4"/>
                    </a:lnTo>
                    <a:lnTo>
                      <a:pt x="40" y="4"/>
                    </a:lnTo>
                    <a:lnTo>
                      <a:pt x="44" y="4"/>
                    </a:lnTo>
                    <a:lnTo>
                      <a:pt x="46" y="4"/>
                    </a:lnTo>
                    <a:lnTo>
                      <a:pt x="48" y="4"/>
                    </a:lnTo>
                    <a:lnTo>
                      <a:pt x="50" y="4"/>
                    </a:lnTo>
                    <a:lnTo>
                      <a:pt x="52" y="4"/>
                    </a:lnTo>
                    <a:lnTo>
                      <a:pt x="52" y="4"/>
                    </a:lnTo>
                    <a:lnTo>
                      <a:pt x="54" y="4"/>
                    </a:lnTo>
                    <a:lnTo>
                      <a:pt x="56" y="6"/>
                    </a:lnTo>
                    <a:lnTo>
                      <a:pt x="56" y="6"/>
                    </a:lnTo>
                    <a:lnTo>
                      <a:pt x="56" y="6"/>
                    </a:lnTo>
                    <a:lnTo>
                      <a:pt x="56" y="8"/>
                    </a:lnTo>
                    <a:lnTo>
                      <a:pt x="58" y="10"/>
                    </a:lnTo>
                    <a:lnTo>
                      <a:pt x="58" y="12"/>
                    </a:lnTo>
                    <a:lnTo>
                      <a:pt x="58" y="14"/>
                    </a:lnTo>
                    <a:lnTo>
                      <a:pt x="58" y="16"/>
                    </a:lnTo>
                    <a:lnTo>
                      <a:pt x="58" y="16"/>
                    </a:lnTo>
                    <a:lnTo>
                      <a:pt x="58" y="18"/>
                    </a:lnTo>
                    <a:lnTo>
                      <a:pt x="58" y="18"/>
                    </a:lnTo>
                    <a:lnTo>
                      <a:pt x="58" y="18"/>
                    </a:lnTo>
                    <a:lnTo>
                      <a:pt x="56" y="20"/>
                    </a:lnTo>
                    <a:lnTo>
                      <a:pt x="56" y="20"/>
                    </a:lnTo>
                    <a:lnTo>
                      <a:pt x="54" y="22"/>
                    </a:lnTo>
                    <a:lnTo>
                      <a:pt x="52" y="22"/>
                    </a:lnTo>
                    <a:lnTo>
                      <a:pt x="50" y="22"/>
                    </a:lnTo>
                    <a:lnTo>
                      <a:pt x="48" y="22"/>
                    </a:lnTo>
                    <a:lnTo>
                      <a:pt x="46" y="22"/>
                    </a:lnTo>
                    <a:lnTo>
                      <a:pt x="44" y="22"/>
                    </a:lnTo>
                    <a:lnTo>
                      <a:pt x="40" y="22"/>
                    </a:lnTo>
                    <a:lnTo>
                      <a:pt x="34" y="22"/>
                    </a:lnTo>
                    <a:lnTo>
                      <a:pt x="28" y="22"/>
                    </a:lnTo>
                    <a:lnTo>
                      <a:pt x="24" y="20"/>
                    </a:lnTo>
                    <a:lnTo>
                      <a:pt x="18" y="20"/>
                    </a:lnTo>
                    <a:lnTo>
                      <a:pt x="16" y="18"/>
                    </a:lnTo>
                    <a:lnTo>
                      <a:pt x="14" y="18"/>
                    </a:lnTo>
                    <a:lnTo>
                      <a:pt x="12" y="18"/>
                    </a:lnTo>
                    <a:lnTo>
                      <a:pt x="10" y="16"/>
                    </a:lnTo>
                    <a:lnTo>
                      <a:pt x="8" y="16"/>
                    </a:lnTo>
                    <a:lnTo>
                      <a:pt x="8" y="14"/>
                    </a:lnTo>
                    <a:lnTo>
                      <a:pt x="6" y="14"/>
                    </a:lnTo>
                    <a:lnTo>
                      <a:pt x="4" y="12"/>
                    </a:lnTo>
                    <a:lnTo>
                      <a:pt x="4" y="10"/>
                    </a:lnTo>
                    <a:lnTo>
                      <a:pt x="2" y="10"/>
                    </a:lnTo>
                    <a:lnTo>
                      <a:pt x="2" y="8"/>
                    </a:lnTo>
                    <a:lnTo>
                      <a:pt x="2" y="6"/>
                    </a:lnTo>
                    <a:lnTo>
                      <a:pt x="0" y="4"/>
                    </a:lnTo>
                    <a:lnTo>
                      <a:pt x="0" y="4"/>
                    </a:lnTo>
                    <a:lnTo>
                      <a:pt x="0" y="2"/>
                    </a:lnTo>
                    <a:lnTo>
                      <a:pt x="2" y="2"/>
                    </a:lnTo>
                    <a:lnTo>
                      <a:pt x="2" y="0"/>
                    </a:lnTo>
                    <a:lnTo>
                      <a:pt x="2" y="0"/>
                    </a:lnTo>
                    <a:lnTo>
                      <a:pt x="2" y="0"/>
                    </a:lnTo>
                    <a:lnTo>
                      <a:pt x="2"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8" name="Freeform 178"/>
              <p:cNvSpPr>
                <a:spLocks/>
              </p:cNvSpPr>
              <p:nvPr/>
            </p:nvSpPr>
            <p:spPr bwMode="auto">
              <a:xfrm>
                <a:off x="7891753" y="2603667"/>
                <a:ext cx="66675" cy="44450"/>
              </a:xfrm>
              <a:custGeom>
                <a:avLst/>
                <a:gdLst>
                  <a:gd name="T0" fmla="*/ 16 w 42"/>
                  <a:gd name="T1" fmla="*/ 2 h 28"/>
                  <a:gd name="T2" fmla="*/ 16 w 42"/>
                  <a:gd name="T3" fmla="*/ 2 h 28"/>
                  <a:gd name="T4" fmla="*/ 14 w 42"/>
                  <a:gd name="T5" fmla="*/ 4 h 28"/>
                  <a:gd name="T6" fmla="*/ 14 w 42"/>
                  <a:gd name="T7" fmla="*/ 4 h 28"/>
                  <a:gd name="T8" fmla="*/ 10 w 42"/>
                  <a:gd name="T9" fmla="*/ 8 h 28"/>
                  <a:gd name="T10" fmla="*/ 8 w 42"/>
                  <a:gd name="T11" fmla="*/ 8 h 28"/>
                  <a:gd name="T12" fmla="*/ 6 w 42"/>
                  <a:gd name="T13" fmla="*/ 10 h 28"/>
                  <a:gd name="T14" fmla="*/ 4 w 42"/>
                  <a:gd name="T15" fmla="*/ 12 h 28"/>
                  <a:gd name="T16" fmla="*/ 4 w 42"/>
                  <a:gd name="T17" fmla="*/ 14 h 28"/>
                  <a:gd name="T18" fmla="*/ 4 w 42"/>
                  <a:gd name="T19" fmla="*/ 14 h 28"/>
                  <a:gd name="T20" fmla="*/ 2 w 42"/>
                  <a:gd name="T21" fmla="*/ 16 h 28"/>
                  <a:gd name="T22" fmla="*/ 2 w 42"/>
                  <a:gd name="T23" fmla="*/ 18 h 28"/>
                  <a:gd name="T24" fmla="*/ 0 w 42"/>
                  <a:gd name="T25" fmla="*/ 20 h 28"/>
                  <a:gd name="T26" fmla="*/ 0 w 42"/>
                  <a:gd name="T27" fmla="*/ 22 h 28"/>
                  <a:gd name="T28" fmla="*/ 0 w 42"/>
                  <a:gd name="T29" fmla="*/ 24 h 28"/>
                  <a:gd name="T30" fmla="*/ 0 w 42"/>
                  <a:gd name="T31" fmla="*/ 24 h 28"/>
                  <a:gd name="T32" fmla="*/ 0 w 42"/>
                  <a:gd name="T33" fmla="*/ 26 h 28"/>
                  <a:gd name="T34" fmla="*/ 0 w 42"/>
                  <a:gd name="T35" fmla="*/ 26 h 28"/>
                  <a:gd name="T36" fmla="*/ 0 w 42"/>
                  <a:gd name="T37" fmla="*/ 28 h 28"/>
                  <a:gd name="T38" fmla="*/ 0 w 42"/>
                  <a:gd name="T39" fmla="*/ 28 h 28"/>
                  <a:gd name="T40" fmla="*/ 2 w 42"/>
                  <a:gd name="T41" fmla="*/ 28 h 28"/>
                  <a:gd name="T42" fmla="*/ 2 w 42"/>
                  <a:gd name="T43" fmla="*/ 28 h 28"/>
                  <a:gd name="T44" fmla="*/ 4 w 42"/>
                  <a:gd name="T45" fmla="*/ 28 h 28"/>
                  <a:gd name="T46" fmla="*/ 6 w 42"/>
                  <a:gd name="T47" fmla="*/ 28 h 28"/>
                  <a:gd name="T48" fmla="*/ 8 w 42"/>
                  <a:gd name="T49" fmla="*/ 28 h 28"/>
                  <a:gd name="T50" fmla="*/ 10 w 42"/>
                  <a:gd name="T51" fmla="*/ 28 h 28"/>
                  <a:gd name="T52" fmla="*/ 14 w 42"/>
                  <a:gd name="T53" fmla="*/ 28 h 28"/>
                  <a:gd name="T54" fmla="*/ 16 w 42"/>
                  <a:gd name="T55" fmla="*/ 26 h 28"/>
                  <a:gd name="T56" fmla="*/ 20 w 42"/>
                  <a:gd name="T57" fmla="*/ 26 h 28"/>
                  <a:gd name="T58" fmla="*/ 22 w 42"/>
                  <a:gd name="T59" fmla="*/ 26 h 28"/>
                  <a:gd name="T60" fmla="*/ 24 w 42"/>
                  <a:gd name="T61" fmla="*/ 26 h 28"/>
                  <a:gd name="T62" fmla="*/ 26 w 42"/>
                  <a:gd name="T63" fmla="*/ 26 h 28"/>
                  <a:gd name="T64" fmla="*/ 30 w 42"/>
                  <a:gd name="T65" fmla="*/ 26 h 28"/>
                  <a:gd name="T66" fmla="*/ 32 w 42"/>
                  <a:gd name="T67" fmla="*/ 26 h 28"/>
                  <a:gd name="T68" fmla="*/ 34 w 42"/>
                  <a:gd name="T69" fmla="*/ 26 h 28"/>
                  <a:gd name="T70" fmla="*/ 36 w 42"/>
                  <a:gd name="T71" fmla="*/ 26 h 28"/>
                  <a:gd name="T72" fmla="*/ 36 w 42"/>
                  <a:gd name="T73" fmla="*/ 24 h 28"/>
                  <a:gd name="T74" fmla="*/ 36 w 42"/>
                  <a:gd name="T75" fmla="*/ 24 h 28"/>
                  <a:gd name="T76" fmla="*/ 38 w 42"/>
                  <a:gd name="T77" fmla="*/ 24 h 28"/>
                  <a:gd name="T78" fmla="*/ 38 w 42"/>
                  <a:gd name="T79" fmla="*/ 24 h 28"/>
                  <a:gd name="T80" fmla="*/ 38 w 42"/>
                  <a:gd name="T81" fmla="*/ 22 h 28"/>
                  <a:gd name="T82" fmla="*/ 40 w 42"/>
                  <a:gd name="T83" fmla="*/ 20 h 28"/>
                  <a:gd name="T84" fmla="*/ 40 w 42"/>
                  <a:gd name="T85" fmla="*/ 18 h 28"/>
                  <a:gd name="T86" fmla="*/ 40 w 42"/>
                  <a:gd name="T87" fmla="*/ 16 h 28"/>
                  <a:gd name="T88" fmla="*/ 42 w 42"/>
                  <a:gd name="T89" fmla="*/ 12 h 28"/>
                  <a:gd name="T90" fmla="*/ 40 w 42"/>
                  <a:gd name="T91" fmla="*/ 10 h 28"/>
                  <a:gd name="T92" fmla="*/ 40 w 42"/>
                  <a:gd name="T93" fmla="*/ 10 h 28"/>
                  <a:gd name="T94" fmla="*/ 40 w 42"/>
                  <a:gd name="T95" fmla="*/ 10 h 28"/>
                  <a:gd name="T96" fmla="*/ 40 w 42"/>
                  <a:gd name="T97" fmla="*/ 8 h 28"/>
                  <a:gd name="T98" fmla="*/ 40 w 42"/>
                  <a:gd name="T99" fmla="*/ 8 h 28"/>
                  <a:gd name="T100" fmla="*/ 38 w 42"/>
                  <a:gd name="T101" fmla="*/ 6 h 28"/>
                  <a:gd name="T102" fmla="*/ 36 w 42"/>
                  <a:gd name="T103" fmla="*/ 4 h 28"/>
                  <a:gd name="T104" fmla="*/ 34 w 42"/>
                  <a:gd name="T105" fmla="*/ 4 h 28"/>
                  <a:gd name="T106" fmla="*/ 32 w 42"/>
                  <a:gd name="T107" fmla="*/ 2 h 28"/>
                  <a:gd name="T108" fmla="*/ 30 w 42"/>
                  <a:gd name="T109" fmla="*/ 2 h 28"/>
                  <a:gd name="T110" fmla="*/ 28 w 42"/>
                  <a:gd name="T111" fmla="*/ 0 h 28"/>
                  <a:gd name="T112" fmla="*/ 26 w 42"/>
                  <a:gd name="T113" fmla="*/ 0 h 28"/>
                  <a:gd name="T114" fmla="*/ 26 w 42"/>
                  <a:gd name="T115" fmla="*/ 0 h 28"/>
                  <a:gd name="T116" fmla="*/ 24 w 42"/>
                  <a:gd name="T117" fmla="*/ 0 h 28"/>
                  <a:gd name="T118" fmla="*/ 22 w 42"/>
                  <a:gd name="T119" fmla="*/ 2 h 28"/>
                  <a:gd name="T120" fmla="*/ 18 w 42"/>
                  <a:gd name="T121" fmla="*/ 2 h 28"/>
                  <a:gd name="T122" fmla="*/ 16 w 42"/>
                  <a:gd name="T1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28">
                    <a:moveTo>
                      <a:pt x="16" y="2"/>
                    </a:moveTo>
                    <a:lnTo>
                      <a:pt x="16" y="2"/>
                    </a:lnTo>
                    <a:lnTo>
                      <a:pt x="14" y="4"/>
                    </a:lnTo>
                    <a:lnTo>
                      <a:pt x="14" y="4"/>
                    </a:lnTo>
                    <a:lnTo>
                      <a:pt x="10" y="8"/>
                    </a:lnTo>
                    <a:lnTo>
                      <a:pt x="8" y="8"/>
                    </a:lnTo>
                    <a:lnTo>
                      <a:pt x="6" y="10"/>
                    </a:lnTo>
                    <a:lnTo>
                      <a:pt x="4" y="12"/>
                    </a:lnTo>
                    <a:lnTo>
                      <a:pt x="4" y="14"/>
                    </a:lnTo>
                    <a:lnTo>
                      <a:pt x="4" y="14"/>
                    </a:lnTo>
                    <a:lnTo>
                      <a:pt x="2" y="16"/>
                    </a:lnTo>
                    <a:lnTo>
                      <a:pt x="2" y="18"/>
                    </a:lnTo>
                    <a:lnTo>
                      <a:pt x="0" y="20"/>
                    </a:lnTo>
                    <a:lnTo>
                      <a:pt x="0" y="22"/>
                    </a:lnTo>
                    <a:lnTo>
                      <a:pt x="0" y="24"/>
                    </a:lnTo>
                    <a:lnTo>
                      <a:pt x="0" y="24"/>
                    </a:lnTo>
                    <a:lnTo>
                      <a:pt x="0" y="26"/>
                    </a:lnTo>
                    <a:lnTo>
                      <a:pt x="0" y="26"/>
                    </a:lnTo>
                    <a:lnTo>
                      <a:pt x="0" y="28"/>
                    </a:lnTo>
                    <a:lnTo>
                      <a:pt x="0" y="28"/>
                    </a:lnTo>
                    <a:lnTo>
                      <a:pt x="2" y="28"/>
                    </a:lnTo>
                    <a:lnTo>
                      <a:pt x="2" y="28"/>
                    </a:lnTo>
                    <a:lnTo>
                      <a:pt x="4" y="28"/>
                    </a:lnTo>
                    <a:lnTo>
                      <a:pt x="6" y="28"/>
                    </a:lnTo>
                    <a:lnTo>
                      <a:pt x="8" y="28"/>
                    </a:lnTo>
                    <a:lnTo>
                      <a:pt x="10" y="28"/>
                    </a:lnTo>
                    <a:lnTo>
                      <a:pt x="14" y="28"/>
                    </a:lnTo>
                    <a:lnTo>
                      <a:pt x="16" y="26"/>
                    </a:lnTo>
                    <a:lnTo>
                      <a:pt x="20" y="26"/>
                    </a:lnTo>
                    <a:lnTo>
                      <a:pt x="22" y="26"/>
                    </a:lnTo>
                    <a:lnTo>
                      <a:pt x="24" y="26"/>
                    </a:lnTo>
                    <a:lnTo>
                      <a:pt x="26" y="26"/>
                    </a:lnTo>
                    <a:lnTo>
                      <a:pt x="30" y="26"/>
                    </a:lnTo>
                    <a:lnTo>
                      <a:pt x="32" y="26"/>
                    </a:lnTo>
                    <a:lnTo>
                      <a:pt x="34" y="26"/>
                    </a:lnTo>
                    <a:lnTo>
                      <a:pt x="36" y="26"/>
                    </a:lnTo>
                    <a:lnTo>
                      <a:pt x="36" y="24"/>
                    </a:lnTo>
                    <a:lnTo>
                      <a:pt x="36" y="24"/>
                    </a:lnTo>
                    <a:lnTo>
                      <a:pt x="38" y="24"/>
                    </a:lnTo>
                    <a:lnTo>
                      <a:pt x="38" y="24"/>
                    </a:lnTo>
                    <a:lnTo>
                      <a:pt x="38" y="22"/>
                    </a:lnTo>
                    <a:lnTo>
                      <a:pt x="40" y="20"/>
                    </a:lnTo>
                    <a:lnTo>
                      <a:pt x="40" y="18"/>
                    </a:lnTo>
                    <a:lnTo>
                      <a:pt x="40" y="16"/>
                    </a:lnTo>
                    <a:lnTo>
                      <a:pt x="42" y="12"/>
                    </a:lnTo>
                    <a:lnTo>
                      <a:pt x="40" y="10"/>
                    </a:lnTo>
                    <a:lnTo>
                      <a:pt x="40" y="10"/>
                    </a:lnTo>
                    <a:lnTo>
                      <a:pt x="40" y="10"/>
                    </a:lnTo>
                    <a:lnTo>
                      <a:pt x="40" y="8"/>
                    </a:lnTo>
                    <a:lnTo>
                      <a:pt x="40" y="8"/>
                    </a:lnTo>
                    <a:lnTo>
                      <a:pt x="38" y="6"/>
                    </a:lnTo>
                    <a:lnTo>
                      <a:pt x="36" y="4"/>
                    </a:lnTo>
                    <a:lnTo>
                      <a:pt x="34" y="4"/>
                    </a:lnTo>
                    <a:lnTo>
                      <a:pt x="32" y="2"/>
                    </a:lnTo>
                    <a:lnTo>
                      <a:pt x="30" y="2"/>
                    </a:lnTo>
                    <a:lnTo>
                      <a:pt x="28" y="0"/>
                    </a:lnTo>
                    <a:lnTo>
                      <a:pt x="26" y="0"/>
                    </a:lnTo>
                    <a:lnTo>
                      <a:pt x="26" y="0"/>
                    </a:lnTo>
                    <a:lnTo>
                      <a:pt x="24" y="0"/>
                    </a:lnTo>
                    <a:lnTo>
                      <a:pt x="22" y="2"/>
                    </a:lnTo>
                    <a:lnTo>
                      <a:pt x="18" y="2"/>
                    </a:lnTo>
                    <a:lnTo>
                      <a:pt x="16"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09" name="Freeform 180"/>
              <p:cNvSpPr>
                <a:spLocks/>
              </p:cNvSpPr>
              <p:nvPr/>
            </p:nvSpPr>
            <p:spPr bwMode="auto">
              <a:xfrm>
                <a:off x="7361528" y="3248192"/>
                <a:ext cx="88900" cy="174625"/>
              </a:xfrm>
              <a:custGeom>
                <a:avLst/>
                <a:gdLst>
                  <a:gd name="T0" fmla="*/ 6 w 56"/>
                  <a:gd name="T1" fmla="*/ 12 h 110"/>
                  <a:gd name="T2" fmla="*/ 4 w 56"/>
                  <a:gd name="T3" fmla="*/ 20 h 110"/>
                  <a:gd name="T4" fmla="*/ 6 w 56"/>
                  <a:gd name="T5" fmla="*/ 26 h 110"/>
                  <a:gd name="T6" fmla="*/ 12 w 56"/>
                  <a:gd name="T7" fmla="*/ 46 h 110"/>
                  <a:gd name="T8" fmla="*/ 14 w 56"/>
                  <a:gd name="T9" fmla="*/ 58 h 110"/>
                  <a:gd name="T10" fmla="*/ 18 w 56"/>
                  <a:gd name="T11" fmla="*/ 70 h 110"/>
                  <a:gd name="T12" fmla="*/ 20 w 56"/>
                  <a:gd name="T13" fmla="*/ 76 h 110"/>
                  <a:gd name="T14" fmla="*/ 24 w 56"/>
                  <a:gd name="T15" fmla="*/ 80 h 110"/>
                  <a:gd name="T16" fmla="*/ 28 w 56"/>
                  <a:gd name="T17" fmla="*/ 82 h 110"/>
                  <a:gd name="T18" fmla="*/ 28 w 56"/>
                  <a:gd name="T19" fmla="*/ 84 h 110"/>
                  <a:gd name="T20" fmla="*/ 26 w 56"/>
                  <a:gd name="T21" fmla="*/ 90 h 110"/>
                  <a:gd name="T22" fmla="*/ 22 w 56"/>
                  <a:gd name="T23" fmla="*/ 96 h 110"/>
                  <a:gd name="T24" fmla="*/ 22 w 56"/>
                  <a:gd name="T25" fmla="*/ 98 h 110"/>
                  <a:gd name="T26" fmla="*/ 24 w 56"/>
                  <a:gd name="T27" fmla="*/ 102 h 110"/>
                  <a:gd name="T28" fmla="*/ 26 w 56"/>
                  <a:gd name="T29" fmla="*/ 104 h 110"/>
                  <a:gd name="T30" fmla="*/ 30 w 56"/>
                  <a:gd name="T31" fmla="*/ 104 h 110"/>
                  <a:gd name="T32" fmla="*/ 32 w 56"/>
                  <a:gd name="T33" fmla="*/ 104 h 110"/>
                  <a:gd name="T34" fmla="*/ 40 w 56"/>
                  <a:gd name="T35" fmla="*/ 108 h 110"/>
                  <a:gd name="T36" fmla="*/ 44 w 56"/>
                  <a:gd name="T37" fmla="*/ 110 h 110"/>
                  <a:gd name="T38" fmla="*/ 48 w 56"/>
                  <a:gd name="T39" fmla="*/ 110 h 110"/>
                  <a:gd name="T40" fmla="*/ 52 w 56"/>
                  <a:gd name="T41" fmla="*/ 108 h 110"/>
                  <a:gd name="T42" fmla="*/ 56 w 56"/>
                  <a:gd name="T43" fmla="*/ 106 h 110"/>
                  <a:gd name="T44" fmla="*/ 56 w 56"/>
                  <a:gd name="T45" fmla="*/ 102 h 110"/>
                  <a:gd name="T46" fmla="*/ 54 w 56"/>
                  <a:gd name="T47" fmla="*/ 98 h 110"/>
                  <a:gd name="T48" fmla="*/ 48 w 56"/>
                  <a:gd name="T49" fmla="*/ 88 h 110"/>
                  <a:gd name="T50" fmla="*/ 46 w 56"/>
                  <a:gd name="T51" fmla="*/ 82 h 110"/>
                  <a:gd name="T52" fmla="*/ 40 w 56"/>
                  <a:gd name="T53" fmla="*/ 70 h 110"/>
                  <a:gd name="T54" fmla="*/ 36 w 56"/>
                  <a:gd name="T55" fmla="*/ 64 h 110"/>
                  <a:gd name="T56" fmla="*/ 34 w 56"/>
                  <a:gd name="T57" fmla="*/ 60 h 110"/>
                  <a:gd name="T58" fmla="*/ 36 w 56"/>
                  <a:gd name="T59" fmla="*/ 58 h 110"/>
                  <a:gd name="T60" fmla="*/ 36 w 56"/>
                  <a:gd name="T61" fmla="*/ 56 h 110"/>
                  <a:gd name="T62" fmla="*/ 40 w 56"/>
                  <a:gd name="T63" fmla="*/ 58 h 110"/>
                  <a:gd name="T64" fmla="*/ 44 w 56"/>
                  <a:gd name="T65" fmla="*/ 60 h 110"/>
                  <a:gd name="T66" fmla="*/ 46 w 56"/>
                  <a:gd name="T67" fmla="*/ 60 h 110"/>
                  <a:gd name="T68" fmla="*/ 46 w 56"/>
                  <a:gd name="T69" fmla="*/ 58 h 110"/>
                  <a:gd name="T70" fmla="*/ 46 w 56"/>
                  <a:gd name="T71" fmla="*/ 54 h 110"/>
                  <a:gd name="T72" fmla="*/ 42 w 56"/>
                  <a:gd name="T73" fmla="*/ 50 h 110"/>
                  <a:gd name="T74" fmla="*/ 34 w 56"/>
                  <a:gd name="T75" fmla="*/ 42 h 110"/>
                  <a:gd name="T76" fmla="*/ 26 w 56"/>
                  <a:gd name="T77" fmla="*/ 32 h 110"/>
                  <a:gd name="T78" fmla="*/ 22 w 56"/>
                  <a:gd name="T79" fmla="*/ 26 h 110"/>
                  <a:gd name="T80" fmla="*/ 20 w 56"/>
                  <a:gd name="T81" fmla="*/ 20 h 110"/>
                  <a:gd name="T82" fmla="*/ 20 w 56"/>
                  <a:gd name="T83" fmla="*/ 8 h 110"/>
                  <a:gd name="T84" fmla="*/ 18 w 56"/>
                  <a:gd name="T85" fmla="*/ 6 h 110"/>
                  <a:gd name="T86" fmla="*/ 16 w 56"/>
                  <a:gd name="T87" fmla="*/ 4 h 110"/>
                  <a:gd name="T88" fmla="*/ 10 w 56"/>
                  <a:gd name="T89" fmla="*/ 0 h 110"/>
                  <a:gd name="T90" fmla="*/ 4 w 56"/>
                  <a:gd name="T91" fmla="*/ 0 h 110"/>
                  <a:gd name="T92" fmla="*/ 2 w 56"/>
                  <a:gd name="T93" fmla="*/ 0 h 110"/>
                  <a:gd name="T94" fmla="*/ 0 w 56"/>
                  <a:gd name="T95" fmla="*/ 2 h 110"/>
                  <a:gd name="T96" fmla="*/ 2 w 56"/>
                  <a:gd name="T97" fmla="*/ 4 h 110"/>
                  <a:gd name="T98" fmla="*/ 4 w 56"/>
                  <a:gd name="T99"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 h="110">
                    <a:moveTo>
                      <a:pt x="4" y="12"/>
                    </a:moveTo>
                    <a:lnTo>
                      <a:pt x="4" y="12"/>
                    </a:lnTo>
                    <a:lnTo>
                      <a:pt x="6" y="12"/>
                    </a:lnTo>
                    <a:lnTo>
                      <a:pt x="6" y="14"/>
                    </a:lnTo>
                    <a:lnTo>
                      <a:pt x="4" y="16"/>
                    </a:lnTo>
                    <a:lnTo>
                      <a:pt x="4" y="20"/>
                    </a:lnTo>
                    <a:lnTo>
                      <a:pt x="4" y="22"/>
                    </a:lnTo>
                    <a:lnTo>
                      <a:pt x="4" y="22"/>
                    </a:lnTo>
                    <a:lnTo>
                      <a:pt x="6" y="26"/>
                    </a:lnTo>
                    <a:lnTo>
                      <a:pt x="6" y="30"/>
                    </a:lnTo>
                    <a:lnTo>
                      <a:pt x="8" y="36"/>
                    </a:lnTo>
                    <a:lnTo>
                      <a:pt x="12" y="46"/>
                    </a:lnTo>
                    <a:lnTo>
                      <a:pt x="14" y="54"/>
                    </a:lnTo>
                    <a:lnTo>
                      <a:pt x="14" y="56"/>
                    </a:lnTo>
                    <a:lnTo>
                      <a:pt x="14" y="58"/>
                    </a:lnTo>
                    <a:lnTo>
                      <a:pt x="16" y="64"/>
                    </a:lnTo>
                    <a:lnTo>
                      <a:pt x="16" y="68"/>
                    </a:lnTo>
                    <a:lnTo>
                      <a:pt x="18" y="70"/>
                    </a:lnTo>
                    <a:lnTo>
                      <a:pt x="18" y="72"/>
                    </a:lnTo>
                    <a:lnTo>
                      <a:pt x="18" y="74"/>
                    </a:lnTo>
                    <a:lnTo>
                      <a:pt x="20" y="76"/>
                    </a:lnTo>
                    <a:lnTo>
                      <a:pt x="20" y="76"/>
                    </a:lnTo>
                    <a:lnTo>
                      <a:pt x="24" y="78"/>
                    </a:lnTo>
                    <a:lnTo>
                      <a:pt x="24" y="80"/>
                    </a:lnTo>
                    <a:lnTo>
                      <a:pt x="26" y="80"/>
                    </a:lnTo>
                    <a:lnTo>
                      <a:pt x="28" y="82"/>
                    </a:lnTo>
                    <a:lnTo>
                      <a:pt x="28" y="82"/>
                    </a:lnTo>
                    <a:lnTo>
                      <a:pt x="28" y="84"/>
                    </a:lnTo>
                    <a:lnTo>
                      <a:pt x="28" y="84"/>
                    </a:lnTo>
                    <a:lnTo>
                      <a:pt x="28" y="84"/>
                    </a:lnTo>
                    <a:lnTo>
                      <a:pt x="28" y="86"/>
                    </a:lnTo>
                    <a:lnTo>
                      <a:pt x="26" y="88"/>
                    </a:lnTo>
                    <a:lnTo>
                      <a:pt x="26" y="90"/>
                    </a:lnTo>
                    <a:lnTo>
                      <a:pt x="24" y="92"/>
                    </a:lnTo>
                    <a:lnTo>
                      <a:pt x="24" y="94"/>
                    </a:lnTo>
                    <a:lnTo>
                      <a:pt x="22" y="96"/>
                    </a:lnTo>
                    <a:lnTo>
                      <a:pt x="22" y="96"/>
                    </a:lnTo>
                    <a:lnTo>
                      <a:pt x="22" y="98"/>
                    </a:lnTo>
                    <a:lnTo>
                      <a:pt x="22" y="98"/>
                    </a:lnTo>
                    <a:lnTo>
                      <a:pt x="24" y="100"/>
                    </a:lnTo>
                    <a:lnTo>
                      <a:pt x="24" y="102"/>
                    </a:lnTo>
                    <a:lnTo>
                      <a:pt x="24" y="102"/>
                    </a:lnTo>
                    <a:lnTo>
                      <a:pt x="24" y="104"/>
                    </a:lnTo>
                    <a:lnTo>
                      <a:pt x="24" y="104"/>
                    </a:lnTo>
                    <a:lnTo>
                      <a:pt x="26" y="104"/>
                    </a:lnTo>
                    <a:lnTo>
                      <a:pt x="26" y="104"/>
                    </a:lnTo>
                    <a:lnTo>
                      <a:pt x="28" y="104"/>
                    </a:lnTo>
                    <a:lnTo>
                      <a:pt x="30" y="104"/>
                    </a:lnTo>
                    <a:lnTo>
                      <a:pt x="30" y="104"/>
                    </a:lnTo>
                    <a:lnTo>
                      <a:pt x="32" y="104"/>
                    </a:lnTo>
                    <a:lnTo>
                      <a:pt x="32" y="104"/>
                    </a:lnTo>
                    <a:lnTo>
                      <a:pt x="34" y="104"/>
                    </a:lnTo>
                    <a:lnTo>
                      <a:pt x="34" y="104"/>
                    </a:lnTo>
                    <a:lnTo>
                      <a:pt x="40" y="108"/>
                    </a:lnTo>
                    <a:lnTo>
                      <a:pt x="40" y="108"/>
                    </a:lnTo>
                    <a:lnTo>
                      <a:pt x="44" y="110"/>
                    </a:lnTo>
                    <a:lnTo>
                      <a:pt x="44" y="110"/>
                    </a:lnTo>
                    <a:lnTo>
                      <a:pt x="46" y="110"/>
                    </a:lnTo>
                    <a:lnTo>
                      <a:pt x="46" y="110"/>
                    </a:lnTo>
                    <a:lnTo>
                      <a:pt x="48" y="110"/>
                    </a:lnTo>
                    <a:lnTo>
                      <a:pt x="48" y="110"/>
                    </a:lnTo>
                    <a:lnTo>
                      <a:pt x="50" y="110"/>
                    </a:lnTo>
                    <a:lnTo>
                      <a:pt x="52" y="108"/>
                    </a:lnTo>
                    <a:lnTo>
                      <a:pt x="54" y="108"/>
                    </a:lnTo>
                    <a:lnTo>
                      <a:pt x="54" y="106"/>
                    </a:lnTo>
                    <a:lnTo>
                      <a:pt x="56" y="106"/>
                    </a:lnTo>
                    <a:lnTo>
                      <a:pt x="56" y="104"/>
                    </a:lnTo>
                    <a:lnTo>
                      <a:pt x="56" y="104"/>
                    </a:lnTo>
                    <a:lnTo>
                      <a:pt x="56" y="102"/>
                    </a:lnTo>
                    <a:lnTo>
                      <a:pt x="56" y="102"/>
                    </a:lnTo>
                    <a:lnTo>
                      <a:pt x="56" y="100"/>
                    </a:lnTo>
                    <a:lnTo>
                      <a:pt x="54" y="98"/>
                    </a:lnTo>
                    <a:lnTo>
                      <a:pt x="54" y="94"/>
                    </a:lnTo>
                    <a:lnTo>
                      <a:pt x="50" y="90"/>
                    </a:lnTo>
                    <a:lnTo>
                      <a:pt x="48" y="88"/>
                    </a:lnTo>
                    <a:lnTo>
                      <a:pt x="48" y="86"/>
                    </a:lnTo>
                    <a:lnTo>
                      <a:pt x="48" y="84"/>
                    </a:lnTo>
                    <a:lnTo>
                      <a:pt x="46" y="82"/>
                    </a:lnTo>
                    <a:lnTo>
                      <a:pt x="44" y="78"/>
                    </a:lnTo>
                    <a:lnTo>
                      <a:pt x="42" y="76"/>
                    </a:lnTo>
                    <a:lnTo>
                      <a:pt x="40" y="70"/>
                    </a:lnTo>
                    <a:lnTo>
                      <a:pt x="38" y="68"/>
                    </a:lnTo>
                    <a:lnTo>
                      <a:pt x="36" y="66"/>
                    </a:lnTo>
                    <a:lnTo>
                      <a:pt x="36" y="64"/>
                    </a:lnTo>
                    <a:lnTo>
                      <a:pt x="36" y="64"/>
                    </a:lnTo>
                    <a:lnTo>
                      <a:pt x="34" y="62"/>
                    </a:lnTo>
                    <a:lnTo>
                      <a:pt x="34" y="60"/>
                    </a:lnTo>
                    <a:lnTo>
                      <a:pt x="34" y="58"/>
                    </a:lnTo>
                    <a:lnTo>
                      <a:pt x="36" y="58"/>
                    </a:lnTo>
                    <a:lnTo>
                      <a:pt x="36" y="58"/>
                    </a:lnTo>
                    <a:lnTo>
                      <a:pt x="36" y="56"/>
                    </a:lnTo>
                    <a:lnTo>
                      <a:pt x="36" y="56"/>
                    </a:lnTo>
                    <a:lnTo>
                      <a:pt x="36" y="56"/>
                    </a:lnTo>
                    <a:lnTo>
                      <a:pt x="38" y="56"/>
                    </a:lnTo>
                    <a:lnTo>
                      <a:pt x="38" y="56"/>
                    </a:lnTo>
                    <a:lnTo>
                      <a:pt x="40" y="58"/>
                    </a:lnTo>
                    <a:lnTo>
                      <a:pt x="42" y="58"/>
                    </a:lnTo>
                    <a:lnTo>
                      <a:pt x="42" y="58"/>
                    </a:lnTo>
                    <a:lnTo>
                      <a:pt x="44" y="60"/>
                    </a:lnTo>
                    <a:lnTo>
                      <a:pt x="44" y="60"/>
                    </a:lnTo>
                    <a:lnTo>
                      <a:pt x="46" y="60"/>
                    </a:lnTo>
                    <a:lnTo>
                      <a:pt x="46" y="60"/>
                    </a:lnTo>
                    <a:lnTo>
                      <a:pt x="46" y="58"/>
                    </a:lnTo>
                    <a:lnTo>
                      <a:pt x="46" y="58"/>
                    </a:lnTo>
                    <a:lnTo>
                      <a:pt x="46" y="58"/>
                    </a:lnTo>
                    <a:lnTo>
                      <a:pt x="46" y="56"/>
                    </a:lnTo>
                    <a:lnTo>
                      <a:pt x="46" y="56"/>
                    </a:lnTo>
                    <a:lnTo>
                      <a:pt x="46" y="54"/>
                    </a:lnTo>
                    <a:lnTo>
                      <a:pt x="46" y="54"/>
                    </a:lnTo>
                    <a:lnTo>
                      <a:pt x="44" y="52"/>
                    </a:lnTo>
                    <a:lnTo>
                      <a:pt x="42" y="50"/>
                    </a:lnTo>
                    <a:lnTo>
                      <a:pt x="40" y="46"/>
                    </a:lnTo>
                    <a:lnTo>
                      <a:pt x="36" y="44"/>
                    </a:lnTo>
                    <a:lnTo>
                      <a:pt x="34" y="42"/>
                    </a:lnTo>
                    <a:lnTo>
                      <a:pt x="32" y="40"/>
                    </a:lnTo>
                    <a:lnTo>
                      <a:pt x="30" y="36"/>
                    </a:lnTo>
                    <a:lnTo>
                      <a:pt x="26" y="32"/>
                    </a:lnTo>
                    <a:lnTo>
                      <a:pt x="24" y="28"/>
                    </a:lnTo>
                    <a:lnTo>
                      <a:pt x="22" y="26"/>
                    </a:lnTo>
                    <a:lnTo>
                      <a:pt x="22" y="26"/>
                    </a:lnTo>
                    <a:lnTo>
                      <a:pt x="22" y="24"/>
                    </a:lnTo>
                    <a:lnTo>
                      <a:pt x="20" y="22"/>
                    </a:lnTo>
                    <a:lnTo>
                      <a:pt x="20" y="20"/>
                    </a:lnTo>
                    <a:lnTo>
                      <a:pt x="20" y="14"/>
                    </a:lnTo>
                    <a:lnTo>
                      <a:pt x="20" y="12"/>
                    </a:lnTo>
                    <a:lnTo>
                      <a:pt x="20" y="8"/>
                    </a:lnTo>
                    <a:lnTo>
                      <a:pt x="18" y="8"/>
                    </a:lnTo>
                    <a:lnTo>
                      <a:pt x="18" y="6"/>
                    </a:lnTo>
                    <a:lnTo>
                      <a:pt x="18" y="6"/>
                    </a:lnTo>
                    <a:lnTo>
                      <a:pt x="18" y="4"/>
                    </a:lnTo>
                    <a:lnTo>
                      <a:pt x="16" y="4"/>
                    </a:lnTo>
                    <a:lnTo>
                      <a:pt x="16" y="4"/>
                    </a:lnTo>
                    <a:lnTo>
                      <a:pt x="14" y="2"/>
                    </a:lnTo>
                    <a:lnTo>
                      <a:pt x="12" y="2"/>
                    </a:lnTo>
                    <a:lnTo>
                      <a:pt x="10" y="0"/>
                    </a:lnTo>
                    <a:lnTo>
                      <a:pt x="6" y="0"/>
                    </a:lnTo>
                    <a:lnTo>
                      <a:pt x="6" y="0"/>
                    </a:lnTo>
                    <a:lnTo>
                      <a:pt x="4" y="0"/>
                    </a:lnTo>
                    <a:lnTo>
                      <a:pt x="4" y="0"/>
                    </a:lnTo>
                    <a:lnTo>
                      <a:pt x="2" y="0"/>
                    </a:lnTo>
                    <a:lnTo>
                      <a:pt x="2" y="0"/>
                    </a:lnTo>
                    <a:lnTo>
                      <a:pt x="2" y="2"/>
                    </a:lnTo>
                    <a:lnTo>
                      <a:pt x="0" y="2"/>
                    </a:lnTo>
                    <a:lnTo>
                      <a:pt x="0" y="2"/>
                    </a:lnTo>
                    <a:lnTo>
                      <a:pt x="0" y="2"/>
                    </a:lnTo>
                    <a:lnTo>
                      <a:pt x="0" y="4"/>
                    </a:lnTo>
                    <a:lnTo>
                      <a:pt x="2" y="4"/>
                    </a:lnTo>
                    <a:lnTo>
                      <a:pt x="2" y="6"/>
                    </a:lnTo>
                    <a:lnTo>
                      <a:pt x="4" y="8"/>
                    </a:lnTo>
                    <a:lnTo>
                      <a:pt x="4" y="10"/>
                    </a:lnTo>
                    <a:lnTo>
                      <a:pt x="4"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10" name="Freeform 182"/>
              <p:cNvSpPr>
                <a:spLocks/>
              </p:cNvSpPr>
              <p:nvPr/>
            </p:nvSpPr>
            <p:spPr bwMode="auto">
              <a:xfrm>
                <a:off x="4888203" y="2356017"/>
                <a:ext cx="3333750" cy="1250950"/>
              </a:xfrm>
              <a:custGeom>
                <a:avLst/>
                <a:gdLst>
                  <a:gd name="T0" fmla="*/ 330 w 2100"/>
                  <a:gd name="T1" fmla="*/ 590 h 788"/>
                  <a:gd name="T2" fmla="*/ 432 w 2100"/>
                  <a:gd name="T3" fmla="*/ 580 h 788"/>
                  <a:gd name="T4" fmla="*/ 550 w 2100"/>
                  <a:gd name="T5" fmla="*/ 636 h 788"/>
                  <a:gd name="T6" fmla="*/ 590 w 2100"/>
                  <a:gd name="T7" fmla="*/ 570 h 788"/>
                  <a:gd name="T8" fmla="*/ 746 w 2100"/>
                  <a:gd name="T9" fmla="*/ 584 h 788"/>
                  <a:gd name="T10" fmla="*/ 838 w 2100"/>
                  <a:gd name="T11" fmla="*/ 658 h 788"/>
                  <a:gd name="T12" fmla="*/ 970 w 2100"/>
                  <a:gd name="T13" fmla="*/ 680 h 788"/>
                  <a:gd name="T14" fmla="*/ 976 w 2100"/>
                  <a:gd name="T15" fmla="*/ 602 h 788"/>
                  <a:gd name="T16" fmla="*/ 1120 w 2100"/>
                  <a:gd name="T17" fmla="*/ 654 h 788"/>
                  <a:gd name="T18" fmla="*/ 1196 w 2100"/>
                  <a:gd name="T19" fmla="*/ 644 h 788"/>
                  <a:gd name="T20" fmla="*/ 1270 w 2100"/>
                  <a:gd name="T21" fmla="*/ 620 h 788"/>
                  <a:gd name="T22" fmla="*/ 1372 w 2100"/>
                  <a:gd name="T23" fmla="*/ 646 h 788"/>
                  <a:gd name="T24" fmla="*/ 1482 w 2100"/>
                  <a:gd name="T25" fmla="*/ 694 h 788"/>
                  <a:gd name="T26" fmla="*/ 1452 w 2100"/>
                  <a:gd name="T27" fmla="*/ 774 h 788"/>
                  <a:gd name="T28" fmla="*/ 1548 w 2100"/>
                  <a:gd name="T29" fmla="*/ 644 h 788"/>
                  <a:gd name="T30" fmla="*/ 1492 w 2100"/>
                  <a:gd name="T31" fmla="*/ 576 h 788"/>
                  <a:gd name="T32" fmla="*/ 1540 w 2100"/>
                  <a:gd name="T33" fmla="*/ 456 h 788"/>
                  <a:gd name="T34" fmla="*/ 1658 w 2100"/>
                  <a:gd name="T35" fmla="*/ 462 h 788"/>
                  <a:gd name="T36" fmla="*/ 1758 w 2100"/>
                  <a:gd name="T37" fmla="*/ 416 h 788"/>
                  <a:gd name="T38" fmla="*/ 1748 w 2100"/>
                  <a:gd name="T39" fmla="*/ 468 h 788"/>
                  <a:gd name="T40" fmla="*/ 1784 w 2100"/>
                  <a:gd name="T41" fmla="*/ 608 h 788"/>
                  <a:gd name="T42" fmla="*/ 1826 w 2100"/>
                  <a:gd name="T43" fmla="*/ 514 h 788"/>
                  <a:gd name="T44" fmla="*/ 1858 w 2100"/>
                  <a:gd name="T45" fmla="*/ 420 h 788"/>
                  <a:gd name="T46" fmla="*/ 1924 w 2100"/>
                  <a:gd name="T47" fmla="*/ 394 h 788"/>
                  <a:gd name="T48" fmla="*/ 1946 w 2100"/>
                  <a:gd name="T49" fmla="*/ 340 h 788"/>
                  <a:gd name="T50" fmla="*/ 1986 w 2100"/>
                  <a:gd name="T51" fmla="*/ 300 h 788"/>
                  <a:gd name="T52" fmla="*/ 2070 w 2100"/>
                  <a:gd name="T53" fmla="*/ 348 h 788"/>
                  <a:gd name="T54" fmla="*/ 2096 w 2100"/>
                  <a:gd name="T55" fmla="*/ 282 h 788"/>
                  <a:gd name="T56" fmla="*/ 2000 w 2100"/>
                  <a:gd name="T57" fmla="*/ 260 h 788"/>
                  <a:gd name="T58" fmla="*/ 1884 w 2100"/>
                  <a:gd name="T59" fmla="*/ 206 h 788"/>
                  <a:gd name="T60" fmla="*/ 1772 w 2100"/>
                  <a:gd name="T61" fmla="*/ 206 h 788"/>
                  <a:gd name="T62" fmla="*/ 1650 w 2100"/>
                  <a:gd name="T63" fmla="*/ 186 h 788"/>
                  <a:gd name="T64" fmla="*/ 1490 w 2100"/>
                  <a:gd name="T65" fmla="*/ 144 h 788"/>
                  <a:gd name="T66" fmla="*/ 1384 w 2100"/>
                  <a:gd name="T67" fmla="*/ 138 h 788"/>
                  <a:gd name="T68" fmla="*/ 1300 w 2100"/>
                  <a:gd name="T69" fmla="*/ 150 h 788"/>
                  <a:gd name="T70" fmla="*/ 1238 w 2100"/>
                  <a:gd name="T71" fmla="*/ 140 h 788"/>
                  <a:gd name="T72" fmla="*/ 1142 w 2100"/>
                  <a:gd name="T73" fmla="*/ 126 h 788"/>
                  <a:gd name="T74" fmla="*/ 970 w 2100"/>
                  <a:gd name="T75" fmla="*/ 110 h 788"/>
                  <a:gd name="T76" fmla="*/ 970 w 2100"/>
                  <a:gd name="T77" fmla="*/ 22 h 788"/>
                  <a:gd name="T78" fmla="*/ 870 w 2100"/>
                  <a:gd name="T79" fmla="*/ 28 h 788"/>
                  <a:gd name="T80" fmla="*/ 808 w 2100"/>
                  <a:gd name="T81" fmla="*/ 50 h 788"/>
                  <a:gd name="T82" fmla="*/ 714 w 2100"/>
                  <a:gd name="T83" fmla="*/ 68 h 788"/>
                  <a:gd name="T84" fmla="*/ 650 w 2100"/>
                  <a:gd name="T85" fmla="*/ 110 h 788"/>
                  <a:gd name="T86" fmla="*/ 670 w 2100"/>
                  <a:gd name="T87" fmla="*/ 184 h 788"/>
                  <a:gd name="T88" fmla="*/ 612 w 2100"/>
                  <a:gd name="T89" fmla="*/ 180 h 788"/>
                  <a:gd name="T90" fmla="*/ 558 w 2100"/>
                  <a:gd name="T91" fmla="*/ 162 h 788"/>
                  <a:gd name="T92" fmla="*/ 608 w 2100"/>
                  <a:gd name="T93" fmla="*/ 218 h 788"/>
                  <a:gd name="T94" fmla="*/ 602 w 2100"/>
                  <a:gd name="T95" fmla="*/ 234 h 788"/>
                  <a:gd name="T96" fmla="*/ 546 w 2100"/>
                  <a:gd name="T97" fmla="*/ 272 h 788"/>
                  <a:gd name="T98" fmla="*/ 516 w 2100"/>
                  <a:gd name="T99" fmla="*/ 108 h 788"/>
                  <a:gd name="T100" fmla="*/ 502 w 2100"/>
                  <a:gd name="T101" fmla="*/ 230 h 788"/>
                  <a:gd name="T102" fmla="*/ 396 w 2100"/>
                  <a:gd name="T103" fmla="*/ 216 h 788"/>
                  <a:gd name="T104" fmla="*/ 360 w 2100"/>
                  <a:gd name="T105" fmla="*/ 240 h 788"/>
                  <a:gd name="T106" fmla="*/ 238 w 2100"/>
                  <a:gd name="T107" fmla="*/ 278 h 788"/>
                  <a:gd name="T108" fmla="*/ 206 w 2100"/>
                  <a:gd name="T109" fmla="*/ 290 h 788"/>
                  <a:gd name="T110" fmla="*/ 156 w 2100"/>
                  <a:gd name="T111" fmla="*/ 324 h 788"/>
                  <a:gd name="T112" fmla="*/ 110 w 2100"/>
                  <a:gd name="T113" fmla="*/ 336 h 788"/>
                  <a:gd name="T114" fmla="*/ 74 w 2100"/>
                  <a:gd name="T115" fmla="*/ 282 h 788"/>
                  <a:gd name="T116" fmla="*/ 46 w 2100"/>
                  <a:gd name="T117" fmla="*/ 214 h 788"/>
                  <a:gd name="T118" fmla="*/ 10 w 2100"/>
                  <a:gd name="T119" fmla="*/ 420 h 788"/>
                  <a:gd name="T120" fmla="*/ 104 w 2100"/>
                  <a:gd name="T121" fmla="*/ 586 h 788"/>
                  <a:gd name="T122" fmla="*/ 170 w 2100"/>
                  <a:gd name="T123" fmla="*/ 708 h 788"/>
                  <a:gd name="T124" fmla="*/ 228 w 2100"/>
                  <a:gd name="T125" fmla="*/ 75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0" h="788">
                    <a:moveTo>
                      <a:pt x="306" y="726"/>
                    </a:moveTo>
                    <a:lnTo>
                      <a:pt x="306" y="726"/>
                    </a:lnTo>
                    <a:lnTo>
                      <a:pt x="314" y="720"/>
                    </a:lnTo>
                    <a:lnTo>
                      <a:pt x="318" y="716"/>
                    </a:lnTo>
                    <a:lnTo>
                      <a:pt x="318" y="712"/>
                    </a:lnTo>
                    <a:lnTo>
                      <a:pt x="320" y="704"/>
                    </a:lnTo>
                    <a:lnTo>
                      <a:pt x="320" y="700"/>
                    </a:lnTo>
                    <a:lnTo>
                      <a:pt x="322" y="696"/>
                    </a:lnTo>
                    <a:lnTo>
                      <a:pt x="322" y="692"/>
                    </a:lnTo>
                    <a:lnTo>
                      <a:pt x="324" y="690"/>
                    </a:lnTo>
                    <a:lnTo>
                      <a:pt x="324" y="688"/>
                    </a:lnTo>
                    <a:lnTo>
                      <a:pt x="324" y="688"/>
                    </a:lnTo>
                    <a:lnTo>
                      <a:pt x="324" y="686"/>
                    </a:lnTo>
                    <a:lnTo>
                      <a:pt x="326" y="686"/>
                    </a:lnTo>
                    <a:lnTo>
                      <a:pt x="328" y="684"/>
                    </a:lnTo>
                    <a:lnTo>
                      <a:pt x="330" y="682"/>
                    </a:lnTo>
                    <a:lnTo>
                      <a:pt x="332" y="680"/>
                    </a:lnTo>
                    <a:lnTo>
                      <a:pt x="334" y="678"/>
                    </a:lnTo>
                    <a:lnTo>
                      <a:pt x="336" y="676"/>
                    </a:lnTo>
                    <a:lnTo>
                      <a:pt x="336" y="674"/>
                    </a:lnTo>
                    <a:lnTo>
                      <a:pt x="338" y="674"/>
                    </a:lnTo>
                    <a:lnTo>
                      <a:pt x="338" y="672"/>
                    </a:lnTo>
                    <a:lnTo>
                      <a:pt x="338" y="670"/>
                    </a:lnTo>
                    <a:lnTo>
                      <a:pt x="338" y="668"/>
                    </a:lnTo>
                    <a:lnTo>
                      <a:pt x="338" y="664"/>
                    </a:lnTo>
                    <a:lnTo>
                      <a:pt x="338" y="662"/>
                    </a:lnTo>
                    <a:lnTo>
                      <a:pt x="338" y="658"/>
                    </a:lnTo>
                    <a:lnTo>
                      <a:pt x="336" y="656"/>
                    </a:lnTo>
                    <a:lnTo>
                      <a:pt x="336" y="656"/>
                    </a:lnTo>
                    <a:lnTo>
                      <a:pt x="336" y="654"/>
                    </a:lnTo>
                    <a:lnTo>
                      <a:pt x="336" y="654"/>
                    </a:lnTo>
                    <a:lnTo>
                      <a:pt x="334" y="654"/>
                    </a:lnTo>
                    <a:lnTo>
                      <a:pt x="334" y="652"/>
                    </a:lnTo>
                    <a:lnTo>
                      <a:pt x="332" y="652"/>
                    </a:lnTo>
                    <a:lnTo>
                      <a:pt x="330" y="650"/>
                    </a:lnTo>
                    <a:lnTo>
                      <a:pt x="328" y="650"/>
                    </a:lnTo>
                    <a:lnTo>
                      <a:pt x="326" y="648"/>
                    </a:lnTo>
                    <a:lnTo>
                      <a:pt x="322" y="646"/>
                    </a:lnTo>
                    <a:lnTo>
                      <a:pt x="320" y="646"/>
                    </a:lnTo>
                    <a:lnTo>
                      <a:pt x="320" y="644"/>
                    </a:lnTo>
                    <a:lnTo>
                      <a:pt x="318" y="644"/>
                    </a:lnTo>
                    <a:lnTo>
                      <a:pt x="318" y="642"/>
                    </a:lnTo>
                    <a:lnTo>
                      <a:pt x="316" y="640"/>
                    </a:lnTo>
                    <a:lnTo>
                      <a:pt x="316" y="638"/>
                    </a:lnTo>
                    <a:lnTo>
                      <a:pt x="314" y="636"/>
                    </a:lnTo>
                    <a:lnTo>
                      <a:pt x="312" y="634"/>
                    </a:lnTo>
                    <a:lnTo>
                      <a:pt x="312" y="632"/>
                    </a:lnTo>
                    <a:lnTo>
                      <a:pt x="312" y="630"/>
                    </a:lnTo>
                    <a:lnTo>
                      <a:pt x="312" y="630"/>
                    </a:lnTo>
                    <a:lnTo>
                      <a:pt x="312" y="628"/>
                    </a:lnTo>
                    <a:lnTo>
                      <a:pt x="312" y="626"/>
                    </a:lnTo>
                    <a:lnTo>
                      <a:pt x="312" y="624"/>
                    </a:lnTo>
                    <a:lnTo>
                      <a:pt x="312" y="622"/>
                    </a:lnTo>
                    <a:lnTo>
                      <a:pt x="314" y="616"/>
                    </a:lnTo>
                    <a:lnTo>
                      <a:pt x="316" y="612"/>
                    </a:lnTo>
                    <a:lnTo>
                      <a:pt x="318" y="608"/>
                    </a:lnTo>
                    <a:lnTo>
                      <a:pt x="320" y="604"/>
                    </a:lnTo>
                    <a:lnTo>
                      <a:pt x="322" y="600"/>
                    </a:lnTo>
                    <a:lnTo>
                      <a:pt x="326" y="594"/>
                    </a:lnTo>
                    <a:lnTo>
                      <a:pt x="330" y="590"/>
                    </a:lnTo>
                    <a:lnTo>
                      <a:pt x="330" y="588"/>
                    </a:lnTo>
                    <a:lnTo>
                      <a:pt x="332" y="588"/>
                    </a:lnTo>
                    <a:lnTo>
                      <a:pt x="334" y="586"/>
                    </a:lnTo>
                    <a:lnTo>
                      <a:pt x="336" y="584"/>
                    </a:lnTo>
                    <a:lnTo>
                      <a:pt x="338" y="582"/>
                    </a:lnTo>
                    <a:lnTo>
                      <a:pt x="340" y="580"/>
                    </a:lnTo>
                    <a:lnTo>
                      <a:pt x="342" y="580"/>
                    </a:lnTo>
                    <a:lnTo>
                      <a:pt x="344" y="578"/>
                    </a:lnTo>
                    <a:lnTo>
                      <a:pt x="346" y="578"/>
                    </a:lnTo>
                    <a:lnTo>
                      <a:pt x="348" y="576"/>
                    </a:lnTo>
                    <a:lnTo>
                      <a:pt x="350" y="576"/>
                    </a:lnTo>
                    <a:lnTo>
                      <a:pt x="352" y="576"/>
                    </a:lnTo>
                    <a:lnTo>
                      <a:pt x="354" y="576"/>
                    </a:lnTo>
                    <a:lnTo>
                      <a:pt x="356" y="576"/>
                    </a:lnTo>
                    <a:lnTo>
                      <a:pt x="356" y="576"/>
                    </a:lnTo>
                    <a:lnTo>
                      <a:pt x="358" y="576"/>
                    </a:lnTo>
                    <a:lnTo>
                      <a:pt x="358" y="576"/>
                    </a:lnTo>
                    <a:lnTo>
                      <a:pt x="360" y="578"/>
                    </a:lnTo>
                    <a:lnTo>
                      <a:pt x="360" y="578"/>
                    </a:lnTo>
                    <a:lnTo>
                      <a:pt x="362" y="580"/>
                    </a:lnTo>
                    <a:lnTo>
                      <a:pt x="362" y="582"/>
                    </a:lnTo>
                    <a:lnTo>
                      <a:pt x="364" y="584"/>
                    </a:lnTo>
                    <a:lnTo>
                      <a:pt x="366" y="588"/>
                    </a:lnTo>
                    <a:lnTo>
                      <a:pt x="366" y="590"/>
                    </a:lnTo>
                    <a:lnTo>
                      <a:pt x="368" y="590"/>
                    </a:lnTo>
                    <a:lnTo>
                      <a:pt x="368" y="592"/>
                    </a:lnTo>
                    <a:lnTo>
                      <a:pt x="370" y="592"/>
                    </a:lnTo>
                    <a:lnTo>
                      <a:pt x="370" y="594"/>
                    </a:lnTo>
                    <a:lnTo>
                      <a:pt x="372" y="594"/>
                    </a:lnTo>
                    <a:lnTo>
                      <a:pt x="372" y="594"/>
                    </a:lnTo>
                    <a:lnTo>
                      <a:pt x="372" y="594"/>
                    </a:lnTo>
                    <a:lnTo>
                      <a:pt x="374" y="592"/>
                    </a:lnTo>
                    <a:lnTo>
                      <a:pt x="374" y="592"/>
                    </a:lnTo>
                    <a:lnTo>
                      <a:pt x="374" y="592"/>
                    </a:lnTo>
                    <a:lnTo>
                      <a:pt x="374" y="590"/>
                    </a:lnTo>
                    <a:lnTo>
                      <a:pt x="376" y="588"/>
                    </a:lnTo>
                    <a:lnTo>
                      <a:pt x="376" y="586"/>
                    </a:lnTo>
                    <a:lnTo>
                      <a:pt x="376" y="584"/>
                    </a:lnTo>
                    <a:lnTo>
                      <a:pt x="378" y="582"/>
                    </a:lnTo>
                    <a:lnTo>
                      <a:pt x="378" y="582"/>
                    </a:lnTo>
                    <a:lnTo>
                      <a:pt x="378" y="582"/>
                    </a:lnTo>
                    <a:lnTo>
                      <a:pt x="378" y="580"/>
                    </a:lnTo>
                    <a:lnTo>
                      <a:pt x="380" y="580"/>
                    </a:lnTo>
                    <a:lnTo>
                      <a:pt x="382" y="580"/>
                    </a:lnTo>
                    <a:lnTo>
                      <a:pt x="384" y="578"/>
                    </a:lnTo>
                    <a:lnTo>
                      <a:pt x="388" y="578"/>
                    </a:lnTo>
                    <a:lnTo>
                      <a:pt x="390" y="578"/>
                    </a:lnTo>
                    <a:lnTo>
                      <a:pt x="392" y="576"/>
                    </a:lnTo>
                    <a:lnTo>
                      <a:pt x="396" y="576"/>
                    </a:lnTo>
                    <a:lnTo>
                      <a:pt x="398" y="576"/>
                    </a:lnTo>
                    <a:lnTo>
                      <a:pt x="398" y="576"/>
                    </a:lnTo>
                    <a:lnTo>
                      <a:pt x="402" y="576"/>
                    </a:lnTo>
                    <a:lnTo>
                      <a:pt x="406" y="578"/>
                    </a:lnTo>
                    <a:lnTo>
                      <a:pt x="410" y="578"/>
                    </a:lnTo>
                    <a:lnTo>
                      <a:pt x="412" y="580"/>
                    </a:lnTo>
                    <a:lnTo>
                      <a:pt x="414" y="580"/>
                    </a:lnTo>
                    <a:lnTo>
                      <a:pt x="416" y="580"/>
                    </a:lnTo>
                    <a:lnTo>
                      <a:pt x="420" y="580"/>
                    </a:lnTo>
                    <a:lnTo>
                      <a:pt x="428" y="580"/>
                    </a:lnTo>
                    <a:lnTo>
                      <a:pt x="432" y="580"/>
                    </a:lnTo>
                    <a:lnTo>
                      <a:pt x="436" y="580"/>
                    </a:lnTo>
                    <a:lnTo>
                      <a:pt x="438" y="580"/>
                    </a:lnTo>
                    <a:lnTo>
                      <a:pt x="440" y="580"/>
                    </a:lnTo>
                    <a:lnTo>
                      <a:pt x="442" y="582"/>
                    </a:lnTo>
                    <a:lnTo>
                      <a:pt x="446" y="582"/>
                    </a:lnTo>
                    <a:lnTo>
                      <a:pt x="452" y="584"/>
                    </a:lnTo>
                    <a:lnTo>
                      <a:pt x="456" y="588"/>
                    </a:lnTo>
                    <a:lnTo>
                      <a:pt x="462" y="590"/>
                    </a:lnTo>
                    <a:lnTo>
                      <a:pt x="464" y="592"/>
                    </a:lnTo>
                    <a:lnTo>
                      <a:pt x="468" y="594"/>
                    </a:lnTo>
                    <a:lnTo>
                      <a:pt x="470" y="596"/>
                    </a:lnTo>
                    <a:lnTo>
                      <a:pt x="472" y="596"/>
                    </a:lnTo>
                    <a:lnTo>
                      <a:pt x="474" y="598"/>
                    </a:lnTo>
                    <a:lnTo>
                      <a:pt x="476" y="600"/>
                    </a:lnTo>
                    <a:lnTo>
                      <a:pt x="476" y="602"/>
                    </a:lnTo>
                    <a:lnTo>
                      <a:pt x="478" y="604"/>
                    </a:lnTo>
                    <a:lnTo>
                      <a:pt x="478" y="604"/>
                    </a:lnTo>
                    <a:lnTo>
                      <a:pt x="478" y="606"/>
                    </a:lnTo>
                    <a:lnTo>
                      <a:pt x="478" y="606"/>
                    </a:lnTo>
                    <a:lnTo>
                      <a:pt x="478" y="608"/>
                    </a:lnTo>
                    <a:lnTo>
                      <a:pt x="478" y="610"/>
                    </a:lnTo>
                    <a:lnTo>
                      <a:pt x="476" y="610"/>
                    </a:lnTo>
                    <a:lnTo>
                      <a:pt x="476" y="612"/>
                    </a:lnTo>
                    <a:lnTo>
                      <a:pt x="476" y="612"/>
                    </a:lnTo>
                    <a:lnTo>
                      <a:pt x="476" y="614"/>
                    </a:lnTo>
                    <a:lnTo>
                      <a:pt x="476" y="614"/>
                    </a:lnTo>
                    <a:lnTo>
                      <a:pt x="478" y="614"/>
                    </a:lnTo>
                    <a:lnTo>
                      <a:pt x="478" y="614"/>
                    </a:lnTo>
                    <a:lnTo>
                      <a:pt x="480" y="616"/>
                    </a:lnTo>
                    <a:lnTo>
                      <a:pt x="480" y="616"/>
                    </a:lnTo>
                    <a:lnTo>
                      <a:pt x="482" y="618"/>
                    </a:lnTo>
                    <a:lnTo>
                      <a:pt x="484" y="618"/>
                    </a:lnTo>
                    <a:lnTo>
                      <a:pt x="486" y="618"/>
                    </a:lnTo>
                    <a:lnTo>
                      <a:pt x="490" y="618"/>
                    </a:lnTo>
                    <a:lnTo>
                      <a:pt x="492" y="618"/>
                    </a:lnTo>
                    <a:lnTo>
                      <a:pt x="492" y="618"/>
                    </a:lnTo>
                    <a:lnTo>
                      <a:pt x="494" y="618"/>
                    </a:lnTo>
                    <a:lnTo>
                      <a:pt x="500" y="618"/>
                    </a:lnTo>
                    <a:lnTo>
                      <a:pt x="502" y="616"/>
                    </a:lnTo>
                    <a:lnTo>
                      <a:pt x="504" y="616"/>
                    </a:lnTo>
                    <a:lnTo>
                      <a:pt x="508" y="616"/>
                    </a:lnTo>
                    <a:lnTo>
                      <a:pt x="508" y="616"/>
                    </a:lnTo>
                    <a:lnTo>
                      <a:pt x="510" y="616"/>
                    </a:lnTo>
                    <a:lnTo>
                      <a:pt x="510" y="616"/>
                    </a:lnTo>
                    <a:lnTo>
                      <a:pt x="512" y="618"/>
                    </a:lnTo>
                    <a:lnTo>
                      <a:pt x="514" y="618"/>
                    </a:lnTo>
                    <a:lnTo>
                      <a:pt x="516" y="618"/>
                    </a:lnTo>
                    <a:lnTo>
                      <a:pt x="520" y="622"/>
                    </a:lnTo>
                    <a:lnTo>
                      <a:pt x="522" y="624"/>
                    </a:lnTo>
                    <a:lnTo>
                      <a:pt x="530" y="628"/>
                    </a:lnTo>
                    <a:lnTo>
                      <a:pt x="532" y="630"/>
                    </a:lnTo>
                    <a:lnTo>
                      <a:pt x="536" y="632"/>
                    </a:lnTo>
                    <a:lnTo>
                      <a:pt x="538" y="634"/>
                    </a:lnTo>
                    <a:lnTo>
                      <a:pt x="542" y="636"/>
                    </a:lnTo>
                    <a:lnTo>
                      <a:pt x="544" y="636"/>
                    </a:lnTo>
                    <a:lnTo>
                      <a:pt x="546" y="636"/>
                    </a:lnTo>
                    <a:lnTo>
                      <a:pt x="548" y="636"/>
                    </a:lnTo>
                    <a:lnTo>
                      <a:pt x="548" y="636"/>
                    </a:lnTo>
                    <a:lnTo>
                      <a:pt x="548" y="636"/>
                    </a:lnTo>
                    <a:lnTo>
                      <a:pt x="550" y="636"/>
                    </a:lnTo>
                    <a:lnTo>
                      <a:pt x="552" y="636"/>
                    </a:lnTo>
                    <a:lnTo>
                      <a:pt x="552" y="634"/>
                    </a:lnTo>
                    <a:lnTo>
                      <a:pt x="554" y="634"/>
                    </a:lnTo>
                    <a:lnTo>
                      <a:pt x="556" y="632"/>
                    </a:lnTo>
                    <a:lnTo>
                      <a:pt x="556" y="630"/>
                    </a:lnTo>
                    <a:lnTo>
                      <a:pt x="558" y="630"/>
                    </a:lnTo>
                    <a:lnTo>
                      <a:pt x="558" y="628"/>
                    </a:lnTo>
                    <a:lnTo>
                      <a:pt x="558" y="628"/>
                    </a:lnTo>
                    <a:lnTo>
                      <a:pt x="558" y="626"/>
                    </a:lnTo>
                    <a:lnTo>
                      <a:pt x="556" y="626"/>
                    </a:lnTo>
                    <a:lnTo>
                      <a:pt x="556" y="624"/>
                    </a:lnTo>
                    <a:lnTo>
                      <a:pt x="554" y="622"/>
                    </a:lnTo>
                    <a:lnTo>
                      <a:pt x="552" y="618"/>
                    </a:lnTo>
                    <a:lnTo>
                      <a:pt x="550" y="616"/>
                    </a:lnTo>
                    <a:lnTo>
                      <a:pt x="548" y="614"/>
                    </a:lnTo>
                    <a:lnTo>
                      <a:pt x="548" y="612"/>
                    </a:lnTo>
                    <a:lnTo>
                      <a:pt x="546" y="612"/>
                    </a:lnTo>
                    <a:lnTo>
                      <a:pt x="546" y="610"/>
                    </a:lnTo>
                    <a:lnTo>
                      <a:pt x="546" y="610"/>
                    </a:lnTo>
                    <a:lnTo>
                      <a:pt x="548" y="608"/>
                    </a:lnTo>
                    <a:lnTo>
                      <a:pt x="548" y="608"/>
                    </a:lnTo>
                    <a:lnTo>
                      <a:pt x="548" y="608"/>
                    </a:lnTo>
                    <a:lnTo>
                      <a:pt x="550" y="606"/>
                    </a:lnTo>
                    <a:lnTo>
                      <a:pt x="550" y="606"/>
                    </a:lnTo>
                    <a:lnTo>
                      <a:pt x="552" y="606"/>
                    </a:lnTo>
                    <a:lnTo>
                      <a:pt x="556" y="604"/>
                    </a:lnTo>
                    <a:lnTo>
                      <a:pt x="558" y="604"/>
                    </a:lnTo>
                    <a:lnTo>
                      <a:pt x="562" y="604"/>
                    </a:lnTo>
                    <a:lnTo>
                      <a:pt x="564" y="602"/>
                    </a:lnTo>
                    <a:lnTo>
                      <a:pt x="564" y="602"/>
                    </a:lnTo>
                    <a:lnTo>
                      <a:pt x="566" y="602"/>
                    </a:lnTo>
                    <a:lnTo>
                      <a:pt x="568" y="600"/>
                    </a:lnTo>
                    <a:lnTo>
                      <a:pt x="570" y="600"/>
                    </a:lnTo>
                    <a:lnTo>
                      <a:pt x="576" y="598"/>
                    </a:lnTo>
                    <a:lnTo>
                      <a:pt x="578" y="598"/>
                    </a:lnTo>
                    <a:lnTo>
                      <a:pt x="580" y="596"/>
                    </a:lnTo>
                    <a:lnTo>
                      <a:pt x="580" y="596"/>
                    </a:lnTo>
                    <a:lnTo>
                      <a:pt x="582" y="594"/>
                    </a:lnTo>
                    <a:lnTo>
                      <a:pt x="582" y="594"/>
                    </a:lnTo>
                    <a:lnTo>
                      <a:pt x="582" y="594"/>
                    </a:lnTo>
                    <a:lnTo>
                      <a:pt x="584" y="592"/>
                    </a:lnTo>
                    <a:lnTo>
                      <a:pt x="584" y="592"/>
                    </a:lnTo>
                    <a:lnTo>
                      <a:pt x="584" y="590"/>
                    </a:lnTo>
                    <a:lnTo>
                      <a:pt x="582" y="588"/>
                    </a:lnTo>
                    <a:lnTo>
                      <a:pt x="582" y="586"/>
                    </a:lnTo>
                    <a:lnTo>
                      <a:pt x="580" y="582"/>
                    </a:lnTo>
                    <a:lnTo>
                      <a:pt x="580" y="580"/>
                    </a:lnTo>
                    <a:lnTo>
                      <a:pt x="578" y="578"/>
                    </a:lnTo>
                    <a:lnTo>
                      <a:pt x="578" y="576"/>
                    </a:lnTo>
                    <a:lnTo>
                      <a:pt x="578" y="574"/>
                    </a:lnTo>
                    <a:lnTo>
                      <a:pt x="578" y="574"/>
                    </a:lnTo>
                    <a:lnTo>
                      <a:pt x="580" y="572"/>
                    </a:lnTo>
                    <a:lnTo>
                      <a:pt x="580" y="572"/>
                    </a:lnTo>
                    <a:lnTo>
                      <a:pt x="580" y="572"/>
                    </a:lnTo>
                    <a:lnTo>
                      <a:pt x="580" y="572"/>
                    </a:lnTo>
                    <a:lnTo>
                      <a:pt x="582" y="572"/>
                    </a:lnTo>
                    <a:lnTo>
                      <a:pt x="584" y="570"/>
                    </a:lnTo>
                    <a:lnTo>
                      <a:pt x="586" y="570"/>
                    </a:lnTo>
                    <a:lnTo>
                      <a:pt x="588" y="570"/>
                    </a:lnTo>
                    <a:lnTo>
                      <a:pt x="590" y="570"/>
                    </a:lnTo>
                    <a:lnTo>
                      <a:pt x="594" y="572"/>
                    </a:lnTo>
                    <a:lnTo>
                      <a:pt x="596" y="572"/>
                    </a:lnTo>
                    <a:lnTo>
                      <a:pt x="598" y="572"/>
                    </a:lnTo>
                    <a:lnTo>
                      <a:pt x="604" y="574"/>
                    </a:lnTo>
                    <a:lnTo>
                      <a:pt x="606" y="574"/>
                    </a:lnTo>
                    <a:lnTo>
                      <a:pt x="608" y="576"/>
                    </a:lnTo>
                    <a:lnTo>
                      <a:pt x="616" y="576"/>
                    </a:lnTo>
                    <a:lnTo>
                      <a:pt x="626" y="578"/>
                    </a:lnTo>
                    <a:lnTo>
                      <a:pt x="632" y="578"/>
                    </a:lnTo>
                    <a:lnTo>
                      <a:pt x="636" y="578"/>
                    </a:lnTo>
                    <a:lnTo>
                      <a:pt x="640" y="578"/>
                    </a:lnTo>
                    <a:lnTo>
                      <a:pt x="644" y="578"/>
                    </a:lnTo>
                    <a:lnTo>
                      <a:pt x="646" y="578"/>
                    </a:lnTo>
                    <a:lnTo>
                      <a:pt x="650" y="578"/>
                    </a:lnTo>
                    <a:lnTo>
                      <a:pt x="656" y="576"/>
                    </a:lnTo>
                    <a:lnTo>
                      <a:pt x="660" y="576"/>
                    </a:lnTo>
                    <a:lnTo>
                      <a:pt x="666" y="574"/>
                    </a:lnTo>
                    <a:lnTo>
                      <a:pt x="668" y="574"/>
                    </a:lnTo>
                    <a:lnTo>
                      <a:pt x="672" y="572"/>
                    </a:lnTo>
                    <a:lnTo>
                      <a:pt x="680" y="570"/>
                    </a:lnTo>
                    <a:lnTo>
                      <a:pt x="684" y="570"/>
                    </a:lnTo>
                    <a:lnTo>
                      <a:pt x="688" y="568"/>
                    </a:lnTo>
                    <a:lnTo>
                      <a:pt x="690" y="568"/>
                    </a:lnTo>
                    <a:lnTo>
                      <a:pt x="690" y="568"/>
                    </a:lnTo>
                    <a:lnTo>
                      <a:pt x="692" y="568"/>
                    </a:lnTo>
                    <a:lnTo>
                      <a:pt x="694" y="570"/>
                    </a:lnTo>
                    <a:lnTo>
                      <a:pt x="696" y="570"/>
                    </a:lnTo>
                    <a:lnTo>
                      <a:pt x="696" y="570"/>
                    </a:lnTo>
                    <a:lnTo>
                      <a:pt x="698" y="572"/>
                    </a:lnTo>
                    <a:lnTo>
                      <a:pt x="700" y="574"/>
                    </a:lnTo>
                    <a:lnTo>
                      <a:pt x="702" y="576"/>
                    </a:lnTo>
                    <a:lnTo>
                      <a:pt x="704" y="578"/>
                    </a:lnTo>
                    <a:lnTo>
                      <a:pt x="704" y="578"/>
                    </a:lnTo>
                    <a:lnTo>
                      <a:pt x="706" y="580"/>
                    </a:lnTo>
                    <a:lnTo>
                      <a:pt x="706" y="580"/>
                    </a:lnTo>
                    <a:lnTo>
                      <a:pt x="706" y="582"/>
                    </a:lnTo>
                    <a:lnTo>
                      <a:pt x="706" y="582"/>
                    </a:lnTo>
                    <a:lnTo>
                      <a:pt x="706" y="586"/>
                    </a:lnTo>
                    <a:lnTo>
                      <a:pt x="706" y="588"/>
                    </a:lnTo>
                    <a:lnTo>
                      <a:pt x="706" y="590"/>
                    </a:lnTo>
                    <a:lnTo>
                      <a:pt x="706" y="592"/>
                    </a:lnTo>
                    <a:lnTo>
                      <a:pt x="706" y="592"/>
                    </a:lnTo>
                    <a:lnTo>
                      <a:pt x="706" y="592"/>
                    </a:lnTo>
                    <a:lnTo>
                      <a:pt x="708" y="592"/>
                    </a:lnTo>
                    <a:lnTo>
                      <a:pt x="708" y="594"/>
                    </a:lnTo>
                    <a:lnTo>
                      <a:pt x="710" y="594"/>
                    </a:lnTo>
                    <a:lnTo>
                      <a:pt x="710" y="594"/>
                    </a:lnTo>
                    <a:lnTo>
                      <a:pt x="712" y="594"/>
                    </a:lnTo>
                    <a:lnTo>
                      <a:pt x="714" y="594"/>
                    </a:lnTo>
                    <a:lnTo>
                      <a:pt x="716" y="594"/>
                    </a:lnTo>
                    <a:lnTo>
                      <a:pt x="718" y="594"/>
                    </a:lnTo>
                    <a:lnTo>
                      <a:pt x="722" y="594"/>
                    </a:lnTo>
                    <a:lnTo>
                      <a:pt x="724" y="594"/>
                    </a:lnTo>
                    <a:lnTo>
                      <a:pt x="724" y="592"/>
                    </a:lnTo>
                    <a:lnTo>
                      <a:pt x="728" y="592"/>
                    </a:lnTo>
                    <a:lnTo>
                      <a:pt x="730" y="590"/>
                    </a:lnTo>
                    <a:lnTo>
                      <a:pt x="734" y="590"/>
                    </a:lnTo>
                    <a:lnTo>
                      <a:pt x="740" y="586"/>
                    </a:lnTo>
                    <a:lnTo>
                      <a:pt x="742" y="586"/>
                    </a:lnTo>
                    <a:lnTo>
                      <a:pt x="746" y="584"/>
                    </a:lnTo>
                    <a:lnTo>
                      <a:pt x="750" y="584"/>
                    </a:lnTo>
                    <a:lnTo>
                      <a:pt x="752" y="584"/>
                    </a:lnTo>
                    <a:lnTo>
                      <a:pt x="756" y="584"/>
                    </a:lnTo>
                    <a:lnTo>
                      <a:pt x="758" y="584"/>
                    </a:lnTo>
                    <a:lnTo>
                      <a:pt x="760" y="584"/>
                    </a:lnTo>
                    <a:lnTo>
                      <a:pt x="762" y="584"/>
                    </a:lnTo>
                    <a:lnTo>
                      <a:pt x="764" y="584"/>
                    </a:lnTo>
                    <a:lnTo>
                      <a:pt x="764" y="584"/>
                    </a:lnTo>
                    <a:lnTo>
                      <a:pt x="766" y="586"/>
                    </a:lnTo>
                    <a:lnTo>
                      <a:pt x="766" y="586"/>
                    </a:lnTo>
                    <a:lnTo>
                      <a:pt x="768" y="588"/>
                    </a:lnTo>
                    <a:lnTo>
                      <a:pt x="768" y="588"/>
                    </a:lnTo>
                    <a:lnTo>
                      <a:pt x="770" y="590"/>
                    </a:lnTo>
                    <a:lnTo>
                      <a:pt x="770" y="592"/>
                    </a:lnTo>
                    <a:lnTo>
                      <a:pt x="772" y="596"/>
                    </a:lnTo>
                    <a:lnTo>
                      <a:pt x="774" y="598"/>
                    </a:lnTo>
                    <a:lnTo>
                      <a:pt x="776" y="606"/>
                    </a:lnTo>
                    <a:lnTo>
                      <a:pt x="778" y="612"/>
                    </a:lnTo>
                    <a:lnTo>
                      <a:pt x="780" y="614"/>
                    </a:lnTo>
                    <a:lnTo>
                      <a:pt x="780" y="618"/>
                    </a:lnTo>
                    <a:lnTo>
                      <a:pt x="782" y="620"/>
                    </a:lnTo>
                    <a:lnTo>
                      <a:pt x="784" y="622"/>
                    </a:lnTo>
                    <a:lnTo>
                      <a:pt x="784" y="624"/>
                    </a:lnTo>
                    <a:lnTo>
                      <a:pt x="784" y="624"/>
                    </a:lnTo>
                    <a:lnTo>
                      <a:pt x="786" y="626"/>
                    </a:lnTo>
                    <a:lnTo>
                      <a:pt x="786" y="626"/>
                    </a:lnTo>
                    <a:lnTo>
                      <a:pt x="788" y="626"/>
                    </a:lnTo>
                    <a:lnTo>
                      <a:pt x="788" y="626"/>
                    </a:lnTo>
                    <a:lnTo>
                      <a:pt x="790" y="626"/>
                    </a:lnTo>
                    <a:lnTo>
                      <a:pt x="792" y="626"/>
                    </a:lnTo>
                    <a:lnTo>
                      <a:pt x="794" y="626"/>
                    </a:lnTo>
                    <a:lnTo>
                      <a:pt x="796" y="626"/>
                    </a:lnTo>
                    <a:lnTo>
                      <a:pt x="798" y="626"/>
                    </a:lnTo>
                    <a:lnTo>
                      <a:pt x="800" y="626"/>
                    </a:lnTo>
                    <a:lnTo>
                      <a:pt x="800" y="626"/>
                    </a:lnTo>
                    <a:lnTo>
                      <a:pt x="800" y="626"/>
                    </a:lnTo>
                    <a:lnTo>
                      <a:pt x="802" y="628"/>
                    </a:lnTo>
                    <a:lnTo>
                      <a:pt x="802" y="628"/>
                    </a:lnTo>
                    <a:lnTo>
                      <a:pt x="804" y="630"/>
                    </a:lnTo>
                    <a:lnTo>
                      <a:pt x="804" y="630"/>
                    </a:lnTo>
                    <a:lnTo>
                      <a:pt x="806" y="632"/>
                    </a:lnTo>
                    <a:lnTo>
                      <a:pt x="808" y="636"/>
                    </a:lnTo>
                    <a:lnTo>
                      <a:pt x="808" y="636"/>
                    </a:lnTo>
                    <a:lnTo>
                      <a:pt x="810" y="638"/>
                    </a:lnTo>
                    <a:lnTo>
                      <a:pt x="810" y="638"/>
                    </a:lnTo>
                    <a:lnTo>
                      <a:pt x="812" y="640"/>
                    </a:lnTo>
                    <a:lnTo>
                      <a:pt x="814" y="640"/>
                    </a:lnTo>
                    <a:lnTo>
                      <a:pt x="818" y="642"/>
                    </a:lnTo>
                    <a:lnTo>
                      <a:pt x="820" y="642"/>
                    </a:lnTo>
                    <a:lnTo>
                      <a:pt x="824" y="644"/>
                    </a:lnTo>
                    <a:lnTo>
                      <a:pt x="828" y="644"/>
                    </a:lnTo>
                    <a:lnTo>
                      <a:pt x="828" y="646"/>
                    </a:lnTo>
                    <a:lnTo>
                      <a:pt x="830" y="646"/>
                    </a:lnTo>
                    <a:lnTo>
                      <a:pt x="832" y="646"/>
                    </a:lnTo>
                    <a:lnTo>
                      <a:pt x="832" y="648"/>
                    </a:lnTo>
                    <a:lnTo>
                      <a:pt x="834" y="648"/>
                    </a:lnTo>
                    <a:lnTo>
                      <a:pt x="834" y="652"/>
                    </a:lnTo>
                    <a:lnTo>
                      <a:pt x="836" y="654"/>
                    </a:lnTo>
                    <a:lnTo>
                      <a:pt x="836" y="656"/>
                    </a:lnTo>
                    <a:lnTo>
                      <a:pt x="838" y="658"/>
                    </a:lnTo>
                    <a:lnTo>
                      <a:pt x="840" y="662"/>
                    </a:lnTo>
                    <a:lnTo>
                      <a:pt x="842" y="668"/>
                    </a:lnTo>
                    <a:lnTo>
                      <a:pt x="842" y="674"/>
                    </a:lnTo>
                    <a:lnTo>
                      <a:pt x="844" y="678"/>
                    </a:lnTo>
                    <a:lnTo>
                      <a:pt x="846" y="682"/>
                    </a:lnTo>
                    <a:lnTo>
                      <a:pt x="848" y="680"/>
                    </a:lnTo>
                    <a:lnTo>
                      <a:pt x="852" y="678"/>
                    </a:lnTo>
                    <a:lnTo>
                      <a:pt x="852" y="676"/>
                    </a:lnTo>
                    <a:lnTo>
                      <a:pt x="854" y="676"/>
                    </a:lnTo>
                    <a:lnTo>
                      <a:pt x="856" y="674"/>
                    </a:lnTo>
                    <a:lnTo>
                      <a:pt x="858" y="674"/>
                    </a:lnTo>
                    <a:lnTo>
                      <a:pt x="860" y="674"/>
                    </a:lnTo>
                    <a:lnTo>
                      <a:pt x="864" y="672"/>
                    </a:lnTo>
                    <a:lnTo>
                      <a:pt x="868" y="672"/>
                    </a:lnTo>
                    <a:lnTo>
                      <a:pt x="872" y="670"/>
                    </a:lnTo>
                    <a:lnTo>
                      <a:pt x="878" y="670"/>
                    </a:lnTo>
                    <a:lnTo>
                      <a:pt x="882" y="668"/>
                    </a:lnTo>
                    <a:lnTo>
                      <a:pt x="888" y="668"/>
                    </a:lnTo>
                    <a:lnTo>
                      <a:pt x="894" y="666"/>
                    </a:lnTo>
                    <a:lnTo>
                      <a:pt x="900" y="666"/>
                    </a:lnTo>
                    <a:lnTo>
                      <a:pt x="904" y="666"/>
                    </a:lnTo>
                    <a:lnTo>
                      <a:pt x="906" y="666"/>
                    </a:lnTo>
                    <a:lnTo>
                      <a:pt x="910" y="666"/>
                    </a:lnTo>
                    <a:lnTo>
                      <a:pt x="912" y="666"/>
                    </a:lnTo>
                    <a:lnTo>
                      <a:pt x="914" y="666"/>
                    </a:lnTo>
                    <a:lnTo>
                      <a:pt x="916" y="666"/>
                    </a:lnTo>
                    <a:lnTo>
                      <a:pt x="916" y="668"/>
                    </a:lnTo>
                    <a:lnTo>
                      <a:pt x="918" y="668"/>
                    </a:lnTo>
                    <a:lnTo>
                      <a:pt x="918" y="670"/>
                    </a:lnTo>
                    <a:lnTo>
                      <a:pt x="920" y="672"/>
                    </a:lnTo>
                    <a:lnTo>
                      <a:pt x="920" y="672"/>
                    </a:lnTo>
                    <a:lnTo>
                      <a:pt x="920" y="672"/>
                    </a:lnTo>
                    <a:lnTo>
                      <a:pt x="922" y="674"/>
                    </a:lnTo>
                    <a:lnTo>
                      <a:pt x="922" y="674"/>
                    </a:lnTo>
                    <a:lnTo>
                      <a:pt x="924" y="674"/>
                    </a:lnTo>
                    <a:lnTo>
                      <a:pt x="926" y="674"/>
                    </a:lnTo>
                    <a:lnTo>
                      <a:pt x="928" y="674"/>
                    </a:lnTo>
                    <a:lnTo>
                      <a:pt x="930" y="674"/>
                    </a:lnTo>
                    <a:lnTo>
                      <a:pt x="932" y="674"/>
                    </a:lnTo>
                    <a:lnTo>
                      <a:pt x="934" y="674"/>
                    </a:lnTo>
                    <a:lnTo>
                      <a:pt x="936" y="676"/>
                    </a:lnTo>
                    <a:lnTo>
                      <a:pt x="936" y="676"/>
                    </a:lnTo>
                    <a:lnTo>
                      <a:pt x="936" y="676"/>
                    </a:lnTo>
                    <a:lnTo>
                      <a:pt x="938" y="676"/>
                    </a:lnTo>
                    <a:lnTo>
                      <a:pt x="938" y="678"/>
                    </a:lnTo>
                    <a:lnTo>
                      <a:pt x="940" y="680"/>
                    </a:lnTo>
                    <a:lnTo>
                      <a:pt x="942" y="682"/>
                    </a:lnTo>
                    <a:lnTo>
                      <a:pt x="942" y="682"/>
                    </a:lnTo>
                    <a:lnTo>
                      <a:pt x="944" y="682"/>
                    </a:lnTo>
                    <a:lnTo>
                      <a:pt x="946" y="682"/>
                    </a:lnTo>
                    <a:lnTo>
                      <a:pt x="950" y="684"/>
                    </a:lnTo>
                    <a:lnTo>
                      <a:pt x="954" y="684"/>
                    </a:lnTo>
                    <a:lnTo>
                      <a:pt x="956" y="684"/>
                    </a:lnTo>
                    <a:lnTo>
                      <a:pt x="958" y="684"/>
                    </a:lnTo>
                    <a:lnTo>
                      <a:pt x="960" y="682"/>
                    </a:lnTo>
                    <a:lnTo>
                      <a:pt x="964" y="682"/>
                    </a:lnTo>
                    <a:lnTo>
                      <a:pt x="966" y="682"/>
                    </a:lnTo>
                    <a:lnTo>
                      <a:pt x="968" y="682"/>
                    </a:lnTo>
                    <a:lnTo>
                      <a:pt x="968" y="680"/>
                    </a:lnTo>
                    <a:lnTo>
                      <a:pt x="970" y="680"/>
                    </a:lnTo>
                    <a:lnTo>
                      <a:pt x="972" y="680"/>
                    </a:lnTo>
                    <a:lnTo>
                      <a:pt x="972" y="678"/>
                    </a:lnTo>
                    <a:lnTo>
                      <a:pt x="972" y="678"/>
                    </a:lnTo>
                    <a:lnTo>
                      <a:pt x="972" y="678"/>
                    </a:lnTo>
                    <a:lnTo>
                      <a:pt x="972" y="676"/>
                    </a:lnTo>
                    <a:lnTo>
                      <a:pt x="972" y="676"/>
                    </a:lnTo>
                    <a:lnTo>
                      <a:pt x="972" y="674"/>
                    </a:lnTo>
                    <a:lnTo>
                      <a:pt x="972" y="674"/>
                    </a:lnTo>
                    <a:lnTo>
                      <a:pt x="972" y="672"/>
                    </a:lnTo>
                    <a:lnTo>
                      <a:pt x="970" y="670"/>
                    </a:lnTo>
                    <a:lnTo>
                      <a:pt x="968" y="668"/>
                    </a:lnTo>
                    <a:lnTo>
                      <a:pt x="968" y="666"/>
                    </a:lnTo>
                    <a:lnTo>
                      <a:pt x="966" y="664"/>
                    </a:lnTo>
                    <a:lnTo>
                      <a:pt x="964" y="662"/>
                    </a:lnTo>
                    <a:lnTo>
                      <a:pt x="964" y="660"/>
                    </a:lnTo>
                    <a:lnTo>
                      <a:pt x="964" y="660"/>
                    </a:lnTo>
                    <a:lnTo>
                      <a:pt x="962" y="658"/>
                    </a:lnTo>
                    <a:lnTo>
                      <a:pt x="960" y="656"/>
                    </a:lnTo>
                    <a:lnTo>
                      <a:pt x="960" y="656"/>
                    </a:lnTo>
                    <a:lnTo>
                      <a:pt x="960" y="654"/>
                    </a:lnTo>
                    <a:lnTo>
                      <a:pt x="960" y="654"/>
                    </a:lnTo>
                    <a:lnTo>
                      <a:pt x="960" y="654"/>
                    </a:lnTo>
                    <a:lnTo>
                      <a:pt x="960" y="654"/>
                    </a:lnTo>
                    <a:lnTo>
                      <a:pt x="960" y="654"/>
                    </a:lnTo>
                    <a:lnTo>
                      <a:pt x="962" y="654"/>
                    </a:lnTo>
                    <a:lnTo>
                      <a:pt x="962" y="652"/>
                    </a:lnTo>
                    <a:lnTo>
                      <a:pt x="964" y="652"/>
                    </a:lnTo>
                    <a:lnTo>
                      <a:pt x="966" y="654"/>
                    </a:lnTo>
                    <a:lnTo>
                      <a:pt x="968" y="654"/>
                    </a:lnTo>
                    <a:lnTo>
                      <a:pt x="970" y="654"/>
                    </a:lnTo>
                    <a:lnTo>
                      <a:pt x="970" y="654"/>
                    </a:lnTo>
                    <a:lnTo>
                      <a:pt x="972" y="654"/>
                    </a:lnTo>
                    <a:lnTo>
                      <a:pt x="972" y="654"/>
                    </a:lnTo>
                    <a:lnTo>
                      <a:pt x="972" y="652"/>
                    </a:lnTo>
                    <a:lnTo>
                      <a:pt x="974" y="652"/>
                    </a:lnTo>
                    <a:lnTo>
                      <a:pt x="974" y="650"/>
                    </a:lnTo>
                    <a:lnTo>
                      <a:pt x="974" y="650"/>
                    </a:lnTo>
                    <a:lnTo>
                      <a:pt x="974" y="648"/>
                    </a:lnTo>
                    <a:lnTo>
                      <a:pt x="974" y="646"/>
                    </a:lnTo>
                    <a:lnTo>
                      <a:pt x="974" y="644"/>
                    </a:lnTo>
                    <a:lnTo>
                      <a:pt x="974" y="640"/>
                    </a:lnTo>
                    <a:lnTo>
                      <a:pt x="974" y="638"/>
                    </a:lnTo>
                    <a:lnTo>
                      <a:pt x="972" y="634"/>
                    </a:lnTo>
                    <a:lnTo>
                      <a:pt x="972" y="630"/>
                    </a:lnTo>
                    <a:lnTo>
                      <a:pt x="972" y="628"/>
                    </a:lnTo>
                    <a:lnTo>
                      <a:pt x="972" y="624"/>
                    </a:lnTo>
                    <a:lnTo>
                      <a:pt x="972" y="622"/>
                    </a:lnTo>
                    <a:lnTo>
                      <a:pt x="972" y="618"/>
                    </a:lnTo>
                    <a:lnTo>
                      <a:pt x="970" y="614"/>
                    </a:lnTo>
                    <a:lnTo>
                      <a:pt x="970" y="610"/>
                    </a:lnTo>
                    <a:lnTo>
                      <a:pt x="970" y="608"/>
                    </a:lnTo>
                    <a:lnTo>
                      <a:pt x="970" y="606"/>
                    </a:lnTo>
                    <a:lnTo>
                      <a:pt x="970" y="604"/>
                    </a:lnTo>
                    <a:lnTo>
                      <a:pt x="970" y="604"/>
                    </a:lnTo>
                    <a:lnTo>
                      <a:pt x="972" y="602"/>
                    </a:lnTo>
                    <a:lnTo>
                      <a:pt x="972" y="602"/>
                    </a:lnTo>
                    <a:lnTo>
                      <a:pt x="972" y="602"/>
                    </a:lnTo>
                    <a:lnTo>
                      <a:pt x="974" y="602"/>
                    </a:lnTo>
                    <a:lnTo>
                      <a:pt x="974" y="602"/>
                    </a:lnTo>
                    <a:lnTo>
                      <a:pt x="976" y="602"/>
                    </a:lnTo>
                    <a:lnTo>
                      <a:pt x="978" y="602"/>
                    </a:lnTo>
                    <a:lnTo>
                      <a:pt x="980" y="602"/>
                    </a:lnTo>
                    <a:lnTo>
                      <a:pt x="982" y="602"/>
                    </a:lnTo>
                    <a:lnTo>
                      <a:pt x="986" y="604"/>
                    </a:lnTo>
                    <a:lnTo>
                      <a:pt x="992" y="610"/>
                    </a:lnTo>
                    <a:lnTo>
                      <a:pt x="996" y="610"/>
                    </a:lnTo>
                    <a:lnTo>
                      <a:pt x="998" y="612"/>
                    </a:lnTo>
                    <a:lnTo>
                      <a:pt x="998" y="612"/>
                    </a:lnTo>
                    <a:lnTo>
                      <a:pt x="1000" y="612"/>
                    </a:lnTo>
                    <a:lnTo>
                      <a:pt x="1002" y="612"/>
                    </a:lnTo>
                    <a:lnTo>
                      <a:pt x="1008" y="612"/>
                    </a:lnTo>
                    <a:lnTo>
                      <a:pt x="1010" y="612"/>
                    </a:lnTo>
                    <a:lnTo>
                      <a:pt x="1012" y="612"/>
                    </a:lnTo>
                    <a:lnTo>
                      <a:pt x="1014" y="612"/>
                    </a:lnTo>
                    <a:lnTo>
                      <a:pt x="1016" y="612"/>
                    </a:lnTo>
                    <a:lnTo>
                      <a:pt x="1016" y="614"/>
                    </a:lnTo>
                    <a:lnTo>
                      <a:pt x="1018" y="614"/>
                    </a:lnTo>
                    <a:lnTo>
                      <a:pt x="1020" y="616"/>
                    </a:lnTo>
                    <a:lnTo>
                      <a:pt x="1022" y="618"/>
                    </a:lnTo>
                    <a:lnTo>
                      <a:pt x="1024" y="618"/>
                    </a:lnTo>
                    <a:lnTo>
                      <a:pt x="1026" y="622"/>
                    </a:lnTo>
                    <a:lnTo>
                      <a:pt x="1028" y="626"/>
                    </a:lnTo>
                    <a:lnTo>
                      <a:pt x="1030" y="628"/>
                    </a:lnTo>
                    <a:lnTo>
                      <a:pt x="1030" y="628"/>
                    </a:lnTo>
                    <a:lnTo>
                      <a:pt x="1032" y="632"/>
                    </a:lnTo>
                    <a:lnTo>
                      <a:pt x="1032" y="634"/>
                    </a:lnTo>
                    <a:lnTo>
                      <a:pt x="1034" y="636"/>
                    </a:lnTo>
                    <a:lnTo>
                      <a:pt x="1034" y="638"/>
                    </a:lnTo>
                    <a:lnTo>
                      <a:pt x="1034" y="638"/>
                    </a:lnTo>
                    <a:lnTo>
                      <a:pt x="1036" y="638"/>
                    </a:lnTo>
                    <a:lnTo>
                      <a:pt x="1036" y="638"/>
                    </a:lnTo>
                    <a:lnTo>
                      <a:pt x="1038" y="640"/>
                    </a:lnTo>
                    <a:lnTo>
                      <a:pt x="1038" y="640"/>
                    </a:lnTo>
                    <a:lnTo>
                      <a:pt x="1040" y="640"/>
                    </a:lnTo>
                    <a:lnTo>
                      <a:pt x="1042" y="640"/>
                    </a:lnTo>
                    <a:lnTo>
                      <a:pt x="1046" y="640"/>
                    </a:lnTo>
                    <a:lnTo>
                      <a:pt x="1052" y="638"/>
                    </a:lnTo>
                    <a:lnTo>
                      <a:pt x="1054" y="638"/>
                    </a:lnTo>
                    <a:lnTo>
                      <a:pt x="1056" y="638"/>
                    </a:lnTo>
                    <a:lnTo>
                      <a:pt x="1064" y="638"/>
                    </a:lnTo>
                    <a:lnTo>
                      <a:pt x="1072" y="638"/>
                    </a:lnTo>
                    <a:lnTo>
                      <a:pt x="1078" y="640"/>
                    </a:lnTo>
                    <a:lnTo>
                      <a:pt x="1082" y="640"/>
                    </a:lnTo>
                    <a:lnTo>
                      <a:pt x="1084" y="640"/>
                    </a:lnTo>
                    <a:lnTo>
                      <a:pt x="1086" y="640"/>
                    </a:lnTo>
                    <a:lnTo>
                      <a:pt x="1088" y="642"/>
                    </a:lnTo>
                    <a:lnTo>
                      <a:pt x="1090" y="642"/>
                    </a:lnTo>
                    <a:lnTo>
                      <a:pt x="1092" y="642"/>
                    </a:lnTo>
                    <a:lnTo>
                      <a:pt x="1094" y="644"/>
                    </a:lnTo>
                    <a:lnTo>
                      <a:pt x="1098" y="646"/>
                    </a:lnTo>
                    <a:lnTo>
                      <a:pt x="1102" y="648"/>
                    </a:lnTo>
                    <a:lnTo>
                      <a:pt x="1104" y="650"/>
                    </a:lnTo>
                    <a:lnTo>
                      <a:pt x="1106" y="652"/>
                    </a:lnTo>
                    <a:lnTo>
                      <a:pt x="1108" y="652"/>
                    </a:lnTo>
                    <a:lnTo>
                      <a:pt x="1110" y="652"/>
                    </a:lnTo>
                    <a:lnTo>
                      <a:pt x="1112" y="652"/>
                    </a:lnTo>
                    <a:lnTo>
                      <a:pt x="1116" y="652"/>
                    </a:lnTo>
                    <a:lnTo>
                      <a:pt x="1116" y="654"/>
                    </a:lnTo>
                    <a:lnTo>
                      <a:pt x="1118" y="654"/>
                    </a:lnTo>
                    <a:lnTo>
                      <a:pt x="1120" y="654"/>
                    </a:lnTo>
                    <a:lnTo>
                      <a:pt x="1120" y="654"/>
                    </a:lnTo>
                    <a:lnTo>
                      <a:pt x="1120" y="656"/>
                    </a:lnTo>
                    <a:lnTo>
                      <a:pt x="1120" y="656"/>
                    </a:lnTo>
                    <a:lnTo>
                      <a:pt x="1120" y="658"/>
                    </a:lnTo>
                    <a:lnTo>
                      <a:pt x="1122" y="658"/>
                    </a:lnTo>
                    <a:lnTo>
                      <a:pt x="1122" y="660"/>
                    </a:lnTo>
                    <a:lnTo>
                      <a:pt x="1122" y="662"/>
                    </a:lnTo>
                    <a:lnTo>
                      <a:pt x="1122" y="664"/>
                    </a:lnTo>
                    <a:lnTo>
                      <a:pt x="1122" y="666"/>
                    </a:lnTo>
                    <a:lnTo>
                      <a:pt x="1124" y="666"/>
                    </a:lnTo>
                    <a:lnTo>
                      <a:pt x="1124" y="666"/>
                    </a:lnTo>
                    <a:lnTo>
                      <a:pt x="1126" y="666"/>
                    </a:lnTo>
                    <a:lnTo>
                      <a:pt x="1128" y="668"/>
                    </a:lnTo>
                    <a:lnTo>
                      <a:pt x="1130" y="668"/>
                    </a:lnTo>
                    <a:lnTo>
                      <a:pt x="1132" y="668"/>
                    </a:lnTo>
                    <a:lnTo>
                      <a:pt x="1134" y="668"/>
                    </a:lnTo>
                    <a:lnTo>
                      <a:pt x="1136" y="668"/>
                    </a:lnTo>
                    <a:lnTo>
                      <a:pt x="1140" y="668"/>
                    </a:lnTo>
                    <a:lnTo>
                      <a:pt x="1142" y="668"/>
                    </a:lnTo>
                    <a:lnTo>
                      <a:pt x="1146" y="666"/>
                    </a:lnTo>
                    <a:lnTo>
                      <a:pt x="1148" y="666"/>
                    </a:lnTo>
                    <a:lnTo>
                      <a:pt x="1150" y="666"/>
                    </a:lnTo>
                    <a:lnTo>
                      <a:pt x="1154" y="664"/>
                    </a:lnTo>
                    <a:lnTo>
                      <a:pt x="1156" y="664"/>
                    </a:lnTo>
                    <a:lnTo>
                      <a:pt x="1158" y="664"/>
                    </a:lnTo>
                    <a:lnTo>
                      <a:pt x="1160" y="662"/>
                    </a:lnTo>
                    <a:lnTo>
                      <a:pt x="1162" y="662"/>
                    </a:lnTo>
                    <a:lnTo>
                      <a:pt x="1162" y="660"/>
                    </a:lnTo>
                    <a:lnTo>
                      <a:pt x="1162" y="660"/>
                    </a:lnTo>
                    <a:lnTo>
                      <a:pt x="1162" y="658"/>
                    </a:lnTo>
                    <a:lnTo>
                      <a:pt x="1164" y="658"/>
                    </a:lnTo>
                    <a:lnTo>
                      <a:pt x="1164" y="656"/>
                    </a:lnTo>
                    <a:lnTo>
                      <a:pt x="1164" y="654"/>
                    </a:lnTo>
                    <a:lnTo>
                      <a:pt x="1166" y="652"/>
                    </a:lnTo>
                    <a:lnTo>
                      <a:pt x="1166" y="652"/>
                    </a:lnTo>
                    <a:lnTo>
                      <a:pt x="1166" y="652"/>
                    </a:lnTo>
                    <a:lnTo>
                      <a:pt x="1166" y="652"/>
                    </a:lnTo>
                    <a:lnTo>
                      <a:pt x="1168" y="652"/>
                    </a:lnTo>
                    <a:lnTo>
                      <a:pt x="1168" y="650"/>
                    </a:lnTo>
                    <a:lnTo>
                      <a:pt x="1168" y="652"/>
                    </a:lnTo>
                    <a:lnTo>
                      <a:pt x="1170" y="652"/>
                    </a:lnTo>
                    <a:lnTo>
                      <a:pt x="1170" y="652"/>
                    </a:lnTo>
                    <a:lnTo>
                      <a:pt x="1172" y="654"/>
                    </a:lnTo>
                    <a:lnTo>
                      <a:pt x="1174" y="654"/>
                    </a:lnTo>
                    <a:lnTo>
                      <a:pt x="1176" y="656"/>
                    </a:lnTo>
                    <a:lnTo>
                      <a:pt x="1178" y="658"/>
                    </a:lnTo>
                    <a:lnTo>
                      <a:pt x="1178" y="658"/>
                    </a:lnTo>
                    <a:lnTo>
                      <a:pt x="1178" y="658"/>
                    </a:lnTo>
                    <a:lnTo>
                      <a:pt x="1180" y="658"/>
                    </a:lnTo>
                    <a:lnTo>
                      <a:pt x="1180" y="658"/>
                    </a:lnTo>
                    <a:lnTo>
                      <a:pt x="1182" y="658"/>
                    </a:lnTo>
                    <a:lnTo>
                      <a:pt x="1182" y="658"/>
                    </a:lnTo>
                    <a:lnTo>
                      <a:pt x="1184" y="658"/>
                    </a:lnTo>
                    <a:lnTo>
                      <a:pt x="1184" y="656"/>
                    </a:lnTo>
                    <a:lnTo>
                      <a:pt x="1186" y="654"/>
                    </a:lnTo>
                    <a:lnTo>
                      <a:pt x="1190" y="652"/>
                    </a:lnTo>
                    <a:lnTo>
                      <a:pt x="1192" y="648"/>
                    </a:lnTo>
                    <a:lnTo>
                      <a:pt x="1194" y="646"/>
                    </a:lnTo>
                    <a:lnTo>
                      <a:pt x="1194" y="646"/>
                    </a:lnTo>
                    <a:lnTo>
                      <a:pt x="1196" y="644"/>
                    </a:lnTo>
                    <a:lnTo>
                      <a:pt x="1196" y="644"/>
                    </a:lnTo>
                    <a:lnTo>
                      <a:pt x="1198" y="644"/>
                    </a:lnTo>
                    <a:lnTo>
                      <a:pt x="1200" y="644"/>
                    </a:lnTo>
                    <a:lnTo>
                      <a:pt x="1200" y="642"/>
                    </a:lnTo>
                    <a:lnTo>
                      <a:pt x="1202" y="642"/>
                    </a:lnTo>
                    <a:lnTo>
                      <a:pt x="1204" y="642"/>
                    </a:lnTo>
                    <a:lnTo>
                      <a:pt x="1206" y="642"/>
                    </a:lnTo>
                    <a:lnTo>
                      <a:pt x="1208" y="642"/>
                    </a:lnTo>
                    <a:lnTo>
                      <a:pt x="1210" y="642"/>
                    </a:lnTo>
                    <a:lnTo>
                      <a:pt x="1212" y="642"/>
                    </a:lnTo>
                    <a:lnTo>
                      <a:pt x="1214" y="642"/>
                    </a:lnTo>
                    <a:lnTo>
                      <a:pt x="1216" y="644"/>
                    </a:lnTo>
                    <a:lnTo>
                      <a:pt x="1218" y="644"/>
                    </a:lnTo>
                    <a:lnTo>
                      <a:pt x="1220" y="646"/>
                    </a:lnTo>
                    <a:lnTo>
                      <a:pt x="1222" y="648"/>
                    </a:lnTo>
                    <a:lnTo>
                      <a:pt x="1224" y="650"/>
                    </a:lnTo>
                    <a:lnTo>
                      <a:pt x="1226" y="652"/>
                    </a:lnTo>
                    <a:lnTo>
                      <a:pt x="1228" y="654"/>
                    </a:lnTo>
                    <a:lnTo>
                      <a:pt x="1230" y="656"/>
                    </a:lnTo>
                    <a:lnTo>
                      <a:pt x="1232" y="658"/>
                    </a:lnTo>
                    <a:lnTo>
                      <a:pt x="1234" y="660"/>
                    </a:lnTo>
                    <a:lnTo>
                      <a:pt x="1234" y="660"/>
                    </a:lnTo>
                    <a:lnTo>
                      <a:pt x="1236" y="662"/>
                    </a:lnTo>
                    <a:lnTo>
                      <a:pt x="1238" y="662"/>
                    </a:lnTo>
                    <a:lnTo>
                      <a:pt x="1240" y="662"/>
                    </a:lnTo>
                    <a:lnTo>
                      <a:pt x="1242" y="662"/>
                    </a:lnTo>
                    <a:lnTo>
                      <a:pt x="1246" y="662"/>
                    </a:lnTo>
                    <a:lnTo>
                      <a:pt x="1248" y="662"/>
                    </a:lnTo>
                    <a:lnTo>
                      <a:pt x="1250" y="662"/>
                    </a:lnTo>
                    <a:lnTo>
                      <a:pt x="1252" y="662"/>
                    </a:lnTo>
                    <a:lnTo>
                      <a:pt x="1252" y="662"/>
                    </a:lnTo>
                    <a:lnTo>
                      <a:pt x="1254" y="662"/>
                    </a:lnTo>
                    <a:lnTo>
                      <a:pt x="1254" y="662"/>
                    </a:lnTo>
                    <a:lnTo>
                      <a:pt x="1256" y="660"/>
                    </a:lnTo>
                    <a:lnTo>
                      <a:pt x="1256" y="658"/>
                    </a:lnTo>
                    <a:lnTo>
                      <a:pt x="1256" y="658"/>
                    </a:lnTo>
                    <a:lnTo>
                      <a:pt x="1256" y="656"/>
                    </a:lnTo>
                    <a:lnTo>
                      <a:pt x="1256" y="654"/>
                    </a:lnTo>
                    <a:lnTo>
                      <a:pt x="1258" y="652"/>
                    </a:lnTo>
                    <a:lnTo>
                      <a:pt x="1258" y="648"/>
                    </a:lnTo>
                    <a:lnTo>
                      <a:pt x="1256" y="644"/>
                    </a:lnTo>
                    <a:lnTo>
                      <a:pt x="1256" y="640"/>
                    </a:lnTo>
                    <a:lnTo>
                      <a:pt x="1258" y="638"/>
                    </a:lnTo>
                    <a:lnTo>
                      <a:pt x="1258" y="636"/>
                    </a:lnTo>
                    <a:lnTo>
                      <a:pt x="1258" y="634"/>
                    </a:lnTo>
                    <a:lnTo>
                      <a:pt x="1258" y="634"/>
                    </a:lnTo>
                    <a:lnTo>
                      <a:pt x="1258" y="632"/>
                    </a:lnTo>
                    <a:lnTo>
                      <a:pt x="1260" y="632"/>
                    </a:lnTo>
                    <a:lnTo>
                      <a:pt x="1260" y="630"/>
                    </a:lnTo>
                    <a:lnTo>
                      <a:pt x="1262" y="630"/>
                    </a:lnTo>
                    <a:lnTo>
                      <a:pt x="1264" y="628"/>
                    </a:lnTo>
                    <a:lnTo>
                      <a:pt x="1266" y="628"/>
                    </a:lnTo>
                    <a:lnTo>
                      <a:pt x="1268" y="626"/>
                    </a:lnTo>
                    <a:lnTo>
                      <a:pt x="1268" y="626"/>
                    </a:lnTo>
                    <a:lnTo>
                      <a:pt x="1268" y="624"/>
                    </a:lnTo>
                    <a:lnTo>
                      <a:pt x="1270" y="624"/>
                    </a:lnTo>
                    <a:lnTo>
                      <a:pt x="1270" y="624"/>
                    </a:lnTo>
                    <a:lnTo>
                      <a:pt x="1270" y="622"/>
                    </a:lnTo>
                    <a:lnTo>
                      <a:pt x="1270" y="620"/>
                    </a:lnTo>
                    <a:lnTo>
                      <a:pt x="1270" y="620"/>
                    </a:lnTo>
                    <a:lnTo>
                      <a:pt x="1268" y="618"/>
                    </a:lnTo>
                    <a:lnTo>
                      <a:pt x="1268" y="616"/>
                    </a:lnTo>
                    <a:lnTo>
                      <a:pt x="1266" y="614"/>
                    </a:lnTo>
                    <a:lnTo>
                      <a:pt x="1264" y="610"/>
                    </a:lnTo>
                    <a:lnTo>
                      <a:pt x="1262" y="608"/>
                    </a:lnTo>
                    <a:lnTo>
                      <a:pt x="1262" y="604"/>
                    </a:lnTo>
                    <a:lnTo>
                      <a:pt x="1260" y="602"/>
                    </a:lnTo>
                    <a:lnTo>
                      <a:pt x="1260" y="600"/>
                    </a:lnTo>
                    <a:lnTo>
                      <a:pt x="1260" y="600"/>
                    </a:lnTo>
                    <a:lnTo>
                      <a:pt x="1260" y="598"/>
                    </a:lnTo>
                    <a:lnTo>
                      <a:pt x="1260" y="596"/>
                    </a:lnTo>
                    <a:lnTo>
                      <a:pt x="1260" y="594"/>
                    </a:lnTo>
                    <a:lnTo>
                      <a:pt x="1260" y="592"/>
                    </a:lnTo>
                    <a:lnTo>
                      <a:pt x="1262" y="590"/>
                    </a:lnTo>
                    <a:lnTo>
                      <a:pt x="1262" y="588"/>
                    </a:lnTo>
                    <a:lnTo>
                      <a:pt x="1264" y="586"/>
                    </a:lnTo>
                    <a:lnTo>
                      <a:pt x="1266" y="584"/>
                    </a:lnTo>
                    <a:lnTo>
                      <a:pt x="1266" y="584"/>
                    </a:lnTo>
                    <a:lnTo>
                      <a:pt x="1266" y="582"/>
                    </a:lnTo>
                    <a:lnTo>
                      <a:pt x="1268" y="582"/>
                    </a:lnTo>
                    <a:lnTo>
                      <a:pt x="1270" y="582"/>
                    </a:lnTo>
                    <a:lnTo>
                      <a:pt x="1272" y="580"/>
                    </a:lnTo>
                    <a:lnTo>
                      <a:pt x="1276" y="580"/>
                    </a:lnTo>
                    <a:lnTo>
                      <a:pt x="1280" y="578"/>
                    </a:lnTo>
                    <a:lnTo>
                      <a:pt x="1284" y="578"/>
                    </a:lnTo>
                    <a:lnTo>
                      <a:pt x="1288" y="578"/>
                    </a:lnTo>
                    <a:lnTo>
                      <a:pt x="1294" y="578"/>
                    </a:lnTo>
                    <a:lnTo>
                      <a:pt x="1298" y="578"/>
                    </a:lnTo>
                    <a:lnTo>
                      <a:pt x="1302" y="578"/>
                    </a:lnTo>
                    <a:lnTo>
                      <a:pt x="1306" y="580"/>
                    </a:lnTo>
                    <a:lnTo>
                      <a:pt x="1310" y="580"/>
                    </a:lnTo>
                    <a:lnTo>
                      <a:pt x="1314" y="580"/>
                    </a:lnTo>
                    <a:lnTo>
                      <a:pt x="1318" y="582"/>
                    </a:lnTo>
                    <a:lnTo>
                      <a:pt x="1322" y="582"/>
                    </a:lnTo>
                    <a:lnTo>
                      <a:pt x="1326" y="584"/>
                    </a:lnTo>
                    <a:lnTo>
                      <a:pt x="1328" y="584"/>
                    </a:lnTo>
                    <a:lnTo>
                      <a:pt x="1330" y="584"/>
                    </a:lnTo>
                    <a:lnTo>
                      <a:pt x="1330" y="586"/>
                    </a:lnTo>
                    <a:lnTo>
                      <a:pt x="1332" y="588"/>
                    </a:lnTo>
                    <a:lnTo>
                      <a:pt x="1334" y="590"/>
                    </a:lnTo>
                    <a:lnTo>
                      <a:pt x="1336" y="592"/>
                    </a:lnTo>
                    <a:lnTo>
                      <a:pt x="1340" y="596"/>
                    </a:lnTo>
                    <a:lnTo>
                      <a:pt x="1342" y="598"/>
                    </a:lnTo>
                    <a:lnTo>
                      <a:pt x="1344" y="600"/>
                    </a:lnTo>
                    <a:lnTo>
                      <a:pt x="1346" y="604"/>
                    </a:lnTo>
                    <a:lnTo>
                      <a:pt x="1350" y="606"/>
                    </a:lnTo>
                    <a:lnTo>
                      <a:pt x="1354" y="610"/>
                    </a:lnTo>
                    <a:lnTo>
                      <a:pt x="1358" y="614"/>
                    </a:lnTo>
                    <a:lnTo>
                      <a:pt x="1360" y="616"/>
                    </a:lnTo>
                    <a:lnTo>
                      <a:pt x="1364" y="620"/>
                    </a:lnTo>
                    <a:lnTo>
                      <a:pt x="1366" y="622"/>
                    </a:lnTo>
                    <a:lnTo>
                      <a:pt x="1366" y="624"/>
                    </a:lnTo>
                    <a:lnTo>
                      <a:pt x="1368" y="626"/>
                    </a:lnTo>
                    <a:lnTo>
                      <a:pt x="1368" y="628"/>
                    </a:lnTo>
                    <a:lnTo>
                      <a:pt x="1368" y="630"/>
                    </a:lnTo>
                    <a:lnTo>
                      <a:pt x="1370" y="634"/>
                    </a:lnTo>
                    <a:lnTo>
                      <a:pt x="1370" y="640"/>
                    </a:lnTo>
                    <a:lnTo>
                      <a:pt x="1370" y="642"/>
                    </a:lnTo>
                    <a:lnTo>
                      <a:pt x="1372" y="644"/>
                    </a:lnTo>
                    <a:lnTo>
                      <a:pt x="1372" y="646"/>
                    </a:lnTo>
                    <a:lnTo>
                      <a:pt x="1374" y="646"/>
                    </a:lnTo>
                    <a:lnTo>
                      <a:pt x="1374" y="648"/>
                    </a:lnTo>
                    <a:lnTo>
                      <a:pt x="1376" y="652"/>
                    </a:lnTo>
                    <a:lnTo>
                      <a:pt x="1378" y="652"/>
                    </a:lnTo>
                    <a:lnTo>
                      <a:pt x="1380" y="654"/>
                    </a:lnTo>
                    <a:lnTo>
                      <a:pt x="1382" y="656"/>
                    </a:lnTo>
                    <a:lnTo>
                      <a:pt x="1382" y="658"/>
                    </a:lnTo>
                    <a:lnTo>
                      <a:pt x="1384" y="658"/>
                    </a:lnTo>
                    <a:lnTo>
                      <a:pt x="1386" y="658"/>
                    </a:lnTo>
                    <a:lnTo>
                      <a:pt x="1386" y="658"/>
                    </a:lnTo>
                    <a:lnTo>
                      <a:pt x="1388" y="660"/>
                    </a:lnTo>
                    <a:lnTo>
                      <a:pt x="1392" y="660"/>
                    </a:lnTo>
                    <a:lnTo>
                      <a:pt x="1396" y="660"/>
                    </a:lnTo>
                    <a:lnTo>
                      <a:pt x="1398" y="660"/>
                    </a:lnTo>
                    <a:lnTo>
                      <a:pt x="1402" y="660"/>
                    </a:lnTo>
                    <a:lnTo>
                      <a:pt x="1406" y="662"/>
                    </a:lnTo>
                    <a:lnTo>
                      <a:pt x="1406" y="662"/>
                    </a:lnTo>
                    <a:lnTo>
                      <a:pt x="1408" y="662"/>
                    </a:lnTo>
                    <a:lnTo>
                      <a:pt x="1410" y="664"/>
                    </a:lnTo>
                    <a:lnTo>
                      <a:pt x="1410" y="664"/>
                    </a:lnTo>
                    <a:lnTo>
                      <a:pt x="1414" y="668"/>
                    </a:lnTo>
                    <a:lnTo>
                      <a:pt x="1416" y="670"/>
                    </a:lnTo>
                    <a:lnTo>
                      <a:pt x="1418" y="672"/>
                    </a:lnTo>
                    <a:lnTo>
                      <a:pt x="1420" y="672"/>
                    </a:lnTo>
                    <a:lnTo>
                      <a:pt x="1422" y="674"/>
                    </a:lnTo>
                    <a:lnTo>
                      <a:pt x="1426" y="676"/>
                    </a:lnTo>
                    <a:lnTo>
                      <a:pt x="1430" y="680"/>
                    </a:lnTo>
                    <a:lnTo>
                      <a:pt x="1430" y="680"/>
                    </a:lnTo>
                    <a:lnTo>
                      <a:pt x="1432" y="682"/>
                    </a:lnTo>
                    <a:lnTo>
                      <a:pt x="1432" y="682"/>
                    </a:lnTo>
                    <a:lnTo>
                      <a:pt x="1434" y="684"/>
                    </a:lnTo>
                    <a:lnTo>
                      <a:pt x="1434" y="686"/>
                    </a:lnTo>
                    <a:lnTo>
                      <a:pt x="1434" y="688"/>
                    </a:lnTo>
                    <a:lnTo>
                      <a:pt x="1436" y="688"/>
                    </a:lnTo>
                    <a:lnTo>
                      <a:pt x="1436" y="690"/>
                    </a:lnTo>
                    <a:lnTo>
                      <a:pt x="1436" y="690"/>
                    </a:lnTo>
                    <a:lnTo>
                      <a:pt x="1438" y="690"/>
                    </a:lnTo>
                    <a:lnTo>
                      <a:pt x="1438" y="690"/>
                    </a:lnTo>
                    <a:lnTo>
                      <a:pt x="1440" y="692"/>
                    </a:lnTo>
                    <a:lnTo>
                      <a:pt x="1442" y="692"/>
                    </a:lnTo>
                    <a:lnTo>
                      <a:pt x="1444" y="692"/>
                    </a:lnTo>
                    <a:lnTo>
                      <a:pt x="1448" y="692"/>
                    </a:lnTo>
                    <a:lnTo>
                      <a:pt x="1452" y="692"/>
                    </a:lnTo>
                    <a:lnTo>
                      <a:pt x="1454" y="692"/>
                    </a:lnTo>
                    <a:lnTo>
                      <a:pt x="1454" y="690"/>
                    </a:lnTo>
                    <a:lnTo>
                      <a:pt x="1458" y="690"/>
                    </a:lnTo>
                    <a:lnTo>
                      <a:pt x="1464" y="688"/>
                    </a:lnTo>
                    <a:lnTo>
                      <a:pt x="1468" y="686"/>
                    </a:lnTo>
                    <a:lnTo>
                      <a:pt x="1470" y="686"/>
                    </a:lnTo>
                    <a:lnTo>
                      <a:pt x="1472" y="686"/>
                    </a:lnTo>
                    <a:lnTo>
                      <a:pt x="1474" y="686"/>
                    </a:lnTo>
                    <a:lnTo>
                      <a:pt x="1474" y="686"/>
                    </a:lnTo>
                    <a:lnTo>
                      <a:pt x="1476" y="686"/>
                    </a:lnTo>
                    <a:lnTo>
                      <a:pt x="1478" y="686"/>
                    </a:lnTo>
                    <a:lnTo>
                      <a:pt x="1478" y="686"/>
                    </a:lnTo>
                    <a:lnTo>
                      <a:pt x="1478" y="688"/>
                    </a:lnTo>
                    <a:lnTo>
                      <a:pt x="1480" y="688"/>
                    </a:lnTo>
                    <a:lnTo>
                      <a:pt x="1480" y="690"/>
                    </a:lnTo>
                    <a:lnTo>
                      <a:pt x="1482" y="692"/>
                    </a:lnTo>
                    <a:lnTo>
                      <a:pt x="1482" y="694"/>
                    </a:lnTo>
                    <a:lnTo>
                      <a:pt x="1484" y="696"/>
                    </a:lnTo>
                    <a:lnTo>
                      <a:pt x="1484" y="700"/>
                    </a:lnTo>
                    <a:lnTo>
                      <a:pt x="1484" y="702"/>
                    </a:lnTo>
                    <a:lnTo>
                      <a:pt x="1486" y="704"/>
                    </a:lnTo>
                    <a:lnTo>
                      <a:pt x="1486" y="706"/>
                    </a:lnTo>
                    <a:lnTo>
                      <a:pt x="1484" y="706"/>
                    </a:lnTo>
                    <a:lnTo>
                      <a:pt x="1484" y="706"/>
                    </a:lnTo>
                    <a:lnTo>
                      <a:pt x="1484" y="708"/>
                    </a:lnTo>
                    <a:lnTo>
                      <a:pt x="1482" y="708"/>
                    </a:lnTo>
                    <a:lnTo>
                      <a:pt x="1482" y="710"/>
                    </a:lnTo>
                    <a:lnTo>
                      <a:pt x="1480" y="710"/>
                    </a:lnTo>
                    <a:lnTo>
                      <a:pt x="1478" y="712"/>
                    </a:lnTo>
                    <a:lnTo>
                      <a:pt x="1476" y="712"/>
                    </a:lnTo>
                    <a:lnTo>
                      <a:pt x="1476" y="714"/>
                    </a:lnTo>
                    <a:lnTo>
                      <a:pt x="1476" y="714"/>
                    </a:lnTo>
                    <a:lnTo>
                      <a:pt x="1474" y="714"/>
                    </a:lnTo>
                    <a:lnTo>
                      <a:pt x="1474" y="714"/>
                    </a:lnTo>
                    <a:lnTo>
                      <a:pt x="1474" y="716"/>
                    </a:lnTo>
                    <a:lnTo>
                      <a:pt x="1474" y="718"/>
                    </a:lnTo>
                    <a:lnTo>
                      <a:pt x="1474" y="720"/>
                    </a:lnTo>
                    <a:lnTo>
                      <a:pt x="1474" y="722"/>
                    </a:lnTo>
                    <a:lnTo>
                      <a:pt x="1474" y="724"/>
                    </a:lnTo>
                    <a:lnTo>
                      <a:pt x="1474" y="728"/>
                    </a:lnTo>
                    <a:lnTo>
                      <a:pt x="1476" y="734"/>
                    </a:lnTo>
                    <a:lnTo>
                      <a:pt x="1476" y="738"/>
                    </a:lnTo>
                    <a:lnTo>
                      <a:pt x="1476" y="742"/>
                    </a:lnTo>
                    <a:lnTo>
                      <a:pt x="1476" y="744"/>
                    </a:lnTo>
                    <a:lnTo>
                      <a:pt x="1476" y="746"/>
                    </a:lnTo>
                    <a:lnTo>
                      <a:pt x="1476" y="748"/>
                    </a:lnTo>
                    <a:lnTo>
                      <a:pt x="1476" y="748"/>
                    </a:lnTo>
                    <a:lnTo>
                      <a:pt x="1474" y="750"/>
                    </a:lnTo>
                    <a:lnTo>
                      <a:pt x="1474" y="750"/>
                    </a:lnTo>
                    <a:lnTo>
                      <a:pt x="1474" y="750"/>
                    </a:lnTo>
                    <a:lnTo>
                      <a:pt x="1472" y="750"/>
                    </a:lnTo>
                    <a:lnTo>
                      <a:pt x="1472" y="750"/>
                    </a:lnTo>
                    <a:lnTo>
                      <a:pt x="1472" y="750"/>
                    </a:lnTo>
                    <a:lnTo>
                      <a:pt x="1470" y="750"/>
                    </a:lnTo>
                    <a:lnTo>
                      <a:pt x="1468" y="750"/>
                    </a:lnTo>
                    <a:lnTo>
                      <a:pt x="1466" y="750"/>
                    </a:lnTo>
                    <a:lnTo>
                      <a:pt x="1464" y="748"/>
                    </a:lnTo>
                    <a:lnTo>
                      <a:pt x="1462" y="748"/>
                    </a:lnTo>
                    <a:lnTo>
                      <a:pt x="1462" y="748"/>
                    </a:lnTo>
                    <a:lnTo>
                      <a:pt x="1460" y="748"/>
                    </a:lnTo>
                    <a:lnTo>
                      <a:pt x="1460" y="748"/>
                    </a:lnTo>
                    <a:lnTo>
                      <a:pt x="1460" y="748"/>
                    </a:lnTo>
                    <a:lnTo>
                      <a:pt x="1458" y="748"/>
                    </a:lnTo>
                    <a:lnTo>
                      <a:pt x="1458" y="748"/>
                    </a:lnTo>
                    <a:lnTo>
                      <a:pt x="1458" y="750"/>
                    </a:lnTo>
                    <a:lnTo>
                      <a:pt x="1456" y="750"/>
                    </a:lnTo>
                    <a:lnTo>
                      <a:pt x="1456" y="752"/>
                    </a:lnTo>
                    <a:lnTo>
                      <a:pt x="1454" y="754"/>
                    </a:lnTo>
                    <a:lnTo>
                      <a:pt x="1454" y="758"/>
                    </a:lnTo>
                    <a:lnTo>
                      <a:pt x="1454" y="760"/>
                    </a:lnTo>
                    <a:lnTo>
                      <a:pt x="1452" y="762"/>
                    </a:lnTo>
                    <a:lnTo>
                      <a:pt x="1452" y="764"/>
                    </a:lnTo>
                    <a:lnTo>
                      <a:pt x="1452" y="764"/>
                    </a:lnTo>
                    <a:lnTo>
                      <a:pt x="1452" y="766"/>
                    </a:lnTo>
                    <a:lnTo>
                      <a:pt x="1452" y="770"/>
                    </a:lnTo>
                    <a:lnTo>
                      <a:pt x="1452" y="772"/>
                    </a:lnTo>
                    <a:lnTo>
                      <a:pt x="1452" y="774"/>
                    </a:lnTo>
                    <a:lnTo>
                      <a:pt x="1452" y="776"/>
                    </a:lnTo>
                    <a:lnTo>
                      <a:pt x="1452" y="778"/>
                    </a:lnTo>
                    <a:lnTo>
                      <a:pt x="1452" y="778"/>
                    </a:lnTo>
                    <a:lnTo>
                      <a:pt x="1452" y="778"/>
                    </a:lnTo>
                    <a:lnTo>
                      <a:pt x="1454" y="780"/>
                    </a:lnTo>
                    <a:lnTo>
                      <a:pt x="1454" y="780"/>
                    </a:lnTo>
                    <a:lnTo>
                      <a:pt x="1454" y="780"/>
                    </a:lnTo>
                    <a:lnTo>
                      <a:pt x="1456" y="780"/>
                    </a:lnTo>
                    <a:lnTo>
                      <a:pt x="1458" y="780"/>
                    </a:lnTo>
                    <a:lnTo>
                      <a:pt x="1460" y="782"/>
                    </a:lnTo>
                    <a:lnTo>
                      <a:pt x="1464" y="782"/>
                    </a:lnTo>
                    <a:lnTo>
                      <a:pt x="1466" y="782"/>
                    </a:lnTo>
                    <a:lnTo>
                      <a:pt x="1468" y="782"/>
                    </a:lnTo>
                    <a:lnTo>
                      <a:pt x="1470" y="782"/>
                    </a:lnTo>
                    <a:lnTo>
                      <a:pt x="1472" y="784"/>
                    </a:lnTo>
                    <a:lnTo>
                      <a:pt x="1476" y="786"/>
                    </a:lnTo>
                    <a:lnTo>
                      <a:pt x="1478" y="786"/>
                    </a:lnTo>
                    <a:lnTo>
                      <a:pt x="1480" y="788"/>
                    </a:lnTo>
                    <a:lnTo>
                      <a:pt x="1482" y="788"/>
                    </a:lnTo>
                    <a:lnTo>
                      <a:pt x="1484" y="788"/>
                    </a:lnTo>
                    <a:lnTo>
                      <a:pt x="1484" y="788"/>
                    </a:lnTo>
                    <a:lnTo>
                      <a:pt x="1486" y="788"/>
                    </a:lnTo>
                    <a:lnTo>
                      <a:pt x="1488" y="788"/>
                    </a:lnTo>
                    <a:lnTo>
                      <a:pt x="1490" y="786"/>
                    </a:lnTo>
                    <a:lnTo>
                      <a:pt x="1490" y="786"/>
                    </a:lnTo>
                    <a:lnTo>
                      <a:pt x="1494" y="784"/>
                    </a:lnTo>
                    <a:lnTo>
                      <a:pt x="1498" y="780"/>
                    </a:lnTo>
                    <a:lnTo>
                      <a:pt x="1500" y="778"/>
                    </a:lnTo>
                    <a:lnTo>
                      <a:pt x="1504" y="776"/>
                    </a:lnTo>
                    <a:lnTo>
                      <a:pt x="1506" y="772"/>
                    </a:lnTo>
                    <a:lnTo>
                      <a:pt x="1508" y="770"/>
                    </a:lnTo>
                    <a:lnTo>
                      <a:pt x="1510" y="770"/>
                    </a:lnTo>
                    <a:lnTo>
                      <a:pt x="1510" y="768"/>
                    </a:lnTo>
                    <a:lnTo>
                      <a:pt x="1514" y="764"/>
                    </a:lnTo>
                    <a:lnTo>
                      <a:pt x="1516" y="760"/>
                    </a:lnTo>
                    <a:lnTo>
                      <a:pt x="1518" y="756"/>
                    </a:lnTo>
                    <a:lnTo>
                      <a:pt x="1522" y="748"/>
                    </a:lnTo>
                    <a:lnTo>
                      <a:pt x="1526" y="740"/>
                    </a:lnTo>
                    <a:lnTo>
                      <a:pt x="1530" y="732"/>
                    </a:lnTo>
                    <a:lnTo>
                      <a:pt x="1534" y="724"/>
                    </a:lnTo>
                    <a:lnTo>
                      <a:pt x="1540" y="714"/>
                    </a:lnTo>
                    <a:lnTo>
                      <a:pt x="1542" y="706"/>
                    </a:lnTo>
                    <a:lnTo>
                      <a:pt x="1546" y="700"/>
                    </a:lnTo>
                    <a:lnTo>
                      <a:pt x="1550" y="690"/>
                    </a:lnTo>
                    <a:lnTo>
                      <a:pt x="1552" y="686"/>
                    </a:lnTo>
                    <a:lnTo>
                      <a:pt x="1554" y="682"/>
                    </a:lnTo>
                    <a:lnTo>
                      <a:pt x="1554" y="680"/>
                    </a:lnTo>
                    <a:lnTo>
                      <a:pt x="1554" y="678"/>
                    </a:lnTo>
                    <a:lnTo>
                      <a:pt x="1554" y="676"/>
                    </a:lnTo>
                    <a:lnTo>
                      <a:pt x="1556" y="674"/>
                    </a:lnTo>
                    <a:lnTo>
                      <a:pt x="1556" y="672"/>
                    </a:lnTo>
                    <a:lnTo>
                      <a:pt x="1556" y="670"/>
                    </a:lnTo>
                    <a:lnTo>
                      <a:pt x="1554" y="668"/>
                    </a:lnTo>
                    <a:lnTo>
                      <a:pt x="1554" y="666"/>
                    </a:lnTo>
                    <a:lnTo>
                      <a:pt x="1554" y="662"/>
                    </a:lnTo>
                    <a:lnTo>
                      <a:pt x="1552" y="656"/>
                    </a:lnTo>
                    <a:lnTo>
                      <a:pt x="1550" y="652"/>
                    </a:lnTo>
                    <a:lnTo>
                      <a:pt x="1548" y="648"/>
                    </a:lnTo>
                    <a:lnTo>
                      <a:pt x="1548" y="646"/>
                    </a:lnTo>
                    <a:lnTo>
                      <a:pt x="1548" y="644"/>
                    </a:lnTo>
                    <a:lnTo>
                      <a:pt x="1548" y="642"/>
                    </a:lnTo>
                    <a:lnTo>
                      <a:pt x="1548" y="640"/>
                    </a:lnTo>
                    <a:lnTo>
                      <a:pt x="1548" y="638"/>
                    </a:lnTo>
                    <a:lnTo>
                      <a:pt x="1548" y="638"/>
                    </a:lnTo>
                    <a:lnTo>
                      <a:pt x="1550" y="634"/>
                    </a:lnTo>
                    <a:lnTo>
                      <a:pt x="1552" y="632"/>
                    </a:lnTo>
                    <a:lnTo>
                      <a:pt x="1552" y="630"/>
                    </a:lnTo>
                    <a:lnTo>
                      <a:pt x="1552" y="630"/>
                    </a:lnTo>
                    <a:lnTo>
                      <a:pt x="1554" y="628"/>
                    </a:lnTo>
                    <a:lnTo>
                      <a:pt x="1554" y="626"/>
                    </a:lnTo>
                    <a:lnTo>
                      <a:pt x="1554" y="622"/>
                    </a:lnTo>
                    <a:lnTo>
                      <a:pt x="1554" y="616"/>
                    </a:lnTo>
                    <a:lnTo>
                      <a:pt x="1552" y="612"/>
                    </a:lnTo>
                    <a:lnTo>
                      <a:pt x="1552" y="606"/>
                    </a:lnTo>
                    <a:lnTo>
                      <a:pt x="1552" y="602"/>
                    </a:lnTo>
                    <a:lnTo>
                      <a:pt x="1550" y="596"/>
                    </a:lnTo>
                    <a:lnTo>
                      <a:pt x="1548" y="594"/>
                    </a:lnTo>
                    <a:lnTo>
                      <a:pt x="1548" y="590"/>
                    </a:lnTo>
                    <a:lnTo>
                      <a:pt x="1546" y="588"/>
                    </a:lnTo>
                    <a:lnTo>
                      <a:pt x="1544" y="584"/>
                    </a:lnTo>
                    <a:lnTo>
                      <a:pt x="1542" y="580"/>
                    </a:lnTo>
                    <a:lnTo>
                      <a:pt x="1540" y="578"/>
                    </a:lnTo>
                    <a:lnTo>
                      <a:pt x="1538" y="574"/>
                    </a:lnTo>
                    <a:lnTo>
                      <a:pt x="1536" y="572"/>
                    </a:lnTo>
                    <a:lnTo>
                      <a:pt x="1534" y="572"/>
                    </a:lnTo>
                    <a:lnTo>
                      <a:pt x="1534" y="570"/>
                    </a:lnTo>
                    <a:lnTo>
                      <a:pt x="1532" y="568"/>
                    </a:lnTo>
                    <a:lnTo>
                      <a:pt x="1528" y="568"/>
                    </a:lnTo>
                    <a:lnTo>
                      <a:pt x="1526" y="566"/>
                    </a:lnTo>
                    <a:lnTo>
                      <a:pt x="1522" y="564"/>
                    </a:lnTo>
                    <a:lnTo>
                      <a:pt x="1518" y="564"/>
                    </a:lnTo>
                    <a:lnTo>
                      <a:pt x="1518" y="562"/>
                    </a:lnTo>
                    <a:lnTo>
                      <a:pt x="1516" y="562"/>
                    </a:lnTo>
                    <a:lnTo>
                      <a:pt x="1514" y="562"/>
                    </a:lnTo>
                    <a:lnTo>
                      <a:pt x="1512" y="562"/>
                    </a:lnTo>
                    <a:lnTo>
                      <a:pt x="1512" y="562"/>
                    </a:lnTo>
                    <a:lnTo>
                      <a:pt x="1510" y="562"/>
                    </a:lnTo>
                    <a:lnTo>
                      <a:pt x="1510" y="564"/>
                    </a:lnTo>
                    <a:lnTo>
                      <a:pt x="1508" y="564"/>
                    </a:lnTo>
                    <a:lnTo>
                      <a:pt x="1508" y="564"/>
                    </a:lnTo>
                    <a:lnTo>
                      <a:pt x="1508" y="566"/>
                    </a:lnTo>
                    <a:lnTo>
                      <a:pt x="1506" y="568"/>
                    </a:lnTo>
                    <a:lnTo>
                      <a:pt x="1506" y="570"/>
                    </a:lnTo>
                    <a:lnTo>
                      <a:pt x="1506" y="572"/>
                    </a:lnTo>
                    <a:lnTo>
                      <a:pt x="1504" y="574"/>
                    </a:lnTo>
                    <a:lnTo>
                      <a:pt x="1504" y="576"/>
                    </a:lnTo>
                    <a:lnTo>
                      <a:pt x="1504" y="576"/>
                    </a:lnTo>
                    <a:lnTo>
                      <a:pt x="1502" y="576"/>
                    </a:lnTo>
                    <a:lnTo>
                      <a:pt x="1502" y="578"/>
                    </a:lnTo>
                    <a:lnTo>
                      <a:pt x="1500" y="578"/>
                    </a:lnTo>
                    <a:lnTo>
                      <a:pt x="1498" y="578"/>
                    </a:lnTo>
                    <a:lnTo>
                      <a:pt x="1498" y="578"/>
                    </a:lnTo>
                    <a:lnTo>
                      <a:pt x="1496" y="578"/>
                    </a:lnTo>
                    <a:lnTo>
                      <a:pt x="1494" y="578"/>
                    </a:lnTo>
                    <a:lnTo>
                      <a:pt x="1494" y="578"/>
                    </a:lnTo>
                    <a:lnTo>
                      <a:pt x="1492" y="578"/>
                    </a:lnTo>
                    <a:lnTo>
                      <a:pt x="1492" y="578"/>
                    </a:lnTo>
                    <a:lnTo>
                      <a:pt x="1492" y="576"/>
                    </a:lnTo>
                    <a:lnTo>
                      <a:pt x="1492" y="576"/>
                    </a:lnTo>
                    <a:lnTo>
                      <a:pt x="1492" y="576"/>
                    </a:lnTo>
                    <a:lnTo>
                      <a:pt x="1490" y="574"/>
                    </a:lnTo>
                    <a:lnTo>
                      <a:pt x="1490" y="572"/>
                    </a:lnTo>
                    <a:lnTo>
                      <a:pt x="1490" y="570"/>
                    </a:lnTo>
                    <a:lnTo>
                      <a:pt x="1490" y="568"/>
                    </a:lnTo>
                    <a:lnTo>
                      <a:pt x="1490" y="566"/>
                    </a:lnTo>
                    <a:lnTo>
                      <a:pt x="1490" y="564"/>
                    </a:lnTo>
                    <a:lnTo>
                      <a:pt x="1490" y="564"/>
                    </a:lnTo>
                    <a:lnTo>
                      <a:pt x="1488" y="564"/>
                    </a:lnTo>
                    <a:lnTo>
                      <a:pt x="1488" y="562"/>
                    </a:lnTo>
                    <a:lnTo>
                      <a:pt x="1486" y="562"/>
                    </a:lnTo>
                    <a:lnTo>
                      <a:pt x="1486" y="560"/>
                    </a:lnTo>
                    <a:lnTo>
                      <a:pt x="1482" y="560"/>
                    </a:lnTo>
                    <a:lnTo>
                      <a:pt x="1478" y="558"/>
                    </a:lnTo>
                    <a:lnTo>
                      <a:pt x="1476" y="558"/>
                    </a:lnTo>
                    <a:lnTo>
                      <a:pt x="1472" y="556"/>
                    </a:lnTo>
                    <a:lnTo>
                      <a:pt x="1470" y="556"/>
                    </a:lnTo>
                    <a:lnTo>
                      <a:pt x="1470" y="554"/>
                    </a:lnTo>
                    <a:lnTo>
                      <a:pt x="1468" y="554"/>
                    </a:lnTo>
                    <a:lnTo>
                      <a:pt x="1468" y="552"/>
                    </a:lnTo>
                    <a:lnTo>
                      <a:pt x="1466" y="552"/>
                    </a:lnTo>
                    <a:lnTo>
                      <a:pt x="1466" y="550"/>
                    </a:lnTo>
                    <a:lnTo>
                      <a:pt x="1464" y="550"/>
                    </a:lnTo>
                    <a:lnTo>
                      <a:pt x="1464" y="548"/>
                    </a:lnTo>
                    <a:lnTo>
                      <a:pt x="1464" y="546"/>
                    </a:lnTo>
                    <a:lnTo>
                      <a:pt x="1464" y="544"/>
                    </a:lnTo>
                    <a:lnTo>
                      <a:pt x="1464" y="542"/>
                    </a:lnTo>
                    <a:lnTo>
                      <a:pt x="1464" y="542"/>
                    </a:lnTo>
                    <a:lnTo>
                      <a:pt x="1464" y="540"/>
                    </a:lnTo>
                    <a:lnTo>
                      <a:pt x="1464" y="540"/>
                    </a:lnTo>
                    <a:lnTo>
                      <a:pt x="1464" y="538"/>
                    </a:lnTo>
                    <a:lnTo>
                      <a:pt x="1466" y="538"/>
                    </a:lnTo>
                    <a:lnTo>
                      <a:pt x="1468" y="536"/>
                    </a:lnTo>
                    <a:lnTo>
                      <a:pt x="1470" y="534"/>
                    </a:lnTo>
                    <a:lnTo>
                      <a:pt x="1474" y="530"/>
                    </a:lnTo>
                    <a:lnTo>
                      <a:pt x="1476" y="530"/>
                    </a:lnTo>
                    <a:lnTo>
                      <a:pt x="1478" y="528"/>
                    </a:lnTo>
                    <a:lnTo>
                      <a:pt x="1480" y="524"/>
                    </a:lnTo>
                    <a:lnTo>
                      <a:pt x="1482" y="522"/>
                    </a:lnTo>
                    <a:lnTo>
                      <a:pt x="1486" y="514"/>
                    </a:lnTo>
                    <a:lnTo>
                      <a:pt x="1490" y="508"/>
                    </a:lnTo>
                    <a:lnTo>
                      <a:pt x="1494" y="502"/>
                    </a:lnTo>
                    <a:lnTo>
                      <a:pt x="1496" y="496"/>
                    </a:lnTo>
                    <a:lnTo>
                      <a:pt x="1498" y="492"/>
                    </a:lnTo>
                    <a:lnTo>
                      <a:pt x="1500" y="486"/>
                    </a:lnTo>
                    <a:lnTo>
                      <a:pt x="1502" y="482"/>
                    </a:lnTo>
                    <a:lnTo>
                      <a:pt x="1504" y="478"/>
                    </a:lnTo>
                    <a:lnTo>
                      <a:pt x="1508" y="472"/>
                    </a:lnTo>
                    <a:lnTo>
                      <a:pt x="1508" y="470"/>
                    </a:lnTo>
                    <a:lnTo>
                      <a:pt x="1510" y="468"/>
                    </a:lnTo>
                    <a:lnTo>
                      <a:pt x="1512" y="466"/>
                    </a:lnTo>
                    <a:lnTo>
                      <a:pt x="1512" y="466"/>
                    </a:lnTo>
                    <a:lnTo>
                      <a:pt x="1514" y="464"/>
                    </a:lnTo>
                    <a:lnTo>
                      <a:pt x="1516" y="464"/>
                    </a:lnTo>
                    <a:lnTo>
                      <a:pt x="1516" y="462"/>
                    </a:lnTo>
                    <a:lnTo>
                      <a:pt x="1518" y="462"/>
                    </a:lnTo>
                    <a:lnTo>
                      <a:pt x="1520" y="462"/>
                    </a:lnTo>
                    <a:lnTo>
                      <a:pt x="1526" y="460"/>
                    </a:lnTo>
                    <a:lnTo>
                      <a:pt x="1530" y="458"/>
                    </a:lnTo>
                    <a:lnTo>
                      <a:pt x="1536" y="458"/>
                    </a:lnTo>
                    <a:lnTo>
                      <a:pt x="1540" y="456"/>
                    </a:lnTo>
                    <a:lnTo>
                      <a:pt x="1548" y="456"/>
                    </a:lnTo>
                    <a:lnTo>
                      <a:pt x="1550" y="456"/>
                    </a:lnTo>
                    <a:lnTo>
                      <a:pt x="1554" y="456"/>
                    </a:lnTo>
                    <a:lnTo>
                      <a:pt x="1562" y="454"/>
                    </a:lnTo>
                    <a:lnTo>
                      <a:pt x="1570" y="454"/>
                    </a:lnTo>
                    <a:lnTo>
                      <a:pt x="1576" y="454"/>
                    </a:lnTo>
                    <a:lnTo>
                      <a:pt x="1578" y="454"/>
                    </a:lnTo>
                    <a:lnTo>
                      <a:pt x="1580" y="456"/>
                    </a:lnTo>
                    <a:lnTo>
                      <a:pt x="1584" y="456"/>
                    </a:lnTo>
                    <a:lnTo>
                      <a:pt x="1594" y="458"/>
                    </a:lnTo>
                    <a:lnTo>
                      <a:pt x="1600" y="460"/>
                    </a:lnTo>
                    <a:lnTo>
                      <a:pt x="1602" y="460"/>
                    </a:lnTo>
                    <a:lnTo>
                      <a:pt x="1604" y="460"/>
                    </a:lnTo>
                    <a:lnTo>
                      <a:pt x="1608" y="460"/>
                    </a:lnTo>
                    <a:lnTo>
                      <a:pt x="1610" y="460"/>
                    </a:lnTo>
                    <a:lnTo>
                      <a:pt x="1612" y="460"/>
                    </a:lnTo>
                    <a:lnTo>
                      <a:pt x="1614" y="458"/>
                    </a:lnTo>
                    <a:lnTo>
                      <a:pt x="1614" y="458"/>
                    </a:lnTo>
                    <a:lnTo>
                      <a:pt x="1614" y="458"/>
                    </a:lnTo>
                    <a:lnTo>
                      <a:pt x="1616" y="456"/>
                    </a:lnTo>
                    <a:lnTo>
                      <a:pt x="1616" y="456"/>
                    </a:lnTo>
                    <a:lnTo>
                      <a:pt x="1616" y="454"/>
                    </a:lnTo>
                    <a:lnTo>
                      <a:pt x="1618" y="450"/>
                    </a:lnTo>
                    <a:lnTo>
                      <a:pt x="1618" y="448"/>
                    </a:lnTo>
                    <a:lnTo>
                      <a:pt x="1620" y="446"/>
                    </a:lnTo>
                    <a:lnTo>
                      <a:pt x="1620" y="446"/>
                    </a:lnTo>
                    <a:lnTo>
                      <a:pt x="1620" y="444"/>
                    </a:lnTo>
                    <a:lnTo>
                      <a:pt x="1622" y="444"/>
                    </a:lnTo>
                    <a:lnTo>
                      <a:pt x="1622" y="444"/>
                    </a:lnTo>
                    <a:lnTo>
                      <a:pt x="1624" y="442"/>
                    </a:lnTo>
                    <a:lnTo>
                      <a:pt x="1624" y="442"/>
                    </a:lnTo>
                    <a:lnTo>
                      <a:pt x="1626" y="442"/>
                    </a:lnTo>
                    <a:lnTo>
                      <a:pt x="1628" y="442"/>
                    </a:lnTo>
                    <a:lnTo>
                      <a:pt x="1630" y="442"/>
                    </a:lnTo>
                    <a:lnTo>
                      <a:pt x="1632" y="442"/>
                    </a:lnTo>
                    <a:lnTo>
                      <a:pt x="1634" y="442"/>
                    </a:lnTo>
                    <a:lnTo>
                      <a:pt x="1636" y="444"/>
                    </a:lnTo>
                    <a:lnTo>
                      <a:pt x="1638" y="444"/>
                    </a:lnTo>
                    <a:lnTo>
                      <a:pt x="1640" y="444"/>
                    </a:lnTo>
                    <a:lnTo>
                      <a:pt x="1642" y="446"/>
                    </a:lnTo>
                    <a:lnTo>
                      <a:pt x="1644" y="446"/>
                    </a:lnTo>
                    <a:lnTo>
                      <a:pt x="1646" y="446"/>
                    </a:lnTo>
                    <a:lnTo>
                      <a:pt x="1648" y="448"/>
                    </a:lnTo>
                    <a:lnTo>
                      <a:pt x="1648" y="448"/>
                    </a:lnTo>
                    <a:lnTo>
                      <a:pt x="1650" y="450"/>
                    </a:lnTo>
                    <a:lnTo>
                      <a:pt x="1650" y="450"/>
                    </a:lnTo>
                    <a:lnTo>
                      <a:pt x="1650" y="450"/>
                    </a:lnTo>
                    <a:lnTo>
                      <a:pt x="1650" y="452"/>
                    </a:lnTo>
                    <a:lnTo>
                      <a:pt x="1650" y="454"/>
                    </a:lnTo>
                    <a:lnTo>
                      <a:pt x="1650" y="454"/>
                    </a:lnTo>
                    <a:lnTo>
                      <a:pt x="1650" y="456"/>
                    </a:lnTo>
                    <a:lnTo>
                      <a:pt x="1650" y="458"/>
                    </a:lnTo>
                    <a:lnTo>
                      <a:pt x="1650" y="458"/>
                    </a:lnTo>
                    <a:lnTo>
                      <a:pt x="1650" y="460"/>
                    </a:lnTo>
                    <a:lnTo>
                      <a:pt x="1650" y="460"/>
                    </a:lnTo>
                    <a:lnTo>
                      <a:pt x="1650" y="460"/>
                    </a:lnTo>
                    <a:lnTo>
                      <a:pt x="1652" y="460"/>
                    </a:lnTo>
                    <a:lnTo>
                      <a:pt x="1652" y="462"/>
                    </a:lnTo>
                    <a:lnTo>
                      <a:pt x="1656" y="462"/>
                    </a:lnTo>
                    <a:lnTo>
                      <a:pt x="1658" y="462"/>
                    </a:lnTo>
                    <a:lnTo>
                      <a:pt x="1660" y="462"/>
                    </a:lnTo>
                    <a:lnTo>
                      <a:pt x="1662" y="462"/>
                    </a:lnTo>
                    <a:lnTo>
                      <a:pt x="1666" y="462"/>
                    </a:lnTo>
                    <a:lnTo>
                      <a:pt x="1668" y="462"/>
                    </a:lnTo>
                    <a:lnTo>
                      <a:pt x="1672" y="460"/>
                    </a:lnTo>
                    <a:lnTo>
                      <a:pt x="1674" y="460"/>
                    </a:lnTo>
                    <a:lnTo>
                      <a:pt x="1676" y="458"/>
                    </a:lnTo>
                    <a:lnTo>
                      <a:pt x="1678" y="458"/>
                    </a:lnTo>
                    <a:lnTo>
                      <a:pt x="1682" y="456"/>
                    </a:lnTo>
                    <a:lnTo>
                      <a:pt x="1684" y="456"/>
                    </a:lnTo>
                    <a:lnTo>
                      <a:pt x="1684" y="454"/>
                    </a:lnTo>
                    <a:lnTo>
                      <a:pt x="1686" y="454"/>
                    </a:lnTo>
                    <a:lnTo>
                      <a:pt x="1686" y="452"/>
                    </a:lnTo>
                    <a:lnTo>
                      <a:pt x="1688" y="452"/>
                    </a:lnTo>
                    <a:lnTo>
                      <a:pt x="1688" y="450"/>
                    </a:lnTo>
                    <a:lnTo>
                      <a:pt x="1688" y="450"/>
                    </a:lnTo>
                    <a:lnTo>
                      <a:pt x="1688" y="448"/>
                    </a:lnTo>
                    <a:lnTo>
                      <a:pt x="1688" y="446"/>
                    </a:lnTo>
                    <a:lnTo>
                      <a:pt x="1688" y="440"/>
                    </a:lnTo>
                    <a:lnTo>
                      <a:pt x="1688" y="438"/>
                    </a:lnTo>
                    <a:lnTo>
                      <a:pt x="1688" y="436"/>
                    </a:lnTo>
                    <a:lnTo>
                      <a:pt x="1690" y="430"/>
                    </a:lnTo>
                    <a:lnTo>
                      <a:pt x="1692" y="424"/>
                    </a:lnTo>
                    <a:lnTo>
                      <a:pt x="1694" y="418"/>
                    </a:lnTo>
                    <a:lnTo>
                      <a:pt x="1694" y="414"/>
                    </a:lnTo>
                    <a:lnTo>
                      <a:pt x="1696" y="412"/>
                    </a:lnTo>
                    <a:lnTo>
                      <a:pt x="1696" y="408"/>
                    </a:lnTo>
                    <a:lnTo>
                      <a:pt x="1698" y="404"/>
                    </a:lnTo>
                    <a:lnTo>
                      <a:pt x="1698" y="402"/>
                    </a:lnTo>
                    <a:lnTo>
                      <a:pt x="1700" y="400"/>
                    </a:lnTo>
                    <a:lnTo>
                      <a:pt x="1702" y="398"/>
                    </a:lnTo>
                    <a:lnTo>
                      <a:pt x="1702" y="398"/>
                    </a:lnTo>
                    <a:lnTo>
                      <a:pt x="1702" y="398"/>
                    </a:lnTo>
                    <a:lnTo>
                      <a:pt x="1704" y="398"/>
                    </a:lnTo>
                    <a:lnTo>
                      <a:pt x="1706" y="396"/>
                    </a:lnTo>
                    <a:lnTo>
                      <a:pt x="1708" y="396"/>
                    </a:lnTo>
                    <a:lnTo>
                      <a:pt x="1710" y="396"/>
                    </a:lnTo>
                    <a:lnTo>
                      <a:pt x="1714" y="396"/>
                    </a:lnTo>
                    <a:lnTo>
                      <a:pt x="1716" y="394"/>
                    </a:lnTo>
                    <a:lnTo>
                      <a:pt x="1718" y="394"/>
                    </a:lnTo>
                    <a:lnTo>
                      <a:pt x="1722" y="394"/>
                    </a:lnTo>
                    <a:lnTo>
                      <a:pt x="1724" y="394"/>
                    </a:lnTo>
                    <a:lnTo>
                      <a:pt x="1726" y="396"/>
                    </a:lnTo>
                    <a:lnTo>
                      <a:pt x="1730" y="396"/>
                    </a:lnTo>
                    <a:lnTo>
                      <a:pt x="1732" y="396"/>
                    </a:lnTo>
                    <a:lnTo>
                      <a:pt x="1734" y="396"/>
                    </a:lnTo>
                    <a:lnTo>
                      <a:pt x="1736" y="396"/>
                    </a:lnTo>
                    <a:lnTo>
                      <a:pt x="1738" y="398"/>
                    </a:lnTo>
                    <a:lnTo>
                      <a:pt x="1740" y="398"/>
                    </a:lnTo>
                    <a:lnTo>
                      <a:pt x="1742" y="398"/>
                    </a:lnTo>
                    <a:lnTo>
                      <a:pt x="1742" y="400"/>
                    </a:lnTo>
                    <a:lnTo>
                      <a:pt x="1744" y="400"/>
                    </a:lnTo>
                    <a:lnTo>
                      <a:pt x="1746" y="402"/>
                    </a:lnTo>
                    <a:lnTo>
                      <a:pt x="1746" y="406"/>
                    </a:lnTo>
                    <a:lnTo>
                      <a:pt x="1750" y="410"/>
                    </a:lnTo>
                    <a:lnTo>
                      <a:pt x="1752" y="412"/>
                    </a:lnTo>
                    <a:lnTo>
                      <a:pt x="1752" y="412"/>
                    </a:lnTo>
                    <a:lnTo>
                      <a:pt x="1752" y="412"/>
                    </a:lnTo>
                    <a:lnTo>
                      <a:pt x="1754" y="414"/>
                    </a:lnTo>
                    <a:lnTo>
                      <a:pt x="1758" y="416"/>
                    </a:lnTo>
                    <a:lnTo>
                      <a:pt x="1758" y="416"/>
                    </a:lnTo>
                    <a:lnTo>
                      <a:pt x="1760" y="416"/>
                    </a:lnTo>
                    <a:lnTo>
                      <a:pt x="1760" y="418"/>
                    </a:lnTo>
                    <a:lnTo>
                      <a:pt x="1762" y="416"/>
                    </a:lnTo>
                    <a:lnTo>
                      <a:pt x="1762" y="416"/>
                    </a:lnTo>
                    <a:lnTo>
                      <a:pt x="1764" y="416"/>
                    </a:lnTo>
                    <a:lnTo>
                      <a:pt x="1764" y="414"/>
                    </a:lnTo>
                    <a:lnTo>
                      <a:pt x="1766" y="412"/>
                    </a:lnTo>
                    <a:lnTo>
                      <a:pt x="1766" y="412"/>
                    </a:lnTo>
                    <a:lnTo>
                      <a:pt x="1768" y="410"/>
                    </a:lnTo>
                    <a:lnTo>
                      <a:pt x="1768" y="406"/>
                    </a:lnTo>
                    <a:lnTo>
                      <a:pt x="1770" y="402"/>
                    </a:lnTo>
                    <a:lnTo>
                      <a:pt x="1772" y="400"/>
                    </a:lnTo>
                    <a:lnTo>
                      <a:pt x="1772" y="398"/>
                    </a:lnTo>
                    <a:lnTo>
                      <a:pt x="1772" y="396"/>
                    </a:lnTo>
                    <a:lnTo>
                      <a:pt x="1774" y="396"/>
                    </a:lnTo>
                    <a:lnTo>
                      <a:pt x="1774" y="394"/>
                    </a:lnTo>
                    <a:lnTo>
                      <a:pt x="1776" y="394"/>
                    </a:lnTo>
                    <a:lnTo>
                      <a:pt x="1776" y="392"/>
                    </a:lnTo>
                    <a:lnTo>
                      <a:pt x="1778" y="392"/>
                    </a:lnTo>
                    <a:lnTo>
                      <a:pt x="1780" y="392"/>
                    </a:lnTo>
                    <a:lnTo>
                      <a:pt x="1780" y="390"/>
                    </a:lnTo>
                    <a:lnTo>
                      <a:pt x="1782" y="390"/>
                    </a:lnTo>
                    <a:lnTo>
                      <a:pt x="1784" y="390"/>
                    </a:lnTo>
                    <a:lnTo>
                      <a:pt x="1784" y="390"/>
                    </a:lnTo>
                    <a:lnTo>
                      <a:pt x="1784" y="390"/>
                    </a:lnTo>
                    <a:lnTo>
                      <a:pt x="1786" y="390"/>
                    </a:lnTo>
                    <a:lnTo>
                      <a:pt x="1786" y="392"/>
                    </a:lnTo>
                    <a:lnTo>
                      <a:pt x="1786" y="392"/>
                    </a:lnTo>
                    <a:lnTo>
                      <a:pt x="1788" y="394"/>
                    </a:lnTo>
                    <a:lnTo>
                      <a:pt x="1790" y="396"/>
                    </a:lnTo>
                    <a:lnTo>
                      <a:pt x="1790" y="398"/>
                    </a:lnTo>
                    <a:lnTo>
                      <a:pt x="1792" y="400"/>
                    </a:lnTo>
                    <a:lnTo>
                      <a:pt x="1792" y="404"/>
                    </a:lnTo>
                    <a:lnTo>
                      <a:pt x="1794" y="406"/>
                    </a:lnTo>
                    <a:lnTo>
                      <a:pt x="1794" y="408"/>
                    </a:lnTo>
                    <a:lnTo>
                      <a:pt x="1794" y="408"/>
                    </a:lnTo>
                    <a:lnTo>
                      <a:pt x="1794" y="410"/>
                    </a:lnTo>
                    <a:lnTo>
                      <a:pt x="1792" y="412"/>
                    </a:lnTo>
                    <a:lnTo>
                      <a:pt x="1792" y="414"/>
                    </a:lnTo>
                    <a:lnTo>
                      <a:pt x="1790" y="416"/>
                    </a:lnTo>
                    <a:lnTo>
                      <a:pt x="1790" y="418"/>
                    </a:lnTo>
                    <a:lnTo>
                      <a:pt x="1788" y="420"/>
                    </a:lnTo>
                    <a:lnTo>
                      <a:pt x="1786" y="422"/>
                    </a:lnTo>
                    <a:lnTo>
                      <a:pt x="1786" y="424"/>
                    </a:lnTo>
                    <a:lnTo>
                      <a:pt x="1784" y="426"/>
                    </a:lnTo>
                    <a:lnTo>
                      <a:pt x="1784" y="426"/>
                    </a:lnTo>
                    <a:lnTo>
                      <a:pt x="1782" y="428"/>
                    </a:lnTo>
                    <a:lnTo>
                      <a:pt x="1778" y="430"/>
                    </a:lnTo>
                    <a:lnTo>
                      <a:pt x="1776" y="432"/>
                    </a:lnTo>
                    <a:lnTo>
                      <a:pt x="1770" y="436"/>
                    </a:lnTo>
                    <a:lnTo>
                      <a:pt x="1768" y="438"/>
                    </a:lnTo>
                    <a:lnTo>
                      <a:pt x="1766" y="440"/>
                    </a:lnTo>
                    <a:lnTo>
                      <a:pt x="1764" y="444"/>
                    </a:lnTo>
                    <a:lnTo>
                      <a:pt x="1762" y="446"/>
                    </a:lnTo>
                    <a:lnTo>
                      <a:pt x="1758" y="450"/>
                    </a:lnTo>
                    <a:lnTo>
                      <a:pt x="1756" y="454"/>
                    </a:lnTo>
                    <a:lnTo>
                      <a:pt x="1752" y="462"/>
                    </a:lnTo>
                    <a:lnTo>
                      <a:pt x="1750" y="464"/>
                    </a:lnTo>
                    <a:lnTo>
                      <a:pt x="1748" y="468"/>
                    </a:lnTo>
                    <a:lnTo>
                      <a:pt x="1746" y="470"/>
                    </a:lnTo>
                    <a:lnTo>
                      <a:pt x="1744" y="472"/>
                    </a:lnTo>
                    <a:lnTo>
                      <a:pt x="1740" y="478"/>
                    </a:lnTo>
                    <a:lnTo>
                      <a:pt x="1738" y="480"/>
                    </a:lnTo>
                    <a:lnTo>
                      <a:pt x="1736" y="482"/>
                    </a:lnTo>
                    <a:lnTo>
                      <a:pt x="1734" y="484"/>
                    </a:lnTo>
                    <a:lnTo>
                      <a:pt x="1734" y="486"/>
                    </a:lnTo>
                    <a:lnTo>
                      <a:pt x="1732" y="488"/>
                    </a:lnTo>
                    <a:lnTo>
                      <a:pt x="1732" y="488"/>
                    </a:lnTo>
                    <a:lnTo>
                      <a:pt x="1732" y="490"/>
                    </a:lnTo>
                    <a:lnTo>
                      <a:pt x="1732" y="494"/>
                    </a:lnTo>
                    <a:lnTo>
                      <a:pt x="1730" y="498"/>
                    </a:lnTo>
                    <a:lnTo>
                      <a:pt x="1730" y="502"/>
                    </a:lnTo>
                    <a:lnTo>
                      <a:pt x="1730" y="506"/>
                    </a:lnTo>
                    <a:lnTo>
                      <a:pt x="1730" y="510"/>
                    </a:lnTo>
                    <a:lnTo>
                      <a:pt x="1730" y="516"/>
                    </a:lnTo>
                    <a:lnTo>
                      <a:pt x="1730" y="524"/>
                    </a:lnTo>
                    <a:lnTo>
                      <a:pt x="1730" y="528"/>
                    </a:lnTo>
                    <a:lnTo>
                      <a:pt x="1732" y="532"/>
                    </a:lnTo>
                    <a:lnTo>
                      <a:pt x="1732" y="536"/>
                    </a:lnTo>
                    <a:lnTo>
                      <a:pt x="1732" y="540"/>
                    </a:lnTo>
                    <a:lnTo>
                      <a:pt x="1734" y="544"/>
                    </a:lnTo>
                    <a:lnTo>
                      <a:pt x="1734" y="548"/>
                    </a:lnTo>
                    <a:lnTo>
                      <a:pt x="1736" y="550"/>
                    </a:lnTo>
                    <a:lnTo>
                      <a:pt x="1736" y="552"/>
                    </a:lnTo>
                    <a:lnTo>
                      <a:pt x="1738" y="556"/>
                    </a:lnTo>
                    <a:lnTo>
                      <a:pt x="1740" y="558"/>
                    </a:lnTo>
                    <a:lnTo>
                      <a:pt x="1744" y="564"/>
                    </a:lnTo>
                    <a:lnTo>
                      <a:pt x="1746" y="566"/>
                    </a:lnTo>
                    <a:lnTo>
                      <a:pt x="1746" y="570"/>
                    </a:lnTo>
                    <a:lnTo>
                      <a:pt x="1748" y="572"/>
                    </a:lnTo>
                    <a:lnTo>
                      <a:pt x="1748" y="574"/>
                    </a:lnTo>
                    <a:lnTo>
                      <a:pt x="1750" y="582"/>
                    </a:lnTo>
                    <a:lnTo>
                      <a:pt x="1750" y="586"/>
                    </a:lnTo>
                    <a:lnTo>
                      <a:pt x="1752" y="588"/>
                    </a:lnTo>
                    <a:lnTo>
                      <a:pt x="1752" y="592"/>
                    </a:lnTo>
                    <a:lnTo>
                      <a:pt x="1752" y="594"/>
                    </a:lnTo>
                    <a:lnTo>
                      <a:pt x="1754" y="596"/>
                    </a:lnTo>
                    <a:lnTo>
                      <a:pt x="1754" y="598"/>
                    </a:lnTo>
                    <a:lnTo>
                      <a:pt x="1758" y="602"/>
                    </a:lnTo>
                    <a:lnTo>
                      <a:pt x="1758" y="604"/>
                    </a:lnTo>
                    <a:lnTo>
                      <a:pt x="1760" y="606"/>
                    </a:lnTo>
                    <a:lnTo>
                      <a:pt x="1762" y="608"/>
                    </a:lnTo>
                    <a:lnTo>
                      <a:pt x="1762" y="610"/>
                    </a:lnTo>
                    <a:lnTo>
                      <a:pt x="1766" y="612"/>
                    </a:lnTo>
                    <a:lnTo>
                      <a:pt x="1768" y="614"/>
                    </a:lnTo>
                    <a:lnTo>
                      <a:pt x="1768" y="614"/>
                    </a:lnTo>
                    <a:lnTo>
                      <a:pt x="1770" y="616"/>
                    </a:lnTo>
                    <a:lnTo>
                      <a:pt x="1772" y="616"/>
                    </a:lnTo>
                    <a:lnTo>
                      <a:pt x="1774" y="616"/>
                    </a:lnTo>
                    <a:lnTo>
                      <a:pt x="1774" y="618"/>
                    </a:lnTo>
                    <a:lnTo>
                      <a:pt x="1774" y="618"/>
                    </a:lnTo>
                    <a:lnTo>
                      <a:pt x="1776" y="616"/>
                    </a:lnTo>
                    <a:lnTo>
                      <a:pt x="1776" y="616"/>
                    </a:lnTo>
                    <a:lnTo>
                      <a:pt x="1778" y="616"/>
                    </a:lnTo>
                    <a:lnTo>
                      <a:pt x="1780" y="614"/>
                    </a:lnTo>
                    <a:lnTo>
                      <a:pt x="1780" y="614"/>
                    </a:lnTo>
                    <a:lnTo>
                      <a:pt x="1780" y="612"/>
                    </a:lnTo>
                    <a:lnTo>
                      <a:pt x="1782" y="610"/>
                    </a:lnTo>
                    <a:lnTo>
                      <a:pt x="1784" y="608"/>
                    </a:lnTo>
                    <a:lnTo>
                      <a:pt x="1786" y="604"/>
                    </a:lnTo>
                    <a:lnTo>
                      <a:pt x="1786" y="600"/>
                    </a:lnTo>
                    <a:lnTo>
                      <a:pt x="1788" y="596"/>
                    </a:lnTo>
                    <a:lnTo>
                      <a:pt x="1790" y="594"/>
                    </a:lnTo>
                    <a:lnTo>
                      <a:pt x="1792" y="588"/>
                    </a:lnTo>
                    <a:lnTo>
                      <a:pt x="1798" y="580"/>
                    </a:lnTo>
                    <a:lnTo>
                      <a:pt x="1800" y="578"/>
                    </a:lnTo>
                    <a:lnTo>
                      <a:pt x="1800" y="574"/>
                    </a:lnTo>
                    <a:lnTo>
                      <a:pt x="1802" y="570"/>
                    </a:lnTo>
                    <a:lnTo>
                      <a:pt x="1802" y="568"/>
                    </a:lnTo>
                    <a:lnTo>
                      <a:pt x="1804" y="566"/>
                    </a:lnTo>
                    <a:lnTo>
                      <a:pt x="1804" y="566"/>
                    </a:lnTo>
                    <a:lnTo>
                      <a:pt x="1804" y="564"/>
                    </a:lnTo>
                    <a:lnTo>
                      <a:pt x="1804" y="562"/>
                    </a:lnTo>
                    <a:lnTo>
                      <a:pt x="1802" y="558"/>
                    </a:lnTo>
                    <a:lnTo>
                      <a:pt x="1802" y="556"/>
                    </a:lnTo>
                    <a:lnTo>
                      <a:pt x="1802" y="554"/>
                    </a:lnTo>
                    <a:lnTo>
                      <a:pt x="1802" y="552"/>
                    </a:lnTo>
                    <a:lnTo>
                      <a:pt x="1802" y="552"/>
                    </a:lnTo>
                    <a:lnTo>
                      <a:pt x="1802" y="550"/>
                    </a:lnTo>
                    <a:lnTo>
                      <a:pt x="1804" y="550"/>
                    </a:lnTo>
                    <a:lnTo>
                      <a:pt x="1804" y="550"/>
                    </a:lnTo>
                    <a:lnTo>
                      <a:pt x="1804" y="550"/>
                    </a:lnTo>
                    <a:lnTo>
                      <a:pt x="1806" y="550"/>
                    </a:lnTo>
                    <a:lnTo>
                      <a:pt x="1806" y="550"/>
                    </a:lnTo>
                    <a:lnTo>
                      <a:pt x="1808" y="550"/>
                    </a:lnTo>
                    <a:lnTo>
                      <a:pt x="1810" y="550"/>
                    </a:lnTo>
                    <a:lnTo>
                      <a:pt x="1814" y="550"/>
                    </a:lnTo>
                    <a:lnTo>
                      <a:pt x="1816" y="552"/>
                    </a:lnTo>
                    <a:lnTo>
                      <a:pt x="1816" y="552"/>
                    </a:lnTo>
                    <a:lnTo>
                      <a:pt x="1818" y="550"/>
                    </a:lnTo>
                    <a:lnTo>
                      <a:pt x="1818" y="550"/>
                    </a:lnTo>
                    <a:lnTo>
                      <a:pt x="1818" y="550"/>
                    </a:lnTo>
                    <a:lnTo>
                      <a:pt x="1818" y="550"/>
                    </a:lnTo>
                    <a:lnTo>
                      <a:pt x="1820" y="548"/>
                    </a:lnTo>
                    <a:lnTo>
                      <a:pt x="1820" y="548"/>
                    </a:lnTo>
                    <a:lnTo>
                      <a:pt x="1820" y="546"/>
                    </a:lnTo>
                    <a:lnTo>
                      <a:pt x="1820" y="544"/>
                    </a:lnTo>
                    <a:lnTo>
                      <a:pt x="1818" y="544"/>
                    </a:lnTo>
                    <a:lnTo>
                      <a:pt x="1818" y="540"/>
                    </a:lnTo>
                    <a:lnTo>
                      <a:pt x="1816" y="534"/>
                    </a:lnTo>
                    <a:lnTo>
                      <a:pt x="1816" y="532"/>
                    </a:lnTo>
                    <a:lnTo>
                      <a:pt x="1816" y="532"/>
                    </a:lnTo>
                    <a:lnTo>
                      <a:pt x="1816" y="530"/>
                    </a:lnTo>
                    <a:lnTo>
                      <a:pt x="1816" y="526"/>
                    </a:lnTo>
                    <a:lnTo>
                      <a:pt x="1816" y="524"/>
                    </a:lnTo>
                    <a:lnTo>
                      <a:pt x="1816" y="522"/>
                    </a:lnTo>
                    <a:lnTo>
                      <a:pt x="1816" y="520"/>
                    </a:lnTo>
                    <a:lnTo>
                      <a:pt x="1816" y="518"/>
                    </a:lnTo>
                    <a:lnTo>
                      <a:pt x="1818" y="516"/>
                    </a:lnTo>
                    <a:lnTo>
                      <a:pt x="1818" y="516"/>
                    </a:lnTo>
                    <a:lnTo>
                      <a:pt x="1818" y="516"/>
                    </a:lnTo>
                    <a:lnTo>
                      <a:pt x="1818" y="514"/>
                    </a:lnTo>
                    <a:lnTo>
                      <a:pt x="1820" y="514"/>
                    </a:lnTo>
                    <a:lnTo>
                      <a:pt x="1820" y="514"/>
                    </a:lnTo>
                    <a:lnTo>
                      <a:pt x="1822" y="514"/>
                    </a:lnTo>
                    <a:lnTo>
                      <a:pt x="1824" y="514"/>
                    </a:lnTo>
                    <a:lnTo>
                      <a:pt x="1824" y="514"/>
                    </a:lnTo>
                    <a:lnTo>
                      <a:pt x="1826" y="514"/>
                    </a:lnTo>
                    <a:lnTo>
                      <a:pt x="1826" y="514"/>
                    </a:lnTo>
                    <a:lnTo>
                      <a:pt x="1828" y="514"/>
                    </a:lnTo>
                    <a:lnTo>
                      <a:pt x="1828" y="514"/>
                    </a:lnTo>
                    <a:lnTo>
                      <a:pt x="1828" y="514"/>
                    </a:lnTo>
                    <a:lnTo>
                      <a:pt x="1828" y="512"/>
                    </a:lnTo>
                    <a:lnTo>
                      <a:pt x="1828" y="512"/>
                    </a:lnTo>
                    <a:lnTo>
                      <a:pt x="1828" y="512"/>
                    </a:lnTo>
                    <a:lnTo>
                      <a:pt x="1826" y="510"/>
                    </a:lnTo>
                    <a:lnTo>
                      <a:pt x="1826" y="508"/>
                    </a:lnTo>
                    <a:lnTo>
                      <a:pt x="1822" y="504"/>
                    </a:lnTo>
                    <a:lnTo>
                      <a:pt x="1820" y="502"/>
                    </a:lnTo>
                    <a:lnTo>
                      <a:pt x="1818" y="498"/>
                    </a:lnTo>
                    <a:lnTo>
                      <a:pt x="1816" y="496"/>
                    </a:lnTo>
                    <a:lnTo>
                      <a:pt x="1814" y="492"/>
                    </a:lnTo>
                    <a:lnTo>
                      <a:pt x="1812" y="490"/>
                    </a:lnTo>
                    <a:lnTo>
                      <a:pt x="1808" y="488"/>
                    </a:lnTo>
                    <a:lnTo>
                      <a:pt x="1806" y="486"/>
                    </a:lnTo>
                    <a:lnTo>
                      <a:pt x="1806" y="486"/>
                    </a:lnTo>
                    <a:lnTo>
                      <a:pt x="1804" y="484"/>
                    </a:lnTo>
                    <a:lnTo>
                      <a:pt x="1804" y="484"/>
                    </a:lnTo>
                    <a:lnTo>
                      <a:pt x="1802" y="484"/>
                    </a:lnTo>
                    <a:lnTo>
                      <a:pt x="1800" y="484"/>
                    </a:lnTo>
                    <a:lnTo>
                      <a:pt x="1800" y="482"/>
                    </a:lnTo>
                    <a:lnTo>
                      <a:pt x="1798" y="482"/>
                    </a:lnTo>
                    <a:lnTo>
                      <a:pt x="1798" y="482"/>
                    </a:lnTo>
                    <a:lnTo>
                      <a:pt x="1796" y="480"/>
                    </a:lnTo>
                    <a:lnTo>
                      <a:pt x="1796" y="480"/>
                    </a:lnTo>
                    <a:lnTo>
                      <a:pt x="1796" y="480"/>
                    </a:lnTo>
                    <a:lnTo>
                      <a:pt x="1796" y="478"/>
                    </a:lnTo>
                    <a:lnTo>
                      <a:pt x="1796" y="478"/>
                    </a:lnTo>
                    <a:lnTo>
                      <a:pt x="1796" y="474"/>
                    </a:lnTo>
                    <a:lnTo>
                      <a:pt x="1796" y="472"/>
                    </a:lnTo>
                    <a:lnTo>
                      <a:pt x="1796" y="468"/>
                    </a:lnTo>
                    <a:lnTo>
                      <a:pt x="1798" y="466"/>
                    </a:lnTo>
                    <a:lnTo>
                      <a:pt x="1798" y="462"/>
                    </a:lnTo>
                    <a:lnTo>
                      <a:pt x="1798" y="460"/>
                    </a:lnTo>
                    <a:lnTo>
                      <a:pt x="1800" y="456"/>
                    </a:lnTo>
                    <a:lnTo>
                      <a:pt x="1800" y="454"/>
                    </a:lnTo>
                    <a:lnTo>
                      <a:pt x="1802" y="452"/>
                    </a:lnTo>
                    <a:lnTo>
                      <a:pt x="1804" y="448"/>
                    </a:lnTo>
                    <a:lnTo>
                      <a:pt x="1808" y="446"/>
                    </a:lnTo>
                    <a:lnTo>
                      <a:pt x="1808" y="444"/>
                    </a:lnTo>
                    <a:lnTo>
                      <a:pt x="1810" y="444"/>
                    </a:lnTo>
                    <a:lnTo>
                      <a:pt x="1810" y="442"/>
                    </a:lnTo>
                    <a:lnTo>
                      <a:pt x="1812" y="442"/>
                    </a:lnTo>
                    <a:lnTo>
                      <a:pt x="1814" y="440"/>
                    </a:lnTo>
                    <a:lnTo>
                      <a:pt x="1818" y="438"/>
                    </a:lnTo>
                    <a:lnTo>
                      <a:pt x="1822" y="438"/>
                    </a:lnTo>
                    <a:lnTo>
                      <a:pt x="1828" y="434"/>
                    </a:lnTo>
                    <a:lnTo>
                      <a:pt x="1832" y="434"/>
                    </a:lnTo>
                    <a:lnTo>
                      <a:pt x="1834" y="432"/>
                    </a:lnTo>
                    <a:lnTo>
                      <a:pt x="1834" y="432"/>
                    </a:lnTo>
                    <a:lnTo>
                      <a:pt x="1836" y="430"/>
                    </a:lnTo>
                    <a:lnTo>
                      <a:pt x="1840" y="428"/>
                    </a:lnTo>
                    <a:lnTo>
                      <a:pt x="1844" y="424"/>
                    </a:lnTo>
                    <a:lnTo>
                      <a:pt x="1844" y="424"/>
                    </a:lnTo>
                    <a:lnTo>
                      <a:pt x="1846" y="424"/>
                    </a:lnTo>
                    <a:lnTo>
                      <a:pt x="1848" y="422"/>
                    </a:lnTo>
                    <a:lnTo>
                      <a:pt x="1850" y="422"/>
                    </a:lnTo>
                    <a:lnTo>
                      <a:pt x="1854" y="420"/>
                    </a:lnTo>
                    <a:lnTo>
                      <a:pt x="1858" y="420"/>
                    </a:lnTo>
                    <a:lnTo>
                      <a:pt x="1860" y="420"/>
                    </a:lnTo>
                    <a:lnTo>
                      <a:pt x="1862" y="420"/>
                    </a:lnTo>
                    <a:lnTo>
                      <a:pt x="1864" y="420"/>
                    </a:lnTo>
                    <a:lnTo>
                      <a:pt x="1864" y="420"/>
                    </a:lnTo>
                    <a:lnTo>
                      <a:pt x="1866" y="420"/>
                    </a:lnTo>
                    <a:lnTo>
                      <a:pt x="1870" y="420"/>
                    </a:lnTo>
                    <a:lnTo>
                      <a:pt x="1872" y="422"/>
                    </a:lnTo>
                    <a:lnTo>
                      <a:pt x="1874" y="422"/>
                    </a:lnTo>
                    <a:lnTo>
                      <a:pt x="1874" y="424"/>
                    </a:lnTo>
                    <a:lnTo>
                      <a:pt x="1876" y="424"/>
                    </a:lnTo>
                    <a:lnTo>
                      <a:pt x="1878" y="426"/>
                    </a:lnTo>
                    <a:lnTo>
                      <a:pt x="1878" y="428"/>
                    </a:lnTo>
                    <a:lnTo>
                      <a:pt x="1880" y="430"/>
                    </a:lnTo>
                    <a:lnTo>
                      <a:pt x="1882" y="432"/>
                    </a:lnTo>
                    <a:lnTo>
                      <a:pt x="1884" y="434"/>
                    </a:lnTo>
                    <a:lnTo>
                      <a:pt x="1886" y="436"/>
                    </a:lnTo>
                    <a:lnTo>
                      <a:pt x="1886" y="438"/>
                    </a:lnTo>
                    <a:lnTo>
                      <a:pt x="1888" y="440"/>
                    </a:lnTo>
                    <a:lnTo>
                      <a:pt x="1890" y="440"/>
                    </a:lnTo>
                    <a:lnTo>
                      <a:pt x="1890" y="442"/>
                    </a:lnTo>
                    <a:lnTo>
                      <a:pt x="1892" y="442"/>
                    </a:lnTo>
                    <a:lnTo>
                      <a:pt x="1892" y="442"/>
                    </a:lnTo>
                    <a:lnTo>
                      <a:pt x="1892" y="442"/>
                    </a:lnTo>
                    <a:lnTo>
                      <a:pt x="1894" y="442"/>
                    </a:lnTo>
                    <a:lnTo>
                      <a:pt x="1894" y="442"/>
                    </a:lnTo>
                    <a:lnTo>
                      <a:pt x="1894" y="440"/>
                    </a:lnTo>
                    <a:lnTo>
                      <a:pt x="1896" y="440"/>
                    </a:lnTo>
                    <a:lnTo>
                      <a:pt x="1896" y="438"/>
                    </a:lnTo>
                    <a:lnTo>
                      <a:pt x="1896" y="436"/>
                    </a:lnTo>
                    <a:lnTo>
                      <a:pt x="1898" y="434"/>
                    </a:lnTo>
                    <a:lnTo>
                      <a:pt x="1898" y="430"/>
                    </a:lnTo>
                    <a:lnTo>
                      <a:pt x="1898" y="426"/>
                    </a:lnTo>
                    <a:lnTo>
                      <a:pt x="1900" y="422"/>
                    </a:lnTo>
                    <a:lnTo>
                      <a:pt x="1900" y="420"/>
                    </a:lnTo>
                    <a:lnTo>
                      <a:pt x="1900" y="418"/>
                    </a:lnTo>
                    <a:lnTo>
                      <a:pt x="1900" y="416"/>
                    </a:lnTo>
                    <a:lnTo>
                      <a:pt x="1902" y="416"/>
                    </a:lnTo>
                    <a:lnTo>
                      <a:pt x="1902" y="414"/>
                    </a:lnTo>
                    <a:lnTo>
                      <a:pt x="1904" y="414"/>
                    </a:lnTo>
                    <a:lnTo>
                      <a:pt x="1906" y="412"/>
                    </a:lnTo>
                    <a:lnTo>
                      <a:pt x="1908" y="410"/>
                    </a:lnTo>
                    <a:lnTo>
                      <a:pt x="1908" y="408"/>
                    </a:lnTo>
                    <a:lnTo>
                      <a:pt x="1910" y="408"/>
                    </a:lnTo>
                    <a:lnTo>
                      <a:pt x="1910" y="408"/>
                    </a:lnTo>
                    <a:lnTo>
                      <a:pt x="1910" y="406"/>
                    </a:lnTo>
                    <a:lnTo>
                      <a:pt x="1910" y="404"/>
                    </a:lnTo>
                    <a:lnTo>
                      <a:pt x="1910" y="400"/>
                    </a:lnTo>
                    <a:lnTo>
                      <a:pt x="1910" y="398"/>
                    </a:lnTo>
                    <a:lnTo>
                      <a:pt x="1910" y="396"/>
                    </a:lnTo>
                    <a:lnTo>
                      <a:pt x="1910" y="396"/>
                    </a:lnTo>
                    <a:lnTo>
                      <a:pt x="1910" y="396"/>
                    </a:lnTo>
                    <a:lnTo>
                      <a:pt x="1912" y="394"/>
                    </a:lnTo>
                    <a:lnTo>
                      <a:pt x="1912" y="394"/>
                    </a:lnTo>
                    <a:lnTo>
                      <a:pt x="1912" y="394"/>
                    </a:lnTo>
                    <a:lnTo>
                      <a:pt x="1914" y="394"/>
                    </a:lnTo>
                    <a:lnTo>
                      <a:pt x="1914" y="394"/>
                    </a:lnTo>
                    <a:lnTo>
                      <a:pt x="1916" y="394"/>
                    </a:lnTo>
                    <a:lnTo>
                      <a:pt x="1918" y="394"/>
                    </a:lnTo>
                    <a:lnTo>
                      <a:pt x="1922" y="394"/>
                    </a:lnTo>
                    <a:lnTo>
                      <a:pt x="1924" y="394"/>
                    </a:lnTo>
                    <a:lnTo>
                      <a:pt x="1928" y="396"/>
                    </a:lnTo>
                    <a:lnTo>
                      <a:pt x="1928" y="396"/>
                    </a:lnTo>
                    <a:lnTo>
                      <a:pt x="1930" y="396"/>
                    </a:lnTo>
                    <a:lnTo>
                      <a:pt x="1930" y="396"/>
                    </a:lnTo>
                    <a:lnTo>
                      <a:pt x="1932" y="396"/>
                    </a:lnTo>
                    <a:lnTo>
                      <a:pt x="1932" y="396"/>
                    </a:lnTo>
                    <a:lnTo>
                      <a:pt x="1934" y="394"/>
                    </a:lnTo>
                    <a:lnTo>
                      <a:pt x="1936" y="392"/>
                    </a:lnTo>
                    <a:lnTo>
                      <a:pt x="1938" y="390"/>
                    </a:lnTo>
                    <a:lnTo>
                      <a:pt x="1942" y="388"/>
                    </a:lnTo>
                    <a:lnTo>
                      <a:pt x="1944" y="386"/>
                    </a:lnTo>
                    <a:lnTo>
                      <a:pt x="1946" y="384"/>
                    </a:lnTo>
                    <a:lnTo>
                      <a:pt x="1948" y="382"/>
                    </a:lnTo>
                    <a:lnTo>
                      <a:pt x="1950" y="382"/>
                    </a:lnTo>
                    <a:lnTo>
                      <a:pt x="1950" y="382"/>
                    </a:lnTo>
                    <a:lnTo>
                      <a:pt x="1954" y="380"/>
                    </a:lnTo>
                    <a:lnTo>
                      <a:pt x="1956" y="380"/>
                    </a:lnTo>
                    <a:lnTo>
                      <a:pt x="1960" y="380"/>
                    </a:lnTo>
                    <a:lnTo>
                      <a:pt x="1960" y="380"/>
                    </a:lnTo>
                    <a:lnTo>
                      <a:pt x="1962" y="380"/>
                    </a:lnTo>
                    <a:lnTo>
                      <a:pt x="1962" y="380"/>
                    </a:lnTo>
                    <a:lnTo>
                      <a:pt x="1964" y="380"/>
                    </a:lnTo>
                    <a:lnTo>
                      <a:pt x="1966" y="380"/>
                    </a:lnTo>
                    <a:lnTo>
                      <a:pt x="1968" y="380"/>
                    </a:lnTo>
                    <a:lnTo>
                      <a:pt x="1970" y="382"/>
                    </a:lnTo>
                    <a:lnTo>
                      <a:pt x="1972" y="384"/>
                    </a:lnTo>
                    <a:lnTo>
                      <a:pt x="1976" y="386"/>
                    </a:lnTo>
                    <a:lnTo>
                      <a:pt x="1978" y="386"/>
                    </a:lnTo>
                    <a:lnTo>
                      <a:pt x="1978" y="388"/>
                    </a:lnTo>
                    <a:lnTo>
                      <a:pt x="1980" y="388"/>
                    </a:lnTo>
                    <a:lnTo>
                      <a:pt x="1982" y="388"/>
                    </a:lnTo>
                    <a:lnTo>
                      <a:pt x="1982" y="388"/>
                    </a:lnTo>
                    <a:lnTo>
                      <a:pt x="1984" y="388"/>
                    </a:lnTo>
                    <a:lnTo>
                      <a:pt x="1984" y="388"/>
                    </a:lnTo>
                    <a:lnTo>
                      <a:pt x="1984" y="388"/>
                    </a:lnTo>
                    <a:lnTo>
                      <a:pt x="1986" y="386"/>
                    </a:lnTo>
                    <a:lnTo>
                      <a:pt x="1986" y="384"/>
                    </a:lnTo>
                    <a:lnTo>
                      <a:pt x="1988" y="382"/>
                    </a:lnTo>
                    <a:lnTo>
                      <a:pt x="1988" y="382"/>
                    </a:lnTo>
                    <a:lnTo>
                      <a:pt x="1988" y="380"/>
                    </a:lnTo>
                    <a:lnTo>
                      <a:pt x="1988" y="378"/>
                    </a:lnTo>
                    <a:lnTo>
                      <a:pt x="1988" y="376"/>
                    </a:lnTo>
                    <a:lnTo>
                      <a:pt x="1988" y="376"/>
                    </a:lnTo>
                    <a:lnTo>
                      <a:pt x="1988" y="374"/>
                    </a:lnTo>
                    <a:lnTo>
                      <a:pt x="1986" y="372"/>
                    </a:lnTo>
                    <a:lnTo>
                      <a:pt x="1986" y="370"/>
                    </a:lnTo>
                    <a:lnTo>
                      <a:pt x="1984" y="368"/>
                    </a:lnTo>
                    <a:lnTo>
                      <a:pt x="1984" y="368"/>
                    </a:lnTo>
                    <a:lnTo>
                      <a:pt x="1980" y="364"/>
                    </a:lnTo>
                    <a:lnTo>
                      <a:pt x="1978" y="360"/>
                    </a:lnTo>
                    <a:lnTo>
                      <a:pt x="1974" y="358"/>
                    </a:lnTo>
                    <a:lnTo>
                      <a:pt x="1970" y="352"/>
                    </a:lnTo>
                    <a:lnTo>
                      <a:pt x="1968" y="352"/>
                    </a:lnTo>
                    <a:lnTo>
                      <a:pt x="1966" y="350"/>
                    </a:lnTo>
                    <a:lnTo>
                      <a:pt x="1964" y="350"/>
                    </a:lnTo>
                    <a:lnTo>
                      <a:pt x="1962" y="348"/>
                    </a:lnTo>
                    <a:lnTo>
                      <a:pt x="1954" y="344"/>
                    </a:lnTo>
                    <a:lnTo>
                      <a:pt x="1950" y="342"/>
                    </a:lnTo>
                    <a:lnTo>
                      <a:pt x="1948" y="342"/>
                    </a:lnTo>
                    <a:lnTo>
                      <a:pt x="1946" y="340"/>
                    </a:lnTo>
                    <a:lnTo>
                      <a:pt x="1946" y="340"/>
                    </a:lnTo>
                    <a:lnTo>
                      <a:pt x="1944" y="338"/>
                    </a:lnTo>
                    <a:lnTo>
                      <a:pt x="1944" y="338"/>
                    </a:lnTo>
                    <a:lnTo>
                      <a:pt x="1944" y="336"/>
                    </a:lnTo>
                    <a:lnTo>
                      <a:pt x="1944" y="336"/>
                    </a:lnTo>
                    <a:lnTo>
                      <a:pt x="1944" y="336"/>
                    </a:lnTo>
                    <a:lnTo>
                      <a:pt x="1944" y="334"/>
                    </a:lnTo>
                    <a:lnTo>
                      <a:pt x="1944" y="334"/>
                    </a:lnTo>
                    <a:lnTo>
                      <a:pt x="1944" y="334"/>
                    </a:lnTo>
                    <a:lnTo>
                      <a:pt x="1944" y="332"/>
                    </a:lnTo>
                    <a:lnTo>
                      <a:pt x="1946" y="332"/>
                    </a:lnTo>
                    <a:lnTo>
                      <a:pt x="1946" y="330"/>
                    </a:lnTo>
                    <a:lnTo>
                      <a:pt x="1950" y="328"/>
                    </a:lnTo>
                    <a:lnTo>
                      <a:pt x="1954" y="326"/>
                    </a:lnTo>
                    <a:lnTo>
                      <a:pt x="1956" y="324"/>
                    </a:lnTo>
                    <a:lnTo>
                      <a:pt x="1958" y="324"/>
                    </a:lnTo>
                    <a:lnTo>
                      <a:pt x="1962" y="322"/>
                    </a:lnTo>
                    <a:lnTo>
                      <a:pt x="1966" y="320"/>
                    </a:lnTo>
                    <a:lnTo>
                      <a:pt x="1968" y="318"/>
                    </a:lnTo>
                    <a:lnTo>
                      <a:pt x="1968" y="318"/>
                    </a:lnTo>
                    <a:lnTo>
                      <a:pt x="1968" y="318"/>
                    </a:lnTo>
                    <a:lnTo>
                      <a:pt x="1970" y="316"/>
                    </a:lnTo>
                    <a:lnTo>
                      <a:pt x="1970" y="316"/>
                    </a:lnTo>
                    <a:lnTo>
                      <a:pt x="1970" y="314"/>
                    </a:lnTo>
                    <a:lnTo>
                      <a:pt x="1970" y="314"/>
                    </a:lnTo>
                    <a:lnTo>
                      <a:pt x="1970" y="314"/>
                    </a:lnTo>
                    <a:lnTo>
                      <a:pt x="1970" y="312"/>
                    </a:lnTo>
                    <a:lnTo>
                      <a:pt x="1970" y="312"/>
                    </a:lnTo>
                    <a:lnTo>
                      <a:pt x="1968" y="310"/>
                    </a:lnTo>
                    <a:lnTo>
                      <a:pt x="1966" y="308"/>
                    </a:lnTo>
                    <a:lnTo>
                      <a:pt x="1964" y="306"/>
                    </a:lnTo>
                    <a:lnTo>
                      <a:pt x="1964" y="304"/>
                    </a:lnTo>
                    <a:lnTo>
                      <a:pt x="1964" y="304"/>
                    </a:lnTo>
                    <a:lnTo>
                      <a:pt x="1964" y="300"/>
                    </a:lnTo>
                    <a:lnTo>
                      <a:pt x="1964" y="298"/>
                    </a:lnTo>
                    <a:lnTo>
                      <a:pt x="1962" y="296"/>
                    </a:lnTo>
                    <a:lnTo>
                      <a:pt x="1962" y="294"/>
                    </a:lnTo>
                    <a:lnTo>
                      <a:pt x="1964" y="292"/>
                    </a:lnTo>
                    <a:lnTo>
                      <a:pt x="1964" y="290"/>
                    </a:lnTo>
                    <a:lnTo>
                      <a:pt x="1964" y="290"/>
                    </a:lnTo>
                    <a:lnTo>
                      <a:pt x="1964" y="288"/>
                    </a:lnTo>
                    <a:lnTo>
                      <a:pt x="1964" y="288"/>
                    </a:lnTo>
                    <a:lnTo>
                      <a:pt x="1966" y="288"/>
                    </a:lnTo>
                    <a:lnTo>
                      <a:pt x="1968" y="286"/>
                    </a:lnTo>
                    <a:lnTo>
                      <a:pt x="1970" y="284"/>
                    </a:lnTo>
                    <a:lnTo>
                      <a:pt x="1972" y="284"/>
                    </a:lnTo>
                    <a:lnTo>
                      <a:pt x="1974" y="284"/>
                    </a:lnTo>
                    <a:lnTo>
                      <a:pt x="1978" y="282"/>
                    </a:lnTo>
                    <a:lnTo>
                      <a:pt x="1978" y="282"/>
                    </a:lnTo>
                    <a:lnTo>
                      <a:pt x="1978" y="282"/>
                    </a:lnTo>
                    <a:lnTo>
                      <a:pt x="1980" y="284"/>
                    </a:lnTo>
                    <a:lnTo>
                      <a:pt x="1980" y="284"/>
                    </a:lnTo>
                    <a:lnTo>
                      <a:pt x="1982" y="284"/>
                    </a:lnTo>
                    <a:lnTo>
                      <a:pt x="1982" y="284"/>
                    </a:lnTo>
                    <a:lnTo>
                      <a:pt x="1982" y="286"/>
                    </a:lnTo>
                    <a:lnTo>
                      <a:pt x="1984" y="286"/>
                    </a:lnTo>
                    <a:lnTo>
                      <a:pt x="1984" y="288"/>
                    </a:lnTo>
                    <a:lnTo>
                      <a:pt x="1984" y="292"/>
                    </a:lnTo>
                    <a:lnTo>
                      <a:pt x="1986" y="296"/>
                    </a:lnTo>
                    <a:lnTo>
                      <a:pt x="1986" y="300"/>
                    </a:lnTo>
                    <a:lnTo>
                      <a:pt x="1988" y="300"/>
                    </a:lnTo>
                    <a:lnTo>
                      <a:pt x="1988" y="302"/>
                    </a:lnTo>
                    <a:lnTo>
                      <a:pt x="1988" y="304"/>
                    </a:lnTo>
                    <a:lnTo>
                      <a:pt x="1990" y="308"/>
                    </a:lnTo>
                    <a:lnTo>
                      <a:pt x="1990" y="310"/>
                    </a:lnTo>
                    <a:lnTo>
                      <a:pt x="1990" y="312"/>
                    </a:lnTo>
                    <a:lnTo>
                      <a:pt x="1992" y="314"/>
                    </a:lnTo>
                    <a:lnTo>
                      <a:pt x="1992" y="314"/>
                    </a:lnTo>
                    <a:lnTo>
                      <a:pt x="1992" y="314"/>
                    </a:lnTo>
                    <a:lnTo>
                      <a:pt x="1994" y="316"/>
                    </a:lnTo>
                    <a:lnTo>
                      <a:pt x="1994" y="316"/>
                    </a:lnTo>
                    <a:lnTo>
                      <a:pt x="1996" y="316"/>
                    </a:lnTo>
                    <a:lnTo>
                      <a:pt x="1998" y="316"/>
                    </a:lnTo>
                    <a:lnTo>
                      <a:pt x="2000" y="316"/>
                    </a:lnTo>
                    <a:lnTo>
                      <a:pt x="2002" y="316"/>
                    </a:lnTo>
                    <a:lnTo>
                      <a:pt x="2006" y="316"/>
                    </a:lnTo>
                    <a:lnTo>
                      <a:pt x="2010" y="316"/>
                    </a:lnTo>
                    <a:lnTo>
                      <a:pt x="2014" y="316"/>
                    </a:lnTo>
                    <a:lnTo>
                      <a:pt x="2016" y="316"/>
                    </a:lnTo>
                    <a:lnTo>
                      <a:pt x="2018" y="316"/>
                    </a:lnTo>
                    <a:lnTo>
                      <a:pt x="2018" y="316"/>
                    </a:lnTo>
                    <a:lnTo>
                      <a:pt x="2020" y="316"/>
                    </a:lnTo>
                    <a:lnTo>
                      <a:pt x="2020" y="316"/>
                    </a:lnTo>
                    <a:lnTo>
                      <a:pt x="2022" y="318"/>
                    </a:lnTo>
                    <a:lnTo>
                      <a:pt x="2022" y="318"/>
                    </a:lnTo>
                    <a:lnTo>
                      <a:pt x="2024" y="320"/>
                    </a:lnTo>
                    <a:lnTo>
                      <a:pt x="2026" y="322"/>
                    </a:lnTo>
                    <a:lnTo>
                      <a:pt x="2026" y="324"/>
                    </a:lnTo>
                    <a:lnTo>
                      <a:pt x="2028" y="326"/>
                    </a:lnTo>
                    <a:lnTo>
                      <a:pt x="2030" y="326"/>
                    </a:lnTo>
                    <a:lnTo>
                      <a:pt x="2030" y="328"/>
                    </a:lnTo>
                    <a:lnTo>
                      <a:pt x="2032" y="328"/>
                    </a:lnTo>
                    <a:lnTo>
                      <a:pt x="2032" y="328"/>
                    </a:lnTo>
                    <a:lnTo>
                      <a:pt x="2034" y="328"/>
                    </a:lnTo>
                    <a:lnTo>
                      <a:pt x="2036" y="328"/>
                    </a:lnTo>
                    <a:lnTo>
                      <a:pt x="2038" y="328"/>
                    </a:lnTo>
                    <a:lnTo>
                      <a:pt x="2040" y="328"/>
                    </a:lnTo>
                    <a:lnTo>
                      <a:pt x="2044" y="328"/>
                    </a:lnTo>
                    <a:lnTo>
                      <a:pt x="2046" y="328"/>
                    </a:lnTo>
                    <a:lnTo>
                      <a:pt x="2048" y="328"/>
                    </a:lnTo>
                    <a:lnTo>
                      <a:pt x="2048" y="328"/>
                    </a:lnTo>
                    <a:lnTo>
                      <a:pt x="2050" y="328"/>
                    </a:lnTo>
                    <a:lnTo>
                      <a:pt x="2050" y="328"/>
                    </a:lnTo>
                    <a:lnTo>
                      <a:pt x="2050" y="330"/>
                    </a:lnTo>
                    <a:lnTo>
                      <a:pt x="2052" y="330"/>
                    </a:lnTo>
                    <a:lnTo>
                      <a:pt x="2052" y="332"/>
                    </a:lnTo>
                    <a:lnTo>
                      <a:pt x="2054" y="334"/>
                    </a:lnTo>
                    <a:lnTo>
                      <a:pt x="2056" y="336"/>
                    </a:lnTo>
                    <a:lnTo>
                      <a:pt x="2056" y="338"/>
                    </a:lnTo>
                    <a:lnTo>
                      <a:pt x="2058" y="340"/>
                    </a:lnTo>
                    <a:lnTo>
                      <a:pt x="2058" y="342"/>
                    </a:lnTo>
                    <a:lnTo>
                      <a:pt x="2060" y="344"/>
                    </a:lnTo>
                    <a:lnTo>
                      <a:pt x="2060" y="344"/>
                    </a:lnTo>
                    <a:lnTo>
                      <a:pt x="2062" y="346"/>
                    </a:lnTo>
                    <a:lnTo>
                      <a:pt x="2064" y="346"/>
                    </a:lnTo>
                    <a:lnTo>
                      <a:pt x="2064" y="346"/>
                    </a:lnTo>
                    <a:lnTo>
                      <a:pt x="2066" y="346"/>
                    </a:lnTo>
                    <a:lnTo>
                      <a:pt x="2068" y="348"/>
                    </a:lnTo>
                    <a:lnTo>
                      <a:pt x="2070" y="348"/>
                    </a:lnTo>
                    <a:lnTo>
                      <a:pt x="2070" y="348"/>
                    </a:lnTo>
                    <a:lnTo>
                      <a:pt x="2072" y="348"/>
                    </a:lnTo>
                    <a:lnTo>
                      <a:pt x="2072" y="346"/>
                    </a:lnTo>
                    <a:lnTo>
                      <a:pt x="2074" y="346"/>
                    </a:lnTo>
                    <a:lnTo>
                      <a:pt x="2076" y="344"/>
                    </a:lnTo>
                    <a:lnTo>
                      <a:pt x="2078" y="342"/>
                    </a:lnTo>
                    <a:lnTo>
                      <a:pt x="2080" y="340"/>
                    </a:lnTo>
                    <a:lnTo>
                      <a:pt x="2082" y="338"/>
                    </a:lnTo>
                    <a:lnTo>
                      <a:pt x="2082" y="338"/>
                    </a:lnTo>
                    <a:lnTo>
                      <a:pt x="2082" y="336"/>
                    </a:lnTo>
                    <a:lnTo>
                      <a:pt x="2082" y="336"/>
                    </a:lnTo>
                    <a:lnTo>
                      <a:pt x="2082" y="336"/>
                    </a:lnTo>
                    <a:lnTo>
                      <a:pt x="2082" y="334"/>
                    </a:lnTo>
                    <a:lnTo>
                      <a:pt x="2082" y="334"/>
                    </a:lnTo>
                    <a:lnTo>
                      <a:pt x="2082" y="332"/>
                    </a:lnTo>
                    <a:lnTo>
                      <a:pt x="2080" y="332"/>
                    </a:lnTo>
                    <a:lnTo>
                      <a:pt x="2080" y="330"/>
                    </a:lnTo>
                    <a:lnTo>
                      <a:pt x="2076" y="328"/>
                    </a:lnTo>
                    <a:lnTo>
                      <a:pt x="2074" y="326"/>
                    </a:lnTo>
                    <a:lnTo>
                      <a:pt x="2072" y="324"/>
                    </a:lnTo>
                    <a:lnTo>
                      <a:pt x="2072" y="322"/>
                    </a:lnTo>
                    <a:lnTo>
                      <a:pt x="2072" y="322"/>
                    </a:lnTo>
                    <a:lnTo>
                      <a:pt x="2070" y="320"/>
                    </a:lnTo>
                    <a:lnTo>
                      <a:pt x="2070" y="320"/>
                    </a:lnTo>
                    <a:lnTo>
                      <a:pt x="2070" y="318"/>
                    </a:lnTo>
                    <a:lnTo>
                      <a:pt x="2070" y="318"/>
                    </a:lnTo>
                    <a:lnTo>
                      <a:pt x="2070" y="316"/>
                    </a:lnTo>
                    <a:lnTo>
                      <a:pt x="2070" y="314"/>
                    </a:lnTo>
                    <a:lnTo>
                      <a:pt x="2072" y="312"/>
                    </a:lnTo>
                    <a:lnTo>
                      <a:pt x="2072" y="310"/>
                    </a:lnTo>
                    <a:lnTo>
                      <a:pt x="2074" y="310"/>
                    </a:lnTo>
                    <a:lnTo>
                      <a:pt x="2074" y="308"/>
                    </a:lnTo>
                    <a:lnTo>
                      <a:pt x="2074" y="308"/>
                    </a:lnTo>
                    <a:lnTo>
                      <a:pt x="2074" y="308"/>
                    </a:lnTo>
                    <a:lnTo>
                      <a:pt x="2076" y="308"/>
                    </a:lnTo>
                    <a:lnTo>
                      <a:pt x="2078" y="308"/>
                    </a:lnTo>
                    <a:lnTo>
                      <a:pt x="2080" y="308"/>
                    </a:lnTo>
                    <a:lnTo>
                      <a:pt x="2082" y="308"/>
                    </a:lnTo>
                    <a:lnTo>
                      <a:pt x="2084" y="308"/>
                    </a:lnTo>
                    <a:lnTo>
                      <a:pt x="2086" y="308"/>
                    </a:lnTo>
                    <a:lnTo>
                      <a:pt x="2088" y="308"/>
                    </a:lnTo>
                    <a:lnTo>
                      <a:pt x="2090" y="306"/>
                    </a:lnTo>
                    <a:lnTo>
                      <a:pt x="2092" y="306"/>
                    </a:lnTo>
                    <a:lnTo>
                      <a:pt x="2094" y="306"/>
                    </a:lnTo>
                    <a:lnTo>
                      <a:pt x="2094" y="304"/>
                    </a:lnTo>
                    <a:lnTo>
                      <a:pt x="2096" y="304"/>
                    </a:lnTo>
                    <a:lnTo>
                      <a:pt x="2096" y="302"/>
                    </a:lnTo>
                    <a:lnTo>
                      <a:pt x="2098" y="300"/>
                    </a:lnTo>
                    <a:lnTo>
                      <a:pt x="2098" y="296"/>
                    </a:lnTo>
                    <a:lnTo>
                      <a:pt x="2100" y="294"/>
                    </a:lnTo>
                    <a:lnTo>
                      <a:pt x="2100" y="292"/>
                    </a:lnTo>
                    <a:lnTo>
                      <a:pt x="2100" y="290"/>
                    </a:lnTo>
                    <a:lnTo>
                      <a:pt x="2100" y="288"/>
                    </a:lnTo>
                    <a:lnTo>
                      <a:pt x="2100" y="288"/>
                    </a:lnTo>
                    <a:lnTo>
                      <a:pt x="2100" y="286"/>
                    </a:lnTo>
                    <a:lnTo>
                      <a:pt x="2100" y="286"/>
                    </a:lnTo>
                    <a:lnTo>
                      <a:pt x="2100" y="284"/>
                    </a:lnTo>
                    <a:lnTo>
                      <a:pt x="2098" y="284"/>
                    </a:lnTo>
                    <a:lnTo>
                      <a:pt x="2098" y="284"/>
                    </a:lnTo>
                    <a:lnTo>
                      <a:pt x="2096" y="284"/>
                    </a:lnTo>
                    <a:lnTo>
                      <a:pt x="2096" y="282"/>
                    </a:lnTo>
                    <a:lnTo>
                      <a:pt x="2094" y="282"/>
                    </a:lnTo>
                    <a:lnTo>
                      <a:pt x="2092" y="282"/>
                    </a:lnTo>
                    <a:lnTo>
                      <a:pt x="2090" y="282"/>
                    </a:lnTo>
                    <a:lnTo>
                      <a:pt x="2086" y="284"/>
                    </a:lnTo>
                    <a:lnTo>
                      <a:pt x="2082" y="284"/>
                    </a:lnTo>
                    <a:lnTo>
                      <a:pt x="2078" y="284"/>
                    </a:lnTo>
                    <a:lnTo>
                      <a:pt x="2076" y="284"/>
                    </a:lnTo>
                    <a:lnTo>
                      <a:pt x="2074" y="284"/>
                    </a:lnTo>
                    <a:lnTo>
                      <a:pt x="2072" y="284"/>
                    </a:lnTo>
                    <a:lnTo>
                      <a:pt x="2072" y="284"/>
                    </a:lnTo>
                    <a:lnTo>
                      <a:pt x="2070" y="284"/>
                    </a:lnTo>
                    <a:lnTo>
                      <a:pt x="2070" y="284"/>
                    </a:lnTo>
                    <a:lnTo>
                      <a:pt x="2068" y="282"/>
                    </a:lnTo>
                    <a:lnTo>
                      <a:pt x="2066" y="282"/>
                    </a:lnTo>
                    <a:lnTo>
                      <a:pt x="2064" y="280"/>
                    </a:lnTo>
                    <a:lnTo>
                      <a:pt x="2062" y="278"/>
                    </a:lnTo>
                    <a:lnTo>
                      <a:pt x="2058" y="276"/>
                    </a:lnTo>
                    <a:lnTo>
                      <a:pt x="2056" y="276"/>
                    </a:lnTo>
                    <a:lnTo>
                      <a:pt x="2056" y="274"/>
                    </a:lnTo>
                    <a:lnTo>
                      <a:pt x="2056" y="274"/>
                    </a:lnTo>
                    <a:lnTo>
                      <a:pt x="2052" y="274"/>
                    </a:lnTo>
                    <a:lnTo>
                      <a:pt x="2050" y="274"/>
                    </a:lnTo>
                    <a:lnTo>
                      <a:pt x="2046" y="274"/>
                    </a:lnTo>
                    <a:lnTo>
                      <a:pt x="2044" y="274"/>
                    </a:lnTo>
                    <a:lnTo>
                      <a:pt x="2040" y="274"/>
                    </a:lnTo>
                    <a:lnTo>
                      <a:pt x="2038" y="276"/>
                    </a:lnTo>
                    <a:lnTo>
                      <a:pt x="2034" y="276"/>
                    </a:lnTo>
                    <a:lnTo>
                      <a:pt x="2034" y="276"/>
                    </a:lnTo>
                    <a:lnTo>
                      <a:pt x="2032" y="278"/>
                    </a:lnTo>
                    <a:lnTo>
                      <a:pt x="2032" y="278"/>
                    </a:lnTo>
                    <a:lnTo>
                      <a:pt x="2032" y="278"/>
                    </a:lnTo>
                    <a:lnTo>
                      <a:pt x="2030" y="280"/>
                    </a:lnTo>
                    <a:lnTo>
                      <a:pt x="2030" y="280"/>
                    </a:lnTo>
                    <a:lnTo>
                      <a:pt x="2030" y="282"/>
                    </a:lnTo>
                    <a:lnTo>
                      <a:pt x="2028" y="284"/>
                    </a:lnTo>
                    <a:lnTo>
                      <a:pt x="2028" y="286"/>
                    </a:lnTo>
                    <a:lnTo>
                      <a:pt x="2028" y="286"/>
                    </a:lnTo>
                    <a:lnTo>
                      <a:pt x="2028" y="286"/>
                    </a:lnTo>
                    <a:lnTo>
                      <a:pt x="2026" y="288"/>
                    </a:lnTo>
                    <a:lnTo>
                      <a:pt x="2026" y="288"/>
                    </a:lnTo>
                    <a:lnTo>
                      <a:pt x="2026" y="286"/>
                    </a:lnTo>
                    <a:lnTo>
                      <a:pt x="2024" y="286"/>
                    </a:lnTo>
                    <a:lnTo>
                      <a:pt x="2024" y="286"/>
                    </a:lnTo>
                    <a:lnTo>
                      <a:pt x="2024" y="286"/>
                    </a:lnTo>
                    <a:lnTo>
                      <a:pt x="2022" y="284"/>
                    </a:lnTo>
                    <a:lnTo>
                      <a:pt x="2022" y="282"/>
                    </a:lnTo>
                    <a:lnTo>
                      <a:pt x="2020" y="280"/>
                    </a:lnTo>
                    <a:lnTo>
                      <a:pt x="2018" y="274"/>
                    </a:lnTo>
                    <a:lnTo>
                      <a:pt x="2018" y="272"/>
                    </a:lnTo>
                    <a:lnTo>
                      <a:pt x="2018" y="270"/>
                    </a:lnTo>
                    <a:lnTo>
                      <a:pt x="2014" y="266"/>
                    </a:lnTo>
                    <a:lnTo>
                      <a:pt x="2012" y="264"/>
                    </a:lnTo>
                    <a:lnTo>
                      <a:pt x="2012" y="262"/>
                    </a:lnTo>
                    <a:lnTo>
                      <a:pt x="2012" y="262"/>
                    </a:lnTo>
                    <a:lnTo>
                      <a:pt x="2010" y="262"/>
                    </a:lnTo>
                    <a:lnTo>
                      <a:pt x="2008" y="262"/>
                    </a:lnTo>
                    <a:lnTo>
                      <a:pt x="2008" y="260"/>
                    </a:lnTo>
                    <a:lnTo>
                      <a:pt x="2006" y="260"/>
                    </a:lnTo>
                    <a:lnTo>
                      <a:pt x="2004" y="260"/>
                    </a:lnTo>
                    <a:lnTo>
                      <a:pt x="2000" y="260"/>
                    </a:lnTo>
                    <a:lnTo>
                      <a:pt x="1996" y="260"/>
                    </a:lnTo>
                    <a:lnTo>
                      <a:pt x="1994" y="258"/>
                    </a:lnTo>
                    <a:lnTo>
                      <a:pt x="1992" y="258"/>
                    </a:lnTo>
                    <a:lnTo>
                      <a:pt x="1992" y="258"/>
                    </a:lnTo>
                    <a:lnTo>
                      <a:pt x="1990" y="258"/>
                    </a:lnTo>
                    <a:lnTo>
                      <a:pt x="1990" y="256"/>
                    </a:lnTo>
                    <a:lnTo>
                      <a:pt x="1990" y="256"/>
                    </a:lnTo>
                    <a:lnTo>
                      <a:pt x="1990" y="256"/>
                    </a:lnTo>
                    <a:lnTo>
                      <a:pt x="1988" y="254"/>
                    </a:lnTo>
                    <a:lnTo>
                      <a:pt x="1988" y="252"/>
                    </a:lnTo>
                    <a:lnTo>
                      <a:pt x="1988" y="250"/>
                    </a:lnTo>
                    <a:lnTo>
                      <a:pt x="1988" y="248"/>
                    </a:lnTo>
                    <a:lnTo>
                      <a:pt x="1988" y="246"/>
                    </a:lnTo>
                    <a:lnTo>
                      <a:pt x="1988" y="246"/>
                    </a:lnTo>
                    <a:lnTo>
                      <a:pt x="1988" y="246"/>
                    </a:lnTo>
                    <a:lnTo>
                      <a:pt x="1988" y="244"/>
                    </a:lnTo>
                    <a:lnTo>
                      <a:pt x="1988" y="244"/>
                    </a:lnTo>
                    <a:lnTo>
                      <a:pt x="1986" y="244"/>
                    </a:lnTo>
                    <a:lnTo>
                      <a:pt x="1984" y="244"/>
                    </a:lnTo>
                    <a:lnTo>
                      <a:pt x="1982" y="242"/>
                    </a:lnTo>
                    <a:lnTo>
                      <a:pt x="1982" y="242"/>
                    </a:lnTo>
                    <a:lnTo>
                      <a:pt x="1980" y="242"/>
                    </a:lnTo>
                    <a:lnTo>
                      <a:pt x="1978" y="244"/>
                    </a:lnTo>
                    <a:lnTo>
                      <a:pt x="1972" y="244"/>
                    </a:lnTo>
                    <a:lnTo>
                      <a:pt x="1968" y="244"/>
                    </a:lnTo>
                    <a:lnTo>
                      <a:pt x="1964" y="244"/>
                    </a:lnTo>
                    <a:lnTo>
                      <a:pt x="1962" y="246"/>
                    </a:lnTo>
                    <a:lnTo>
                      <a:pt x="1962" y="244"/>
                    </a:lnTo>
                    <a:lnTo>
                      <a:pt x="1960" y="244"/>
                    </a:lnTo>
                    <a:lnTo>
                      <a:pt x="1958" y="244"/>
                    </a:lnTo>
                    <a:lnTo>
                      <a:pt x="1958" y="244"/>
                    </a:lnTo>
                    <a:lnTo>
                      <a:pt x="1956" y="244"/>
                    </a:lnTo>
                    <a:lnTo>
                      <a:pt x="1954" y="242"/>
                    </a:lnTo>
                    <a:lnTo>
                      <a:pt x="1954" y="240"/>
                    </a:lnTo>
                    <a:lnTo>
                      <a:pt x="1952" y="238"/>
                    </a:lnTo>
                    <a:lnTo>
                      <a:pt x="1948" y="232"/>
                    </a:lnTo>
                    <a:lnTo>
                      <a:pt x="1946" y="230"/>
                    </a:lnTo>
                    <a:lnTo>
                      <a:pt x="1946" y="230"/>
                    </a:lnTo>
                    <a:lnTo>
                      <a:pt x="1946" y="230"/>
                    </a:lnTo>
                    <a:lnTo>
                      <a:pt x="1944" y="228"/>
                    </a:lnTo>
                    <a:lnTo>
                      <a:pt x="1942" y="226"/>
                    </a:lnTo>
                    <a:lnTo>
                      <a:pt x="1938" y="226"/>
                    </a:lnTo>
                    <a:lnTo>
                      <a:pt x="1936" y="224"/>
                    </a:lnTo>
                    <a:lnTo>
                      <a:pt x="1930" y="220"/>
                    </a:lnTo>
                    <a:lnTo>
                      <a:pt x="1928" y="220"/>
                    </a:lnTo>
                    <a:lnTo>
                      <a:pt x="1926" y="220"/>
                    </a:lnTo>
                    <a:lnTo>
                      <a:pt x="1924" y="218"/>
                    </a:lnTo>
                    <a:lnTo>
                      <a:pt x="1922" y="218"/>
                    </a:lnTo>
                    <a:lnTo>
                      <a:pt x="1916" y="218"/>
                    </a:lnTo>
                    <a:lnTo>
                      <a:pt x="1912" y="218"/>
                    </a:lnTo>
                    <a:lnTo>
                      <a:pt x="1910" y="216"/>
                    </a:lnTo>
                    <a:lnTo>
                      <a:pt x="1908" y="216"/>
                    </a:lnTo>
                    <a:lnTo>
                      <a:pt x="1904" y="216"/>
                    </a:lnTo>
                    <a:lnTo>
                      <a:pt x="1898" y="214"/>
                    </a:lnTo>
                    <a:lnTo>
                      <a:pt x="1892" y="212"/>
                    </a:lnTo>
                    <a:lnTo>
                      <a:pt x="1890" y="210"/>
                    </a:lnTo>
                    <a:lnTo>
                      <a:pt x="1888" y="210"/>
                    </a:lnTo>
                    <a:lnTo>
                      <a:pt x="1886" y="208"/>
                    </a:lnTo>
                    <a:lnTo>
                      <a:pt x="1886" y="208"/>
                    </a:lnTo>
                    <a:lnTo>
                      <a:pt x="1884" y="206"/>
                    </a:lnTo>
                    <a:lnTo>
                      <a:pt x="1880" y="204"/>
                    </a:lnTo>
                    <a:lnTo>
                      <a:pt x="1880" y="204"/>
                    </a:lnTo>
                    <a:lnTo>
                      <a:pt x="1878" y="202"/>
                    </a:lnTo>
                    <a:lnTo>
                      <a:pt x="1876" y="202"/>
                    </a:lnTo>
                    <a:lnTo>
                      <a:pt x="1874" y="200"/>
                    </a:lnTo>
                    <a:lnTo>
                      <a:pt x="1868" y="200"/>
                    </a:lnTo>
                    <a:lnTo>
                      <a:pt x="1864" y="198"/>
                    </a:lnTo>
                    <a:lnTo>
                      <a:pt x="1860" y="196"/>
                    </a:lnTo>
                    <a:lnTo>
                      <a:pt x="1858" y="196"/>
                    </a:lnTo>
                    <a:lnTo>
                      <a:pt x="1856" y="196"/>
                    </a:lnTo>
                    <a:lnTo>
                      <a:pt x="1852" y="196"/>
                    </a:lnTo>
                    <a:lnTo>
                      <a:pt x="1846" y="196"/>
                    </a:lnTo>
                    <a:lnTo>
                      <a:pt x="1838" y="196"/>
                    </a:lnTo>
                    <a:lnTo>
                      <a:pt x="1834" y="196"/>
                    </a:lnTo>
                    <a:lnTo>
                      <a:pt x="1832" y="196"/>
                    </a:lnTo>
                    <a:lnTo>
                      <a:pt x="1830" y="196"/>
                    </a:lnTo>
                    <a:lnTo>
                      <a:pt x="1828" y="196"/>
                    </a:lnTo>
                    <a:lnTo>
                      <a:pt x="1824" y="194"/>
                    </a:lnTo>
                    <a:lnTo>
                      <a:pt x="1820" y="194"/>
                    </a:lnTo>
                    <a:lnTo>
                      <a:pt x="1816" y="192"/>
                    </a:lnTo>
                    <a:lnTo>
                      <a:pt x="1810" y="192"/>
                    </a:lnTo>
                    <a:lnTo>
                      <a:pt x="1808" y="192"/>
                    </a:lnTo>
                    <a:lnTo>
                      <a:pt x="1806" y="192"/>
                    </a:lnTo>
                    <a:lnTo>
                      <a:pt x="1804" y="192"/>
                    </a:lnTo>
                    <a:lnTo>
                      <a:pt x="1802" y="192"/>
                    </a:lnTo>
                    <a:lnTo>
                      <a:pt x="1800" y="192"/>
                    </a:lnTo>
                    <a:lnTo>
                      <a:pt x="1800" y="192"/>
                    </a:lnTo>
                    <a:lnTo>
                      <a:pt x="1800" y="192"/>
                    </a:lnTo>
                    <a:lnTo>
                      <a:pt x="1798" y="194"/>
                    </a:lnTo>
                    <a:lnTo>
                      <a:pt x="1798" y="194"/>
                    </a:lnTo>
                    <a:lnTo>
                      <a:pt x="1798" y="196"/>
                    </a:lnTo>
                    <a:lnTo>
                      <a:pt x="1798" y="196"/>
                    </a:lnTo>
                    <a:lnTo>
                      <a:pt x="1798" y="200"/>
                    </a:lnTo>
                    <a:lnTo>
                      <a:pt x="1798" y="202"/>
                    </a:lnTo>
                    <a:lnTo>
                      <a:pt x="1798" y="206"/>
                    </a:lnTo>
                    <a:lnTo>
                      <a:pt x="1798" y="208"/>
                    </a:lnTo>
                    <a:lnTo>
                      <a:pt x="1798" y="210"/>
                    </a:lnTo>
                    <a:lnTo>
                      <a:pt x="1796" y="212"/>
                    </a:lnTo>
                    <a:lnTo>
                      <a:pt x="1796" y="212"/>
                    </a:lnTo>
                    <a:lnTo>
                      <a:pt x="1796" y="212"/>
                    </a:lnTo>
                    <a:lnTo>
                      <a:pt x="1796" y="214"/>
                    </a:lnTo>
                    <a:lnTo>
                      <a:pt x="1794" y="214"/>
                    </a:lnTo>
                    <a:lnTo>
                      <a:pt x="1792" y="214"/>
                    </a:lnTo>
                    <a:lnTo>
                      <a:pt x="1790" y="216"/>
                    </a:lnTo>
                    <a:lnTo>
                      <a:pt x="1788" y="216"/>
                    </a:lnTo>
                    <a:lnTo>
                      <a:pt x="1786" y="216"/>
                    </a:lnTo>
                    <a:lnTo>
                      <a:pt x="1784" y="216"/>
                    </a:lnTo>
                    <a:lnTo>
                      <a:pt x="1782" y="216"/>
                    </a:lnTo>
                    <a:lnTo>
                      <a:pt x="1780" y="216"/>
                    </a:lnTo>
                    <a:lnTo>
                      <a:pt x="1780" y="216"/>
                    </a:lnTo>
                    <a:lnTo>
                      <a:pt x="1780" y="214"/>
                    </a:lnTo>
                    <a:lnTo>
                      <a:pt x="1778" y="214"/>
                    </a:lnTo>
                    <a:lnTo>
                      <a:pt x="1778" y="212"/>
                    </a:lnTo>
                    <a:lnTo>
                      <a:pt x="1776" y="210"/>
                    </a:lnTo>
                    <a:lnTo>
                      <a:pt x="1776" y="208"/>
                    </a:lnTo>
                    <a:lnTo>
                      <a:pt x="1774" y="208"/>
                    </a:lnTo>
                    <a:lnTo>
                      <a:pt x="1772" y="206"/>
                    </a:lnTo>
                    <a:lnTo>
                      <a:pt x="1772" y="206"/>
                    </a:lnTo>
                    <a:lnTo>
                      <a:pt x="1772" y="206"/>
                    </a:lnTo>
                    <a:lnTo>
                      <a:pt x="1772" y="206"/>
                    </a:lnTo>
                    <a:lnTo>
                      <a:pt x="1770" y="206"/>
                    </a:lnTo>
                    <a:lnTo>
                      <a:pt x="1770" y="206"/>
                    </a:lnTo>
                    <a:lnTo>
                      <a:pt x="1768" y="206"/>
                    </a:lnTo>
                    <a:lnTo>
                      <a:pt x="1766" y="206"/>
                    </a:lnTo>
                    <a:lnTo>
                      <a:pt x="1764" y="206"/>
                    </a:lnTo>
                    <a:lnTo>
                      <a:pt x="1760" y="208"/>
                    </a:lnTo>
                    <a:lnTo>
                      <a:pt x="1758" y="208"/>
                    </a:lnTo>
                    <a:lnTo>
                      <a:pt x="1756" y="210"/>
                    </a:lnTo>
                    <a:lnTo>
                      <a:pt x="1756" y="210"/>
                    </a:lnTo>
                    <a:lnTo>
                      <a:pt x="1754" y="208"/>
                    </a:lnTo>
                    <a:lnTo>
                      <a:pt x="1754" y="208"/>
                    </a:lnTo>
                    <a:lnTo>
                      <a:pt x="1750" y="208"/>
                    </a:lnTo>
                    <a:lnTo>
                      <a:pt x="1748" y="206"/>
                    </a:lnTo>
                    <a:lnTo>
                      <a:pt x="1744" y="206"/>
                    </a:lnTo>
                    <a:lnTo>
                      <a:pt x="1742" y="204"/>
                    </a:lnTo>
                    <a:lnTo>
                      <a:pt x="1738" y="204"/>
                    </a:lnTo>
                    <a:lnTo>
                      <a:pt x="1736" y="202"/>
                    </a:lnTo>
                    <a:lnTo>
                      <a:pt x="1736" y="202"/>
                    </a:lnTo>
                    <a:lnTo>
                      <a:pt x="1734" y="202"/>
                    </a:lnTo>
                    <a:lnTo>
                      <a:pt x="1730" y="202"/>
                    </a:lnTo>
                    <a:lnTo>
                      <a:pt x="1726" y="200"/>
                    </a:lnTo>
                    <a:lnTo>
                      <a:pt x="1722" y="200"/>
                    </a:lnTo>
                    <a:lnTo>
                      <a:pt x="1716" y="202"/>
                    </a:lnTo>
                    <a:lnTo>
                      <a:pt x="1710" y="202"/>
                    </a:lnTo>
                    <a:lnTo>
                      <a:pt x="1708" y="202"/>
                    </a:lnTo>
                    <a:lnTo>
                      <a:pt x="1706" y="202"/>
                    </a:lnTo>
                    <a:lnTo>
                      <a:pt x="1704" y="204"/>
                    </a:lnTo>
                    <a:lnTo>
                      <a:pt x="1702" y="204"/>
                    </a:lnTo>
                    <a:lnTo>
                      <a:pt x="1700" y="204"/>
                    </a:lnTo>
                    <a:lnTo>
                      <a:pt x="1698" y="206"/>
                    </a:lnTo>
                    <a:lnTo>
                      <a:pt x="1698" y="206"/>
                    </a:lnTo>
                    <a:lnTo>
                      <a:pt x="1698" y="206"/>
                    </a:lnTo>
                    <a:lnTo>
                      <a:pt x="1696" y="208"/>
                    </a:lnTo>
                    <a:lnTo>
                      <a:pt x="1696" y="210"/>
                    </a:lnTo>
                    <a:lnTo>
                      <a:pt x="1696" y="212"/>
                    </a:lnTo>
                    <a:lnTo>
                      <a:pt x="1694" y="214"/>
                    </a:lnTo>
                    <a:lnTo>
                      <a:pt x="1694" y="216"/>
                    </a:lnTo>
                    <a:lnTo>
                      <a:pt x="1692" y="216"/>
                    </a:lnTo>
                    <a:lnTo>
                      <a:pt x="1692" y="216"/>
                    </a:lnTo>
                    <a:lnTo>
                      <a:pt x="1692" y="218"/>
                    </a:lnTo>
                    <a:lnTo>
                      <a:pt x="1692" y="218"/>
                    </a:lnTo>
                    <a:lnTo>
                      <a:pt x="1690" y="218"/>
                    </a:lnTo>
                    <a:lnTo>
                      <a:pt x="1690" y="218"/>
                    </a:lnTo>
                    <a:lnTo>
                      <a:pt x="1688" y="218"/>
                    </a:lnTo>
                    <a:lnTo>
                      <a:pt x="1686" y="218"/>
                    </a:lnTo>
                    <a:lnTo>
                      <a:pt x="1684" y="216"/>
                    </a:lnTo>
                    <a:lnTo>
                      <a:pt x="1684" y="216"/>
                    </a:lnTo>
                    <a:lnTo>
                      <a:pt x="1682" y="216"/>
                    </a:lnTo>
                    <a:lnTo>
                      <a:pt x="1678" y="214"/>
                    </a:lnTo>
                    <a:lnTo>
                      <a:pt x="1676" y="212"/>
                    </a:lnTo>
                    <a:lnTo>
                      <a:pt x="1674" y="212"/>
                    </a:lnTo>
                    <a:lnTo>
                      <a:pt x="1672" y="210"/>
                    </a:lnTo>
                    <a:lnTo>
                      <a:pt x="1670" y="208"/>
                    </a:lnTo>
                    <a:lnTo>
                      <a:pt x="1666" y="204"/>
                    </a:lnTo>
                    <a:lnTo>
                      <a:pt x="1662" y="200"/>
                    </a:lnTo>
                    <a:lnTo>
                      <a:pt x="1660" y="198"/>
                    </a:lnTo>
                    <a:lnTo>
                      <a:pt x="1658" y="196"/>
                    </a:lnTo>
                    <a:lnTo>
                      <a:pt x="1654" y="192"/>
                    </a:lnTo>
                    <a:lnTo>
                      <a:pt x="1652" y="188"/>
                    </a:lnTo>
                    <a:lnTo>
                      <a:pt x="1650" y="186"/>
                    </a:lnTo>
                    <a:lnTo>
                      <a:pt x="1648" y="184"/>
                    </a:lnTo>
                    <a:lnTo>
                      <a:pt x="1646" y="184"/>
                    </a:lnTo>
                    <a:lnTo>
                      <a:pt x="1646" y="182"/>
                    </a:lnTo>
                    <a:lnTo>
                      <a:pt x="1644" y="182"/>
                    </a:lnTo>
                    <a:lnTo>
                      <a:pt x="1642" y="180"/>
                    </a:lnTo>
                    <a:lnTo>
                      <a:pt x="1640" y="180"/>
                    </a:lnTo>
                    <a:lnTo>
                      <a:pt x="1638" y="180"/>
                    </a:lnTo>
                    <a:lnTo>
                      <a:pt x="1632" y="178"/>
                    </a:lnTo>
                    <a:lnTo>
                      <a:pt x="1626" y="176"/>
                    </a:lnTo>
                    <a:lnTo>
                      <a:pt x="1620" y="176"/>
                    </a:lnTo>
                    <a:lnTo>
                      <a:pt x="1616" y="174"/>
                    </a:lnTo>
                    <a:lnTo>
                      <a:pt x="1610" y="174"/>
                    </a:lnTo>
                    <a:lnTo>
                      <a:pt x="1606" y="174"/>
                    </a:lnTo>
                    <a:lnTo>
                      <a:pt x="1604" y="174"/>
                    </a:lnTo>
                    <a:lnTo>
                      <a:pt x="1602" y="174"/>
                    </a:lnTo>
                    <a:lnTo>
                      <a:pt x="1598" y="176"/>
                    </a:lnTo>
                    <a:lnTo>
                      <a:pt x="1594" y="176"/>
                    </a:lnTo>
                    <a:lnTo>
                      <a:pt x="1592" y="178"/>
                    </a:lnTo>
                    <a:lnTo>
                      <a:pt x="1590" y="178"/>
                    </a:lnTo>
                    <a:lnTo>
                      <a:pt x="1588" y="180"/>
                    </a:lnTo>
                    <a:lnTo>
                      <a:pt x="1586" y="180"/>
                    </a:lnTo>
                    <a:lnTo>
                      <a:pt x="1584" y="182"/>
                    </a:lnTo>
                    <a:lnTo>
                      <a:pt x="1582" y="182"/>
                    </a:lnTo>
                    <a:lnTo>
                      <a:pt x="1580" y="182"/>
                    </a:lnTo>
                    <a:lnTo>
                      <a:pt x="1578" y="182"/>
                    </a:lnTo>
                    <a:lnTo>
                      <a:pt x="1574" y="182"/>
                    </a:lnTo>
                    <a:lnTo>
                      <a:pt x="1572" y="182"/>
                    </a:lnTo>
                    <a:lnTo>
                      <a:pt x="1568" y="180"/>
                    </a:lnTo>
                    <a:lnTo>
                      <a:pt x="1566" y="180"/>
                    </a:lnTo>
                    <a:lnTo>
                      <a:pt x="1562" y="180"/>
                    </a:lnTo>
                    <a:lnTo>
                      <a:pt x="1560" y="178"/>
                    </a:lnTo>
                    <a:lnTo>
                      <a:pt x="1558" y="178"/>
                    </a:lnTo>
                    <a:lnTo>
                      <a:pt x="1554" y="176"/>
                    </a:lnTo>
                    <a:lnTo>
                      <a:pt x="1550" y="174"/>
                    </a:lnTo>
                    <a:lnTo>
                      <a:pt x="1546" y="172"/>
                    </a:lnTo>
                    <a:lnTo>
                      <a:pt x="1538" y="168"/>
                    </a:lnTo>
                    <a:lnTo>
                      <a:pt x="1536" y="166"/>
                    </a:lnTo>
                    <a:lnTo>
                      <a:pt x="1532" y="164"/>
                    </a:lnTo>
                    <a:lnTo>
                      <a:pt x="1530" y="162"/>
                    </a:lnTo>
                    <a:lnTo>
                      <a:pt x="1528" y="162"/>
                    </a:lnTo>
                    <a:lnTo>
                      <a:pt x="1524" y="160"/>
                    </a:lnTo>
                    <a:lnTo>
                      <a:pt x="1520" y="158"/>
                    </a:lnTo>
                    <a:lnTo>
                      <a:pt x="1518" y="158"/>
                    </a:lnTo>
                    <a:lnTo>
                      <a:pt x="1516" y="156"/>
                    </a:lnTo>
                    <a:lnTo>
                      <a:pt x="1514" y="154"/>
                    </a:lnTo>
                    <a:lnTo>
                      <a:pt x="1514" y="154"/>
                    </a:lnTo>
                    <a:lnTo>
                      <a:pt x="1514" y="154"/>
                    </a:lnTo>
                    <a:lnTo>
                      <a:pt x="1514" y="150"/>
                    </a:lnTo>
                    <a:lnTo>
                      <a:pt x="1512" y="150"/>
                    </a:lnTo>
                    <a:lnTo>
                      <a:pt x="1512" y="148"/>
                    </a:lnTo>
                    <a:lnTo>
                      <a:pt x="1512" y="148"/>
                    </a:lnTo>
                    <a:lnTo>
                      <a:pt x="1512" y="148"/>
                    </a:lnTo>
                    <a:lnTo>
                      <a:pt x="1510" y="146"/>
                    </a:lnTo>
                    <a:lnTo>
                      <a:pt x="1508" y="146"/>
                    </a:lnTo>
                    <a:lnTo>
                      <a:pt x="1504" y="146"/>
                    </a:lnTo>
                    <a:lnTo>
                      <a:pt x="1502" y="144"/>
                    </a:lnTo>
                    <a:lnTo>
                      <a:pt x="1500" y="144"/>
                    </a:lnTo>
                    <a:lnTo>
                      <a:pt x="1496" y="144"/>
                    </a:lnTo>
                    <a:lnTo>
                      <a:pt x="1494" y="144"/>
                    </a:lnTo>
                    <a:lnTo>
                      <a:pt x="1490" y="144"/>
                    </a:lnTo>
                    <a:lnTo>
                      <a:pt x="1484" y="144"/>
                    </a:lnTo>
                    <a:lnTo>
                      <a:pt x="1478" y="146"/>
                    </a:lnTo>
                    <a:lnTo>
                      <a:pt x="1472" y="146"/>
                    </a:lnTo>
                    <a:lnTo>
                      <a:pt x="1468" y="148"/>
                    </a:lnTo>
                    <a:lnTo>
                      <a:pt x="1468" y="148"/>
                    </a:lnTo>
                    <a:lnTo>
                      <a:pt x="1466" y="148"/>
                    </a:lnTo>
                    <a:lnTo>
                      <a:pt x="1462" y="150"/>
                    </a:lnTo>
                    <a:lnTo>
                      <a:pt x="1460" y="152"/>
                    </a:lnTo>
                    <a:lnTo>
                      <a:pt x="1458" y="152"/>
                    </a:lnTo>
                    <a:lnTo>
                      <a:pt x="1458" y="152"/>
                    </a:lnTo>
                    <a:lnTo>
                      <a:pt x="1456" y="152"/>
                    </a:lnTo>
                    <a:lnTo>
                      <a:pt x="1456" y="152"/>
                    </a:lnTo>
                    <a:lnTo>
                      <a:pt x="1454" y="152"/>
                    </a:lnTo>
                    <a:lnTo>
                      <a:pt x="1454" y="152"/>
                    </a:lnTo>
                    <a:lnTo>
                      <a:pt x="1454" y="150"/>
                    </a:lnTo>
                    <a:lnTo>
                      <a:pt x="1452" y="150"/>
                    </a:lnTo>
                    <a:lnTo>
                      <a:pt x="1450" y="148"/>
                    </a:lnTo>
                    <a:lnTo>
                      <a:pt x="1450" y="146"/>
                    </a:lnTo>
                    <a:lnTo>
                      <a:pt x="1448" y="142"/>
                    </a:lnTo>
                    <a:lnTo>
                      <a:pt x="1446" y="140"/>
                    </a:lnTo>
                    <a:lnTo>
                      <a:pt x="1446" y="140"/>
                    </a:lnTo>
                    <a:lnTo>
                      <a:pt x="1444" y="138"/>
                    </a:lnTo>
                    <a:lnTo>
                      <a:pt x="1444" y="138"/>
                    </a:lnTo>
                    <a:lnTo>
                      <a:pt x="1444" y="138"/>
                    </a:lnTo>
                    <a:lnTo>
                      <a:pt x="1442" y="138"/>
                    </a:lnTo>
                    <a:lnTo>
                      <a:pt x="1440" y="136"/>
                    </a:lnTo>
                    <a:lnTo>
                      <a:pt x="1440" y="136"/>
                    </a:lnTo>
                    <a:lnTo>
                      <a:pt x="1438" y="136"/>
                    </a:lnTo>
                    <a:lnTo>
                      <a:pt x="1434" y="136"/>
                    </a:lnTo>
                    <a:lnTo>
                      <a:pt x="1432" y="138"/>
                    </a:lnTo>
                    <a:lnTo>
                      <a:pt x="1428" y="138"/>
                    </a:lnTo>
                    <a:lnTo>
                      <a:pt x="1424" y="138"/>
                    </a:lnTo>
                    <a:lnTo>
                      <a:pt x="1424" y="138"/>
                    </a:lnTo>
                    <a:lnTo>
                      <a:pt x="1422" y="138"/>
                    </a:lnTo>
                    <a:lnTo>
                      <a:pt x="1420" y="138"/>
                    </a:lnTo>
                    <a:lnTo>
                      <a:pt x="1420" y="138"/>
                    </a:lnTo>
                    <a:lnTo>
                      <a:pt x="1418" y="138"/>
                    </a:lnTo>
                    <a:lnTo>
                      <a:pt x="1418" y="136"/>
                    </a:lnTo>
                    <a:lnTo>
                      <a:pt x="1416" y="134"/>
                    </a:lnTo>
                    <a:lnTo>
                      <a:pt x="1416" y="132"/>
                    </a:lnTo>
                    <a:lnTo>
                      <a:pt x="1414" y="130"/>
                    </a:lnTo>
                    <a:lnTo>
                      <a:pt x="1414" y="128"/>
                    </a:lnTo>
                    <a:lnTo>
                      <a:pt x="1412" y="126"/>
                    </a:lnTo>
                    <a:lnTo>
                      <a:pt x="1412" y="126"/>
                    </a:lnTo>
                    <a:lnTo>
                      <a:pt x="1410" y="126"/>
                    </a:lnTo>
                    <a:lnTo>
                      <a:pt x="1410" y="126"/>
                    </a:lnTo>
                    <a:lnTo>
                      <a:pt x="1410" y="124"/>
                    </a:lnTo>
                    <a:lnTo>
                      <a:pt x="1408" y="124"/>
                    </a:lnTo>
                    <a:lnTo>
                      <a:pt x="1408" y="124"/>
                    </a:lnTo>
                    <a:lnTo>
                      <a:pt x="1406" y="126"/>
                    </a:lnTo>
                    <a:lnTo>
                      <a:pt x="1406" y="126"/>
                    </a:lnTo>
                    <a:lnTo>
                      <a:pt x="1404" y="126"/>
                    </a:lnTo>
                    <a:lnTo>
                      <a:pt x="1402" y="128"/>
                    </a:lnTo>
                    <a:lnTo>
                      <a:pt x="1398" y="130"/>
                    </a:lnTo>
                    <a:lnTo>
                      <a:pt x="1396" y="132"/>
                    </a:lnTo>
                    <a:lnTo>
                      <a:pt x="1396" y="132"/>
                    </a:lnTo>
                    <a:lnTo>
                      <a:pt x="1392" y="134"/>
                    </a:lnTo>
                    <a:lnTo>
                      <a:pt x="1388" y="136"/>
                    </a:lnTo>
                    <a:lnTo>
                      <a:pt x="1386" y="138"/>
                    </a:lnTo>
                    <a:lnTo>
                      <a:pt x="1384" y="138"/>
                    </a:lnTo>
                    <a:lnTo>
                      <a:pt x="1384" y="138"/>
                    </a:lnTo>
                    <a:lnTo>
                      <a:pt x="1384" y="140"/>
                    </a:lnTo>
                    <a:lnTo>
                      <a:pt x="1384" y="140"/>
                    </a:lnTo>
                    <a:lnTo>
                      <a:pt x="1382" y="142"/>
                    </a:lnTo>
                    <a:lnTo>
                      <a:pt x="1382" y="142"/>
                    </a:lnTo>
                    <a:lnTo>
                      <a:pt x="1382" y="144"/>
                    </a:lnTo>
                    <a:lnTo>
                      <a:pt x="1384" y="144"/>
                    </a:lnTo>
                    <a:lnTo>
                      <a:pt x="1384" y="146"/>
                    </a:lnTo>
                    <a:lnTo>
                      <a:pt x="1386" y="148"/>
                    </a:lnTo>
                    <a:lnTo>
                      <a:pt x="1388" y="152"/>
                    </a:lnTo>
                    <a:lnTo>
                      <a:pt x="1390" y="154"/>
                    </a:lnTo>
                    <a:lnTo>
                      <a:pt x="1390" y="156"/>
                    </a:lnTo>
                    <a:lnTo>
                      <a:pt x="1392" y="156"/>
                    </a:lnTo>
                    <a:lnTo>
                      <a:pt x="1392" y="158"/>
                    </a:lnTo>
                    <a:lnTo>
                      <a:pt x="1392" y="160"/>
                    </a:lnTo>
                    <a:lnTo>
                      <a:pt x="1392" y="160"/>
                    </a:lnTo>
                    <a:lnTo>
                      <a:pt x="1392" y="162"/>
                    </a:lnTo>
                    <a:lnTo>
                      <a:pt x="1392" y="162"/>
                    </a:lnTo>
                    <a:lnTo>
                      <a:pt x="1390" y="162"/>
                    </a:lnTo>
                    <a:lnTo>
                      <a:pt x="1390" y="164"/>
                    </a:lnTo>
                    <a:lnTo>
                      <a:pt x="1388" y="164"/>
                    </a:lnTo>
                    <a:lnTo>
                      <a:pt x="1388" y="164"/>
                    </a:lnTo>
                    <a:lnTo>
                      <a:pt x="1386" y="164"/>
                    </a:lnTo>
                    <a:lnTo>
                      <a:pt x="1384" y="164"/>
                    </a:lnTo>
                    <a:lnTo>
                      <a:pt x="1380" y="164"/>
                    </a:lnTo>
                    <a:lnTo>
                      <a:pt x="1378" y="164"/>
                    </a:lnTo>
                    <a:lnTo>
                      <a:pt x="1372" y="164"/>
                    </a:lnTo>
                    <a:lnTo>
                      <a:pt x="1370" y="164"/>
                    </a:lnTo>
                    <a:lnTo>
                      <a:pt x="1368" y="164"/>
                    </a:lnTo>
                    <a:lnTo>
                      <a:pt x="1362" y="164"/>
                    </a:lnTo>
                    <a:lnTo>
                      <a:pt x="1356" y="162"/>
                    </a:lnTo>
                    <a:lnTo>
                      <a:pt x="1352" y="162"/>
                    </a:lnTo>
                    <a:lnTo>
                      <a:pt x="1350" y="162"/>
                    </a:lnTo>
                    <a:lnTo>
                      <a:pt x="1346" y="160"/>
                    </a:lnTo>
                    <a:lnTo>
                      <a:pt x="1342" y="160"/>
                    </a:lnTo>
                    <a:lnTo>
                      <a:pt x="1338" y="160"/>
                    </a:lnTo>
                    <a:lnTo>
                      <a:pt x="1336" y="160"/>
                    </a:lnTo>
                    <a:lnTo>
                      <a:pt x="1334" y="160"/>
                    </a:lnTo>
                    <a:lnTo>
                      <a:pt x="1332" y="160"/>
                    </a:lnTo>
                    <a:lnTo>
                      <a:pt x="1332" y="160"/>
                    </a:lnTo>
                    <a:lnTo>
                      <a:pt x="1330" y="162"/>
                    </a:lnTo>
                    <a:lnTo>
                      <a:pt x="1326" y="164"/>
                    </a:lnTo>
                    <a:lnTo>
                      <a:pt x="1326" y="164"/>
                    </a:lnTo>
                    <a:lnTo>
                      <a:pt x="1324" y="166"/>
                    </a:lnTo>
                    <a:lnTo>
                      <a:pt x="1322" y="166"/>
                    </a:lnTo>
                    <a:lnTo>
                      <a:pt x="1322" y="166"/>
                    </a:lnTo>
                    <a:lnTo>
                      <a:pt x="1322" y="166"/>
                    </a:lnTo>
                    <a:lnTo>
                      <a:pt x="1320" y="166"/>
                    </a:lnTo>
                    <a:lnTo>
                      <a:pt x="1320" y="166"/>
                    </a:lnTo>
                    <a:lnTo>
                      <a:pt x="1318" y="166"/>
                    </a:lnTo>
                    <a:lnTo>
                      <a:pt x="1314" y="164"/>
                    </a:lnTo>
                    <a:lnTo>
                      <a:pt x="1312" y="164"/>
                    </a:lnTo>
                    <a:lnTo>
                      <a:pt x="1310" y="162"/>
                    </a:lnTo>
                    <a:lnTo>
                      <a:pt x="1308" y="162"/>
                    </a:lnTo>
                    <a:lnTo>
                      <a:pt x="1304" y="158"/>
                    </a:lnTo>
                    <a:lnTo>
                      <a:pt x="1304" y="158"/>
                    </a:lnTo>
                    <a:lnTo>
                      <a:pt x="1304" y="158"/>
                    </a:lnTo>
                    <a:lnTo>
                      <a:pt x="1302" y="156"/>
                    </a:lnTo>
                    <a:lnTo>
                      <a:pt x="1300" y="152"/>
                    </a:lnTo>
                    <a:lnTo>
                      <a:pt x="1300" y="150"/>
                    </a:lnTo>
                    <a:lnTo>
                      <a:pt x="1298" y="150"/>
                    </a:lnTo>
                    <a:lnTo>
                      <a:pt x="1298" y="150"/>
                    </a:lnTo>
                    <a:lnTo>
                      <a:pt x="1298" y="148"/>
                    </a:lnTo>
                    <a:lnTo>
                      <a:pt x="1296" y="148"/>
                    </a:lnTo>
                    <a:lnTo>
                      <a:pt x="1296" y="148"/>
                    </a:lnTo>
                    <a:lnTo>
                      <a:pt x="1296" y="148"/>
                    </a:lnTo>
                    <a:lnTo>
                      <a:pt x="1294" y="150"/>
                    </a:lnTo>
                    <a:lnTo>
                      <a:pt x="1294" y="150"/>
                    </a:lnTo>
                    <a:lnTo>
                      <a:pt x="1294" y="152"/>
                    </a:lnTo>
                    <a:lnTo>
                      <a:pt x="1294" y="152"/>
                    </a:lnTo>
                    <a:lnTo>
                      <a:pt x="1294" y="154"/>
                    </a:lnTo>
                    <a:lnTo>
                      <a:pt x="1294" y="156"/>
                    </a:lnTo>
                    <a:lnTo>
                      <a:pt x="1294" y="158"/>
                    </a:lnTo>
                    <a:lnTo>
                      <a:pt x="1294" y="162"/>
                    </a:lnTo>
                    <a:lnTo>
                      <a:pt x="1294" y="162"/>
                    </a:lnTo>
                    <a:lnTo>
                      <a:pt x="1294" y="164"/>
                    </a:lnTo>
                    <a:lnTo>
                      <a:pt x="1294" y="164"/>
                    </a:lnTo>
                    <a:lnTo>
                      <a:pt x="1294" y="164"/>
                    </a:lnTo>
                    <a:lnTo>
                      <a:pt x="1292" y="166"/>
                    </a:lnTo>
                    <a:lnTo>
                      <a:pt x="1292" y="166"/>
                    </a:lnTo>
                    <a:lnTo>
                      <a:pt x="1290" y="166"/>
                    </a:lnTo>
                    <a:lnTo>
                      <a:pt x="1288" y="168"/>
                    </a:lnTo>
                    <a:lnTo>
                      <a:pt x="1286" y="168"/>
                    </a:lnTo>
                    <a:lnTo>
                      <a:pt x="1282" y="168"/>
                    </a:lnTo>
                    <a:lnTo>
                      <a:pt x="1280" y="168"/>
                    </a:lnTo>
                    <a:lnTo>
                      <a:pt x="1276" y="168"/>
                    </a:lnTo>
                    <a:lnTo>
                      <a:pt x="1274" y="168"/>
                    </a:lnTo>
                    <a:lnTo>
                      <a:pt x="1270" y="168"/>
                    </a:lnTo>
                    <a:lnTo>
                      <a:pt x="1270" y="168"/>
                    </a:lnTo>
                    <a:lnTo>
                      <a:pt x="1268" y="166"/>
                    </a:lnTo>
                    <a:lnTo>
                      <a:pt x="1264" y="166"/>
                    </a:lnTo>
                    <a:lnTo>
                      <a:pt x="1260" y="164"/>
                    </a:lnTo>
                    <a:lnTo>
                      <a:pt x="1256" y="164"/>
                    </a:lnTo>
                    <a:lnTo>
                      <a:pt x="1248" y="160"/>
                    </a:lnTo>
                    <a:lnTo>
                      <a:pt x="1242" y="158"/>
                    </a:lnTo>
                    <a:lnTo>
                      <a:pt x="1240" y="156"/>
                    </a:lnTo>
                    <a:lnTo>
                      <a:pt x="1238" y="156"/>
                    </a:lnTo>
                    <a:lnTo>
                      <a:pt x="1232" y="156"/>
                    </a:lnTo>
                    <a:lnTo>
                      <a:pt x="1230" y="154"/>
                    </a:lnTo>
                    <a:lnTo>
                      <a:pt x="1228" y="154"/>
                    </a:lnTo>
                    <a:lnTo>
                      <a:pt x="1228" y="154"/>
                    </a:lnTo>
                    <a:lnTo>
                      <a:pt x="1226" y="154"/>
                    </a:lnTo>
                    <a:lnTo>
                      <a:pt x="1226" y="152"/>
                    </a:lnTo>
                    <a:lnTo>
                      <a:pt x="1224" y="152"/>
                    </a:lnTo>
                    <a:lnTo>
                      <a:pt x="1224" y="152"/>
                    </a:lnTo>
                    <a:lnTo>
                      <a:pt x="1224" y="150"/>
                    </a:lnTo>
                    <a:lnTo>
                      <a:pt x="1224" y="150"/>
                    </a:lnTo>
                    <a:lnTo>
                      <a:pt x="1224" y="148"/>
                    </a:lnTo>
                    <a:lnTo>
                      <a:pt x="1224" y="148"/>
                    </a:lnTo>
                    <a:lnTo>
                      <a:pt x="1226" y="146"/>
                    </a:lnTo>
                    <a:lnTo>
                      <a:pt x="1226" y="144"/>
                    </a:lnTo>
                    <a:lnTo>
                      <a:pt x="1228" y="144"/>
                    </a:lnTo>
                    <a:lnTo>
                      <a:pt x="1228" y="142"/>
                    </a:lnTo>
                    <a:lnTo>
                      <a:pt x="1230" y="142"/>
                    </a:lnTo>
                    <a:lnTo>
                      <a:pt x="1230" y="140"/>
                    </a:lnTo>
                    <a:lnTo>
                      <a:pt x="1230" y="140"/>
                    </a:lnTo>
                    <a:lnTo>
                      <a:pt x="1232" y="140"/>
                    </a:lnTo>
                    <a:lnTo>
                      <a:pt x="1234" y="140"/>
                    </a:lnTo>
                    <a:lnTo>
                      <a:pt x="1236" y="140"/>
                    </a:lnTo>
                    <a:lnTo>
                      <a:pt x="1238" y="140"/>
                    </a:lnTo>
                    <a:lnTo>
                      <a:pt x="1240" y="138"/>
                    </a:lnTo>
                    <a:lnTo>
                      <a:pt x="1240" y="138"/>
                    </a:lnTo>
                    <a:lnTo>
                      <a:pt x="1240" y="138"/>
                    </a:lnTo>
                    <a:lnTo>
                      <a:pt x="1242" y="138"/>
                    </a:lnTo>
                    <a:lnTo>
                      <a:pt x="1242" y="138"/>
                    </a:lnTo>
                    <a:lnTo>
                      <a:pt x="1242" y="136"/>
                    </a:lnTo>
                    <a:lnTo>
                      <a:pt x="1242" y="136"/>
                    </a:lnTo>
                    <a:lnTo>
                      <a:pt x="1242" y="134"/>
                    </a:lnTo>
                    <a:lnTo>
                      <a:pt x="1242" y="132"/>
                    </a:lnTo>
                    <a:lnTo>
                      <a:pt x="1242" y="132"/>
                    </a:lnTo>
                    <a:lnTo>
                      <a:pt x="1240" y="130"/>
                    </a:lnTo>
                    <a:lnTo>
                      <a:pt x="1240" y="126"/>
                    </a:lnTo>
                    <a:lnTo>
                      <a:pt x="1238" y="124"/>
                    </a:lnTo>
                    <a:lnTo>
                      <a:pt x="1236" y="122"/>
                    </a:lnTo>
                    <a:lnTo>
                      <a:pt x="1234" y="118"/>
                    </a:lnTo>
                    <a:lnTo>
                      <a:pt x="1232" y="118"/>
                    </a:lnTo>
                    <a:lnTo>
                      <a:pt x="1230" y="116"/>
                    </a:lnTo>
                    <a:lnTo>
                      <a:pt x="1230" y="116"/>
                    </a:lnTo>
                    <a:lnTo>
                      <a:pt x="1226" y="114"/>
                    </a:lnTo>
                    <a:lnTo>
                      <a:pt x="1224" y="112"/>
                    </a:lnTo>
                    <a:lnTo>
                      <a:pt x="1220" y="112"/>
                    </a:lnTo>
                    <a:lnTo>
                      <a:pt x="1216" y="110"/>
                    </a:lnTo>
                    <a:lnTo>
                      <a:pt x="1214" y="110"/>
                    </a:lnTo>
                    <a:lnTo>
                      <a:pt x="1210" y="108"/>
                    </a:lnTo>
                    <a:lnTo>
                      <a:pt x="1208" y="108"/>
                    </a:lnTo>
                    <a:lnTo>
                      <a:pt x="1204" y="108"/>
                    </a:lnTo>
                    <a:lnTo>
                      <a:pt x="1200" y="108"/>
                    </a:lnTo>
                    <a:lnTo>
                      <a:pt x="1196" y="108"/>
                    </a:lnTo>
                    <a:lnTo>
                      <a:pt x="1192" y="108"/>
                    </a:lnTo>
                    <a:lnTo>
                      <a:pt x="1188" y="108"/>
                    </a:lnTo>
                    <a:lnTo>
                      <a:pt x="1184" y="108"/>
                    </a:lnTo>
                    <a:lnTo>
                      <a:pt x="1182" y="108"/>
                    </a:lnTo>
                    <a:lnTo>
                      <a:pt x="1180" y="108"/>
                    </a:lnTo>
                    <a:lnTo>
                      <a:pt x="1180" y="110"/>
                    </a:lnTo>
                    <a:lnTo>
                      <a:pt x="1178" y="110"/>
                    </a:lnTo>
                    <a:lnTo>
                      <a:pt x="1176" y="110"/>
                    </a:lnTo>
                    <a:lnTo>
                      <a:pt x="1176" y="112"/>
                    </a:lnTo>
                    <a:lnTo>
                      <a:pt x="1174" y="112"/>
                    </a:lnTo>
                    <a:lnTo>
                      <a:pt x="1174" y="114"/>
                    </a:lnTo>
                    <a:lnTo>
                      <a:pt x="1174" y="116"/>
                    </a:lnTo>
                    <a:lnTo>
                      <a:pt x="1172" y="120"/>
                    </a:lnTo>
                    <a:lnTo>
                      <a:pt x="1172" y="124"/>
                    </a:lnTo>
                    <a:lnTo>
                      <a:pt x="1170" y="128"/>
                    </a:lnTo>
                    <a:lnTo>
                      <a:pt x="1170" y="128"/>
                    </a:lnTo>
                    <a:lnTo>
                      <a:pt x="1170" y="130"/>
                    </a:lnTo>
                    <a:lnTo>
                      <a:pt x="1168" y="132"/>
                    </a:lnTo>
                    <a:lnTo>
                      <a:pt x="1168" y="134"/>
                    </a:lnTo>
                    <a:lnTo>
                      <a:pt x="1168" y="134"/>
                    </a:lnTo>
                    <a:lnTo>
                      <a:pt x="1166" y="134"/>
                    </a:lnTo>
                    <a:lnTo>
                      <a:pt x="1166" y="136"/>
                    </a:lnTo>
                    <a:lnTo>
                      <a:pt x="1164" y="136"/>
                    </a:lnTo>
                    <a:lnTo>
                      <a:pt x="1162" y="136"/>
                    </a:lnTo>
                    <a:lnTo>
                      <a:pt x="1160" y="134"/>
                    </a:lnTo>
                    <a:lnTo>
                      <a:pt x="1160" y="134"/>
                    </a:lnTo>
                    <a:lnTo>
                      <a:pt x="1158" y="134"/>
                    </a:lnTo>
                    <a:lnTo>
                      <a:pt x="1154" y="132"/>
                    </a:lnTo>
                    <a:lnTo>
                      <a:pt x="1150" y="130"/>
                    </a:lnTo>
                    <a:lnTo>
                      <a:pt x="1148" y="128"/>
                    </a:lnTo>
                    <a:lnTo>
                      <a:pt x="1144" y="128"/>
                    </a:lnTo>
                    <a:lnTo>
                      <a:pt x="1142" y="126"/>
                    </a:lnTo>
                    <a:lnTo>
                      <a:pt x="1138" y="124"/>
                    </a:lnTo>
                    <a:lnTo>
                      <a:pt x="1132" y="120"/>
                    </a:lnTo>
                    <a:lnTo>
                      <a:pt x="1126" y="118"/>
                    </a:lnTo>
                    <a:lnTo>
                      <a:pt x="1124" y="116"/>
                    </a:lnTo>
                    <a:lnTo>
                      <a:pt x="1120" y="116"/>
                    </a:lnTo>
                    <a:lnTo>
                      <a:pt x="1118" y="114"/>
                    </a:lnTo>
                    <a:lnTo>
                      <a:pt x="1114" y="114"/>
                    </a:lnTo>
                    <a:lnTo>
                      <a:pt x="1104" y="112"/>
                    </a:lnTo>
                    <a:lnTo>
                      <a:pt x="1096" y="110"/>
                    </a:lnTo>
                    <a:lnTo>
                      <a:pt x="1092" y="108"/>
                    </a:lnTo>
                    <a:lnTo>
                      <a:pt x="1088" y="108"/>
                    </a:lnTo>
                    <a:lnTo>
                      <a:pt x="1086" y="108"/>
                    </a:lnTo>
                    <a:lnTo>
                      <a:pt x="1082" y="108"/>
                    </a:lnTo>
                    <a:lnTo>
                      <a:pt x="1074" y="108"/>
                    </a:lnTo>
                    <a:lnTo>
                      <a:pt x="1066" y="108"/>
                    </a:lnTo>
                    <a:lnTo>
                      <a:pt x="1058" y="108"/>
                    </a:lnTo>
                    <a:lnTo>
                      <a:pt x="1042" y="108"/>
                    </a:lnTo>
                    <a:lnTo>
                      <a:pt x="1034" y="108"/>
                    </a:lnTo>
                    <a:lnTo>
                      <a:pt x="1028" y="108"/>
                    </a:lnTo>
                    <a:lnTo>
                      <a:pt x="1022" y="108"/>
                    </a:lnTo>
                    <a:lnTo>
                      <a:pt x="1018" y="108"/>
                    </a:lnTo>
                    <a:lnTo>
                      <a:pt x="1014" y="108"/>
                    </a:lnTo>
                    <a:lnTo>
                      <a:pt x="1012" y="108"/>
                    </a:lnTo>
                    <a:lnTo>
                      <a:pt x="1008" y="108"/>
                    </a:lnTo>
                    <a:lnTo>
                      <a:pt x="1006" y="108"/>
                    </a:lnTo>
                    <a:lnTo>
                      <a:pt x="1004" y="110"/>
                    </a:lnTo>
                    <a:lnTo>
                      <a:pt x="1002" y="110"/>
                    </a:lnTo>
                    <a:lnTo>
                      <a:pt x="998" y="112"/>
                    </a:lnTo>
                    <a:lnTo>
                      <a:pt x="996" y="112"/>
                    </a:lnTo>
                    <a:lnTo>
                      <a:pt x="990" y="116"/>
                    </a:lnTo>
                    <a:lnTo>
                      <a:pt x="988" y="116"/>
                    </a:lnTo>
                    <a:lnTo>
                      <a:pt x="984" y="118"/>
                    </a:lnTo>
                    <a:lnTo>
                      <a:pt x="984" y="118"/>
                    </a:lnTo>
                    <a:lnTo>
                      <a:pt x="982" y="118"/>
                    </a:lnTo>
                    <a:lnTo>
                      <a:pt x="978" y="120"/>
                    </a:lnTo>
                    <a:lnTo>
                      <a:pt x="974" y="124"/>
                    </a:lnTo>
                    <a:lnTo>
                      <a:pt x="968" y="126"/>
                    </a:lnTo>
                    <a:lnTo>
                      <a:pt x="966" y="126"/>
                    </a:lnTo>
                    <a:lnTo>
                      <a:pt x="964" y="128"/>
                    </a:lnTo>
                    <a:lnTo>
                      <a:pt x="962" y="128"/>
                    </a:lnTo>
                    <a:lnTo>
                      <a:pt x="960" y="128"/>
                    </a:lnTo>
                    <a:lnTo>
                      <a:pt x="958" y="128"/>
                    </a:lnTo>
                    <a:lnTo>
                      <a:pt x="958" y="128"/>
                    </a:lnTo>
                    <a:lnTo>
                      <a:pt x="956" y="128"/>
                    </a:lnTo>
                    <a:lnTo>
                      <a:pt x="956" y="128"/>
                    </a:lnTo>
                    <a:lnTo>
                      <a:pt x="956" y="128"/>
                    </a:lnTo>
                    <a:lnTo>
                      <a:pt x="956" y="128"/>
                    </a:lnTo>
                    <a:lnTo>
                      <a:pt x="954" y="128"/>
                    </a:lnTo>
                    <a:lnTo>
                      <a:pt x="954" y="126"/>
                    </a:lnTo>
                    <a:lnTo>
                      <a:pt x="954" y="126"/>
                    </a:lnTo>
                    <a:lnTo>
                      <a:pt x="954" y="126"/>
                    </a:lnTo>
                    <a:lnTo>
                      <a:pt x="954" y="124"/>
                    </a:lnTo>
                    <a:lnTo>
                      <a:pt x="956" y="122"/>
                    </a:lnTo>
                    <a:lnTo>
                      <a:pt x="956" y="122"/>
                    </a:lnTo>
                    <a:lnTo>
                      <a:pt x="956" y="120"/>
                    </a:lnTo>
                    <a:lnTo>
                      <a:pt x="958" y="120"/>
                    </a:lnTo>
                    <a:lnTo>
                      <a:pt x="960" y="118"/>
                    </a:lnTo>
                    <a:lnTo>
                      <a:pt x="962" y="116"/>
                    </a:lnTo>
                    <a:lnTo>
                      <a:pt x="966" y="114"/>
                    </a:lnTo>
                    <a:lnTo>
                      <a:pt x="970" y="110"/>
                    </a:lnTo>
                    <a:lnTo>
                      <a:pt x="972" y="108"/>
                    </a:lnTo>
                    <a:lnTo>
                      <a:pt x="972" y="108"/>
                    </a:lnTo>
                    <a:lnTo>
                      <a:pt x="976" y="106"/>
                    </a:lnTo>
                    <a:lnTo>
                      <a:pt x="980" y="104"/>
                    </a:lnTo>
                    <a:lnTo>
                      <a:pt x="984" y="102"/>
                    </a:lnTo>
                    <a:lnTo>
                      <a:pt x="994" y="98"/>
                    </a:lnTo>
                    <a:lnTo>
                      <a:pt x="996" y="96"/>
                    </a:lnTo>
                    <a:lnTo>
                      <a:pt x="1000" y="94"/>
                    </a:lnTo>
                    <a:lnTo>
                      <a:pt x="1006" y="92"/>
                    </a:lnTo>
                    <a:lnTo>
                      <a:pt x="1010" y="90"/>
                    </a:lnTo>
                    <a:lnTo>
                      <a:pt x="1012" y="88"/>
                    </a:lnTo>
                    <a:lnTo>
                      <a:pt x="1012" y="88"/>
                    </a:lnTo>
                    <a:lnTo>
                      <a:pt x="1016" y="86"/>
                    </a:lnTo>
                    <a:lnTo>
                      <a:pt x="1018" y="84"/>
                    </a:lnTo>
                    <a:lnTo>
                      <a:pt x="1022" y="82"/>
                    </a:lnTo>
                    <a:lnTo>
                      <a:pt x="1022" y="80"/>
                    </a:lnTo>
                    <a:lnTo>
                      <a:pt x="1026" y="78"/>
                    </a:lnTo>
                    <a:lnTo>
                      <a:pt x="1026" y="76"/>
                    </a:lnTo>
                    <a:lnTo>
                      <a:pt x="1028" y="74"/>
                    </a:lnTo>
                    <a:lnTo>
                      <a:pt x="1028" y="72"/>
                    </a:lnTo>
                    <a:lnTo>
                      <a:pt x="1030" y="68"/>
                    </a:lnTo>
                    <a:lnTo>
                      <a:pt x="1030" y="66"/>
                    </a:lnTo>
                    <a:lnTo>
                      <a:pt x="1030" y="62"/>
                    </a:lnTo>
                    <a:lnTo>
                      <a:pt x="1032" y="60"/>
                    </a:lnTo>
                    <a:lnTo>
                      <a:pt x="1032" y="56"/>
                    </a:lnTo>
                    <a:lnTo>
                      <a:pt x="1032" y="56"/>
                    </a:lnTo>
                    <a:lnTo>
                      <a:pt x="1032" y="54"/>
                    </a:lnTo>
                    <a:lnTo>
                      <a:pt x="1030" y="52"/>
                    </a:lnTo>
                    <a:lnTo>
                      <a:pt x="1030" y="52"/>
                    </a:lnTo>
                    <a:lnTo>
                      <a:pt x="1030" y="50"/>
                    </a:lnTo>
                    <a:lnTo>
                      <a:pt x="1028" y="50"/>
                    </a:lnTo>
                    <a:lnTo>
                      <a:pt x="1028" y="50"/>
                    </a:lnTo>
                    <a:lnTo>
                      <a:pt x="1026" y="48"/>
                    </a:lnTo>
                    <a:lnTo>
                      <a:pt x="1024" y="48"/>
                    </a:lnTo>
                    <a:lnTo>
                      <a:pt x="1020" y="46"/>
                    </a:lnTo>
                    <a:lnTo>
                      <a:pt x="1018" y="46"/>
                    </a:lnTo>
                    <a:lnTo>
                      <a:pt x="1014" y="46"/>
                    </a:lnTo>
                    <a:lnTo>
                      <a:pt x="1012" y="44"/>
                    </a:lnTo>
                    <a:lnTo>
                      <a:pt x="1012" y="44"/>
                    </a:lnTo>
                    <a:lnTo>
                      <a:pt x="1010" y="44"/>
                    </a:lnTo>
                    <a:lnTo>
                      <a:pt x="1010" y="42"/>
                    </a:lnTo>
                    <a:lnTo>
                      <a:pt x="1010" y="42"/>
                    </a:lnTo>
                    <a:lnTo>
                      <a:pt x="1008" y="40"/>
                    </a:lnTo>
                    <a:lnTo>
                      <a:pt x="1006" y="38"/>
                    </a:lnTo>
                    <a:lnTo>
                      <a:pt x="1006" y="36"/>
                    </a:lnTo>
                    <a:lnTo>
                      <a:pt x="1004" y="34"/>
                    </a:lnTo>
                    <a:lnTo>
                      <a:pt x="1004" y="32"/>
                    </a:lnTo>
                    <a:lnTo>
                      <a:pt x="1002" y="30"/>
                    </a:lnTo>
                    <a:lnTo>
                      <a:pt x="1002" y="30"/>
                    </a:lnTo>
                    <a:lnTo>
                      <a:pt x="1002" y="30"/>
                    </a:lnTo>
                    <a:lnTo>
                      <a:pt x="1000" y="28"/>
                    </a:lnTo>
                    <a:lnTo>
                      <a:pt x="996" y="28"/>
                    </a:lnTo>
                    <a:lnTo>
                      <a:pt x="994" y="26"/>
                    </a:lnTo>
                    <a:lnTo>
                      <a:pt x="992" y="26"/>
                    </a:lnTo>
                    <a:lnTo>
                      <a:pt x="988" y="24"/>
                    </a:lnTo>
                    <a:lnTo>
                      <a:pt x="984" y="24"/>
                    </a:lnTo>
                    <a:lnTo>
                      <a:pt x="982" y="24"/>
                    </a:lnTo>
                    <a:lnTo>
                      <a:pt x="978" y="24"/>
                    </a:lnTo>
                    <a:lnTo>
                      <a:pt x="974" y="22"/>
                    </a:lnTo>
                    <a:lnTo>
                      <a:pt x="970" y="22"/>
                    </a:lnTo>
                    <a:lnTo>
                      <a:pt x="968" y="22"/>
                    </a:lnTo>
                    <a:lnTo>
                      <a:pt x="964" y="24"/>
                    </a:lnTo>
                    <a:lnTo>
                      <a:pt x="962" y="24"/>
                    </a:lnTo>
                    <a:lnTo>
                      <a:pt x="958" y="24"/>
                    </a:lnTo>
                    <a:lnTo>
                      <a:pt x="956" y="24"/>
                    </a:lnTo>
                    <a:lnTo>
                      <a:pt x="954" y="26"/>
                    </a:lnTo>
                    <a:lnTo>
                      <a:pt x="952" y="26"/>
                    </a:lnTo>
                    <a:lnTo>
                      <a:pt x="952" y="26"/>
                    </a:lnTo>
                    <a:lnTo>
                      <a:pt x="952" y="28"/>
                    </a:lnTo>
                    <a:lnTo>
                      <a:pt x="950" y="28"/>
                    </a:lnTo>
                    <a:lnTo>
                      <a:pt x="950" y="30"/>
                    </a:lnTo>
                    <a:lnTo>
                      <a:pt x="948" y="32"/>
                    </a:lnTo>
                    <a:lnTo>
                      <a:pt x="946" y="34"/>
                    </a:lnTo>
                    <a:lnTo>
                      <a:pt x="946" y="34"/>
                    </a:lnTo>
                    <a:lnTo>
                      <a:pt x="946" y="36"/>
                    </a:lnTo>
                    <a:lnTo>
                      <a:pt x="944" y="36"/>
                    </a:lnTo>
                    <a:lnTo>
                      <a:pt x="944" y="36"/>
                    </a:lnTo>
                    <a:lnTo>
                      <a:pt x="942" y="36"/>
                    </a:lnTo>
                    <a:lnTo>
                      <a:pt x="942" y="36"/>
                    </a:lnTo>
                    <a:lnTo>
                      <a:pt x="940" y="34"/>
                    </a:lnTo>
                    <a:lnTo>
                      <a:pt x="938" y="34"/>
                    </a:lnTo>
                    <a:lnTo>
                      <a:pt x="936" y="32"/>
                    </a:lnTo>
                    <a:lnTo>
                      <a:pt x="934" y="32"/>
                    </a:lnTo>
                    <a:lnTo>
                      <a:pt x="932" y="30"/>
                    </a:lnTo>
                    <a:lnTo>
                      <a:pt x="930" y="28"/>
                    </a:lnTo>
                    <a:lnTo>
                      <a:pt x="928" y="28"/>
                    </a:lnTo>
                    <a:lnTo>
                      <a:pt x="928" y="26"/>
                    </a:lnTo>
                    <a:lnTo>
                      <a:pt x="926" y="26"/>
                    </a:lnTo>
                    <a:lnTo>
                      <a:pt x="926" y="22"/>
                    </a:lnTo>
                    <a:lnTo>
                      <a:pt x="924" y="18"/>
                    </a:lnTo>
                    <a:lnTo>
                      <a:pt x="922" y="18"/>
                    </a:lnTo>
                    <a:lnTo>
                      <a:pt x="922" y="16"/>
                    </a:lnTo>
                    <a:lnTo>
                      <a:pt x="920" y="16"/>
                    </a:lnTo>
                    <a:lnTo>
                      <a:pt x="920" y="14"/>
                    </a:lnTo>
                    <a:lnTo>
                      <a:pt x="916" y="10"/>
                    </a:lnTo>
                    <a:lnTo>
                      <a:pt x="912" y="8"/>
                    </a:lnTo>
                    <a:lnTo>
                      <a:pt x="910" y="6"/>
                    </a:lnTo>
                    <a:lnTo>
                      <a:pt x="906" y="4"/>
                    </a:lnTo>
                    <a:lnTo>
                      <a:pt x="904" y="2"/>
                    </a:lnTo>
                    <a:lnTo>
                      <a:pt x="902" y="2"/>
                    </a:lnTo>
                    <a:lnTo>
                      <a:pt x="900" y="0"/>
                    </a:lnTo>
                    <a:lnTo>
                      <a:pt x="900" y="0"/>
                    </a:lnTo>
                    <a:lnTo>
                      <a:pt x="898" y="0"/>
                    </a:lnTo>
                    <a:lnTo>
                      <a:pt x="896" y="0"/>
                    </a:lnTo>
                    <a:lnTo>
                      <a:pt x="896" y="0"/>
                    </a:lnTo>
                    <a:lnTo>
                      <a:pt x="892" y="0"/>
                    </a:lnTo>
                    <a:lnTo>
                      <a:pt x="888" y="2"/>
                    </a:lnTo>
                    <a:lnTo>
                      <a:pt x="886" y="4"/>
                    </a:lnTo>
                    <a:lnTo>
                      <a:pt x="882" y="4"/>
                    </a:lnTo>
                    <a:lnTo>
                      <a:pt x="878" y="6"/>
                    </a:lnTo>
                    <a:lnTo>
                      <a:pt x="876" y="8"/>
                    </a:lnTo>
                    <a:lnTo>
                      <a:pt x="876" y="10"/>
                    </a:lnTo>
                    <a:lnTo>
                      <a:pt x="874" y="10"/>
                    </a:lnTo>
                    <a:lnTo>
                      <a:pt x="874" y="10"/>
                    </a:lnTo>
                    <a:lnTo>
                      <a:pt x="874" y="12"/>
                    </a:lnTo>
                    <a:lnTo>
                      <a:pt x="872" y="14"/>
                    </a:lnTo>
                    <a:lnTo>
                      <a:pt x="872" y="16"/>
                    </a:lnTo>
                    <a:lnTo>
                      <a:pt x="872" y="20"/>
                    </a:lnTo>
                    <a:lnTo>
                      <a:pt x="870" y="24"/>
                    </a:lnTo>
                    <a:lnTo>
                      <a:pt x="870" y="28"/>
                    </a:lnTo>
                    <a:lnTo>
                      <a:pt x="870" y="30"/>
                    </a:lnTo>
                    <a:lnTo>
                      <a:pt x="868" y="30"/>
                    </a:lnTo>
                    <a:lnTo>
                      <a:pt x="868" y="30"/>
                    </a:lnTo>
                    <a:lnTo>
                      <a:pt x="866" y="32"/>
                    </a:lnTo>
                    <a:lnTo>
                      <a:pt x="866" y="34"/>
                    </a:lnTo>
                    <a:lnTo>
                      <a:pt x="864" y="34"/>
                    </a:lnTo>
                    <a:lnTo>
                      <a:pt x="864" y="36"/>
                    </a:lnTo>
                    <a:lnTo>
                      <a:pt x="864" y="36"/>
                    </a:lnTo>
                    <a:lnTo>
                      <a:pt x="864" y="36"/>
                    </a:lnTo>
                    <a:lnTo>
                      <a:pt x="864" y="38"/>
                    </a:lnTo>
                    <a:lnTo>
                      <a:pt x="864" y="38"/>
                    </a:lnTo>
                    <a:lnTo>
                      <a:pt x="866" y="38"/>
                    </a:lnTo>
                    <a:lnTo>
                      <a:pt x="866" y="38"/>
                    </a:lnTo>
                    <a:lnTo>
                      <a:pt x="868" y="38"/>
                    </a:lnTo>
                    <a:lnTo>
                      <a:pt x="870" y="38"/>
                    </a:lnTo>
                    <a:lnTo>
                      <a:pt x="872" y="38"/>
                    </a:lnTo>
                    <a:lnTo>
                      <a:pt x="874" y="38"/>
                    </a:lnTo>
                    <a:lnTo>
                      <a:pt x="874" y="40"/>
                    </a:lnTo>
                    <a:lnTo>
                      <a:pt x="874" y="40"/>
                    </a:lnTo>
                    <a:lnTo>
                      <a:pt x="876" y="40"/>
                    </a:lnTo>
                    <a:lnTo>
                      <a:pt x="876" y="40"/>
                    </a:lnTo>
                    <a:lnTo>
                      <a:pt x="876" y="42"/>
                    </a:lnTo>
                    <a:lnTo>
                      <a:pt x="876" y="42"/>
                    </a:lnTo>
                    <a:lnTo>
                      <a:pt x="874" y="42"/>
                    </a:lnTo>
                    <a:lnTo>
                      <a:pt x="874" y="44"/>
                    </a:lnTo>
                    <a:lnTo>
                      <a:pt x="872" y="44"/>
                    </a:lnTo>
                    <a:lnTo>
                      <a:pt x="872" y="44"/>
                    </a:lnTo>
                    <a:lnTo>
                      <a:pt x="870" y="46"/>
                    </a:lnTo>
                    <a:lnTo>
                      <a:pt x="866" y="48"/>
                    </a:lnTo>
                    <a:lnTo>
                      <a:pt x="864" y="48"/>
                    </a:lnTo>
                    <a:lnTo>
                      <a:pt x="862" y="48"/>
                    </a:lnTo>
                    <a:lnTo>
                      <a:pt x="860" y="50"/>
                    </a:lnTo>
                    <a:lnTo>
                      <a:pt x="858" y="50"/>
                    </a:lnTo>
                    <a:lnTo>
                      <a:pt x="856" y="50"/>
                    </a:lnTo>
                    <a:lnTo>
                      <a:pt x="854" y="48"/>
                    </a:lnTo>
                    <a:lnTo>
                      <a:pt x="850" y="48"/>
                    </a:lnTo>
                    <a:lnTo>
                      <a:pt x="848" y="48"/>
                    </a:lnTo>
                    <a:lnTo>
                      <a:pt x="840" y="46"/>
                    </a:lnTo>
                    <a:lnTo>
                      <a:pt x="838" y="44"/>
                    </a:lnTo>
                    <a:lnTo>
                      <a:pt x="836" y="44"/>
                    </a:lnTo>
                    <a:lnTo>
                      <a:pt x="836" y="44"/>
                    </a:lnTo>
                    <a:lnTo>
                      <a:pt x="832" y="44"/>
                    </a:lnTo>
                    <a:lnTo>
                      <a:pt x="826" y="44"/>
                    </a:lnTo>
                    <a:lnTo>
                      <a:pt x="824" y="44"/>
                    </a:lnTo>
                    <a:lnTo>
                      <a:pt x="822" y="46"/>
                    </a:lnTo>
                    <a:lnTo>
                      <a:pt x="820" y="46"/>
                    </a:lnTo>
                    <a:lnTo>
                      <a:pt x="818" y="46"/>
                    </a:lnTo>
                    <a:lnTo>
                      <a:pt x="818" y="48"/>
                    </a:lnTo>
                    <a:lnTo>
                      <a:pt x="816" y="48"/>
                    </a:lnTo>
                    <a:lnTo>
                      <a:pt x="816" y="50"/>
                    </a:lnTo>
                    <a:lnTo>
                      <a:pt x="814" y="52"/>
                    </a:lnTo>
                    <a:lnTo>
                      <a:pt x="814" y="54"/>
                    </a:lnTo>
                    <a:lnTo>
                      <a:pt x="812" y="54"/>
                    </a:lnTo>
                    <a:lnTo>
                      <a:pt x="812" y="54"/>
                    </a:lnTo>
                    <a:lnTo>
                      <a:pt x="812" y="54"/>
                    </a:lnTo>
                    <a:lnTo>
                      <a:pt x="810" y="54"/>
                    </a:lnTo>
                    <a:lnTo>
                      <a:pt x="810" y="54"/>
                    </a:lnTo>
                    <a:lnTo>
                      <a:pt x="810" y="54"/>
                    </a:lnTo>
                    <a:lnTo>
                      <a:pt x="808" y="52"/>
                    </a:lnTo>
                    <a:lnTo>
                      <a:pt x="808" y="50"/>
                    </a:lnTo>
                    <a:lnTo>
                      <a:pt x="806" y="48"/>
                    </a:lnTo>
                    <a:lnTo>
                      <a:pt x="804" y="46"/>
                    </a:lnTo>
                    <a:lnTo>
                      <a:pt x="804" y="44"/>
                    </a:lnTo>
                    <a:lnTo>
                      <a:pt x="804" y="44"/>
                    </a:lnTo>
                    <a:lnTo>
                      <a:pt x="802" y="42"/>
                    </a:lnTo>
                    <a:lnTo>
                      <a:pt x="802" y="42"/>
                    </a:lnTo>
                    <a:lnTo>
                      <a:pt x="802" y="42"/>
                    </a:lnTo>
                    <a:lnTo>
                      <a:pt x="800" y="42"/>
                    </a:lnTo>
                    <a:lnTo>
                      <a:pt x="800" y="42"/>
                    </a:lnTo>
                    <a:lnTo>
                      <a:pt x="798" y="42"/>
                    </a:lnTo>
                    <a:lnTo>
                      <a:pt x="798" y="42"/>
                    </a:lnTo>
                    <a:lnTo>
                      <a:pt x="796" y="44"/>
                    </a:lnTo>
                    <a:lnTo>
                      <a:pt x="794" y="44"/>
                    </a:lnTo>
                    <a:lnTo>
                      <a:pt x="792" y="46"/>
                    </a:lnTo>
                    <a:lnTo>
                      <a:pt x="790" y="46"/>
                    </a:lnTo>
                    <a:lnTo>
                      <a:pt x="788" y="48"/>
                    </a:lnTo>
                    <a:lnTo>
                      <a:pt x="788" y="48"/>
                    </a:lnTo>
                    <a:lnTo>
                      <a:pt x="788" y="48"/>
                    </a:lnTo>
                    <a:lnTo>
                      <a:pt x="786" y="48"/>
                    </a:lnTo>
                    <a:lnTo>
                      <a:pt x="786" y="48"/>
                    </a:lnTo>
                    <a:lnTo>
                      <a:pt x="784" y="48"/>
                    </a:lnTo>
                    <a:lnTo>
                      <a:pt x="780" y="46"/>
                    </a:lnTo>
                    <a:lnTo>
                      <a:pt x="780" y="44"/>
                    </a:lnTo>
                    <a:lnTo>
                      <a:pt x="778" y="44"/>
                    </a:lnTo>
                    <a:lnTo>
                      <a:pt x="776" y="44"/>
                    </a:lnTo>
                    <a:lnTo>
                      <a:pt x="776" y="44"/>
                    </a:lnTo>
                    <a:lnTo>
                      <a:pt x="776" y="44"/>
                    </a:lnTo>
                    <a:lnTo>
                      <a:pt x="774" y="44"/>
                    </a:lnTo>
                    <a:lnTo>
                      <a:pt x="774" y="44"/>
                    </a:lnTo>
                    <a:lnTo>
                      <a:pt x="774" y="46"/>
                    </a:lnTo>
                    <a:lnTo>
                      <a:pt x="774" y="46"/>
                    </a:lnTo>
                    <a:lnTo>
                      <a:pt x="774" y="46"/>
                    </a:lnTo>
                    <a:lnTo>
                      <a:pt x="774" y="48"/>
                    </a:lnTo>
                    <a:lnTo>
                      <a:pt x="774" y="50"/>
                    </a:lnTo>
                    <a:lnTo>
                      <a:pt x="774" y="52"/>
                    </a:lnTo>
                    <a:lnTo>
                      <a:pt x="774" y="54"/>
                    </a:lnTo>
                    <a:lnTo>
                      <a:pt x="774" y="54"/>
                    </a:lnTo>
                    <a:lnTo>
                      <a:pt x="774" y="56"/>
                    </a:lnTo>
                    <a:lnTo>
                      <a:pt x="774" y="56"/>
                    </a:lnTo>
                    <a:lnTo>
                      <a:pt x="774" y="56"/>
                    </a:lnTo>
                    <a:lnTo>
                      <a:pt x="772" y="58"/>
                    </a:lnTo>
                    <a:lnTo>
                      <a:pt x="772" y="58"/>
                    </a:lnTo>
                    <a:lnTo>
                      <a:pt x="770" y="58"/>
                    </a:lnTo>
                    <a:lnTo>
                      <a:pt x="768" y="58"/>
                    </a:lnTo>
                    <a:lnTo>
                      <a:pt x="766" y="58"/>
                    </a:lnTo>
                    <a:lnTo>
                      <a:pt x="766" y="60"/>
                    </a:lnTo>
                    <a:lnTo>
                      <a:pt x="762" y="58"/>
                    </a:lnTo>
                    <a:lnTo>
                      <a:pt x="754" y="58"/>
                    </a:lnTo>
                    <a:lnTo>
                      <a:pt x="752" y="58"/>
                    </a:lnTo>
                    <a:lnTo>
                      <a:pt x="748" y="58"/>
                    </a:lnTo>
                    <a:lnTo>
                      <a:pt x="744" y="58"/>
                    </a:lnTo>
                    <a:lnTo>
                      <a:pt x="736" y="58"/>
                    </a:lnTo>
                    <a:lnTo>
                      <a:pt x="734" y="60"/>
                    </a:lnTo>
                    <a:lnTo>
                      <a:pt x="730" y="60"/>
                    </a:lnTo>
                    <a:lnTo>
                      <a:pt x="728" y="60"/>
                    </a:lnTo>
                    <a:lnTo>
                      <a:pt x="726" y="60"/>
                    </a:lnTo>
                    <a:lnTo>
                      <a:pt x="724" y="62"/>
                    </a:lnTo>
                    <a:lnTo>
                      <a:pt x="722" y="62"/>
                    </a:lnTo>
                    <a:lnTo>
                      <a:pt x="718" y="64"/>
                    </a:lnTo>
                    <a:lnTo>
                      <a:pt x="714" y="68"/>
                    </a:lnTo>
                    <a:lnTo>
                      <a:pt x="712" y="68"/>
                    </a:lnTo>
                    <a:lnTo>
                      <a:pt x="710" y="70"/>
                    </a:lnTo>
                    <a:lnTo>
                      <a:pt x="708" y="70"/>
                    </a:lnTo>
                    <a:lnTo>
                      <a:pt x="706" y="70"/>
                    </a:lnTo>
                    <a:lnTo>
                      <a:pt x="702" y="72"/>
                    </a:lnTo>
                    <a:lnTo>
                      <a:pt x="700" y="72"/>
                    </a:lnTo>
                    <a:lnTo>
                      <a:pt x="698" y="74"/>
                    </a:lnTo>
                    <a:lnTo>
                      <a:pt x="696" y="74"/>
                    </a:lnTo>
                    <a:lnTo>
                      <a:pt x="696" y="74"/>
                    </a:lnTo>
                    <a:lnTo>
                      <a:pt x="694" y="76"/>
                    </a:lnTo>
                    <a:lnTo>
                      <a:pt x="694" y="76"/>
                    </a:lnTo>
                    <a:lnTo>
                      <a:pt x="694" y="76"/>
                    </a:lnTo>
                    <a:lnTo>
                      <a:pt x="694" y="78"/>
                    </a:lnTo>
                    <a:lnTo>
                      <a:pt x="692" y="80"/>
                    </a:lnTo>
                    <a:lnTo>
                      <a:pt x="692" y="82"/>
                    </a:lnTo>
                    <a:lnTo>
                      <a:pt x="692" y="84"/>
                    </a:lnTo>
                    <a:lnTo>
                      <a:pt x="694" y="86"/>
                    </a:lnTo>
                    <a:lnTo>
                      <a:pt x="694" y="88"/>
                    </a:lnTo>
                    <a:lnTo>
                      <a:pt x="694" y="88"/>
                    </a:lnTo>
                    <a:lnTo>
                      <a:pt x="694" y="88"/>
                    </a:lnTo>
                    <a:lnTo>
                      <a:pt x="696" y="88"/>
                    </a:lnTo>
                    <a:lnTo>
                      <a:pt x="696" y="90"/>
                    </a:lnTo>
                    <a:lnTo>
                      <a:pt x="698" y="90"/>
                    </a:lnTo>
                    <a:lnTo>
                      <a:pt x="700" y="90"/>
                    </a:lnTo>
                    <a:lnTo>
                      <a:pt x="702" y="90"/>
                    </a:lnTo>
                    <a:lnTo>
                      <a:pt x="704" y="90"/>
                    </a:lnTo>
                    <a:lnTo>
                      <a:pt x="706" y="92"/>
                    </a:lnTo>
                    <a:lnTo>
                      <a:pt x="706" y="92"/>
                    </a:lnTo>
                    <a:lnTo>
                      <a:pt x="706" y="92"/>
                    </a:lnTo>
                    <a:lnTo>
                      <a:pt x="708" y="94"/>
                    </a:lnTo>
                    <a:lnTo>
                      <a:pt x="708" y="96"/>
                    </a:lnTo>
                    <a:lnTo>
                      <a:pt x="710" y="98"/>
                    </a:lnTo>
                    <a:lnTo>
                      <a:pt x="710" y="100"/>
                    </a:lnTo>
                    <a:lnTo>
                      <a:pt x="712" y="102"/>
                    </a:lnTo>
                    <a:lnTo>
                      <a:pt x="712" y="104"/>
                    </a:lnTo>
                    <a:lnTo>
                      <a:pt x="712" y="104"/>
                    </a:lnTo>
                    <a:lnTo>
                      <a:pt x="712" y="106"/>
                    </a:lnTo>
                    <a:lnTo>
                      <a:pt x="712" y="106"/>
                    </a:lnTo>
                    <a:lnTo>
                      <a:pt x="710" y="108"/>
                    </a:lnTo>
                    <a:lnTo>
                      <a:pt x="710" y="108"/>
                    </a:lnTo>
                    <a:lnTo>
                      <a:pt x="710" y="110"/>
                    </a:lnTo>
                    <a:lnTo>
                      <a:pt x="708" y="110"/>
                    </a:lnTo>
                    <a:lnTo>
                      <a:pt x="708" y="110"/>
                    </a:lnTo>
                    <a:lnTo>
                      <a:pt x="706" y="110"/>
                    </a:lnTo>
                    <a:lnTo>
                      <a:pt x="704" y="110"/>
                    </a:lnTo>
                    <a:lnTo>
                      <a:pt x="704" y="110"/>
                    </a:lnTo>
                    <a:lnTo>
                      <a:pt x="700" y="108"/>
                    </a:lnTo>
                    <a:lnTo>
                      <a:pt x="694" y="106"/>
                    </a:lnTo>
                    <a:lnTo>
                      <a:pt x="690" y="106"/>
                    </a:lnTo>
                    <a:lnTo>
                      <a:pt x="688" y="106"/>
                    </a:lnTo>
                    <a:lnTo>
                      <a:pt x="688" y="106"/>
                    </a:lnTo>
                    <a:lnTo>
                      <a:pt x="682" y="106"/>
                    </a:lnTo>
                    <a:lnTo>
                      <a:pt x="674" y="106"/>
                    </a:lnTo>
                    <a:lnTo>
                      <a:pt x="670" y="106"/>
                    </a:lnTo>
                    <a:lnTo>
                      <a:pt x="666" y="106"/>
                    </a:lnTo>
                    <a:lnTo>
                      <a:pt x="662" y="106"/>
                    </a:lnTo>
                    <a:lnTo>
                      <a:pt x="658" y="108"/>
                    </a:lnTo>
                    <a:lnTo>
                      <a:pt x="654" y="108"/>
                    </a:lnTo>
                    <a:lnTo>
                      <a:pt x="652" y="108"/>
                    </a:lnTo>
                    <a:lnTo>
                      <a:pt x="650" y="110"/>
                    </a:lnTo>
                    <a:lnTo>
                      <a:pt x="648" y="110"/>
                    </a:lnTo>
                    <a:lnTo>
                      <a:pt x="646" y="112"/>
                    </a:lnTo>
                    <a:lnTo>
                      <a:pt x="644" y="112"/>
                    </a:lnTo>
                    <a:lnTo>
                      <a:pt x="644" y="112"/>
                    </a:lnTo>
                    <a:lnTo>
                      <a:pt x="642" y="114"/>
                    </a:lnTo>
                    <a:lnTo>
                      <a:pt x="642" y="114"/>
                    </a:lnTo>
                    <a:lnTo>
                      <a:pt x="642" y="114"/>
                    </a:lnTo>
                    <a:lnTo>
                      <a:pt x="640" y="116"/>
                    </a:lnTo>
                    <a:lnTo>
                      <a:pt x="640" y="118"/>
                    </a:lnTo>
                    <a:lnTo>
                      <a:pt x="640" y="122"/>
                    </a:lnTo>
                    <a:lnTo>
                      <a:pt x="638" y="124"/>
                    </a:lnTo>
                    <a:lnTo>
                      <a:pt x="638" y="126"/>
                    </a:lnTo>
                    <a:lnTo>
                      <a:pt x="638" y="128"/>
                    </a:lnTo>
                    <a:lnTo>
                      <a:pt x="638" y="130"/>
                    </a:lnTo>
                    <a:lnTo>
                      <a:pt x="640" y="132"/>
                    </a:lnTo>
                    <a:lnTo>
                      <a:pt x="640" y="134"/>
                    </a:lnTo>
                    <a:lnTo>
                      <a:pt x="640" y="136"/>
                    </a:lnTo>
                    <a:lnTo>
                      <a:pt x="642" y="138"/>
                    </a:lnTo>
                    <a:lnTo>
                      <a:pt x="642" y="140"/>
                    </a:lnTo>
                    <a:lnTo>
                      <a:pt x="644" y="142"/>
                    </a:lnTo>
                    <a:lnTo>
                      <a:pt x="646" y="142"/>
                    </a:lnTo>
                    <a:lnTo>
                      <a:pt x="646" y="144"/>
                    </a:lnTo>
                    <a:lnTo>
                      <a:pt x="646" y="144"/>
                    </a:lnTo>
                    <a:lnTo>
                      <a:pt x="648" y="144"/>
                    </a:lnTo>
                    <a:lnTo>
                      <a:pt x="648" y="144"/>
                    </a:lnTo>
                    <a:lnTo>
                      <a:pt x="650" y="144"/>
                    </a:lnTo>
                    <a:lnTo>
                      <a:pt x="652" y="144"/>
                    </a:lnTo>
                    <a:lnTo>
                      <a:pt x="654" y="144"/>
                    </a:lnTo>
                    <a:lnTo>
                      <a:pt x="656" y="144"/>
                    </a:lnTo>
                    <a:lnTo>
                      <a:pt x="658" y="144"/>
                    </a:lnTo>
                    <a:lnTo>
                      <a:pt x="658" y="144"/>
                    </a:lnTo>
                    <a:lnTo>
                      <a:pt x="658" y="144"/>
                    </a:lnTo>
                    <a:lnTo>
                      <a:pt x="660" y="146"/>
                    </a:lnTo>
                    <a:lnTo>
                      <a:pt x="662" y="148"/>
                    </a:lnTo>
                    <a:lnTo>
                      <a:pt x="664" y="148"/>
                    </a:lnTo>
                    <a:lnTo>
                      <a:pt x="664" y="150"/>
                    </a:lnTo>
                    <a:lnTo>
                      <a:pt x="666" y="154"/>
                    </a:lnTo>
                    <a:lnTo>
                      <a:pt x="670" y="158"/>
                    </a:lnTo>
                    <a:lnTo>
                      <a:pt x="672" y="162"/>
                    </a:lnTo>
                    <a:lnTo>
                      <a:pt x="674" y="166"/>
                    </a:lnTo>
                    <a:lnTo>
                      <a:pt x="676" y="168"/>
                    </a:lnTo>
                    <a:lnTo>
                      <a:pt x="676" y="170"/>
                    </a:lnTo>
                    <a:lnTo>
                      <a:pt x="678" y="172"/>
                    </a:lnTo>
                    <a:lnTo>
                      <a:pt x="678" y="174"/>
                    </a:lnTo>
                    <a:lnTo>
                      <a:pt x="678" y="176"/>
                    </a:lnTo>
                    <a:lnTo>
                      <a:pt x="678" y="178"/>
                    </a:lnTo>
                    <a:lnTo>
                      <a:pt x="678" y="180"/>
                    </a:lnTo>
                    <a:lnTo>
                      <a:pt x="678" y="182"/>
                    </a:lnTo>
                    <a:lnTo>
                      <a:pt x="678" y="184"/>
                    </a:lnTo>
                    <a:lnTo>
                      <a:pt x="678" y="186"/>
                    </a:lnTo>
                    <a:lnTo>
                      <a:pt x="678" y="186"/>
                    </a:lnTo>
                    <a:lnTo>
                      <a:pt x="676" y="186"/>
                    </a:lnTo>
                    <a:lnTo>
                      <a:pt x="676" y="186"/>
                    </a:lnTo>
                    <a:lnTo>
                      <a:pt x="676" y="186"/>
                    </a:lnTo>
                    <a:lnTo>
                      <a:pt x="676" y="186"/>
                    </a:lnTo>
                    <a:lnTo>
                      <a:pt x="674" y="186"/>
                    </a:lnTo>
                    <a:lnTo>
                      <a:pt x="674" y="186"/>
                    </a:lnTo>
                    <a:lnTo>
                      <a:pt x="672" y="186"/>
                    </a:lnTo>
                    <a:lnTo>
                      <a:pt x="670" y="184"/>
                    </a:lnTo>
                    <a:lnTo>
                      <a:pt x="670" y="184"/>
                    </a:lnTo>
                    <a:lnTo>
                      <a:pt x="668" y="182"/>
                    </a:lnTo>
                    <a:lnTo>
                      <a:pt x="666" y="178"/>
                    </a:lnTo>
                    <a:lnTo>
                      <a:pt x="662" y="174"/>
                    </a:lnTo>
                    <a:lnTo>
                      <a:pt x="660" y="170"/>
                    </a:lnTo>
                    <a:lnTo>
                      <a:pt x="658" y="168"/>
                    </a:lnTo>
                    <a:lnTo>
                      <a:pt x="658" y="168"/>
                    </a:lnTo>
                    <a:lnTo>
                      <a:pt x="656" y="166"/>
                    </a:lnTo>
                    <a:lnTo>
                      <a:pt x="656" y="164"/>
                    </a:lnTo>
                    <a:lnTo>
                      <a:pt x="654" y="164"/>
                    </a:lnTo>
                    <a:lnTo>
                      <a:pt x="654" y="164"/>
                    </a:lnTo>
                    <a:lnTo>
                      <a:pt x="650" y="164"/>
                    </a:lnTo>
                    <a:lnTo>
                      <a:pt x="648" y="162"/>
                    </a:lnTo>
                    <a:lnTo>
                      <a:pt x="644" y="162"/>
                    </a:lnTo>
                    <a:lnTo>
                      <a:pt x="642" y="162"/>
                    </a:lnTo>
                    <a:lnTo>
                      <a:pt x="638" y="160"/>
                    </a:lnTo>
                    <a:lnTo>
                      <a:pt x="636" y="160"/>
                    </a:lnTo>
                    <a:lnTo>
                      <a:pt x="634" y="160"/>
                    </a:lnTo>
                    <a:lnTo>
                      <a:pt x="634" y="158"/>
                    </a:lnTo>
                    <a:lnTo>
                      <a:pt x="634" y="158"/>
                    </a:lnTo>
                    <a:lnTo>
                      <a:pt x="632" y="158"/>
                    </a:lnTo>
                    <a:lnTo>
                      <a:pt x="632" y="156"/>
                    </a:lnTo>
                    <a:lnTo>
                      <a:pt x="630" y="154"/>
                    </a:lnTo>
                    <a:lnTo>
                      <a:pt x="628" y="152"/>
                    </a:lnTo>
                    <a:lnTo>
                      <a:pt x="628" y="150"/>
                    </a:lnTo>
                    <a:lnTo>
                      <a:pt x="626" y="148"/>
                    </a:lnTo>
                    <a:lnTo>
                      <a:pt x="626" y="146"/>
                    </a:lnTo>
                    <a:lnTo>
                      <a:pt x="626" y="146"/>
                    </a:lnTo>
                    <a:lnTo>
                      <a:pt x="624" y="146"/>
                    </a:lnTo>
                    <a:lnTo>
                      <a:pt x="624" y="144"/>
                    </a:lnTo>
                    <a:lnTo>
                      <a:pt x="622" y="144"/>
                    </a:lnTo>
                    <a:lnTo>
                      <a:pt x="620" y="144"/>
                    </a:lnTo>
                    <a:lnTo>
                      <a:pt x="620" y="144"/>
                    </a:lnTo>
                    <a:lnTo>
                      <a:pt x="618" y="144"/>
                    </a:lnTo>
                    <a:lnTo>
                      <a:pt x="616" y="144"/>
                    </a:lnTo>
                    <a:lnTo>
                      <a:pt x="614" y="144"/>
                    </a:lnTo>
                    <a:lnTo>
                      <a:pt x="612" y="146"/>
                    </a:lnTo>
                    <a:lnTo>
                      <a:pt x="612" y="146"/>
                    </a:lnTo>
                    <a:lnTo>
                      <a:pt x="610" y="146"/>
                    </a:lnTo>
                    <a:lnTo>
                      <a:pt x="610" y="148"/>
                    </a:lnTo>
                    <a:lnTo>
                      <a:pt x="608" y="150"/>
                    </a:lnTo>
                    <a:lnTo>
                      <a:pt x="608" y="152"/>
                    </a:lnTo>
                    <a:lnTo>
                      <a:pt x="606" y="154"/>
                    </a:lnTo>
                    <a:lnTo>
                      <a:pt x="606" y="156"/>
                    </a:lnTo>
                    <a:lnTo>
                      <a:pt x="604" y="158"/>
                    </a:lnTo>
                    <a:lnTo>
                      <a:pt x="604" y="160"/>
                    </a:lnTo>
                    <a:lnTo>
                      <a:pt x="604" y="162"/>
                    </a:lnTo>
                    <a:lnTo>
                      <a:pt x="606" y="164"/>
                    </a:lnTo>
                    <a:lnTo>
                      <a:pt x="606" y="164"/>
                    </a:lnTo>
                    <a:lnTo>
                      <a:pt x="606" y="166"/>
                    </a:lnTo>
                    <a:lnTo>
                      <a:pt x="608" y="166"/>
                    </a:lnTo>
                    <a:lnTo>
                      <a:pt x="610" y="170"/>
                    </a:lnTo>
                    <a:lnTo>
                      <a:pt x="610" y="170"/>
                    </a:lnTo>
                    <a:lnTo>
                      <a:pt x="612" y="172"/>
                    </a:lnTo>
                    <a:lnTo>
                      <a:pt x="612" y="174"/>
                    </a:lnTo>
                    <a:lnTo>
                      <a:pt x="612" y="176"/>
                    </a:lnTo>
                    <a:lnTo>
                      <a:pt x="612" y="178"/>
                    </a:lnTo>
                    <a:lnTo>
                      <a:pt x="614" y="178"/>
                    </a:lnTo>
                    <a:lnTo>
                      <a:pt x="612" y="180"/>
                    </a:lnTo>
                    <a:lnTo>
                      <a:pt x="612" y="180"/>
                    </a:lnTo>
                    <a:lnTo>
                      <a:pt x="612" y="180"/>
                    </a:lnTo>
                    <a:lnTo>
                      <a:pt x="612" y="180"/>
                    </a:lnTo>
                    <a:lnTo>
                      <a:pt x="610" y="180"/>
                    </a:lnTo>
                    <a:lnTo>
                      <a:pt x="610" y="180"/>
                    </a:lnTo>
                    <a:lnTo>
                      <a:pt x="608" y="180"/>
                    </a:lnTo>
                    <a:lnTo>
                      <a:pt x="608" y="180"/>
                    </a:lnTo>
                    <a:lnTo>
                      <a:pt x="606" y="180"/>
                    </a:lnTo>
                    <a:lnTo>
                      <a:pt x="604" y="178"/>
                    </a:lnTo>
                    <a:lnTo>
                      <a:pt x="602" y="178"/>
                    </a:lnTo>
                    <a:lnTo>
                      <a:pt x="598" y="176"/>
                    </a:lnTo>
                    <a:lnTo>
                      <a:pt x="594" y="174"/>
                    </a:lnTo>
                    <a:lnTo>
                      <a:pt x="592" y="172"/>
                    </a:lnTo>
                    <a:lnTo>
                      <a:pt x="590" y="170"/>
                    </a:lnTo>
                    <a:lnTo>
                      <a:pt x="588" y="170"/>
                    </a:lnTo>
                    <a:lnTo>
                      <a:pt x="586" y="168"/>
                    </a:lnTo>
                    <a:lnTo>
                      <a:pt x="582" y="164"/>
                    </a:lnTo>
                    <a:lnTo>
                      <a:pt x="580" y="162"/>
                    </a:lnTo>
                    <a:lnTo>
                      <a:pt x="578" y="160"/>
                    </a:lnTo>
                    <a:lnTo>
                      <a:pt x="578" y="160"/>
                    </a:lnTo>
                    <a:lnTo>
                      <a:pt x="578" y="158"/>
                    </a:lnTo>
                    <a:lnTo>
                      <a:pt x="576" y="158"/>
                    </a:lnTo>
                    <a:lnTo>
                      <a:pt x="576" y="156"/>
                    </a:lnTo>
                    <a:lnTo>
                      <a:pt x="576" y="154"/>
                    </a:lnTo>
                    <a:lnTo>
                      <a:pt x="576" y="152"/>
                    </a:lnTo>
                    <a:lnTo>
                      <a:pt x="576" y="150"/>
                    </a:lnTo>
                    <a:lnTo>
                      <a:pt x="576" y="144"/>
                    </a:lnTo>
                    <a:lnTo>
                      <a:pt x="576" y="142"/>
                    </a:lnTo>
                    <a:lnTo>
                      <a:pt x="574" y="140"/>
                    </a:lnTo>
                    <a:lnTo>
                      <a:pt x="574" y="140"/>
                    </a:lnTo>
                    <a:lnTo>
                      <a:pt x="574" y="136"/>
                    </a:lnTo>
                    <a:lnTo>
                      <a:pt x="572" y="134"/>
                    </a:lnTo>
                    <a:lnTo>
                      <a:pt x="572" y="134"/>
                    </a:lnTo>
                    <a:lnTo>
                      <a:pt x="570" y="132"/>
                    </a:lnTo>
                    <a:lnTo>
                      <a:pt x="570" y="130"/>
                    </a:lnTo>
                    <a:lnTo>
                      <a:pt x="568" y="130"/>
                    </a:lnTo>
                    <a:lnTo>
                      <a:pt x="568" y="128"/>
                    </a:lnTo>
                    <a:lnTo>
                      <a:pt x="568" y="128"/>
                    </a:lnTo>
                    <a:lnTo>
                      <a:pt x="566" y="128"/>
                    </a:lnTo>
                    <a:lnTo>
                      <a:pt x="566" y="128"/>
                    </a:lnTo>
                    <a:lnTo>
                      <a:pt x="566" y="128"/>
                    </a:lnTo>
                    <a:lnTo>
                      <a:pt x="564" y="130"/>
                    </a:lnTo>
                    <a:lnTo>
                      <a:pt x="564" y="130"/>
                    </a:lnTo>
                    <a:lnTo>
                      <a:pt x="564" y="130"/>
                    </a:lnTo>
                    <a:lnTo>
                      <a:pt x="562" y="132"/>
                    </a:lnTo>
                    <a:lnTo>
                      <a:pt x="560" y="134"/>
                    </a:lnTo>
                    <a:lnTo>
                      <a:pt x="560" y="136"/>
                    </a:lnTo>
                    <a:lnTo>
                      <a:pt x="558" y="138"/>
                    </a:lnTo>
                    <a:lnTo>
                      <a:pt x="558" y="138"/>
                    </a:lnTo>
                    <a:lnTo>
                      <a:pt x="558" y="140"/>
                    </a:lnTo>
                    <a:lnTo>
                      <a:pt x="558" y="140"/>
                    </a:lnTo>
                    <a:lnTo>
                      <a:pt x="558" y="142"/>
                    </a:lnTo>
                    <a:lnTo>
                      <a:pt x="558" y="144"/>
                    </a:lnTo>
                    <a:lnTo>
                      <a:pt x="558" y="146"/>
                    </a:lnTo>
                    <a:lnTo>
                      <a:pt x="560" y="150"/>
                    </a:lnTo>
                    <a:lnTo>
                      <a:pt x="560" y="152"/>
                    </a:lnTo>
                    <a:lnTo>
                      <a:pt x="560" y="154"/>
                    </a:lnTo>
                    <a:lnTo>
                      <a:pt x="560" y="154"/>
                    </a:lnTo>
                    <a:lnTo>
                      <a:pt x="560" y="156"/>
                    </a:lnTo>
                    <a:lnTo>
                      <a:pt x="560" y="158"/>
                    </a:lnTo>
                    <a:lnTo>
                      <a:pt x="558" y="162"/>
                    </a:lnTo>
                    <a:lnTo>
                      <a:pt x="558" y="162"/>
                    </a:lnTo>
                    <a:lnTo>
                      <a:pt x="558" y="164"/>
                    </a:lnTo>
                    <a:lnTo>
                      <a:pt x="558" y="166"/>
                    </a:lnTo>
                    <a:lnTo>
                      <a:pt x="558" y="170"/>
                    </a:lnTo>
                    <a:lnTo>
                      <a:pt x="558" y="170"/>
                    </a:lnTo>
                    <a:lnTo>
                      <a:pt x="560" y="172"/>
                    </a:lnTo>
                    <a:lnTo>
                      <a:pt x="560" y="172"/>
                    </a:lnTo>
                    <a:lnTo>
                      <a:pt x="560" y="174"/>
                    </a:lnTo>
                    <a:lnTo>
                      <a:pt x="562" y="174"/>
                    </a:lnTo>
                    <a:lnTo>
                      <a:pt x="562" y="174"/>
                    </a:lnTo>
                    <a:lnTo>
                      <a:pt x="564" y="176"/>
                    </a:lnTo>
                    <a:lnTo>
                      <a:pt x="566" y="176"/>
                    </a:lnTo>
                    <a:lnTo>
                      <a:pt x="568" y="176"/>
                    </a:lnTo>
                    <a:lnTo>
                      <a:pt x="568" y="176"/>
                    </a:lnTo>
                    <a:lnTo>
                      <a:pt x="570" y="178"/>
                    </a:lnTo>
                    <a:lnTo>
                      <a:pt x="570" y="178"/>
                    </a:lnTo>
                    <a:lnTo>
                      <a:pt x="570" y="180"/>
                    </a:lnTo>
                    <a:lnTo>
                      <a:pt x="570" y="182"/>
                    </a:lnTo>
                    <a:lnTo>
                      <a:pt x="570" y="184"/>
                    </a:lnTo>
                    <a:lnTo>
                      <a:pt x="570" y="186"/>
                    </a:lnTo>
                    <a:lnTo>
                      <a:pt x="570" y="190"/>
                    </a:lnTo>
                    <a:lnTo>
                      <a:pt x="570" y="198"/>
                    </a:lnTo>
                    <a:lnTo>
                      <a:pt x="570" y="202"/>
                    </a:lnTo>
                    <a:lnTo>
                      <a:pt x="570" y="204"/>
                    </a:lnTo>
                    <a:lnTo>
                      <a:pt x="570" y="208"/>
                    </a:lnTo>
                    <a:lnTo>
                      <a:pt x="572" y="212"/>
                    </a:lnTo>
                    <a:lnTo>
                      <a:pt x="572" y="214"/>
                    </a:lnTo>
                    <a:lnTo>
                      <a:pt x="572" y="216"/>
                    </a:lnTo>
                    <a:lnTo>
                      <a:pt x="572" y="216"/>
                    </a:lnTo>
                    <a:lnTo>
                      <a:pt x="572" y="218"/>
                    </a:lnTo>
                    <a:lnTo>
                      <a:pt x="574" y="218"/>
                    </a:lnTo>
                    <a:lnTo>
                      <a:pt x="574" y="218"/>
                    </a:lnTo>
                    <a:lnTo>
                      <a:pt x="576" y="220"/>
                    </a:lnTo>
                    <a:lnTo>
                      <a:pt x="578" y="220"/>
                    </a:lnTo>
                    <a:lnTo>
                      <a:pt x="580" y="220"/>
                    </a:lnTo>
                    <a:lnTo>
                      <a:pt x="582" y="222"/>
                    </a:lnTo>
                    <a:lnTo>
                      <a:pt x="586" y="222"/>
                    </a:lnTo>
                    <a:lnTo>
                      <a:pt x="588" y="222"/>
                    </a:lnTo>
                    <a:lnTo>
                      <a:pt x="590" y="222"/>
                    </a:lnTo>
                    <a:lnTo>
                      <a:pt x="590" y="222"/>
                    </a:lnTo>
                    <a:lnTo>
                      <a:pt x="592" y="220"/>
                    </a:lnTo>
                    <a:lnTo>
                      <a:pt x="592" y="220"/>
                    </a:lnTo>
                    <a:lnTo>
                      <a:pt x="592" y="220"/>
                    </a:lnTo>
                    <a:lnTo>
                      <a:pt x="592" y="220"/>
                    </a:lnTo>
                    <a:lnTo>
                      <a:pt x="592" y="218"/>
                    </a:lnTo>
                    <a:lnTo>
                      <a:pt x="594" y="218"/>
                    </a:lnTo>
                    <a:lnTo>
                      <a:pt x="594" y="216"/>
                    </a:lnTo>
                    <a:lnTo>
                      <a:pt x="594" y="216"/>
                    </a:lnTo>
                    <a:lnTo>
                      <a:pt x="594" y="214"/>
                    </a:lnTo>
                    <a:lnTo>
                      <a:pt x="594" y="214"/>
                    </a:lnTo>
                    <a:lnTo>
                      <a:pt x="594" y="214"/>
                    </a:lnTo>
                    <a:lnTo>
                      <a:pt x="594" y="212"/>
                    </a:lnTo>
                    <a:lnTo>
                      <a:pt x="596" y="212"/>
                    </a:lnTo>
                    <a:lnTo>
                      <a:pt x="596" y="212"/>
                    </a:lnTo>
                    <a:lnTo>
                      <a:pt x="598" y="212"/>
                    </a:lnTo>
                    <a:lnTo>
                      <a:pt x="598" y="212"/>
                    </a:lnTo>
                    <a:lnTo>
                      <a:pt x="600" y="214"/>
                    </a:lnTo>
                    <a:lnTo>
                      <a:pt x="602" y="214"/>
                    </a:lnTo>
                    <a:lnTo>
                      <a:pt x="606" y="216"/>
                    </a:lnTo>
                    <a:lnTo>
                      <a:pt x="608" y="218"/>
                    </a:lnTo>
                    <a:lnTo>
                      <a:pt x="608" y="218"/>
                    </a:lnTo>
                    <a:lnTo>
                      <a:pt x="614" y="220"/>
                    </a:lnTo>
                    <a:lnTo>
                      <a:pt x="616" y="220"/>
                    </a:lnTo>
                    <a:lnTo>
                      <a:pt x="616" y="222"/>
                    </a:lnTo>
                    <a:lnTo>
                      <a:pt x="618" y="222"/>
                    </a:lnTo>
                    <a:lnTo>
                      <a:pt x="618" y="222"/>
                    </a:lnTo>
                    <a:lnTo>
                      <a:pt x="620" y="224"/>
                    </a:lnTo>
                    <a:lnTo>
                      <a:pt x="620" y="226"/>
                    </a:lnTo>
                    <a:lnTo>
                      <a:pt x="622" y="228"/>
                    </a:lnTo>
                    <a:lnTo>
                      <a:pt x="624" y="230"/>
                    </a:lnTo>
                    <a:lnTo>
                      <a:pt x="624" y="232"/>
                    </a:lnTo>
                    <a:lnTo>
                      <a:pt x="624" y="234"/>
                    </a:lnTo>
                    <a:lnTo>
                      <a:pt x="626" y="238"/>
                    </a:lnTo>
                    <a:lnTo>
                      <a:pt x="626" y="240"/>
                    </a:lnTo>
                    <a:lnTo>
                      <a:pt x="626" y="242"/>
                    </a:lnTo>
                    <a:lnTo>
                      <a:pt x="626" y="242"/>
                    </a:lnTo>
                    <a:lnTo>
                      <a:pt x="628" y="244"/>
                    </a:lnTo>
                    <a:lnTo>
                      <a:pt x="628" y="246"/>
                    </a:lnTo>
                    <a:lnTo>
                      <a:pt x="628" y="246"/>
                    </a:lnTo>
                    <a:lnTo>
                      <a:pt x="630" y="248"/>
                    </a:lnTo>
                    <a:lnTo>
                      <a:pt x="634" y="250"/>
                    </a:lnTo>
                    <a:lnTo>
                      <a:pt x="636" y="250"/>
                    </a:lnTo>
                    <a:lnTo>
                      <a:pt x="636" y="252"/>
                    </a:lnTo>
                    <a:lnTo>
                      <a:pt x="636" y="252"/>
                    </a:lnTo>
                    <a:lnTo>
                      <a:pt x="640" y="252"/>
                    </a:lnTo>
                    <a:lnTo>
                      <a:pt x="642" y="254"/>
                    </a:lnTo>
                    <a:lnTo>
                      <a:pt x="642" y="254"/>
                    </a:lnTo>
                    <a:lnTo>
                      <a:pt x="644" y="254"/>
                    </a:lnTo>
                    <a:lnTo>
                      <a:pt x="644" y="256"/>
                    </a:lnTo>
                    <a:lnTo>
                      <a:pt x="644" y="256"/>
                    </a:lnTo>
                    <a:lnTo>
                      <a:pt x="644" y="258"/>
                    </a:lnTo>
                    <a:lnTo>
                      <a:pt x="644" y="260"/>
                    </a:lnTo>
                    <a:lnTo>
                      <a:pt x="646" y="262"/>
                    </a:lnTo>
                    <a:lnTo>
                      <a:pt x="646" y="262"/>
                    </a:lnTo>
                    <a:lnTo>
                      <a:pt x="644" y="264"/>
                    </a:lnTo>
                    <a:lnTo>
                      <a:pt x="644" y="266"/>
                    </a:lnTo>
                    <a:lnTo>
                      <a:pt x="644" y="266"/>
                    </a:lnTo>
                    <a:lnTo>
                      <a:pt x="644" y="266"/>
                    </a:lnTo>
                    <a:lnTo>
                      <a:pt x="644" y="266"/>
                    </a:lnTo>
                    <a:lnTo>
                      <a:pt x="642" y="266"/>
                    </a:lnTo>
                    <a:lnTo>
                      <a:pt x="642" y="266"/>
                    </a:lnTo>
                    <a:lnTo>
                      <a:pt x="640" y="266"/>
                    </a:lnTo>
                    <a:lnTo>
                      <a:pt x="640" y="264"/>
                    </a:lnTo>
                    <a:lnTo>
                      <a:pt x="638" y="264"/>
                    </a:lnTo>
                    <a:lnTo>
                      <a:pt x="636" y="262"/>
                    </a:lnTo>
                    <a:lnTo>
                      <a:pt x="634" y="260"/>
                    </a:lnTo>
                    <a:lnTo>
                      <a:pt x="632" y="258"/>
                    </a:lnTo>
                    <a:lnTo>
                      <a:pt x="630" y="258"/>
                    </a:lnTo>
                    <a:lnTo>
                      <a:pt x="628" y="256"/>
                    </a:lnTo>
                    <a:lnTo>
                      <a:pt x="626" y="252"/>
                    </a:lnTo>
                    <a:lnTo>
                      <a:pt x="624" y="250"/>
                    </a:lnTo>
                    <a:lnTo>
                      <a:pt x="622" y="248"/>
                    </a:lnTo>
                    <a:lnTo>
                      <a:pt x="622" y="246"/>
                    </a:lnTo>
                    <a:lnTo>
                      <a:pt x="618" y="244"/>
                    </a:lnTo>
                    <a:lnTo>
                      <a:pt x="614" y="240"/>
                    </a:lnTo>
                    <a:lnTo>
                      <a:pt x="612" y="238"/>
                    </a:lnTo>
                    <a:lnTo>
                      <a:pt x="610" y="238"/>
                    </a:lnTo>
                    <a:lnTo>
                      <a:pt x="608" y="236"/>
                    </a:lnTo>
                    <a:lnTo>
                      <a:pt x="606" y="236"/>
                    </a:lnTo>
                    <a:lnTo>
                      <a:pt x="604" y="236"/>
                    </a:lnTo>
                    <a:lnTo>
                      <a:pt x="602" y="234"/>
                    </a:lnTo>
                    <a:lnTo>
                      <a:pt x="600" y="234"/>
                    </a:lnTo>
                    <a:lnTo>
                      <a:pt x="598" y="234"/>
                    </a:lnTo>
                    <a:lnTo>
                      <a:pt x="596" y="234"/>
                    </a:lnTo>
                    <a:lnTo>
                      <a:pt x="594" y="234"/>
                    </a:lnTo>
                    <a:lnTo>
                      <a:pt x="592" y="234"/>
                    </a:lnTo>
                    <a:lnTo>
                      <a:pt x="592" y="236"/>
                    </a:lnTo>
                    <a:lnTo>
                      <a:pt x="592" y="236"/>
                    </a:lnTo>
                    <a:lnTo>
                      <a:pt x="590" y="236"/>
                    </a:lnTo>
                    <a:lnTo>
                      <a:pt x="590" y="236"/>
                    </a:lnTo>
                    <a:lnTo>
                      <a:pt x="590" y="238"/>
                    </a:lnTo>
                    <a:lnTo>
                      <a:pt x="588" y="240"/>
                    </a:lnTo>
                    <a:lnTo>
                      <a:pt x="588" y="244"/>
                    </a:lnTo>
                    <a:lnTo>
                      <a:pt x="586" y="246"/>
                    </a:lnTo>
                    <a:lnTo>
                      <a:pt x="586" y="250"/>
                    </a:lnTo>
                    <a:lnTo>
                      <a:pt x="586" y="252"/>
                    </a:lnTo>
                    <a:lnTo>
                      <a:pt x="584" y="256"/>
                    </a:lnTo>
                    <a:lnTo>
                      <a:pt x="582" y="260"/>
                    </a:lnTo>
                    <a:lnTo>
                      <a:pt x="578" y="268"/>
                    </a:lnTo>
                    <a:lnTo>
                      <a:pt x="576" y="272"/>
                    </a:lnTo>
                    <a:lnTo>
                      <a:pt x="574" y="278"/>
                    </a:lnTo>
                    <a:lnTo>
                      <a:pt x="572" y="280"/>
                    </a:lnTo>
                    <a:lnTo>
                      <a:pt x="572" y="284"/>
                    </a:lnTo>
                    <a:lnTo>
                      <a:pt x="570" y="286"/>
                    </a:lnTo>
                    <a:lnTo>
                      <a:pt x="570" y="286"/>
                    </a:lnTo>
                    <a:lnTo>
                      <a:pt x="568" y="288"/>
                    </a:lnTo>
                    <a:lnTo>
                      <a:pt x="566" y="288"/>
                    </a:lnTo>
                    <a:lnTo>
                      <a:pt x="564" y="290"/>
                    </a:lnTo>
                    <a:lnTo>
                      <a:pt x="562" y="290"/>
                    </a:lnTo>
                    <a:lnTo>
                      <a:pt x="560" y="292"/>
                    </a:lnTo>
                    <a:lnTo>
                      <a:pt x="558" y="292"/>
                    </a:lnTo>
                    <a:lnTo>
                      <a:pt x="556" y="292"/>
                    </a:lnTo>
                    <a:lnTo>
                      <a:pt x="554" y="294"/>
                    </a:lnTo>
                    <a:lnTo>
                      <a:pt x="552" y="294"/>
                    </a:lnTo>
                    <a:lnTo>
                      <a:pt x="550" y="294"/>
                    </a:lnTo>
                    <a:lnTo>
                      <a:pt x="546" y="294"/>
                    </a:lnTo>
                    <a:lnTo>
                      <a:pt x="542" y="292"/>
                    </a:lnTo>
                    <a:lnTo>
                      <a:pt x="538" y="292"/>
                    </a:lnTo>
                    <a:lnTo>
                      <a:pt x="536" y="290"/>
                    </a:lnTo>
                    <a:lnTo>
                      <a:pt x="534" y="290"/>
                    </a:lnTo>
                    <a:lnTo>
                      <a:pt x="532" y="290"/>
                    </a:lnTo>
                    <a:lnTo>
                      <a:pt x="530" y="288"/>
                    </a:lnTo>
                    <a:lnTo>
                      <a:pt x="530" y="288"/>
                    </a:lnTo>
                    <a:lnTo>
                      <a:pt x="528" y="286"/>
                    </a:lnTo>
                    <a:lnTo>
                      <a:pt x="528" y="286"/>
                    </a:lnTo>
                    <a:lnTo>
                      <a:pt x="528" y="286"/>
                    </a:lnTo>
                    <a:lnTo>
                      <a:pt x="528" y="284"/>
                    </a:lnTo>
                    <a:lnTo>
                      <a:pt x="528" y="284"/>
                    </a:lnTo>
                    <a:lnTo>
                      <a:pt x="528" y="282"/>
                    </a:lnTo>
                    <a:lnTo>
                      <a:pt x="528" y="282"/>
                    </a:lnTo>
                    <a:lnTo>
                      <a:pt x="530" y="280"/>
                    </a:lnTo>
                    <a:lnTo>
                      <a:pt x="530" y="278"/>
                    </a:lnTo>
                    <a:lnTo>
                      <a:pt x="532" y="278"/>
                    </a:lnTo>
                    <a:lnTo>
                      <a:pt x="532" y="278"/>
                    </a:lnTo>
                    <a:lnTo>
                      <a:pt x="532" y="276"/>
                    </a:lnTo>
                    <a:lnTo>
                      <a:pt x="534" y="276"/>
                    </a:lnTo>
                    <a:lnTo>
                      <a:pt x="534" y="276"/>
                    </a:lnTo>
                    <a:lnTo>
                      <a:pt x="536" y="274"/>
                    </a:lnTo>
                    <a:lnTo>
                      <a:pt x="540" y="274"/>
                    </a:lnTo>
                    <a:lnTo>
                      <a:pt x="544" y="274"/>
                    </a:lnTo>
                    <a:lnTo>
                      <a:pt x="546" y="272"/>
                    </a:lnTo>
                    <a:lnTo>
                      <a:pt x="546" y="272"/>
                    </a:lnTo>
                    <a:lnTo>
                      <a:pt x="550" y="270"/>
                    </a:lnTo>
                    <a:lnTo>
                      <a:pt x="554" y="268"/>
                    </a:lnTo>
                    <a:lnTo>
                      <a:pt x="556" y="268"/>
                    </a:lnTo>
                    <a:lnTo>
                      <a:pt x="558" y="266"/>
                    </a:lnTo>
                    <a:lnTo>
                      <a:pt x="560" y="266"/>
                    </a:lnTo>
                    <a:lnTo>
                      <a:pt x="560" y="264"/>
                    </a:lnTo>
                    <a:lnTo>
                      <a:pt x="562" y="264"/>
                    </a:lnTo>
                    <a:lnTo>
                      <a:pt x="562" y="262"/>
                    </a:lnTo>
                    <a:lnTo>
                      <a:pt x="564" y="260"/>
                    </a:lnTo>
                    <a:lnTo>
                      <a:pt x="564" y="256"/>
                    </a:lnTo>
                    <a:lnTo>
                      <a:pt x="564" y="254"/>
                    </a:lnTo>
                    <a:lnTo>
                      <a:pt x="566" y="252"/>
                    </a:lnTo>
                    <a:lnTo>
                      <a:pt x="566" y="250"/>
                    </a:lnTo>
                    <a:lnTo>
                      <a:pt x="566" y="248"/>
                    </a:lnTo>
                    <a:lnTo>
                      <a:pt x="566" y="248"/>
                    </a:lnTo>
                    <a:lnTo>
                      <a:pt x="566" y="246"/>
                    </a:lnTo>
                    <a:lnTo>
                      <a:pt x="564" y="244"/>
                    </a:lnTo>
                    <a:lnTo>
                      <a:pt x="564" y="240"/>
                    </a:lnTo>
                    <a:lnTo>
                      <a:pt x="562" y="236"/>
                    </a:lnTo>
                    <a:lnTo>
                      <a:pt x="560" y="230"/>
                    </a:lnTo>
                    <a:lnTo>
                      <a:pt x="558" y="226"/>
                    </a:lnTo>
                    <a:lnTo>
                      <a:pt x="556" y="218"/>
                    </a:lnTo>
                    <a:lnTo>
                      <a:pt x="554" y="214"/>
                    </a:lnTo>
                    <a:lnTo>
                      <a:pt x="554" y="214"/>
                    </a:lnTo>
                    <a:lnTo>
                      <a:pt x="554" y="212"/>
                    </a:lnTo>
                    <a:lnTo>
                      <a:pt x="554" y="210"/>
                    </a:lnTo>
                    <a:lnTo>
                      <a:pt x="552" y="208"/>
                    </a:lnTo>
                    <a:lnTo>
                      <a:pt x="554" y="206"/>
                    </a:lnTo>
                    <a:lnTo>
                      <a:pt x="554" y="202"/>
                    </a:lnTo>
                    <a:lnTo>
                      <a:pt x="554" y="202"/>
                    </a:lnTo>
                    <a:lnTo>
                      <a:pt x="554" y="200"/>
                    </a:lnTo>
                    <a:lnTo>
                      <a:pt x="552" y="198"/>
                    </a:lnTo>
                    <a:lnTo>
                      <a:pt x="552" y="198"/>
                    </a:lnTo>
                    <a:lnTo>
                      <a:pt x="550" y="194"/>
                    </a:lnTo>
                    <a:lnTo>
                      <a:pt x="550" y="190"/>
                    </a:lnTo>
                    <a:lnTo>
                      <a:pt x="548" y="186"/>
                    </a:lnTo>
                    <a:lnTo>
                      <a:pt x="548" y="182"/>
                    </a:lnTo>
                    <a:lnTo>
                      <a:pt x="546" y="178"/>
                    </a:lnTo>
                    <a:lnTo>
                      <a:pt x="544" y="168"/>
                    </a:lnTo>
                    <a:lnTo>
                      <a:pt x="542" y="156"/>
                    </a:lnTo>
                    <a:lnTo>
                      <a:pt x="538" y="144"/>
                    </a:lnTo>
                    <a:lnTo>
                      <a:pt x="536" y="140"/>
                    </a:lnTo>
                    <a:lnTo>
                      <a:pt x="536" y="134"/>
                    </a:lnTo>
                    <a:lnTo>
                      <a:pt x="536" y="132"/>
                    </a:lnTo>
                    <a:lnTo>
                      <a:pt x="534" y="128"/>
                    </a:lnTo>
                    <a:lnTo>
                      <a:pt x="534" y="126"/>
                    </a:lnTo>
                    <a:lnTo>
                      <a:pt x="532" y="124"/>
                    </a:lnTo>
                    <a:lnTo>
                      <a:pt x="532" y="122"/>
                    </a:lnTo>
                    <a:lnTo>
                      <a:pt x="530" y="120"/>
                    </a:lnTo>
                    <a:lnTo>
                      <a:pt x="530" y="118"/>
                    </a:lnTo>
                    <a:lnTo>
                      <a:pt x="528" y="116"/>
                    </a:lnTo>
                    <a:lnTo>
                      <a:pt x="526" y="114"/>
                    </a:lnTo>
                    <a:lnTo>
                      <a:pt x="524" y="112"/>
                    </a:lnTo>
                    <a:lnTo>
                      <a:pt x="522" y="110"/>
                    </a:lnTo>
                    <a:lnTo>
                      <a:pt x="522" y="110"/>
                    </a:lnTo>
                    <a:lnTo>
                      <a:pt x="520" y="110"/>
                    </a:lnTo>
                    <a:lnTo>
                      <a:pt x="520" y="110"/>
                    </a:lnTo>
                    <a:lnTo>
                      <a:pt x="518" y="110"/>
                    </a:lnTo>
                    <a:lnTo>
                      <a:pt x="516" y="108"/>
                    </a:lnTo>
                    <a:lnTo>
                      <a:pt x="514" y="108"/>
                    </a:lnTo>
                    <a:lnTo>
                      <a:pt x="510" y="110"/>
                    </a:lnTo>
                    <a:lnTo>
                      <a:pt x="508" y="110"/>
                    </a:lnTo>
                    <a:lnTo>
                      <a:pt x="506" y="110"/>
                    </a:lnTo>
                    <a:lnTo>
                      <a:pt x="504" y="112"/>
                    </a:lnTo>
                    <a:lnTo>
                      <a:pt x="502" y="112"/>
                    </a:lnTo>
                    <a:lnTo>
                      <a:pt x="502" y="112"/>
                    </a:lnTo>
                    <a:lnTo>
                      <a:pt x="500" y="112"/>
                    </a:lnTo>
                    <a:lnTo>
                      <a:pt x="500" y="114"/>
                    </a:lnTo>
                    <a:lnTo>
                      <a:pt x="498" y="116"/>
                    </a:lnTo>
                    <a:lnTo>
                      <a:pt x="498" y="116"/>
                    </a:lnTo>
                    <a:lnTo>
                      <a:pt x="496" y="120"/>
                    </a:lnTo>
                    <a:lnTo>
                      <a:pt x="496" y="124"/>
                    </a:lnTo>
                    <a:lnTo>
                      <a:pt x="494" y="126"/>
                    </a:lnTo>
                    <a:lnTo>
                      <a:pt x="492" y="130"/>
                    </a:lnTo>
                    <a:lnTo>
                      <a:pt x="492" y="136"/>
                    </a:lnTo>
                    <a:lnTo>
                      <a:pt x="492" y="138"/>
                    </a:lnTo>
                    <a:lnTo>
                      <a:pt x="492" y="138"/>
                    </a:lnTo>
                    <a:lnTo>
                      <a:pt x="490" y="142"/>
                    </a:lnTo>
                    <a:lnTo>
                      <a:pt x="490" y="148"/>
                    </a:lnTo>
                    <a:lnTo>
                      <a:pt x="490" y="152"/>
                    </a:lnTo>
                    <a:lnTo>
                      <a:pt x="490" y="156"/>
                    </a:lnTo>
                    <a:lnTo>
                      <a:pt x="490" y="158"/>
                    </a:lnTo>
                    <a:lnTo>
                      <a:pt x="488" y="158"/>
                    </a:lnTo>
                    <a:lnTo>
                      <a:pt x="488" y="160"/>
                    </a:lnTo>
                    <a:lnTo>
                      <a:pt x="488" y="162"/>
                    </a:lnTo>
                    <a:lnTo>
                      <a:pt x="488" y="162"/>
                    </a:lnTo>
                    <a:lnTo>
                      <a:pt x="486" y="162"/>
                    </a:lnTo>
                    <a:lnTo>
                      <a:pt x="486" y="164"/>
                    </a:lnTo>
                    <a:lnTo>
                      <a:pt x="484" y="164"/>
                    </a:lnTo>
                    <a:lnTo>
                      <a:pt x="482" y="166"/>
                    </a:lnTo>
                    <a:lnTo>
                      <a:pt x="480" y="166"/>
                    </a:lnTo>
                    <a:lnTo>
                      <a:pt x="476" y="168"/>
                    </a:lnTo>
                    <a:lnTo>
                      <a:pt x="474" y="168"/>
                    </a:lnTo>
                    <a:lnTo>
                      <a:pt x="474" y="170"/>
                    </a:lnTo>
                    <a:lnTo>
                      <a:pt x="472" y="170"/>
                    </a:lnTo>
                    <a:lnTo>
                      <a:pt x="472" y="170"/>
                    </a:lnTo>
                    <a:lnTo>
                      <a:pt x="472" y="172"/>
                    </a:lnTo>
                    <a:lnTo>
                      <a:pt x="470" y="172"/>
                    </a:lnTo>
                    <a:lnTo>
                      <a:pt x="470" y="172"/>
                    </a:lnTo>
                    <a:lnTo>
                      <a:pt x="470" y="174"/>
                    </a:lnTo>
                    <a:lnTo>
                      <a:pt x="470" y="178"/>
                    </a:lnTo>
                    <a:lnTo>
                      <a:pt x="470" y="180"/>
                    </a:lnTo>
                    <a:lnTo>
                      <a:pt x="472" y="182"/>
                    </a:lnTo>
                    <a:lnTo>
                      <a:pt x="472" y="184"/>
                    </a:lnTo>
                    <a:lnTo>
                      <a:pt x="472" y="186"/>
                    </a:lnTo>
                    <a:lnTo>
                      <a:pt x="472" y="188"/>
                    </a:lnTo>
                    <a:lnTo>
                      <a:pt x="474" y="190"/>
                    </a:lnTo>
                    <a:lnTo>
                      <a:pt x="474" y="192"/>
                    </a:lnTo>
                    <a:lnTo>
                      <a:pt x="476" y="194"/>
                    </a:lnTo>
                    <a:lnTo>
                      <a:pt x="478" y="196"/>
                    </a:lnTo>
                    <a:lnTo>
                      <a:pt x="480" y="200"/>
                    </a:lnTo>
                    <a:lnTo>
                      <a:pt x="482" y="202"/>
                    </a:lnTo>
                    <a:lnTo>
                      <a:pt x="488" y="212"/>
                    </a:lnTo>
                    <a:lnTo>
                      <a:pt x="494" y="220"/>
                    </a:lnTo>
                    <a:lnTo>
                      <a:pt x="496" y="222"/>
                    </a:lnTo>
                    <a:lnTo>
                      <a:pt x="498" y="224"/>
                    </a:lnTo>
                    <a:lnTo>
                      <a:pt x="502" y="228"/>
                    </a:lnTo>
                    <a:lnTo>
                      <a:pt x="502" y="230"/>
                    </a:lnTo>
                    <a:lnTo>
                      <a:pt x="502" y="230"/>
                    </a:lnTo>
                    <a:lnTo>
                      <a:pt x="504" y="234"/>
                    </a:lnTo>
                    <a:lnTo>
                      <a:pt x="506" y="236"/>
                    </a:lnTo>
                    <a:lnTo>
                      <a:pt x="506" y="238"/>
                    </a:lnTo>
                    <a:lnTo>
                      <a:pt x="506" y="240"/>
                    </a:lnTo>
                    <a:lnTo>
                      <a:pt x="506" y="240"/>
                    </a:lnTo>
                    <a:lnTo>
                      <a:pt x="506" y="242"/>
                    </a:lnTo>
                    <a:lnTo>
                      <a:pt x="506" y="242"/>
                    </a:lnTo>
                    <a:lnTo>
                      <a:pt x="506" y="242"/>
                    </a:lnTo>
                    <a:lnTo>
                      <a:pt x="506" y="244"/>
                    </a:lnTo>
                    <a:lnTo>
                      <a:pt x="504" y="244"/>
                    </a:lnTo>
                    <a:lnTo>
                      <a:pt x="502" y="246"/>
                    </a:lnTo>
                    <a:lnTo>
                      <a:pt x="500" y="246"/>
                    </a:lnTo>
                    <a:lnTo>
                      <a:pt x="498" y="246"/>
                    </a:lnTo>
                    <a:lnTo>
                      <a:pt x="496" y="248"/>
                    </a:lnTo>
                    <a:lnTo>
                      <a:pt x="494" y="248"/>
                    </a:lnTo>
                    <a:lnTo>
                      <a:pt x="494" y="248"/>
                    </a:lnTo>
                    <a:lnTo>
                      <a:pt x="492" y="246"/>
                    </a:lnTo>
                    <a:lnTo>
                      <a:pt x="492" y="246"/>
                    </a:lnTo>
                    <a:lnTo>
                      <a:pt x="490" y="246"/>
                    </a:lnTo>
                    <a:lnTo>
                      <a:pt x="490" y="244"/>
                    </a:lnTo>
                    <a:lnTo>
                      <a:pt x="488" y="244"/>
                    </a:lnTo>
                    <a:lnTo>
                      <a:pt x="488" y="242"/>
                    </a:lnTo>
                    <a:lnTo>
                      <a:pt x="486" y="238"/>
                    </a:lnTo>
                    <a:lnTo>
                      <a:pt x="482" y="232"/>
                    </a:lnTo>
                    <a:lnTo>
                      <a:pt x="480" y="230"/>
                    </a:lnTo>
                    <a:lnTo>
                      <a:pt x="480" y="228"/>
                    </a:lnTo>
                    <a:lnTo>
                      <a:pt x="478" y="228"/>
                    </a:lnTo>
                    <a:lnTo>
                      <a:pt x="476" y="226"/>
                    </a:lnTo>
                    <a:lnTo>
                      <a:pt x="474" y="224"/>
                    </a:lnTo>
                    <a:lnTo>
                      <a:pt x="470" y="222"/>
                    </a:lnTo>
                    <a:lnTo>
                      <a:pt x="468" y="220"/>
                    </a:lnTo>
                    <a:lnTo>
                      <a:pt x="464" y="218"/>
                    </a:lnTo>
                    <a:lnTo>
                      <a:pt x="460" y="216"/>
                    </a:lnTo>
                    <a:lnTo>
                      <a:pt x="458" y="216"/>
                    </a:lnTo>
                    <a:lnTo>
                      <a:pt x="454" y="214"/>
                    </a:lnTo>
                    <a:lnTo>
                      <a:pt x="452" y="214"/>
                    </a:lnTo>
                    <a:lnTo>
                      <a:pt x="448" y="212"/>
                    </a:lnTo>
                    <a:lnTo>
                      <a:pt x="444" y="210"/>
                    </a:lnTo>
                    <a:lnTo>
                      <a:pt x="440" y="210"/>
                    </a:lnTo>
                    <a:lnTo>
                      <a:pt x="432" y="208"/>
                    </a:lnTo>
                    <a:lnTo>
                      <a:pt x="426" y="206"/>
                    </a:lnTo>
                    <a:lnTo>
                      <a:pt x="420" y="206"/>
                    </a:lnTo>
                    <a:lnTo>
                      <a:pt x="418" y="206"/>
                    </a:lnTo>
                    <a:lnTo>
                      <a:pt x="414" y="204"/>
                    </a:lnTo>
                    <a:lnTo>
                      <a:pt x="410" y="204"/>
                    </a:lnTo>
                    <a:lnTo>
                      <a:pt x="408" y="204"/>
                    </a:lnTo>
                    <a:lnTo>
                      <a:pt x="406" y="204"/>
                    </a:lnTo>
                    <a:lnTo>
                      <a:pt x="404" y="204"/>
                    </a:lnTo>
                    <a:lnTo>
                      <a:pt x="404" y="204"/>
                    </a:lnTo>
                    <a:lnTo>
                      <a:pt x="402" y="206"/>
                    </a:lnTo>
                    <a:lnTo>
                      <a:pt x="402" y="206"/>
                    </a:lnTo>
                    <a:lnTo>
                      <a:pt x="400" y="208"/>
                    </a:lnTo>
                    <a:lnTo>
                      <a:pt x="398" y="208"/>
                    </a:lnTo>
                    <a:lnTo>
                      <a:pt x="398" y="210"/>
                    </a:lnTo>
                    <a:lnTo>
                      <a:pt x="396" y="212"/>
                    </a:lnTo>
                    <a:lnTo>
                      <a:pt x="396" y="212"/>
                    </a:lnTo>
                    <a:lnTo>
                      <a:pt x="396" y="214"/>
                    </a:lnTo>
                    <a:lnTo>
                      <a:pt x="396" y="214"/>
                    </a:lnTo>
                    <a:lnTo>
                      <a:pt x="396" y="216"/>
                    </a:lnTo>
                    <a:lnTo>
                      <a:pt x="396" y="216"/>
                    </a:lnTo>
                    <a:lnTo>
                      <a:pt x="396" y="216"/>
                    </a:lnTo>
                    <a:lnTo>
                      <a:pt x="396" y="216"/>
                    </a:lnTo>
                    <a:lnTo>
                      <a:pt x="398" y="218"/>
                    </a:lnTo>
                    <a:lnTo>
                      <a:pt x="400" y="218"/>
                    </a:lnTo>
                    <a:lnTo>
                      <a:pt x="402" y="220"/>
                    </a:lnTo>
                    <a:lnTo>
                      <a:pt x="402" y="220"/>
                    </a:lnTo>
                    <a:lnTo>
                      <a:pt x="404" y="220"/>
                    </a:lnTo>
                    <a:lnTo>
                      <a:pt x="404" y="220"/>
                    </a:lnTo>
                    <a:lnTo>
                      <a:pt x="404" y="222"/>
                    </a:lnTo>
                    <a:lnTo>
                      <a:pt x="404" y="222"/>
                    </a:lnTo>
                    <a:lnTo>
                      <a:pt x="404" y="224"/>
                    </a:lnTo>
                    <a:lnTo>
                      <a:pt x="404" y="228"/>
                    </a:lnTo>
                    <a:lnTo>
                      <a:pt x="404" y="230"/>
                    </a:lnTo>
                    <a:lnTo>
                      <a:pt x="404" y="232"/>
                    </a:lnTo>
                    <a:lnTo>
                      <a:pt x="404" y="236"/>
                    </a:lnTo>
                    <a:lnTo>
                      <a:pt x="404" y="238"/>
                    </a:lnTo>
                    <a:lnTo>
                      <a:pt x="402" y="238"/>
                    </a:lnTo>
                    <a:lnTo>
                      <a:pt x="402" y="240"/>
                    </a:lnTo>
                    <a:lnTo>
                      <a:pt x="402" y="240"/>
                    </a:lnTo>
                    <a:lnTo>
                      <a:pt x="400" y="242"/>
                    </a:lnTo>
                    <a:lnTo>
                      <a:pt x="398" y="242"/>
                    </a:lnTo>
                    <a:lnTo>
                      <a:pt x="396" y="242"/>
                    </a:lnTo>
                    <a:lnTo>
                      <a:pt x="394" y="244"/>
                    </a:lnTo>
                    <a:lnTo>
                      <a:pt x="392" y="244"/>
                    </a:lnTo>
                    <a:lnTo>
                      <a:pt x="390" y="244"/>
                    </a:lnTo>
                    <a:lnTo>
                      <a:pt x="390" y="244"/>
                    </a:lnTo>
                    <a:lnTo>
                      <a:pt x="390" y="244"/>
                    </a:lnTo>
                    <a:lnTo>
                      <a:pt x="388" y="242"/>
                    </a:lnTo>
                    <a:lnTo>
                      <a:pt x="388" y="242"/>
                    </a:lnTo>
                    <a:lnTo>
                      <a:pt x="388" y="242"/>
                    </a:lnTo>
                    <a:lnTo>
                      <a:pt x="388" y="240"/>
                    </a:lnTo>
                    <a:lnTo>
                      <a:pt x="388" y="238"/>
                    </a:lnTo>
                    <a:lnTo>
                      <a:pt x="388" y="236"/>
                    </a:lnTo>
                    <a:lnTo>
                      <a:pt x="388" y="232"/>
                    </a:lnTo>
                    <a:lnTo>
                      <a:pt x="388" y="230"/>
                    </a:lnTo>
                    <a:lnTo>
                      <a:pt x="386" y="230"/>
                    </a:lnTo>
                    <a:lnTo>
                      <a:pt x="386" y="228"/>
                    </a:lnTo>
                    <a:lnTo>
                      <a:pt x="386" y="228"/>
                    </a:lnTo>
                    <a:lnTo>
                      <a:pt x="386" y="226"/>
                    </a:lnTo>
                    <a:lnTo>
                      <a:pt x="384" y="226"/>
                    </a:lnTo>
                    <a:lnTo>
                      <a:pt x="384" y="226"/>
                    </a:lnTo>
                    <a:lnTo>
                      <a:pt x="382" y="226"/>
                    </a:lnTo>
                    <a:lnTo>
                      <a:pt x="380" y="226"/>
                    </a:lnTo>
                    <a:lnTo>
                      <a:pt x="380" y="226"/>
                    </a:lnTo>
                    <a:lnTo>
                      <a:pt x="378" y="226"/>
                    </a:lnTo>
                    <a:lnTo>
                      <a:pt x="376" y="226"/>
                    </a:lnTo>
                    <a:lnTo>
                      <a:pt x="376" y="226"/>
                    </a:lnTo>
                    <a:lnTo>
                      <a:pt x="374" y="226"/>
                    </a:lnTo>
                    <a:lnTo>
                      <a:pt x="374" y="226"/>
                    </a:lnTo>
                    <a:lnTo>
                      <a:pt x="374" y="228"/>
                    </a:lnTo>
                    <a:lnTo>
                      <a:pt x="372" y="230"/>
                    </a:lnTo>
                    <a:lnTo>
                      <a:pt x="370" y="232"/>
                    </a:lnTo>
                    <a:lnTo>
                      <a:pt x="370" y="234"/>
                    </a:lnTo>
                    <a:lnTo>
                      <a:pt x="368" y="236"/>
                    </a:lnTo>
                    <a:lnTo>
                      <a:pt x="366" y="238"/>
                    </a:lnTo>
                    <a:lnTo>
                      <a:pt x="366" y="238"/>
                    </a:lnTo>
                    <a:lnTo>
                      <a:pt x="366" y="238"/>
                    </a:lnTo>
                    <a:lnTo>
                      <a:pt x="364" y="238"/>
                    </a:lnTo>
                    <a:lnTo>
                      <a:pt x="362" y="238"/>
                    </a:lnTo>
                    <a:lnTo>
                      <a:pt x="360" y="240"/>
                    </a:lnTo>
                    <a:lnTo>
                      <a:pt x="358" y="240"/>
                    </a:lnTo>
                    <a:lnTo>
                      <a:pt x="354" y="238"/>
                    </a:lnTo>
                    <a:lnTo>
                      <a:pt x="350" y="238"/>
                    </a:lnTo>
                    <a:lnTo>
                      <a:pt x="346" y="238"/>
                    </a:lnTo>
                    <a:lnTo>
                      <a:pt x="342" y="238"/>
                    </a:lnTo>
                    <a:lnTo>
                      <a:pt x="340" y="238"/>
                    </a:lnTo>
                    <a:lnTo>
                      <a:pt x="338" y="238"/>
                    </a:lnTo>
                    <a:lnTo>
                      <a:pt x="336" y="238"/>
                    </a:lnTo>
                    <a:lnTo>
                      <a:pt x="336" y="238"/>
                    </a:lnTo>
                    <a:lnTo>
                      <a:pt x="334" y="238"/>
                    </a:lnTo>
                    <a:lnTo>
                      <a:pt x="334" y="240"/>
                    </a:lnTo>
                    <a:lnTo>
                      <a:pt x="334" y="240"/>
                    </a:lnTo>
                    <a:lnTo>
                      <a:pt x="332" y="240"/>
                    </a:lnTo>
                    <a:lnTo>
                      <a:pt x="332" y="242"/>
                    </a:lnTo>
                    <a:lnTo>
                      <a:pt x="330" y="246"/>
                    </a:lnTo>
                    <a:lnTo>
                      <a:pt x="328" y="248"/>
                    </a:lnTo>
                    <a:lnTo>
                      <a:pt x="328" y="250"/>
                    </a:lnTo>
                    <a:lnTo>
                      <a:pt x="326" y="250"/>
                    </a:lnTo>
                    <a:lnTo>
                      <a:pt x="326" y="250"/>
                    </a:lnTo>
                    <a:lnTo>
                      <a:pt x="324" y="250"/>
                    </a:lnTo>
                    <a:lnTo>
                      <a:pt x="324" y="250"/>
                    </a:lnTo>
                    <a:lnTo>
                      <a:pt x="324" y="250"/>
                    </a:lnTo>
                    <a:lnTo>
                      <a:pt x="322" y="250"/>
                    </a:lnTo>
                    <a:lnTo>
                      <a:pt x="322" y="250"/>
                    </a:lnTo>
                    <a:lnTo>
                      <a:pt x="322" y="248"/>
                    </a:lnTo>
                    <a:lnTo>
                      <a:pt x="320" y="246"/>
                    </a:lnTo>
                    <a:lnTo>
                      <a:pt x="320" y="244"/>
                    </a:lnTo>
                    <a:lnTo>
                      <a:pt x="318" y="240"/>
                    </a:lnTo>
                    <a:lnTo>
                      <a:pt x="318" y="238"/>
                    </a:lnTo>
                    <a:lnTo>
                      <a:pt x="318" y="238"/>
                    </a:lnTo>
                    <a:lnTo>
                      <a:pt x="316" y="236"/>
                    </a:lnTo>
                    <a:lnTo>
                      <a:pt x="316" y="236"/>
                    </a:lnTo>
                    <a:lnTo>
                      <a:pt x="316" y="236"/>
                    </a:lnTo>
                    <a:lnTo>
                      <a:pt x="314" y="236"/>
                    </a:lnTo>
                    <a:lnTo>
                      <a:pt x="312" y="236"/>
                    </a:lnTo>
                    <a:lnTo>
                      <a:pt x="312" y="236"/>
                    </a:lnTo>
                    <a:lnTo>
                      <a:pt x="310" y="236"/>
                    </a:lnTo>
                    <a:lnTo>
                      <a:pt x="308" y="238"/>
                    </a:lnTo>
                    <a:lnTo>
                      <a:pt x="306" y="238"/>
                    </a:lnTo>
                    <a:lnTo>
                      <a:pt x="302" y="240"/>
                    </a:lnTo>
                    <a:lnTo>
                      <a:pt x="296" y="242"/>
                    </a:lnTo>
                    <a:lnTo>
                      <a:pt x="292" y="244"/>
                    </a:lnTo>
                    <a:lnTo>
                      <a:pt x="288" y="246"/>
                    </a:lnTo>
                    <a:lnTo>
                      <a:pt x="284" y="248"/>
                    </a:lnTo>
                    <a:lnTo>
                      <a:pt x="280" y="248"/>
                    </a:lnTo>
                    <a:lnTo>
                      <a:pt x="276" y="250"/>
                    </a:lnTo>
                    <a:lnTo>
                      <a:pt x="274" y="252"/>
                    </a:lnTo>
                    <a:lnTo>
                      <a:pt x="272" y="252"/>
                    </a:lnTo>
                    <a:lnTo>
                      <a:pt x="270" y="254"/>
                    </a:lnTo>
                    <a:lnTo>
                      <a:pt x="268" y="256"/>
                    </a:lnTo>
                    <a:lnTo>
                      <a:pt x="266" y="258"/>
                    </a:lnTo>
                    <a:lnTo>
                      <a:pt x="262" y="260"/>
                    </a:lnTo>
                    <a:lnTo>
                      <a:pt x="256" y="266"/>
                    </a:lnTo>
                    <a:lnTo>
                      <a:pt x="254" y="268"/>
                    </a:lnTo>
                    <a:lnTo>
                      <a:pt x="252" y="270"/>
                    </a:lnTo>
                    <a:lnTo>
                      <a:pt x="248" y="272"/>
                    </a:lnTo>
                    <a:lnTo>
                      <a:pt x="244" y="274"/>
                    </a:lnTo>
                    <a:lnTo>
                      <a:pt x="242" y="276"/>
                    </a:lnTo>
                    <a:lnTo>
                      <a:pt x="238" y="278"/>
                    </a:lnTo>
                    <a:lnTo>
                      <a:pt x="238" y="278"/>
                    </a:lnTo>
                    <a:lnTo>
                      <a:pt x="236" y="280"/>
                    </a:lnTo>
                    <a:lnTo>
                      <a:pt x="234" y="280"/>
                    </a:lnTo>
                    <a:lnTo>
                      <a:pt x="234" y="280"/>
                    </a:lnTo>
                    <a:lnTo>
                      <a:pt x="232" y="280"/>
                    </a:lnTo>
                    <a:lnTo>
                      <a:pt x="230" y="280"/>
                    </a:lnTo>
                    <a:lnTo>
                      <a:pt x="230" y="280"/>
                    </a:lnTo>
                    <a:lnTo>
                      <a:pt x="230" y="278"/>
                    </a:lnTo>
                    <a:lnTo>
                      <a:pt x="228" y="278"/>
                    </a:lnTo>
                    <a:lnTo>
                      <a:pt x="228" y="278"/>
                    </a:lnTo>
                    <a:lnTo>
                      <a:pt x="228" y="276"/>
                    </a:lnTo>
                    <a:lnTo>
                      <a:pt x="226" y="274"/>
                    </a:lnTo>
                    <a:lnTo>
                      <a:pt x="226" y="272"/>
                    </a:lnTo>
                    <a:lnTo>
                      <a:pt x="224" y="270"/>
                    </a:lnTo>
                    <a:lnTo>
                      <a:pt x="224" y="266"/>
                    </a:lnTo>
                    <a:lnTo>
                      <a:pt x="224" y="264"/>
                    </a:lnTo>
                    <a:lnTo>
                      <a:pt x="224" y="264"/>
                    </a:lnTo>
                    <a:lnTo>
                      <a:pt x="224" y="260"/>
                    </a:lnTo>
                    <a:lnTo>
                      <a:pt x="224" y="256"/>
                    </a:lnTo>
                    <a:lnTo>
                      <a:pt x="224" y="256"/>
                    </a:lnTo>
                    <a:lnTo>
                      <a:pt x="224" y="254"/>
                    </a:lnTo>
                    <a:lnTo>
                      <a:pt x="222" y="252"/>
                    </a:lnTo>
                    <a:lnTo>
                      <a:pt x="222" y="250"/>
                    </a:lnTo>
                    <a:lnTo>
                      <a:pt x="220" y="248"/>
                    </a:lnTo>
                    <a:lnTo>
                      <a:pt x="218" y="246"/>
                    </a:lnTo>
                    <a:lnTo>
                      <a:pt x="216" y="244"/>
                    </a:lnTo>
                    <a:lnTo>
                      <a:pt x="214" y="242"/>
                    </a:lnTo>
                    <a:lnTo>
                      <a:pt x="212" y="240"/>
                    </a:lnTo>
                    <a:lnTo>
                      <a:pt x="210" y="240"/>
                    </a:lnTo>
                    <a:lnTo>
                      <a:pt x="210" y="240"/>
                    </a:lnTo>
                    <a:lnTo>
                      <a:pt x="208" y="238"/>
                    </a:lnTo>
                    <a:lnTo>
                      <a:pt x="204" y="238"/>
                    </a:lnTo>
                    <a:lnTo>
                      <a:pt x="202" y="238"/>
                    </a:lnTo>
                    <a:lnTo>
                      <a:pt x="198" y="238"/>
                    </a:lnTo>
                    <a:lnTo>
                      <a:pt x="194" y="238"/>
                    </a:lnTo>
                    <a:lnTo>
                      <a:pt x="194" y="238"/>
                    </a:lnTo>
                    <a:lnTo>
                      <a:pt x="192" y="240"/>
                    </a:lnTo>
                    <a:lnTo>
                      <a:pt x="190" y="240"/>
                    </a:lnTo>
                    <a:lnTo>
                      <a:pt x="190" y="240"/>
                    </a:lnTo>
                    <a:lnTo>
                      <a:pt x="188" y="242"/>
                    </a:lnTo>
                    <a:lnTo>
                      <a:pt x="188" y="242"/>
                    </a:lnTo>
                    <a:lnTo>
                      <a:pt x="188" y="242"/>
                    </a:lnTo>
                    <a:lnTo>
                      <a:pt x="188" y="244"/>
                    </a:lnTo>
                    <a:lnTo>
                      <a:pt x="188" y="244"/>
                    </a:lnTo>
                    <a:lnTo>
                      <a:pt x="188" y="244"/>
                    </a:lnTo>
                    <a:lnTo>
                      <a:pt x="188" y="246"/>
                    </a:lnTo>
                    <a:lnTo>
                      <a:pt x="190" y="248"/>
                    </a:lnTo>
                    <a:lnTo>
                      <a:pt x="192" y="252"/>
                    </a:lnTo>
                    <a:lnTo>
                      <a:pt x="192" y="252"/>
                    </a:lnTo>
                    <a:lnTo>
                      <a:pt x="194" y="254"/>
                    </a:lnTo>
                    <a:lnTo>
                      <a:pt x="194" y="258"/>
                    </a:lnTo>
                    <a:lnTo>
                      <a:pt x="196" y="262"/>
                    </a:lnTo>
                    <a:lnTo>
                      <a:pt x="196" y="266"/>
                    </a:lnTo>
                    <a:lnTo>
                      <a:pt x="198" y="270"/>
                    </a:lnTo>
                    <a:lnTo>
                      <a:pt x="200" y="272"/>
                    </a:lnTo>
                    <a:lnTo>
                      <a:pt x="202" y="276"/>
                    </a:lnTo>
                    <a:lnTo>
                      <a:pt x="204" y="280"/>
                    </a:lnTo>
                    <a:lnTo>
                      <a:pt x="204" y="282"/>
                    </a:lnTo>
                    <a:lnTo>
                      <a:pt x="204" y="284"/>
                    </a:lnTo>
                    <a:lnTo>
                      <a:pt x="206" y="288"/>
                    </a:lnTo>
                    <a:lnTo>
                      <a:pt x="206" y="290"/>
                    </a:lnTo>
                    <a:lnTo>
                      <a:pt x="206" y="292"/>
                    </a:lnTo>
                    <a:lnTo>
                      <a:pt x="208" y="296"/>
                    </a:lnTo>
                    <a:lnTo>
                      <a:pt x="208" y="296"/>
                    </a:lnTo>
                    <a:lnTo>
                      <a:pt x="208" y="298"/>
                    </a:lnTo>
                    <a:lnTo>
                      <a:pt x="206" y="298"/>
                    </a:lnTo>
                    <a:lnTo>
                      <a:pt x="206" y="300"/>
                    </a:lnTo>
                    <a:lnTo>
                      <a:pt x="206" y="300"/>
                    </a:lnTo>
                    <a:lnTo>
                      <a:pt x="206" y="300"/>
                    </a:lnTo>
                    <a:lnTo>
                      <a:pt x="206" y="302"/>
                    </a:lnTo>
                    <a:lnTo>
                      <a:pt x="204" y="302"/>
                    </a:lnTo>
                    <a:lnTo>
                      <a:pt x="204" y="302"/>
                    </a:lnTo>
                    <a:lnTo>
                      <a:pt x="202" y="300"/>
                    </a:lnTo>
                    <a:lnTo>
                      <a:pt x="202" y="300"/>
                    </a:lnTo>
                    <a:lnTo>
                      <a:pt x="200" y="300"/>
                    </a:lnTo>
                    <a:lnTo>
                      <a:pt x="198" y="298"/>
                    </a:lnTo>
                    <a:lnTo>
                      <a:pt x="194" y="296"/>
                    </a:lnTo>
                    <a:lnTo>
                      <a:pt x="192" y="294"/>
                    </a:lnTo>
                    <a:lnTo>
                      <a:pt x="192" y="294"/>
                    </a:lnTo>
                    <a:lnTo>
                      <a:pt x="190" y="294"/>
                    </a:lnTo>
                    <a:lnTo>
                      <a:pt x="188" y="292"/>
                    </a:lnTo>
                    <a:lnTo>
                      <a:pt x="184" y="292"/>
                    </a:lnTo>
                    <a:lnTo>
                      <a:pt x="180" y="290"/>
                    </a:lnTo>
                    <a:lnTo>
                      <a:pt x="178" y="290"/>
                    </a:lnTo>
                    <a:lnTo>
                      <a:pt x="178" y="290"/>
                    </a:lnTo>
                    <a:lnTo>
                      <a:pt x="176" y="290"/>
                    </a:lnTo>
                    <a:lnTo>
                      <a:pt x="176" y="290"/>
                    </a:lnTo>
                    <a:lnTo>
                      <a:pt x="174" y="292"/>
                    </a:lnTo>
                    <a:lnTo>
                      <a:pt x="174" y="292"/>
                    </a:lnTo>
                    <a:lnTo>
                      <a:pt x="174" y="292"/>
                    </a:lnTo>
                    <a:lnTo>
                      <a:pt x="172" y="294"/>
                    </a:lnTo>
                    <a:lnTo>
                      <a:pt x="172" y="296"/>
                    </a:lnTo>
                    <a:lnTo>
                      <a:pt x="168" y="298"/>
                    </a:lnTo>
                    <a:lnTo>
                      <a:pt x="168" y="300"/>
                    </a:lnTo>
                    <a:lnTo>
                      <a:pt x="166" y="300"/>
                    </a:lnTo>
                    <a:lnTo>
                      <a:pt x="166" y="302"/>
                    </a:lnTo>
                    <a:lnTo>
                      <a:pt x="164" y="302"/>
                    </a:lnTo>
                    <a:lnTo>
                      <a:pt x="162" y="302"/>
                    </a:lnTo>
                    <a:lnTo>
                      <a:pt x="160" y="302"/>
                    </a:lnTo>
                    <a:lnTo>
                      <a:pt x="156" y="304"/>
                    </a:lnTo>
                    <a:lnTo>
                      <a:pt x="154" y="304"/>
                    </a:lnTo>
                    <a:lnTo>
                      <a:pt x="152" y="304"/>
                    </a:lnTo>
                    <a:lnTo>
                      <a:pt x="150" y="304"/>
                    </a:lnTo>
                    <a:lnTo>
                      <a:pt x="150" y="304"/>
                    </a:lnTo>
                    <a:lnTo>
                      <a:pt x="148" y="306"/>
                    </a:lnTo>
                    <a:lnTo>
                      <a:pt x="148" y="306"/>
                    </a:lnTo>
                    <a:lnTo>
                      <a:pt x="148" y="308"/>
                    </a:lnTo>
                    <a:lnTo>
                      <a:pt x="146" y="308"/>
                    </a:lnTo>
                    <a:lnTo>
                      <a:pt x="146" y="310"/>
                    </a:lnTo>
                    <a:lnTo>
                      <a:pt x="146" y="312"/>
                    </a:lnTo>
                    <a:lnTo>
                      <a:pt x="146" y="314"/>
                    </a:lnTo>
                    <a:lnTo>
                      <a:pt x="146" y="316"/>
                    </a:lnTo>
                    <a:lnTo>
                      <a:pt x="146" y="318"/>
                    </a:lnTo>
                    <a:lnTo>
                      <a:pt x="146" y="318"/>
                    </a:lnTo>
                    <a:lnTo>
                      <a:pt x="146" y="320"/>
                    </a:lnTo>
                    <a:lnTo>
                      <a:pt x="148" y="320"/>
                    </a:lnTo>
                    <a:lnTo>
                      <a:pt x="148" y="320"/>
                    </a:lnTo>
                    <a:lnTo>
                      <a:pt x="150" y="322"/>
                    </a:lnTo>
                    <a:lnTo>
                      <a:pt x="152" y="322"/>
                    </a:lnTo>
                    <a:lnTo>
                      <a:pt x="154" y="322"/>
                    </a:lnTo>
                    <a:lnTo>
                      <a:pt x="156" y="324"/>
                    </a:lnTo>
                    <a:lnTo>
                      <a:pt x="156" y="324"/>
                    </a:lnTo>
                    <a:lnTo>
                      <a:pt x="156" y="324"/>
                    </a:lnTo>
                    <a:lnTo>
                      <a:pt x="158" y="324"/>
                    </a:lnTo>
                    <a:lnTo>
                      <a:pt x="158" y="324"/>
                    </a:lnTo>
                    <a:lnTo>
                      <a:pt x="158" y="326"/>
                    </a:lnTo>
                    <a:lnTo>
                      <a:pt x="158" y="326"/>
                    </a:lnTo>
                    <a:lnTo>
                      <a:pt x="158" y="328"/>
                    </a:lnTo>
                    <a:lnTo>
                      <a:pt x="158" y="332"/>
                    </a:lnTo>
                    <a:lnTo>
                      <a:pt x="158" y="334"/>
                    </a:lnTo>
                    <a:lnTo>
                      <a:pt x="156" y="336"/>
                    </a:lnTo>
                    <a:lnTo>
                      <a:pt x="156" y="338"/>
                    </a:lnTo>
                    <a:lnTo>
                      <a:pt x="154" y="340"/>
                    </a:lnTo>
                    <a:lnTo>
                      <a:pt x="154" y="340"/>
                    </a:lnTo>
                    <a:lnTo>
                      <a:pt x="152" y="342"/>
                    </a:lnTo>
                    <a:lnTo>
                      <a:pt x="152" y="342"/>
                    </a:lnTo>
                    <a:lnTo>
                      <a:pt x="150" y="342"/>
                    </a:lnTo>
                    <a:lnTo>
                      <a:pt x="148" y="342"/>
                    </a:lnTo>
                    <a:lnTo>
                      <a:pt x="146" y="342"/>
                    </a:lnTo>
                    <a:lnTo>
                      <a:pt x="144" y="342"/>
                    </a:lnTo>
                    <a:lnTo>
                      <a:pt x="142" y="342"/>
                    </a:lnTo>
                    <a:lnTo>
                      <a:pt x="140" y="342"/>
                    </a:lnTo>
                    <a:lnTo>
                      <a:pt x="140" y="342"/>
                    </a:lnTo>
                    <a:lnTo>
                      <a:pt x="138" y="342"/>
                    </a:lnTo>
                    <a:lnTo>
                      <a:pt x="138" y="340"/>
                    </a:lnTo>
                    <a:lnTo>
                      <a:pt x="138" y="340"/>
                    </a:lnTo>
                    <a:lnTo>
                      <a:pt x="138" y="340"/>
                    </a:lnTo>
                    <a:lnTo>
                      <a:pt x="138" y="338"/>
                    </a:lnTo>
                    <a:lnTo>
                      <a:pt x="138" y="336"/>
                    </a:lnTo>
                    <a:lnTo>
                      <a:pt x="138" y="334"/>
                    </a:lnTo>
                    <a:lnTo>
                      <a:pt x="140" y="330"/>
                    </a:lnTo>
                    <a:lnTo>
                      <a:pt x="140" y="328"/>
                    </a:lnTo>
                    <a:lnTo>
                      <a:pt x="140" y="328"/>
                    </a:lnTo>
                    <a:lnTo>
                      <a:pt x="140" y="326"/>
                    </a:lnTo>
                    <a:lnTo>
                      <a:pt x="140" y="326"/>
                    </a:lnTo>
                    <a:lnTo>
                      <a:pt x="138" y="324"/>
                    </a:lnTo>
                    <a:lnTo>
                      <a:pt x="138" y="324"/>
                    </a:lnTo>
                    <a:lnTo>
                      <a:pt x="138" y="324"/>
                    </a:lnTo>
                    <a:lnTo>
                      <a:pt x="136" y="322"/>
                    </a:lnTo>
                    <a:lnTo>
                      <a:pt x="134" y="322"/>
                    </a:lnTo>
                    <a:lnTo>
                      <a:pt x="132" y="320"/>
                    </a:lnTo>
                    <a:lnTo>
                      <a:pt x="130" y="320"/>
                    </a:lnTo>
                    <a:lnTo>
                      <a:pt x="128" y="318"/>
                    </a:lnTo>
                    <a:lnTo>
                      <a:pt x="126" y="318"/>
                    </a:lnTo>
                    <a:lnTo>
                      <a:pt x="124" y="318"/>
                    </a:lnTo>
                    <a:lnTo>
                      <a:pt x="122" y="318"/>
                    </a:lnTo>
                    <a:lnTo>
                      <a:pt x="120" y="320"/>
                    </a:lnTo>
                    <a:lnTo>
                      <a:pt x="118" y="320"/>
                    </a:lnTo>
                    <a:lnTo>
                      <a:pt x="116" y="320"/>
                    </a:lnTo>
                    <a:lnTo>
                      <a:pt x="114" y="322"/>
                    </a:lnTo>
                    <a:lnTo>
                      <a:pt x="112" y="322"/>
                    </a:lnTo>
                    <a:lnTo>
                      <a:pt x="110" y="324"/>
                    </a:lnTo>
                    <a:lnTo>
                      <a:pt x="110" y="324"/>
                    </a:lnTo>
                    <a:lnTo>
                      <a:pt x="110" y="324"/>
                    </a:lnTo>
                    <a:lnTo>
                      <a:pt x="110" y="326"/>
                    </a:lnTo>
                    <a:lnTo>
                      <a:pt x="110" y="328"/>
                    </a:lnTo>
                    <a:lnTo>
                      <a:pt x="110" y="330"/>
                    </a:lnTo>
                    <a:lnTo>
                      <a:pt x="110" y="332"/>
                    </a:lnTo>
                    <a:lnTo>
                      <a:pt x="110" y="334"/>
                    </a:lnTo>
                    <a:lnTo>
                      <a:pt x="110" y="334"/>
                    </a:lnTo>
                    <a:lnTo>
                      <a:pt x="110" y="336"/>
                    </a:lnTo>
                    <a:lnTo>
                      <a:pt x="112" y="338"/>
                    </a:lnTo>
                    <a:lnTo>
                      <a:pt x="112" y="338"/>
                    </a:lnTo>
                    <a:lnTo>
                      <a:pt x="112" y="338"/>
                    </a:lnTo>
                    <a:lnTo>
                      <a:pt x="114" y="338"/>
                    </a:lnTo>
                    <a:lnTo>
                      <a:pt x="114" y="340"/>
                    </a:lnTo>
                    <a:lnTo>
                      <a:pt x="116" y="340"/>
                    </a:lnTo>
                    <a:lnTo>
                      <a:pt x="120" y="340"/>
                    </a:lnTo>
                    <a:lnTo>
                      <a:pt x="120" y="340"/>
                    </a:lnTo>
                    <a:lnTo>
                      <a:pt x="122" y="342"/>
                    </a:lnTo>
                    <a:lnTo>
                      <a:pt x="122" y="342"/>
                    </a:lnTo>
                    <a:lnTo>
                      <a:pt x="124" y="344"/>
                    </a:lnTo>
                    <a:lnTo>
                      <a:pt x="124" y="346"/>
                    </a:lnTo>
                    <a:lnTo>
                      <a:pt x="124" y="346"/>
                    </a:lnTo>
                    <a:lnTo>
                      <a:pt x="126" y="346"/>
                    </a:lnTo>
                    <a:lnTo>
                      <a:pt x="126" y="348"/>
                    </a:lnTo>
                    <a:lnTo>
                      <a:pt x="124" y="348"/>
                    </a:lnTo>
                    <a:lnTo>
                      <a:pt x="124" y="350"/>
                    </a:lnTo>
                    <a:lnTo>
                      <a:pt x="124" y="352"/>
                    </a:lnTo>
                    <a:lnTo>
                      <a:pt x="122" y="352"/>
                    </a:lnTo>
                    <a:lnTo>
                      <a:pt x="122" y="354"/>
                    </a:lnTo>
                    <a:lnTo>
                      <a:pt x="120" y="354"/>
                    </a:lnTo>
                    <a:lnTo>
                      <a:pt x="118" y="354"/>
                    </a:lnTo>
                    <a:lnTo>
                      <a:pt x="118" y="356"/>
                    </a:lnTo>
                    <a:lnTo>
                      <a:pt x="116" y="356"/>
                    </a:lnTo>
                    <a:lnTo>
                      <a:pt x="116" y="354"/>
                    </a:lnTo>
                    <a:lnTo>
                      <a:pt x="114" y="354"/>
                    </a:lnTo>
                    <a:lnTo>
                      <a:pt x="114" y="354"/>
                    </a:lnTo>
                    <a:lnTo>
                      <a:pt x="112" y="352"/>
                    </a:lnTo>
                    <a:lnTo>
                      <a:pt x="110" y="350"/>
                    </a:lnTo>
                    <a:lnTo>
                      <a:pt x="108" y="348"/>
                    </a:lnTo>
                    <a:lnTo>
                      <a:pt x="106" y="346"/>
                    </a:lnTo>
                    <a:lnTo>
                      <a:pt x="102" y="344"/>
                    </a:lnTo>
                    <a:lnTo>
                      <a:pt x="100" y="342"/>
                    </a:lnTo>
                    <a:lnTo>
                      <a:pt x="100" y="340"/>
                    </a:lnTo>
                    <a:lnTo>
                      <a:pt x="96" y="336"/>
                    </a:lnTo>
                    <a:lnTo>
                      <a:pt x="94" y="332"/>
                    </a:lnTo>
                    <a:lnTo>
                      <a:pt x="92" y="328"/>
                    </a:lnTo>
                    <a:lnTo>
                      <a:pt x="90" y="326"/>
                    </a:lnTo>
                    <a:lnTo>
                      <a:pt x="88" y="322"/>
                    </a:lnTo>
                    <a:lnTo>
                      <a:pt x="84" y="318"/>
                    </a:lnTo>
                    <a:lnTo>
                      <a:pt x="84" y="316"/>
                    </a:lnTo>
                    <a:lnTo>
                      <a:pt x="84" y="314"/>
                    </a:lnTo>
                    <a:lnTo>
                      <a:pt x="84" y="312"/>
                    </a:lnTo>
                    <a:lnTo>
                      <a:pt x="82" y="308"/>
                    </a:lnTo>
                    <a:lnTo>
                      <a:pt x="82" y="302"/>
                    </a:lnTo>
                    <a:lnTo>
                      <a:pt x="82" y="300"/>
                    </a:lnTo>
                    <a:lnTo>
                      <a:pt x="82" y="296"/>
                    </a:lnTo>
                    <a:lnTo>
                      <a:pt x="80" y="294"/>
                    </a:lnTo>
                    <a:lnTo>
                      <a:pt x="80" y="292"/>
                    </a:lnTo>
                    <a:lnTo>
                      <a:pt x="80" y="292"/>
                    </a:lnTo>
                    <a:lnTo>
                      <a:pt x="78" y="290"/>
                    </a:lnTo>
                    <a:lnTo>
                      <a:pt x="76" y="288"/>
                    </a:lnTo>
                    <a:lnTo>
                      <a:pt x="74" y="286"/>
                    </a:lnTo>
                    <a:lnTo>
                      <a:pt x="74" y="286"/>
                    </a:lnTo>
                    <a:lnTo>
                      <a:pt x="74" y="284"/>
                    </a:lnTo>
                    <a:lnTo>
                      <a:pt x="74" y="284"/>
                    </a:lnTo>
                    <a:lnTo>
                      <a:pt x="74" y="284"/>
                    </a:lnTo>
                    <a:lnTo>
                      <a:pt x="74" y="284"/>
                    </a:lnTo>
                    <a:lnTo>
                      <a:pt x="74" y="282"/>
                    </a:lnTo>
                    <a:lnTo>
                      <a:pt x="74" y="282"/>
                    </a:lnTo>
                    <a:lnTo>
                      <a:pt x="76" y="282"/>
                    </a:lnTo>
                    <a:lnTo>
                      <a:pt x="76" y="282"/>
                    </a:lnTo>
                    <a:lnTo>
                      <a:pt x="78" y="282"/>
                    </a:lnTo>
                    <a:lnTo>
                      <a:pt x="78" y="284"/>
                    </a:lnTo>
                    <a:lnTo>
                      <a:pt x="82" y="284"/>
                    </a:lnTo>
                    <a:lnTo>
                      <a:pt x="86" y="286"/>
                    </a:lnTo>
                    <a:lnTo>
                      <a:pt x="88" y="288"/>
                    </a:lnTo>
                    <a:lnTo>
                      <a:pt x="90" y="288"/>
                    </a:lnTo>
                    <a:lnTo>
                      <a:pt x="92" y="290"/>
                    </a:lnTo>
                    <a:lnTo>
                      <a:pt x="96" y="290"/>
                    </a:lnTo>
                    <a:lnTo>
                      <a:pt x="102" y="292"/>
                    </a:lnTo>
                    <a:lnTo>
                      <a:pt x="106" y="294"/>
                    </a:lnTo>
                    <a:lnTo>
                      <a:pt x="110" y="296"/>
                    </a:lnTo>
                    <a:lnTo>
                      <a:pt x="112" y="296"/>
                    </a:lnTo>
                    <a:lnTo>
                      <a:pt x="114" y="296"/>
                    </a:lnTo>
                    <a:lnTo>
                      <a:pt x="116" y="296"/>
                    </a:lnTo>
                    <a:lnTo>
                      <a:pt x="118" y="296"/>
                    </a:lnTo>
                    <a:lnTo>
                      <a:pt x="120" y="296"/>
                    </a:lnTo>
                    <a:lnTo>
                      <a:pt x="124" y="294"/>
                    </a:lnTo>
                    <a:lnTo>
                      <a:pt x="128" y="294"/>
                    </a:lnTo>
                    <a:lnTo>
                      <a:pt x="130" y="294"/>
                    </a:lnTo>
                    <a:lnTo>
                      <a:pt x="134" y="292"/>
                    </a:lnTo>
                    <a:lnTo>
                      <a:pt x="136" y="290"/>
                    </a:lnTo>
                    <a:lnTo>
                      <a:pt x="138" y="290"/>
                    </a:lnTo>
                    <a:lnTo>
                      <a:pt x="140" y="288"/>
                    </a:lnTo>
                    <a:lnTo>
                      <a:pt x="142" y="288"/>
                    </a:lnTo>
                    <a:lnTo>
                      <a:pt x="144" y="286"/>
                    </a:lnTo>
                    <a:lnTo>
                      <a:pt x="146" y="282"/>
                    </a:lnTo>
                    <a:lnTo>
                      <a:pt x="150" y="280"/>
                    </a:lnTo>
                    <a:lnTo>
                      <a:pt x="150" y="278"/>
                    </a:lnTo>
                    <a:lnTo>
                      <a:pt x="154" y="274"/>
                    </a:lnTo>
                    <a:lnTo>
                      <a:pt x="154" y="272"/>
                    </a:lnTo>
                    <a:lnTo>
                      <a:pt x="156" y="272"/>
                    </a:lnTo>
                    <a:lnTo>
                      <a:pt x="156" y="270"/>
                    </a:lnTo>
                    <a:lnTo>
                      <a:pt x="156" y="268"/>
                    </a:lnTo>
                    <a:lnTo>
                      <a:pt x="156" y="268"/>
                    </a:lnTo>
                    <a:lnTo>
                      <a:pt x="154" y="266"/>
                    </a:lnTo>
                    <a:lnTo>
                      <a:pt x="154" y="266"/>
                    </a:lnTo>
                    <a:lnTo>
                      <a:pt x="152" y="264"/>
                    </a:lnTo>
                    <a:lnTo>
                      <a:pt x="152" y="262"/>
                    </a:lnTo>
                    <a:lnTo>
                      <a:pt x="150" y="262"/>
                    </a:lnTo>
                    <a:lnTo>
                      <a:pt x="148" y="260"/>
                    </a:lnTo>
                    <a:lnTo>
                      <a:pt x="144" y="258"/>
                    </a:lnTo>
                    <a:lnTo>
                      <a:pt x="140" y="256"/>
                    </a:lnTo>
                    <a:lnTo>
                      <a:pt x="136" y="252"/>
                    </a:lnTo>
                    <a:lnTo>
                      <a:pt x="134" y="250"/>
                    </a:lnTo>
                    <a:lnTo>
                      <a:pt x="130" y="250"/>
                    </a:lnTo>
                    <a:lnTo>
                      <a:pt x="128" y="248"/>
                    </a:lnTo>
                    <a:lnTo>
                      <a:pt x="124" y="246"/>
                    </a:lnTo>
                    <a:lnTo>
                      <a:pt x="116" y="242"/>
                    </a:lnTo>
                    <a:lnTo>
                      <a:pt x="106" y="238"/>
                    </a:lnTo>
                    <a:lnTo>
                      <a:pt x="104" y="236"/>
                    </a:lnTo>
                    <a:lnTo>
                      <a:pt x="100" y="236"/>
                    </a:lnTo>
                    <a:lnTo>
                      <a:pt x="92" y="232"/>
                    </a:lnTo>
                    <a:lnTo>
                      <a:pt x="84" y="226"/>
                    </a:lnTo>
                    <a:lnTo>
                      <a:pt x="76" y="222"/>
                    </a:lnTo>
                    <a:lnTo>
                      <a:pt x="68" y="218"/>
                    </a:lnTo>
                    <a:lnTo>
                      <a:pt x="60" y="214"/>
                    </a:lnTo>
                    <a:lnTo>
                      <a:pt x="54" y="210"/>
                    </a:lnTo>
                    <a:lnTo>
                      <a:pt x="46" y="214"/>
                    </a:lnTo>
                    <a:lnTo>
                      <a:pt x="40" y="218"/>
                    </a:lnTo>
                    <a:lnTo>
                      <a:pt x="38" y="220"/>
                    </a:lnTo>
                    <a:lnTo>
                      <a:pt x="36" y="222"/>
                    </a:lnTo>
                    <a:lnTo>
                      <a:pt x="32" y="226"/>
                    </a:lnTo>
                    <a:lnTo>
                      <a:pt x="28" y="230"/>
                    </a:lnTo>
                    <a:lnTo>
                      <a:pt x="26" y="232"/>
                    </a:lnTo>
                    <a:lnTo>
                      <a:pt x="24" y="234"/>
                    </a:lnTo>
                    <a:lnTo>
                      <a:pt x="22" y="236"/>
                    </a:lnTo>
                    <a:lnTo>
                      <a:pt x="20" y="238"/>
                    </a:lnTo>
                    <a:lnTo>
                      <a:pt x="18" y="240"/>
                    </a:lnTo>
                    <a:lnTo>
                      <a:pt x="18" y="242"/>
                    </a:lnTo>
                    <a:lnTo>
                      <a:pt x="16" y="248"/>
                    </a:lnTo>
                    <a:lnTo>
                      <a:pt x="14" y="254"/>
                    </a:lnTo>
                    <a:lnTo>
                      <a:pt x="14" y="262"/>
                    </a:lnTo>
                    <a:lnTo>
                      <a:pt x="14" y="266"/>
                    </a:lnTo>
                    <a:lnTo>
                      <a:pt x="14" y="268"/>
                    </a:lnTo>
                    <a:lnTo>
                      <a:pt x="14" y="270"/>
                    </a:lnTo>
                    <a:lnTo>
                      <a:pt x="14" y="272"/>
                    </a:lnTo>
                    <a:lnTo>
                      <a:pt x="14" y="274"/>
                    </a:lnTo>
                    <a:lnTo>
                      <a:pt x="16" y="280"/>
                    </a:lnTo>
                    <a:lnTo>
                      <a:pt x="18" y="286"/>
                    </a:lnTo>
                    <a:lnTo>
                      <a:pt x="18" y="288"/>
                    </a:lnTo>
                    <a:lnTo>
                      <a:pt x="18" y="290"/>
                    </a:lnTo>
                    <a:lnTo>
                      <a:pt x="18" y="294"/>
                    </a:lnTo>
                    <a:lnTo>
                      <a:pt x="18" y="296"/>
                    </a:lnTo>
                    <a:lnTo>
                      <a:pt x="20" y="302"/>
                    </a:lnTo>
                    <a:lnTo>
                      <a:pt x="20" y="310"/>
                    </a:lnTo>
                    <a:lnTo>
                      <a:pt x="20" y="312"/>
                    </a:lnTo>
                    <a:lnTo>
                      <a:pt x="20" y="314"/>
                    </a:lnTo>
                    <a:lnTo>
                      <a:pt x="20" y="316"/>
                    </a:lnTo>
                    <a:lnTo>
                      <a:pt x="20" y="318"/>
                    </a:lnTo>
                    <a:lnTo>
                      <a:pt x="22" y="324"/>
                    </a:lnTo>
                    <a:lnTo>
                      <a:pt x="26" y="334"/>
                    </a:lnTo>
                    <a:lnTo>
                      <a:pt x="28" y="340"/>
                    </a:lnTo>
                    <a:lnTo>
                      <a:pt x="30" y="346"/>
                    </a:lnTo>
                    <a:lnTo>
                      <a:pt x="30" y="350"/>
                    </a:lnTo>
                    <a:lnTo>
                      <a:pt x="32" y="352"/>
                    </a:lnTo>
                    <a:lnTo>
                      <a:pt x="32" y="356"/>
                    </a:lnTo>
                    <a:lnTo>
                      <a:pt x="34" y="358"/>
                    </a:lnTo>
                    <a:lnTo>
                      <a:pt x="34" y="358"/>
                    </a:lnTo>
                    <a:lnTo>
                      <a:pt x="36" y="360"/>
                    </a:lnTo>
                    <a:lnTo>
                      <a:pt x="38" y="362"/>
                    </a:lnTo>
                    <a:lnTo>
                      <a:pt x="40" y="364"/>
                    </a:lnTo>
                    <a:lnTo>
                      <a:pt x="42" y="366"/>
                    </a:lnTo>
                    <a:lnTo>
                      <a:pt x="44" y="368"/>
                    </a:lnTo>
                    <a:lnTo>
                      <a:pt x="48" y="372"/>
                    </a:lnTo>
                    <a:lnTo>
                      <a:pt x="52" y="374"/>
                    </a:lnTo>
                    <a:lnTo>
                      <a:pt x="46" y="378"/>
                    </a:lnTo>
                    <a:lnTo>
                      <a:pt x="44" y="382"/>
                    </a:lnTo>
                    <a:lnTo>
                      <a:pt x="40" y="384"/>
                    </a:lnTo>
                    <a:lnTo>
                      <a:pt x="36" y="388"/>
                    </a:lnTo>
                    <a:lnTo>
                      <a:pt x="32" y="392"/>
                    </a:lnTo>
                    <a:lnTo>
                      <a:pt x="26" y="402"/>
                    </a:lnTo>
                    <a:lnTo>
                      <a:pt x="18" y="408"/>
                    </a:lnTo>
                    <a:lnTo>
                      <a:pt x="16" y="412"/>
                    </a:lnTo>
                    <a:lnTo>
                      <a:pt x="14" y="414"/>
                    </a:lnTo>
                    <a:lnTo>
                      <a:pt x="12" y="416"/>
                    </a:lnTo>
                    <a:lnTo>
                      <a:pt x="12" y="418"/>
                    </a:lnTo>
                    <a:lnTo>
                      <a:pt x="10" y="418"/>
                    </a:lnTo>
                    <a:lnTo>
                      <a:pt x="10" y="420"/>
                    </a:lnTo>
                    <a:lnTo>
                      <a:pt x="8" y="424"/>
                    </a:lnTo>
                    <a:lnTo>
                      <a:pt x="8" y="428"/>
                    </a:lnTo>
                    <a:lnTo>
                      <a:pt x="8" y="432"/>
                    </a:lnTo>
                    <a:lnTo>
                      <a:pt x="8" y="434"/>
                    </a:lnTo>
                    <a:lnTo>
                      <a:pt x="8" y="436"/>
                    </a:lnTo>
                    <a:lnTo>
                      <a:pt x="8" y="440"/>
                    </a:lnTo>
                    <a:lnTo>
                      <a:pt x="8" y="448"/>
                    </a:lnTo>
                    <a:lnTo>
                      <a:pt x="0" y="452"/>
                    </a:lnTo>
                    <a:lnTo>
                      <a:pt x="16" y="474"/>
                    </a:lnTo>
                    <a:lnTo>
                      <a:pt x="38" y="494"/>
                    </a:lnTo>
                    <a:lnTo>
                      <a:pt x="44" y="496"/>
                    </a:lnTo>
                    <a:lnTo>
                      <a:pt x="50" y="498"/>
                    </a:lnTo>
                    <a:lnTo>
                      <a:pt x="56" y="500"/>
                    </a:lnTo>
                    <a:lnTo>
                      <a:pt x="60" y="500"/>
                    </a:lnTo>
                    <a:lnTo>
                      <a:pt x="62" y="502"/>
                    </a:lnTo>
                    <a:lnTo>
                      <a:pt x="66" y="502"/>
                    </a:lnTo>
                    <a:lnTo>
                      <a:pt x="70" y="504"/>
                    </a:lnTo>
                    <a:lnTo>
                      <a:pt x="72" y="506"/>
                    </a:lnTo>
                    <a:lnTo>
                      <a:pt x="74" y="508"/>
                    </a:lnTo>
                    <a:lnTo>
                      <a:pt x="76" y="508"/>
                    </a:lnTo>
                    <a:lnTo>
                      <a:pt x="78" y="510"/>
                    </a:lnTo>
                    <a:lnTo>
                      <a:pt x="78" y="510"/>
                    </a:lnTo>
                    <a:lnTo>
                      <a:pt x="80" y="512"/>
                    </a:lnTo>
                    <a:lnTo>
                      <a:pt x="80" y="516"/>
                    </a:lnTo>
                    <a:lnTo>
                      <a:pt x="82" y="518"/>
                    </a:lnTo>
                    <a:lnTo>
                      <a:pt x="82" y="522"/>
                    </a:lnTo>
                    <a:lnTo>
                      <a:pt x="84" y="524"/>
                    </a:lnTo>
                    <a:lnTo>
                      <a:pt x="84" y="528"/>
                    </a:lnTo>
                    <a:lnTo>
                      <a:pt x="84" y="532"/>
                    </a:lnTo>
                    <a:lnTo>
                      <a:pt x="84" y="536"/>
                    </a:lnTo>
                    <a:lnTo>
                      <a:pt x="84" y="540"/>
                    </a:lnTo>
                    <a:lnTo>
                      <a:pt x="84" y="544"/>
                    </a:lnTo>
                    <a:lnTo>
                      <a:pt x="84" y="548"/>
                    </a:lnTo>
                    <a:lnTo>
                      <a:pt x="84" y="550"/>
                    </a:lnTo>
                    <a:lnTo>
                      <a:pt x="84" y="554"/>
                    </a:lnTo>
                    <a:lnTo>
                      <a:pt x="82" y="558"/>
                    </a:lnTo>
                    <a:lnTo>
                      <a:pt x="82" y="560"/>
                    </a:lnTo>
                    <a:lnTo>
                      <a:pt x="82" y="562"/>
                    </a:lnTo>
                    <a:lnTo>
                      <a:pt x="80" y="564"/>
                    </a:lnTo>
                    <a:lnTo>
                      <a:pt x="80" y="564"/>
                    </a:lnTo>
                    <a:lnTo>
                      <a:pt x="78" y="566"/>
                    </a:lnTo>
                    <a:lnTo>
                      <a:pt x="76" y="568"/>
                    </a:lnTo>
                    <a:lnTo>
                      <a:pt x="76" y="568"/>
                    </a:lnTo>
                    <a:lnTo>
                      <a:pt x="76" y="568"/>
                    </a:lnTo>
                    <a:lnTo>
                      <a:pt x="74" y="570"/>
                    </a:lnTo>
                    <a:lnTo>
                      <a:pt x="72" y="574"/>
                    </a:lnTo>
                    <a:lnTo>
                      <a:pt x="72" y="578"/>
                    </a:lnTo>
                    <a:lnTo>
                      <a:pt x="70" y="580"/>
                    </a:lnTo>
                    <a:lnTo>
                      <a:pt x="70" y="586"/>
                    </a:lnTo>
                    <a:lnTo>
                      <a:pt x="68" y="590"/>
                    </a:lnTo>
                    <a:lnTo>
                      <a:pt x="74" y="588"/>
                    </a:lnTo>
                    <a:lnTo>
                      <a:pt x="78" y="588"/>
                    </a:lnTo>
                    <a:lnTo>
                      <a:pt x="84" y="586"/>
                    </a:lnTo>
                    <a:lnTo>
                      <a:pt x="88" y="586"/>
                    </a:lnTo>
                    <a:lnTo>
                      <a:pt x="90" y="586"/>
                    </a:lnTo>
                    <a:lnTo>
                      <a:pt x="94" y="586"/>
                    </a:lnTo>
                    <a:lnTo>
                      <a:pt x="96" y="586"/>
                    </a:lnTo>
                    <a:lnTo>
                      <a:pt x="100" y="586"/>
                    </a:lnTo>
                    <a:lnTo>
                      <a:pt x="102" y="586"/>
                    </a:lnTo>
                    <a:lnTo>
                      <a:pt x="104" y="586"/>
                    </a:lnTo>
                    <a:lnTo>
                      <a:pt x="106" y="586"/>
                    </a:lnTo>
                    <a:lnTo>
                      <a:pt x="106" y="588"/>
                    </a:lnTo>
                    <a:lnTo>
                      <a:pt x="108" y="588"/>
                    </a:lnTo>
                    <a:lnTo>
                      <a:pt x="108" y="588"/>
                    </a:lnTo>
                    <a:lnTo>
                      <a:pt x="108" y="590"/>
                    </a:lnTo>
                    <a:lnTo>
                      <a:pt x="110" y="592"/>
                    </a:lnTo>
                    <a:lnTo>
                      <a:pt x="110" y="594"/>
                    </a:lnTo>
                    <a:lnTo>
                      <a:pt x="110" y="598"/>
                    </a:lnTo>
                    <a:lnTo>
                      <a:pt x="112" y="600"/>
                    </a:lnTo>
                    <a:lnTo>
                      <a:pt x="112" y="604"/>
                    </a:lnTo>
                    <a:lnTo>
                      <a:pt x="114" y="606"/>
                    </a:lnTo>
                    <a:lnTo>
                      <a:pt x="114" y="608"/>
                    </a:lnTo>
                    <a:lnTo>
                      <a:pt x="114" y="608"/>
                    </a:lnTo>
                    <a:lnTo>
                      <a:pt x="116" y="610"/>
                    </a:lnTo>
                    <a:lnTo>
                      <a:pt x="116" y="612"/>
                    </a:lnTo>
                    <a:lnTo>
                      <a:pt x="118" y="614"/>
                    </a:lnTo>
                    <a:lnTo>
                      <a:pt x="120" y="614"/>
                    </a:lnTo>
                    <a:lnTo>
                      <a:pt x="124" y="618"/>
                    </a:lnTo>
                    <a:lnTo>
                      <a:pt x="128" y="620"/>
                    </a:lnTo>
                    <a:lnTo>
                      <a:pt x="132" y="624"/>
                    </a:lnTo>
                    <a:lnTo>
                      <a:pt x="136" y="626"/>
                    </a:lnTo>
                    <a:lnTo>
                      <a:pt x="144" y="632"/>
                    </a:lnTo>
                    <a:lnTo>
                      <a:pt x="150" y="636"/>
                    </a:lnTo>
                    <a:lnTo>
                      <a:pt x="154" y="638"/>
                    </a:lnTo>
                    <a:lnTo>
                      <a:pt x="158" y="642"/>
                    </a:lnTo>
                    <a:lnTo>
                      <a:pt x="162" y="644"/>
                    </a:lnTo>
                    <a:lnTo>
                      <a:pt x="166" y="648"/>
                    </a:lnTo>
                    <a:lnTo>
                      <a:pt x="166" y="648"/>
                    </a:lnTo>
                    <a:lnTo>
                      <a:pt x="168" y="650"/>
                    </a:lnTo>
                    <a:lnTo>
                      <a:pt x="170" y="652"/>
                    </a:lnTo>
                    <a:lnTo>
                      <a:pt x="170" y="654"/>
                    </a:lnTo>
                    <a:lnTo>
                      <a:pt x="172" y="656"/>
                    </a:lnTo>
                    <a:lnTo>
                      <a:pt x="172" y="658"/>
                    </a:lnTo>
                    <a:lnTo>
                      <a:pt x="172" y="658"/>
                    </a:lnTo>
                    <a:lnTo>
                      <a:pt x="172" y="660"/>
                    </a:lnTo>
                    <a:lnTo>
                      <a:pt x="172" y="660"/>
                    </a:lnTo>
                    <a:lnTo>
                      <a:pt x="172" y="662"/>
                    </a:lnTo>
                    <a:lnTo>
                      <a:pt x="172" y="664"/>
                    </a:lnTo>
                    <a:lnTo>
                      <a:pt x="172" y="666"/>
                    </a:lnTo>
                    <a:lnTo>
                      <a:pt x="170" y="670"/>
                    </a:lnTo>
                    <a:lnTo>
                      <a:pt x="170" y="672"/>
                    </a:lnTo>
                    <a:lnTo>
                      <a:pt x="168" y="680"/>
                    </a:lnTo>
                    <a:lnTo>
                      <a:pt x="166" y="686"/>
                    </a:lnTo>
                    <a:lnTo>
                      <a:pt x="164" y="688"/>
                    </a:lnTo>
                    <a:lnTo>
                      <a:pt x="164" y="692"/>
                    </a:lnTo>
                    <a:lnTo>
                      <a:pt x="162" y="694"/>
                    </a:lnTo>
                    <a:lnTo>
                      <a:pt x="162" y="696"/>
                    </a:lnTo>
                    <a:lnTo>
                      <a:pt x="162" y="700"/>
                    </a:lnTo>
                    <a:lnTo>
                      <a:pt x="162" y="700"/>
                    </a:lnTo>
                    <a:lnTo>
                      <a:pt x="162" y="702"/>
                    </a:lnTo>
                    <a:lnTo>
                      <a:pt x="164" y="702"/>
                    </a:lnTo>
                    <a:lnTo>
                      <a:pt x="164" y="702"/>
                    </a:lnTo>
                    <a:lnTo>
                      <a:pt x="164" y="704"/>
                    </a:lnTo>
                    <a:lnTo>
                      <a:pt x="166" y="704"/>
                    </a:lnTo>
                    <a:lnTo>
                      <a:pt x="166" y="706"/>
                    </a:lnTo>
                    <a:lnTo>
                      <a:pt x="168" y="706"/>
                    </a:lnTo>
                    <a:lnTo>
                      <a:pt x="170" y="708"/>
                    </a:lnTo>
                    <a:lnTo>
                      <a:pt x="170" y="708"/>
                    </a:lnTo>
                    <a:lnTo>
                      <a:pt x="170" y="708"/>
                    </a:lnTo>
                    <a:lnTo>
                      <a:pt x="170" y="708"/>
                    </a:lnTo>
                    <a:lnTo>
                      <a:pt x="170" y="710"/>
                    </a:lnTo>
                    <a:lnTo>
                      <a:pt x="170" y="710"/>
                    </a:lnTo>
                    <a:lnTo>
                      <a:pt x="170" y="712"/>
                    </a:lnTo>
                    <a:lnTo>
                      <a:pt x="168" y="712"/>
                    </a:lnTo>
                    <a:lnTo>
                      <a:pt x="168" y="714"/>
                    </a:lnTo>
                    <a:lnTo>
                      <a:pt x="166" y="714"/>
                    </a:lnTo>
                    <a:lnTo>
                      <a:pt x="164" y="716"/>
                    </a:lnTo>
                    <a:lnTo>
                      <a:pt x="160" y="720"/>
                    </a:lnTo>
                    <a:lnTo>
                      <a:pt x="156" y="722"/>
                    </a:lnTo>
                    <a:lnTo>
                      <a:pt x="156" y="722"/>
                    </a:lnTo>
                    <a:lnTo>
                      <a:pt x="148" y="728"/>
                    </a:lnTo>
                    <a:lnTo>
                      <a:pt x="146" y="732"/>
                    </a:lnTo>
                    <a:lnTo>
                      <a:pt x="144" y="734"/>
                    </a:lnTo>
                    <a:lnTo>
                      <a:pt x="142" y="736"/>
                    </a:lnTo>
                    <a:lnTo>
                      <a:pt x="142" y="738"/>
                    </a:lnTo>
                    <a:lnTo>
                      <a:pt x="140" y="740"/>
                    </a:lnTo>
                    <a:lnTo>
                      <a:pt x="140" y="742"/>
                    </a:lnTo>
                    <a:lnTo>
                      <a:pt x="138" y="742"/>
                    </a:lnTo>
                    <a:lnTo>
                      <a:pt x="138" y="744"/>
                    </a:lnTo>
                    <a:lnTo>
                      <a:pt x="138" y="744"/>
                    </a:lnTo>
                    <a:lnTo>
                      <a:pt x="138" y="746"/>
                    </a:lnTo>
                    <a:lnTo>
                      <a:pt x="140" y="746"/>
                    </a:lnTo>
                    <a:lnTo>
                      <a:pt x="140" y="748"/>
                    </a:lnTo>
                    <a:lnTo>
                      <a:pt x="140" y="748"/>
                    </a:lnTo>
                    <a:lnTo>
                      <a:pt x="142" y="748"/>
                    </a:lnTo>
                    <a:lnTo>
                      <a:pt x="144" y="750"/>
                    </a:lnTo>
                    <a:lnTo>
                      <a:pt x="148" y="752"/>
                    </a:lnTo>
                    <a:lnTo>
                      <a:pt x="154" y="754"/>
                    </a:lnTo>
                    <a:lnTo>
                      <a:pt x="156" y="754"/>
                    </a:lnTo>
                    <a:lnTo>
                      <a:pt x="156" y="754"/>
                    </a:lnTo>
                    <a:lnTo>
                      <a:pt x="158" y="756"/>
                    </a:lnTo>
                    <a:lnTo>
                      <a:pt x="160" y="756"/>
                    </a:lnTo>
                    <a:lnTo>
                      <a:pt x="160" y="758"/>
                    </a:lnTo>
                    <a:lnTo>
                      <a:pt x="164" y="762"/>
                    </a:lnTo>
                    <a:lnTo>
                      <a:pt x="168" y="766"/>
                    </a:lnTo>
                    <a:lnTo>
                      <a:pt x="172" y="764"/>
                    </a:lnTo>
                    <a:lnTo>
                      <a:pt x="176" y="762"/>
                    </a:lnTo>
                    <a:lnTo>
                      <a:pt x="180" y="758"/>
                    </a:lnTo>
                    <a:lnTo>
                      <a:pt x="186" y="754"/>
                    </a:lnTo>
                    <a:lnTo>
                      <a:pt x="188" y="754"/>
                    </a:lnTo>
                    <a:lnTo>
                      <a:pt x="190" y="752"/>
                    </a:lnTo>
                    <a:lnTo>
                      <a:pt x="194" y="750"/>
                    </a:lnTo>
                    <a:lnTo>
                      <a:pt x="196" y="750"/>
                    </a:lnTo>
                    <a:lnTo>
                      <a:pt x="198" y="748"/>
                    </a:lnTo>
                    <a:lnTo>
                      <a:pt x="200" y="748"/>
                    </a:lnTo>
                    <a:lnTo>
                      <a:pt x="200" y="748"/>
                    </a:lnTo>
                    <a:lnTo>
                      <a:pt x="202" y="748"/>
                    </a:lnTo>
                    <a:lnTo>
                      <a:pt x="202" y="750"/>
                    </a:lnTo>
                    <a:lnTo>
                      <a:pt x="204" y="750"/>
                    </a:lnTo>
                    <a:lnTo>
                      <a:pt x="206" y="752"/>
                    </a:lnTo>
                    <a:lnTo>
                      <a:pt x="208" y="754"/>
                    </a:lnTo>
                    <a:lnTo>
                      <a:pt x="212" y="754"/>
                    </a:lnTo>
                    <a:lnTo>
                      <a:pt x="214" y="756"/>
                    </a:lnTo>
                    <a:lnTo>
                      <a:pt x="216" y="758"/>
                    </a:lnTo>
                    <a:lnTo>
                      <a:pt x="216" y="758"/>
                    </a:lnTo>
                    <a:lnTo>
                      <a:pt x="218" y="758"/>
                    </a:lnTo>
                    <a:lnTo>
                      <a:pt x="218" y="758"/>
                    </a:lnTo>
                    <a:lnTo>
                      <a:pt x="220" y="758"/>
                    </a:lnTo>
                    <a:lnTo>
                      <a:pt x="224" y="758"/>
                    </a:lnTo>
                    <a:lnTo>
                      <a:pt x="228" y="758"/>
                    </a:lnTo>
                    <a:lnTo>
                      <a:pt x="228" y="758"/>
                    </a:lnTo>
                    <a:lnTo>
                      <a:pt x="230" y="758"/>
                    </a:lnTo>
                    <a:lnTo>
                      <a:pt x="232" y="760"/>
                    </a:lnTo>
                    <a:lnTo>
                      <a:pt x="234" y="760"/>
                    </a:lnTo>
                    <a:lnTo>
                      <a:pt x="234" y="762"/>
                    </a:lnTo>
                    <a:lnTo>
                      <a:pt x="236" y="764"/>
                    </a:lnTo>
                    <a:lnTo>
                      <a:pt x="240" y="768"/>
                    </a:lnTo>
                    <a:lnTo>
                      <a:pt x="244" y="770"/>
                    </a:lnTo>
                    <a:lnTo>
                      <a:pt x="246" y="774"/>
                    </a:lnTo>
                    <a:lnTo>
                      <a:pt x="252" y="780"/>
                    </a:lnTo>
                    <a:lnTo>
                      <a:pt x="258" y="788"/>
                    </a:lnTo>
                    <a:lnTo>
                      <a:pt x="286" y="780"/>
                    </a:lnTo>
                    <a:lnTo>
                      <a:pt x="284" y="776"/>
                    </a:lnTo>
                    <a:lnTo>
                      <a:pt x="282" y="772"/>
                    </a:lnTo>
                    <a:lnTo>
                      <a:pt x="280" y="768"/>
                    </a:lnTo>
                    <a:lnTo>
                      <a:pt x="280" y="764"/>
                    </a:lnTo>
                    <a:lnTo>
                      <a:pt x="278" y="762"/>
                    </a:lnTo>
                    <a:lnTo>
                      <a:pt x="278" y="760"/>
                    </a:lnTo>
                    <a:lnTo>
                      <a:pt x="278" y="760"/>
                    </a:lnTo>
                    <a:lnTo>
                      <a:pt x="278" y="758"/>
                    </a:lnTo>
                    <a:lnTo>
                      <a:pt x="280" y="756"/>
                    </a:lnTo>
                    <a:lnTo>
                      <a:pt x="280" y="754"/>
                    </a:lnTo>
                    <a:lnTo>
                      <a:pt x="282" y="752"/>
                    </a:lnTo>
                    <a:lnTo>
                      <a:pt x="284" y="748"/>
                    </a:lnTo>
                    <a:lnTo>
                      <a:pt x="286" y="746"/>
                    </a:lnTo>
                    <a:lnTo>
                      <a:pt x="288" y="744"/>
                    </a:lnTo>
                    <a:lnTo>
                      <a:pt x="290" y="740"/>
                    </a:lnTo>
                    <a:lnTo>
                      <a:pt x="294" y="738"/>
                    </a:lnTo>
                    <a:lnTo>
                      <a:pt x="296" y="736"/>
                    </a:lnTo>
                    <a:lnTo>
                      <a:pt x="302" y="730"/>
                    </a:lnTo>
                    <a:lnTo>
                      <a:pt x="306" y="72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grpSp>
        <p:grpSp>
          <p:nvGrpSpPr>
            <p:cNvPr id="1011" name="Gruppieren 697"/>
            <p:cNvGrpSpPr/>
            <p:nvPr/>
          </p:nvGrpSpPr>
          <p:grpSpPr>
            <a:xfrm>
              <a:off x="7442373" y="3232838"/>
              <a:ext cx="322166" cy="498838"/>
              <a:chOff x="7218653" y="3495842"/>
              <a:chExt cx="295275" cy="457200"/>
            </a:xfrm>
            <a:solidFill>
              <a:srgbClr val="778888">
                <a:lumMod val="20000"/>
                <a:lumOff val="80000"/>
              </a:srgbClr>
            </a:solidFill>
          </p:grpSpPr>
          <p:sp>
            <p:nvSpPr>
              <p:cNvPr id="1012" name="Freeform 54"/>
              <p:cNvSpPr>
                <a:spLocks/>
              </p:cNvSpPr>
              <p:nvPr/>
            </p:nvSpPr>
            <p:spPr bwMode="auto">
              <a:xfrm>
                <a:off x="7402803" y="3495842"/>
                <a:ext cx="111125" cy="142875"/>
              </a:xfrm>
              <a:custGeom>
                <a:avLst/>
                <a:gdLst>
                  <a:gd name="T0" fmla="*/ 12 w 70"/>
                  <a:gd name="T1" fmla="*/ 8 h 90"/>
                  <a:gd name="T2" fmla="*/ 12 w 70"/>
                  <a:gd name="T3" fmla="*/ 14 h 90"/>
                  <a:gd name="T4" fmla="*/ 14 w 70"/>
                  <a:gd name="T5" fmla="*/ 24 h 90"/>
                  <a:gd name="T6" fmla="*/ 16 w 70"/>
                  <a:gd name="T7" fmla="*/ 34 h 90"/>
                  <a:gd name="T8" fmla="*/ 16 w 70"/>
                  <a:gd name="T9" fmla="*/ 42 h 90"/>
                  <a:gd name="T10" fmla="*/ 16 w 70"/>
                  <a:gd name="T11" fmla="*/ 48 h 90"/>
                  <a:gd name="T12" fmla="*/ 10 w 70"/>
                  <a:gd name="T13" fmla="*/ 56 h 90"/>
                  <a:gd name="T14" fmla="*/ 6 w 70"/>
                  <a:gd name="T15" fmla="*/ 62 h 90"/>
                  <a:gd name="T16" fmla="*/ 0 w 70"/>
                  <a:gd name="T17" fmla="*/ 70 h 90"/>
                  <a:gd name="T18" fmla="*/ 0 w 70"/>
                  <a:gd name="T19" fmla="*/ 72 h 90"/>
                  <a:gd name="T20" fmla="*/ 2 w 70"/>
                  <a:gd name="T21" fmla="*/ 76 h 90"/>
                  <a:gd name="T22" fmla="*/ 6 w 70"/>
                  <a:gd name="T23" fmla="*/ 80 h 90"/>
                  <a:gd name="T24" fmla="*/ 8 w 70"/>
                  <a:gd name="T25" fmla="*/ 82 h 90"/>
                  <a:gd name="T26" fmla="*/ 12 w 70"/>
                  <a:gd name="T27" fmla="*/ 80 h 90"/>
                  <a:gd name="T28" fmla="*/ 18 w 70"/>
                  <a:gd name="T29" fmla="*/ 78 h 90"/>
                  <a:gd name="T30" fmla="*/ 24 w 70"/>
                  <a:gd name="T31" fmla="*/ 76 h 90"/>
                  <a:gd name="T32" fmla="*/ 26 w 70"/>
                  <a:gd name="T33" fmla="*/ 74 h 90"/>
                  <a:gd name="T34" fmla="*/ 34 w 70"/>
                  <a:gd name="T35" fmla="*/ 76 h 90"/>
                  <a:gd name="T36" fmla="*/ 40 w 70"/>
                  <a:gd name="T37" fmla="*/ 78 h 90"/>
                  <a:gd name="T38" fmla="*/ 42 w 70"/>
                  <a:gd name="T39" fmla="*/ 80 h 90"/>
                  <a:gd name="T40" fmla="*/ 48 w 70"/>
                  <a:gd name="T41" fmla="*/ 88 h 90"/>
                  <a:gd name="T42" fmla="*/ 48 w 70"/>
                  <a:gd name="T43" fmla="*/ 90 h 90"/>
                  <a:gd name="T44" fmla="*/ 50 w 70"/>
                  <a:gd name="T45" fmla="*/ 88 h 90"/>
                  <a:gd name="T46" fmla="*/ 52 w 70"/>
                  <a:gd name="T47" fmla="*/ 82 h 90"/>
                  <a:gd name="T48" fmla="*/ 56 w 70"/>
                  <a:gd name="T49" fmla="*/ 72 h 90"/>
                  <a:gd name="T50" fmla="*/ 60 w 70"/>
                  <a:gd name="T51" fmla="*/ 68 h 90"/>
                  <a:gd name="T52" fmla="*/ 64 w 70"/>
                  <a:gd name="T53" fmla="*/ 64 h 90"/>
                  <a:gd name="T54" fmla="*/ 68 w 70"/>
                  <a:gd name="T55" fmla="*/ 62 h 90"/>
                  <a:gd name="T56" fmla="*/ 70 w 70"/>
                  <a:gd name="T57" fmla="*/ 62 h 90"/>
                  <a:gd name="T58" fmla="*/ 70 w 70"/>
                  <a:gd name="T59" fmla="*/ 58 h 90"/>
                  <a:gd name="T60" fmla="*/ 70 w 70"/>
                  <a:gd name="T61" fmla="*/ 50 h 90"/>
                  <a:gd name="T62" fmla="*/ 68 w 70"/>
                  <a:gd name="T63" fmla="*/ 44 h 90"/>
                  <a:gd name="T64" fmla="*/ 66 w 70"/>
                  <a:gd name="T65" fmla="*/ 42 h 90"/>
                  <a:gd name="T66" fmla="*/ 60 w 70"/>
                  <a:gd name="T67" fmla="*/ 40 h 90"/>
                  <a:gd name="T68" fmla="*/ 52 w 70"/>
                  <a:gd name="T69" fmla="*/ 38 h 90"/>
                  <a:gd name="T70" fmla="*/ 40 w 70"/>
                  <a:gd name="T71" fmla="*/ 36 h 90"/>
                  <a:gd name="T72" fmla="*/ 34 w 70"/>
                  <a:gd name="T73" fmla="*/ 32 h 90"/>
                  <a:gd name="T74" fmla="*/ 30 w 70"/>
                  <a:gd name="T75" fmla="*/ 30 h 90"/>
                  <a:gd name="T76" fmla="*/ 28 w 70"/>
                  <a:gd name="T77" fmla="*/ 28 h 90"/>
                  <a:gd name="T78" fmla="*/ 26 w 70"/>
                  <a:gd name="T79" fmla="*/ 18 h 90"/>
                  <a:gd name="T80" fmla="*/ 24 w 70"/>
                  <a:gd name="T81" fmla="*/ 12 h 90"/>
                  <a:gd name="T82" fmla="*/ 22 w 70"/>
                  <a:gd name="T83" fmla="*/ 4 h 90"/>
                  <a:gd name="T84" fmla="*/ 20 w 70"/>
                  <a:gd name="T85" fmla="*/ 0 h 90"/>
                  <a:gd name="T86" fmla="*/ 18 w 70"/>
                  <a:gd name="T87" fmla="*/ 0 h 90"/>
                  <a:gd name="T88" fmla="*/ 14 w 70"/>
                  <a:gd name="T89" fmla="*/ 2 h 90"/>
                  <a:gd name="T90" fmla="*/ 12 w 70"/>
                  <a:gd name="T91"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90">
                    <a:moveTo>
                      <a:pt x="12" y="8"/>
                    </a:moveTo>
                    <a:lnTo>
                      <a:pt x="12" y="8"/>
                    </a:lnTo>
                    <a:lnTo>
                      <a:pt x="12" y="8"/>
                    </a:lnTo>
                    <a:lnTo>
                      <a:pt x="12" y="10"/>
                    </a:lnTo>
                    <a:lnTo>
                      <a:pt x="12" y="12"/>
                    </a:lnTo>
                    <a:lnTo>
                      <a:pt x="12" y="14"/>
                    </a:lnTo>
                    <a:lnTo>
                      <a:pt x="12" y="18"/>
                    </a:lnTo>
                    <a:lnTo>
                      <a:pt x="14" y="22"/>
                    </a:lnTo>
                    <a:lnTo>
                      <a:pt x="14" y="24"/>
                    </a:lnTo>
                    <a:lnTo>
                      <a:pt x="16" y="26"/>
                    </a:lnTo>
                    <a:lnTo>
                      <a:pt x="16" y="30"/>
                    </a:lnTo>
                    <a:lnTo>
                      <a:pt x="16" y="34"/>
                    </a:lnTo>
                    <a:lnTo>
                      <a:pt x="16" y="38"/>
                    </a:lnTo>
                    <a:lnTo>
                      <a:pt x="16" y="40"/>
                    </a:lnTo>
                    <a:lnTo>
                      <a:pt x="16" y="42"/>
                    </a:lnTo>
                    <a:lnTo>
                      <a:pt x="16" y="44"/>
                    </a:lnTo>
                    <a:lnTo>
                      <a:pt x="16" y="44"/>
                    </a:lnTo>
                    <a:lnTo>
                      <a:pt x="16" y="48"/>
                    </a:lnTo>
                    <a:lnTo>
                      <a:pt x="14" y="50"/>
                    </a:lnTo>
                    <a:lnTo>
                      <a:pt x="12" y="52"/>
                    </a:lnTo>
                    <a:lnTo>
                      <a:pt x="10" y="56"/>
                    </a:lnTo>
                    <a:lnTo>
                      <a:pt x="8" y="60"/>
                    </a:lnTo>
                    <a:lnTo>
                      <a:pt x="6" y="60"/>
                    </a:lnTo>
                    <a:lnTo>
                      <a:pt x="6" y="62"/>
                    </a:lnTo>
                    <a:lnTo>
                      <a:pt x="2" y="66"/>
                    </a:lnTo>
                    <a:lnTo>
                      <a:pt x="2" y="68"/>
                    </a:lnTo>
                    <a:lnTo>
                      <a:pt x="0" y="70"/>
                    </a:lnTo>
                    <a:lnTo>
                      <a:pt x="0" y="70"/>
                    </a:lnTo>
                    <a:lnTo>
                      <a:pt x="0" y="72"/>
                    </a:lnTo>
                    <a:lnTo>
                      <a:pt x="0" y="72"/>
                    </a:lnTo>
                    <a:lnTo>
                      <a:pt x="0" y="74"/>
                    </a:lnTo>
                    <a:lnTo>
                      <a:pt x="0" y="74"/>
                    </a:lnTo>
                    <a:lnTo>
                      <a:pt x="2" y="76"/>
                    </a:lnTo>
                    <a:lnTo>
                      <a:pt x="2" y="76"/>
                    </a:lnTo>
                    <a:lnTo>
                      <a:pt x="4" y="78"/>
                    </a:lnTo>
                    <a:lnTo>
                      <a:pt x="6" y="80"/>
                    </a:lnTo>
                    <a:lnTo>
                      <a:pt x="6" y="80"/>
                    </a:lnTo>
                    <a:lnTo>
                      <a:pt x="8" y="80"/>
                    </a:lnTo>
                    <a:lnTo>
                      <a:pt x="8" y="82"/>
                    </a:lnTo>
                    <a:lnTo>
                      <a:pt x="10" y="82"/>
                    </a:lnTo>
                    <a:lnTo>
                      <a:pt x="10" y="80"/>
                    </a:lnTo>
                    <a:lnTo>
                      <a:pt x="12" y="80"/>
                    </a:lnTo>
                    <a:lnTo>
                      <a:pt x="12" y="80"/>
                    </a:lnTo>
                    <a:lnTo>
                      <a:pt x="14" y="80"/>
                    </a:lnTo>
                    <a:lnTo>
                      <a:pt x="18" y="78"/>
                    </a:lnTo>
                    <a:lnTo>
                      <a:pt x="20" y="76"/>
                    </a:lnTo>
                    <a:lnTo>
                      <a:pt x="22" y="76"/>
                    </a:lnTo>
                    <a:lnTo>
                      <a:pt x="24" y="76"/>
                    </a:lnTo>
                    <a:lnTo>
                      <a:pt x="24" y="74"/>
                    </a:lnTo>
                    <a:lnTo>
                      <a:pt x="26" y="74"/>
                    </a:lnTo>
                    <a:lnTo>
                      <a:pt x="26" y="74"/>
                    </a:lnTo>
                    <a:lnTo>
                      <a:pt x="30" y="74"/>
                    </a:lnTo>
                    <a:lnTo>
                      <a:pt x="32" y="76"/>
                    </a:lnTo>
                    <a:lnTo>
                      <a:pt x="34" y="76"/>
                    </a:lnTo>
                    <a:lnTo>
                      <a:pt x="36" y="76"/>
                    </a:lnTo>
                    <a:lnTo>
                      <a:pt x="38" y="76"/>
                    </a:lnTo>
                    <a:lnTo>
                      <a:pt x="40" y="78"/>
                    </a:lnTo>
                    <a:lnTo>
                      <a:pt x="42" y="78"/>
                    </a:lnTo>
                    <a:lnTo>
                      <a:pt x="42" y="78"/>
                    </a:lnTo>
                    <a:lnTo>
                      <a:pt x="42" y="80"/>
                    </a:lnTo>
                    <a:lnTo>
                      <a:pt x="44" y="82"/>
                    </a:lnTo>
                    <a:lnTo>
                      <a:pt x="46" y="86"/>
                    </a:lnTo>
                    <a:lnTo>
                      <a:pt x="48" y="88"/>
                    </a:lnTo>
                    <a:lnTo>
                      <a:pt x="48" y="88"/>
                    </a:lnTo>
                    <a:lnTo>
                      <a:pt x="48" y="90"/>
                    </a:lnTo>
                    <a:lnTo>
                      <a:pt x="48" y="90"/>
                    </a:lnTo>
                    <a:lnTo>
                      <a:pt x="50" y="90"/>
                    </a:lnTo>
                    <a:lnTo>
                      <a:pt x="50" y="88"/>
                    </a:lnTo>
                    <a:lnTo>
                      <a:pt x="50" y="88"/>
                    </a:lnTo>
                    <a:lnTo>
                      <a:pt x="50" y="86"/>
                    </a:lnTo>
                    <a:lnTo>
                      <a:pt x="50" y="84"/>
                    </a:lnTo>
                    <a:lnTo>
                      <a:pt x="52" y="82"/>
                    </a:lnTo>
                    <a:lnTo>
                      <a:pt x="52" y="78"/>
                    </a:lnTo>
                    <a:lnTo>
                      <a:pt x="54" y="74"/>
                    </a:lnTo>
                    <a:lnTo>
                      <a:pt x="56" y="72"/>
                    </a:lnTo>
                    <a:lnTo>
                      <a:pt x="58" y="70"/>
                    </a:lnTo>
                    <a:lnTo>
                      <a:pt x="58" y="68"/>
                    </a:lnTo>
                    <a:lnTo>
                      <a:pt x="60" y="68"/>
                    </a:lnTo>
                    <a:lnTo>
                      <a:pt x="60" y="66"/>
                    </a:lnTo>
                    <a:lnTo>
                      <a:pt x="62" y="66"/>
                    </a:lnTo>
                    <a:lnTo>
                      <a:pt x="64" y="64"/>
                    </a:lnTo>
                    <a:lnTo>
                      <a:pt x="66" y="64"/>
                    </a:lnTo>
                    <a:lnTo>
                      <a:pt x="68" y="64"/>
                    </a:lnTo>
                    <a:lnTo>
                      <a:pt x="68" y="62"/>
                    </a:lnTo>
                    <a:lnTo>
                      <a:pt x="68" y="62"/>
                    </a:lnTo>
                    <a:lnTo>
                      <a:pt x="70" y="62"/>
                    </a:lnTo>
                    <a:lnTo>
                      <a:pt x="70" y="62"/>
                    </a:lnTo>
                    <a:lnTo>
                      <a:pt x="70" y="60"/>
                    </a:lnTo>
                    <a:lnTo>
                      <a:pt x="70" y="60"/>
                    </a:lnTo>
                    <a:lnTo>
                      <a:pt x="70" y="58"/>
                    </a:lnTo>
                    <a:lnTo>
                      <a:pt x="70" y="56"/>
                    </a:lnTo>
                    <a:lnTo>
                      <a:pt x="70" y="52"/>
                    </a:lnTo>
                    <a:lnTo>
                      <a:pt x="70" y="50"/>
                    </a:lnTo>
                    <a:lnTo>
                      <a:pt x="68" y="48"/>
                    </a:lnTo>
                    <a:lnTo>
                      <a:pt x="68" y="44"/>
                    </a:lnTo>
                    <a:lnTo>
                      <a:pt x="68" y="44"/>
                    </a:lnTo>
                    <a:lnTo>
                      <a:pt x="66" y="44"/>
                    </a:lnTo>
                    <a:lnTo>
                      <a:pt x="66" y="42"/>
                    </a:lnTo>
                    <a:lnTo>
                      <a:pt x="66" y="42"/>
                    </a:lnTo>
                    <a:lnTo>
                      <a:pt x="64" y="42"/>
                    </a:lnTo>
                    <a:lnTo>
                      <a:pt x="62" y="40"/>
                    </a:lnTo>
                    <a:lnTo>
                      <a:pt x="60" y="40"/>
                    </a:lnTo>
                    <a:lnTo>
                      <a:pt x="56" y="38"/>
                    </a:lnTo>
                    <a:lnTo>
                      <a:pt x="54" y="38"/>
                    </a:lnTo>
                    <a:lnTo>
                      <a:pt x="52" y="38"/>
                    </a:lnTo>
                    <a:lnTo>
                      <a:pt x="50" y="38"/>
                    </a:lnTo>
                    <a:lnTo>
                      <a:pt x="46" y="36"/>
                    </a:lnTo>
                    <a:lnTo>
                      <a:pt x="40" y="36"/>
                    </a:lnTo>
                    <a:lnTo>
                      <a:pt x="38" y="34"/>
                    </a:lnTo>
                    <a:lnTo>
                      <a:pt x="34" y="34"/>
                    </a:lnTo>
                    <a:lnTo>
                      <a:pt x="34" y="32"/>
                    </a:lnTo>
                    <a:lnTo>
                      <a:pt x="32" y="32"/>
                    </a:lnTo>
                    <a:lnTo>
                      <a:pt x="30" y="32"/>
                    </a:lnTo>
                    <a:lnTo>
                      <a:pt x="30" y="30"/>
                    </a:lnTo>
                    <a:lnTo>
                      <a:pt x="30" y="30"/>
                    </a:lnTo>
                    <a:lnTo>
                      <a:pt x="30" y="30"/>
                    </a:lnTo>
                    <a:lnTo>
                      <a:pt x="28" y="28"/>
                    </a:lnTo>
                    <a:lnTo>
                      <a:pt x="28" y="26"/>
                    </a:lnTo>
                    <a:lnTo>
                      <a:pt x="26" y="22"/>
                    </a:lnTo>
                    <a:lnTo>
                      <a:pt x="26" y="18"/>
                    </a:lnTo>
                    <a:lnTo>
                      <a:pt x="24" y="16"/>
                    </a:lnTo>
                    <a:lnTo>
                      <a:pt x="24" y="14"/>
                    </a:lnTo>
                    <a:lnTo>
                      <a:pt x="24" y="12"/>
                    </a:lnTo>
                    <a:lnTo>
                      <a:pt x="22" y="10"/>
                    </a:lnTo>
                    <a:lnTo>
                      <a:pt x="22" y="6"/>
                    </a:lnTo>
                    <a:lnTo>
                      <a:pt x="22" y="4"/>
                    </a:lnTo>
                    <a:lnTo>
                      <a:pt x="20" y="2"/>
                    </a:lnTo>
                    <a:lnTo>
                      <a:pt x="20" y="2"/>
                    </a:lnTo>
                    <a:lnTo>
                      <a:pt x="20" y="0"/>
                    </a:lnTo>
                    <a:lnTo>
                      <a:pt x="18" y="0"/>
                    </a:lnTo>
                    <a:lnTo>
                      <a:pt x="18" y="0"/>
                    </a:lnTo>
                    <a:lnTo>
                      <a:pt x="18" y="0"/>
                    </a:lnTo>
                    <a:lnTo>
                      <a:pt x="16" y="0"/>
                    </a:lnTo>
                    <a:lnTo>
                      <a:pt x="16" y="2"/>
                    </a:lnTo>
                    <a:lnTo>
                      <a:pt x="14" y="2"/>
                    </a:lnTo>
                    <a:lnTo>
                      <a:pt x="14" y="4"/>
                    </a:lnTo>
                    <a:lnTo>
                      <a:pt x="14" y="4"/>
                    </a:lnTo>
                    <a:lnTo>
                      <a:pt x="12" y="6"/>
                    </a:lnTo>
                    <a:lnTo>
                      <a:pt x="12" y="6"/>
                    </a:lnTo>
                    <a:lnTo>
                      <a:pt x="12"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13" name="Freeform 57"/>
              <p:cNvSpPr>
                <a:spLocks/>
              </p:cNvSpPr>
              <p:nvPr/>
            </p:nvSpPr>
            <p:spPr bwMode="auto">
              <a:xfrm>
                <a:off x="7269453" y="3648242"/>
                <a:ext cx="215900" cy="228600"/>
              </a:xfrm>
              <a:custGeom>
                <a:avLst/>
                <a:gdLst>
                  <a:gd name="T0" fmla="*/ 108 w 136"/>
                  <a:gd name="T1" fmla="*/ 0 h 144"/>
                  <a:gd name="T2" fmla="*/ 116 w 136"/>
                  <a:gd name="T3" fmla="*/ 2 h 144"/>
                  <a:gd name="T4" fmla="*/ 120 w 136"/>
                  <a:gd name="T5" fmla="*/ 12 h 144"/>
                  <a:gd name="T6" fmla="*/ 122 w 136"/>
                  <a:gd name="T7" fmla="*/ 30 h 144"/>
                  <a:gd name="T8" fmla="*/ 134 w 136"/>
                  <a:gd name="T9" fmla="*/ 42 h 144"/>
                  <a:gd name="T10" fmla="*/ 136 w 136"/>
                  <a:gd name="T11" fmla="*/ 48 h 144"/>
                  <a:gd name="T12" fmla="*/ 128 w 136"/>
                  <a:gd name="T13" fmla="*/ 54 h 144"/>
                  <a:gd name="T14" fmla="*/ 120 w 136"/>
                  <a:gd name="T15" fmla="*/ 62 h 144"/>
                  <a:gd name="T16" fmla="*/ 120 w 136"/>
                  <a:gd name="T17" fmla="*/ 72 h 144"/>
                  <a:gd name="T18" fmla="*/ 126 w 136"/>
                  <a:gd name="T19" fmla="*/ 88 h 144"/>
                  <a:gd name="T20" fmla="*/ 124 w 136"/>
                  <a:gd name="T21" fmla="*/ 100 h 144"/>
                  <a:gd name="T22" fmla="*/ 120 w 136"/>
                  <a:gd name="T23" fmla="*/ 110 h 144"/>
                  <a:gd name="T24" fmla="*/ 112 w 136"/>
                  <a:gd name="T25" fmla="*/ 114 h 144"/>
                  <a:gd name="T26" fmla="*/ 106 w 136"/>
                  <a:gd name="T27" fmla="*/ 120 h 144"/>
                  <a:gd name="T28" fmla="*/ 104 w 136"/>
                  <a:gd name="T29" fmla="*/ 128 h 144"/>
                  <a:gd name="T30" fmla="*/ 100 w 136"/>
                  <a:gd name="T31" fmla="*/ 128 h 144"/>
                  <a:gd name="T32" fmla="*/ 94 w 136"/>
                  <a:gd name="T33" fmla="*/ 118 h 144"/>
                  <a:gd name="T34" fmla="*/ 90 w 136"/>
                  <a:gd name="T35" fmla="*/ 120 h 144"/>
                  <a:gd name="T36" fmla="*/ 84 w 136"/>
                  <a:gd name="T37" fmla="*/ 126 h 144"/>
                  <a:gd name="T38" fmla="*/ 70 w 136"/>
                  <a:gd name="T39" fmla="*/ 126 h 144"/>
                  <a:gd name="T40" fmla="*/ 68 w 136"/>
                  <a:gd name="T41" fmla="*/ 122 h 144"/>
                  <a:gd name="T42" fmla="*/ 64 w 136"/>
                  <a:gd name="T43" fmla="*/ 116 h 144"/>
                  <a:gd name="T44" fmla="*/ 58 w 136"/>
                  <a:gd name="T45" fmla="*/ 118 h 144"/>
                  <a:gd name="T46" fmla="*/ 56 w 136"/>
                  <a:gd name="T47" fmla="*/ 124 h 144"/>
                  <a:gd name="T48" fmla="*/ 60 w 136"/>
                  <a:gd name="T49" fmla="*/ 138 h 144"/>
                  <a:gd name="T50" fmla="*/ 56 w 136"/>
                  <a:gd name="T51" fmla="*/ 142 h 144"/>
                  <a:gd name="T52" fmla="*/ 50 w 136"/>
                  <a:gd name="T53" fmla="*/ 138 h 144"/>
                  <a:gd name="T54" fmla="*/ 42 w 136"/>
                  <a:gd name="T55" fmla="*/ 128 h 144"/>
                  <a:gd name="T56" fmla="*/ 40 w 136"/>
                  <a:gd name="T57" fmla="*/ 128 h 144"/>
                  <a:gd name="T58" fmla="*/ 38 w 136"/>
                  <a:gd name="T59" fmla="*/ 138 h 144"/>
                  <a:gd name="T60" fmla="*/ 36 w 136"/>
                  <a:gd name="T61" fmla="*/ 142 h 144"/>
                  <a:gd name="T62" fmla="*/ 28 w 136"/>
                  <a:gd name="T63" fmla="*/ 144 h 144"/>
                  <a:gd name="T64" fmla="*/ 22 w 136"/>
                  <a:gd name="T65" fmla="*/ 136 h 144"/>
                  <a:gd name="T66" fmla="*/ 18 w 136"/>
                  <a:gd name="T67" fmla="*/ 132 h 144"/>
                  <a:gd name="T68" fmla="*/ 6 w 136"/>
                  <a:gd name="T69" fmla="*/ 130 h 144"/>
                  <a:gd name="T70" fmla="*/ 0 w 136"/>
                  <a:gd name="T71" fmla="*/ 126 h 144"/>
                  <a:gd name="T72" fmla="*/ 4 w 136"/>
                  <a:gd name="T73" fmla="*/ 120 h 144"/>
                  <a:gd name="T74" fmla="*/ 14 w 136"/>
                  <a:gd name="T75" fmla="*/ 112 h 144"/>
                  <a:gd name="T76" fmla="*/ 28 w 136"/>
                  <a:gd name="T77" fmla="*/ 102 h 144"/>
                  <a:gd name="T78" fmla="*/ 36 w 136"/>
                  <a:gd name="T79" fmla="*/ 98 h 144"/>
                  <a:gd name="T80" fmla="*/ 50 w 136"/>
                  <a:gd name="T81" fmla="*/ 102 h 144"/>
                  <a:gd name="T82" fmla="*/ 56 w 136"/>
                  <a:gd name="T83" fmla="*/ 100 h 144"/>
                  <a:gd name="T84" fmla="*/ 58 w 136"/>
                  <a:gd name="T85" fmla="*/ 90 h 144"/>
                  <a:gd name="T86" fmla="*/ 60 w 136"/>
                  <a:gd name="T87" fmla="*/ 76 h 144"/>
                  <a:gd name="T88" fmla="*/ 62 w 136"/>
                  <a:gd name="T89" fmla="*/ 74 h 144"/>
                  <a:gd name="T90" fmla="*/ 70 w 136"/>
                  <a:gd name="T91" fmla="*/ 76 h 144"/>
                  <a:gd name="T92" fmla="*/ 84 w 136"/>
                  <a:gd name="T93" fmla="*/ 78 h 144"/>
                  <a:gd name="T94" fmla="*/ 90 w 136"/>
                  <a:gd name="T95" fmla="*/ 74 h 144"/>
                  <a:gd name="T96" fmla="*/ 92 w 136"/>
                  <a:gd name="T97" fmla="*/ 64 h 144"/>
                  <a:gd name="T98" fmla="*/ 92 w 136"/>
                  <a:gd name="T99" fmla="*/ 48 h 144"/>
                  <a:gd name="T100" fmla="*/ 98 w 136"/>
                  <a:gd name="T101" fmla="*/ 38 h 144"/>
                  <a:gd name="T102" fmla="*/ 98 w 136"/>
                  <a:gd name="T103" fmla="*/ 30 h 144"/>
                  <a:gd name="T104" fmla="*/ 94 w 136"/>
                  <a:gd name="T105" fmla="*/ 14 h 144"/>
                  <a:gd name="T106" fmla="*/ 96 w 136"/>
                  <a:gd name="T107"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6" h="144">
                    <a:moveTo>
                      <a:pt x="102" y="2"/>
                    </a:moveTo>
                    <a:lnTo>
                      <a:pt x="102" y="2"/>
                    </a:lnTo>
                    <a:lnTo>
                      <a:pt x="102" y="0"/>
                    </a:lnTo>
                    <a:lnTo>
                      <a:pt x="104" y="0"/>
                    </a:lnTo>
                    <a:lnTo>
                      <a:pt x="106" y="0"/>
                    </a:lnTo>
                    <a:lnTo>
                      <a:pt x="108" y="0"/>
                    </a:lnTo>
                    <a:lnTo>
                      <a:pt x="110" y="0"/>
                    </a:lnTo>
                    <a:lnTo>
                      <a:pt x="112" y="0"/>
                    </a:lnTo>
                    <a:lnTo>
                      <a:pt x="114" y="0"/>
                    </a:lnTo>
                    <a:lnTo>
                      <a:pt x="114" y="0"/>
                    </a:lnTo>
                    <a:lnTo>
                      <a:pt x="116" y="2"/>
                    </a:lnTo>
                    <a:lnTo>
                      <a:pt x="116" y="2"/>
                    </a:lnTo>
                    <a:lnTo>
                      <a:pt x="116" y="4"/>
                    </a:lnTo>
                    <a:lnTo>
                      <a:pt x="118" y="4"/>
                    </a:lnTo>
                    <a:lnTo>
                      <a:pt x="118" y="6"/>
                    </a:lnTo>
                    <a:lnTo>
                      <a:pt x="118" y="8"/>
                    </a:lnTo>
                    <a:lnTo>
                      <a:pt x="118" y="10"/>
                    </a:lnTo>
                    <a:lnTo>
                      <a:pt x="120" y="12"/>
                    </a:lnTo>
                    <a:lnTo>
                      <a:pt x="120" y="20"/>
                    </a:lnTo>
                    <a:lnTo>
                      <a:pt x="120" y="22"/>
                    </a:lnTo>
                    <a:lnTo>
                      <a:pt x="120" y="24"/>
                    </a:lnTo>
                    <a:lnTo>
                      <a:pt x="120" y="26"/>
                    </a:lnTo>
                    <a:lnTo>
                      <a:pt x="122" y="28"/>
                    </a:lnTo>
                    <a:lnTo>
                      <a:pt x="122" y="30"/>
                    </a:lnTo>
                    <a:lnTo>
                      <a:pt x="124" y="34"/>
                    </a:lnTo>
                    <a:lnTo>
                      <a:pt x="126" y="36"/>
                    </a:lnTo>
                    <a:lnTo>
                      <a:pt x="126" y="36"/>
                    </a:lnTo>
                    <a:lnTo>
                      <a:pt x="128" y="38"/>
                    </a:lnTo>
                    <a:lnTo>
                      <a:pt x="132" y="40"/>
                    </a:lnTo>
                    <a:lnTo>
                      <a:pt x="134" y="42"/>
                    </a:lnTo>
                    <a:lnTo>
                      <a:pt x="136" y="44"/>
                    </a:lnTo>
                    <a:lnTo>
                      <a:pt x="136" y="44"/>
                    </a:lnTo>
                    <a:lnTo>
                      <a:pt x="136" y="46"/>
                    </a:lnTo>
                    <a:lnTo>
                      <a:pt x="136" y="46"/>
                    </a:lnTo>
                    <a:lnTo>
                      <a:pt x="136" y="46"/>
                    </a:lnTo>
                    <a:lnTo>
                      <a:pt x="136" y="48"/>
                    </a:lnTo>
                    <a:lnTo>
                      <a:pt x="136" y="48"/>
                    </a:lnTo>
                    <a:lnTo>
                      <a:pt x="136" y="50"/>
                    </a:lnTo>
                    <a:lnTo>
                      <a:pt x="134" y="50"/>
                    </a:lnTo>
                    <a:lnTo>
                      <a:pt x="132" y="52"/>
                    </a:lnTo>
                    <a:lnTo>
                      <a:pt x="132" y="52"/>
                    </a:lnTo>
                    <a:lnTo>
                      <a:pt x="128" y="54"/>
                    </a:lnTo>
                    <a:lnTo>
                      <a:pt x="126" y="56"/>
                    </a:lnTo>
                    <a:lnTo>
                      <a:pt x="122" y="58"/>
                    </a:lnTo>
                    <a:lnTo>
                      <a:pt x="122" y="58"/>
                    </a:lnTo>
                    <a:lnTo>
                      <a:pt x="120" y="60"/>
                    </a:lnTo>
                    <a:lnTo>
                      <a:pt x="120" y="60"/>
                    </a:lnTo>
                    <a:lnTo>
                      <a:pt x="120" y="62"/>
                    </a:lnTo>
                    <a:lnTo>
                      <a:pt x="120" y="64"/>
                    </a:lnTo>
                    <a:lnTo>
                      <a:pt x="118" y="64"/>
                    </a:lnTo>
                    <a:lnTo>
                      <a:pt x="120" y="66"/>
                    </a:lnTo>
                    <a:lnTo>
                      <a:pt x="120" y="68"/>
                    </a:lnTo>
                    <a:lnTo>
                      <a:pt x="120" y="70"/>
                    </a:lnTo>
                    <a:lnTo>
                      <a:pt x="120" y="72"/>
                    </a:lnTo>
                    <a:lnTo>
                      <a:pt x="122" y="74"/>
                    </a:lnTo>
                    <a:lnTo>
                      <a:pt x="124" y="78"/>
                    </a:lnTo>
                    <a:lnTo>
                      <a:pt x="126" y="82"/>
                    </a:lnTo>
                    <a:lnTo>
                      <a:pt x="126" y="84"/>
                    </a:lnTo>
                    <a:lnTo>
                      <a:pt x="126" y="86"/>
                    </a:lnTo>
                    <a:lnTo>
                      <a:pt x="126" y="88"/>
                    </a:lnTo>
                    <a:lnTo>
                      <a:pt x="126" y="88"/>
                    </a:lnTo>
                    <a:lnTo>
                      <a:pt x="126" y="90"/>
                    </a:lnTo>
                    <a:lnTo>
                      <a:pt x="126" y="92"/>
                    </a:lnTo>
                    <a:lnTo>
                      <a:pt x="126" y="94"/>
                    </a:lnTo>
                    <a:lnTo>
                      <a:pt x="126" y="96"/>
                    </a:lnTo>
                    <a:lnTo>
                      <a:pt x="124" y="100"/>
                    </a:lnTo>
                    <a:lnTo>
                      <a:pt x="124" y="102"/>
                    </a:lnTo>
                    <a:lnTo>
                      <a:pt x="124" y="104"/>
                    </a:lnTo>
                    <a:lnTo>
                      <a:pt x="122" y="104"/>
                    </a:lnTo>
                    <a:lnTo>
                      <a:pt x="122" y="106"/>
                    </a:lnTo>
                    <a:lnTo>
                      <a:pt x="122" y="108"/>
                    </a:lnTo>
                    <a:lnTo>
                      <a:pt x="120" y="110"/>
                    </a:lnTo>
                    <a:lnTo>
                      <a:pt x="118" y="112"/>
                    </a:lnTo>
                    <a:lnTo>
                      <a:pt x="116" y="112"/>
                    </a:lnTo>
                    <a:lnTo>
                      <a:pt x="116" y="114"/>
                    </a:lnTo>
                    <a:lnTo>
                      <a:pt x="114" y="114"/>
                    </a:lnTo>
                    <a:lnTo>
                      <a:pt x="114" y="114"/>
                    </a:lnTo>
                    <a:lnTo>
                      <a:pt x="112" y="114"/>
                    </a:lnTo>
                    <a:lnTo>
                      <a:pt x="110" y="116"/>
                    </a:lnTo>
                    <a:lnTo>
                      <a:pt x="108" y="116"/>
                    </a:lnTo>
                    <a:lnTo>
                      <a:pt x="108" y="116"/>
                    </a:lnTo>
                    <a:lnTo>
                      <a:pt x="108" y="116"/>
                    </a:lnTo>
                    <a:lnTo>
                      <a:pt x="108" y="118"/>
                    </a:lnTo>
                    <a:lnTo>
                      <a:pt x="106" y="120"/>
                    </a:lnTo>
                    <a:lnTo>
                      <a:pt x="106" y="122"/>
                    </a:lnTo>
                    <a:lnTo>
                      <a:pt x="106" y="124"/>
                    </a:lnTo>
                    <a:lnTo>
                      <a:pt x="106" y="126"/>
                    </a:lnTo>
                    <a:lnTo>
                      <a:pt x="104" y="128"/>
                    </a:lnTo>
                    <a:lnTo>
                      <a:pt x="104" y="128"/>
                    </a:lnTo>
                    <a:lnTo>
                      <a:pt x="104" y="128"/>
                    </a:lnTo>
                    <a:lnTo>
                      <a:pt x="104" y="128"/>
                    </a:lnTo>
                    <a:lnTo>
                      <a:pt x="102" y="128"/>
                    </a:lnTo>
                    <a:lnTo>
                      <a:pt x="102" y="128"/>
                    </a:lnTo>
                    <a:lnTo>
                      <a:pt x="102" y="128"/>
                    </a:lnTo>
                    <a:lnTo>
                      <a:pt x="100" y="128"/>
                    </a:lnTo>
                    <a:lnTo>
                      <a:pt x="100" y="128"/>
                    </a:lnTo>
                    <a:lnTo>
                      <a:pt x="98" y="126"/>
                    </a:lnTo>
                    <a:lnTo>
                      <a:pt x="98" y="124"/>
                    </a:lnTo>
                    <a:lnTo>
                      <a:pt x="96" y="122"/>
                    </a:lnTo>
                    <a:lnTo>
                      <a:pt x="96" y="120"/>
                    </a:lnTo>
                    <a:lnTo>
                      <a:pt x="94" y="118"/>
                    </a:lnTo>
                    <a:lnTo>
                      <a:pt x="94" y="118"/>
                    </a:lnTo>
                    <a:lnTo>
                      <a:pt x="94" y="118"/>
                    </a:lnTo>
                    <a:lnTo>
                      <a:pt x="92" y="118"/>
                    </a:lnTo>
                    <a:lnTo>
                      <a:pt x="92" y="118"/>
                    </a:lnTo>
                    <a:lnTo>
                      <a:pt x="92" y="118"/>
                    </a:lnTo>
                    <a:lnTo>
                      <a:pt x="92" y="118"/>
                    </a:lnTo>
                    <a:lnTo>
                      <a:pt x="90" y="120"/>
                    </a:lnTo>
                    <a:lnTo>
                      <a:pt x="90" y="120"/>
                    </a:lnTo>
                    <a:lnTo>
                      <a:pt x="88" y="122"/>
                    </a:lnTo>
                    <a:lnTo>
                      <a:pt x="88" y="124"/>
                    </a:lnTo>
                    <a:lnTo>
                      <a:pt x="88" y="124"/>
                    </a:lnTo>
                    <a:lnTo>
                      <a:pt x="86" y="124"/>
                    </a:lnTo>
                    <a:lnTo>
                      <a:pt x="84" y="126"/>
                    </a:lnTo>
                    <a:lnTo>
                      <a:pt x="80" y="126"/>
                    </a:lnTo>
                    <a:lnTo>
                      <a:pt x="78" y="126"/>
                    </a:lnTo>
                    <a:lnTo>
                      <a:pt x="76" y="126"/>
                    </a:lnTo>
                    <a:lnTo>
                      <a:pt x="72" y="126"/>
                    </a:lnTo>
                    <a:lnTo>
                      <a:pt x="72" y="126"/>
                    </a:lnTo>
                    <a:lnTo>
                      <a:pt x="70" y="126"/>
                    </a:lnTo>
                    <a:lnTo>
                      <a:pt x="70" y="126"/>
                    </a:lnTo>
                    <a:lnTo>
                      <a:pt x="68" y="126"/>
                    </a:lnTo>
                    <a:lnTo>
                      <a:pt x="68" y="124"/>
                    </a:lnTo>
                    <a:lnTo>
                      <a:pt x="68" y="124"/>
                    </a:lnTo>
                    <a:lnTo>
                      <a:pt x="68" y="124"/>
                    </a:lnTo>
                    <a:lnTo>
                      <a:pt x="68" y="122"/>
                    </a:lnTo>
                    <a:lnTo>
                      <a:pt x="66" y="120"/>
                    </a:lnTo>
                    <a:lnTo>
                      <a:pt x="66" y="120"/>
                    </a:lnTo>
                    <a:lnTo>
                      <a:pt x="66" y="118"/>
                    </a:lnTo>
                    <a:lnTo>
                      <a:pt x="66" y="116"/>
                    </a:lnTo>
                    <a:lnTo>
                      <a:pt x="66" y="116"/>
                    </a:lnTo>
                    <a:lnTo>
                      <a:pt x="64" y="116"/>
                    </a:lnTo>
                    <a:lnTo>
                      <a:pt x="64" y="116"/>
                    </a:lnTo>
                    <a:lnTo>
                      <a:pt x="64" y="116"/>
                    </a:lnTo>
                    <a:lnTo>
                      <a:pt x="62" y="116"/>
                    </a:lnTo>
                    <a:lnTo>
                      <a:pt x="60" y="116"/>
                    </a:lnTo>
                    <a:lnTo>
                      <a:pt x="60" y="116"/>
                    </a:lnTo>
                    <a:lnTo>
                      <a:pt x="58" y="118"/>
                    </a:lnTo>
                    <a:lnTo>
                      <a:pt x="58" y="118"/>
                    </a:lnTo>
                    <a:lnTo>
                      <a:pt x="58" y="118"/>
                    </a:lnTo>
                    <a:lnTo>
                      <a:pt x="56" y="120"/>
                    </a:lnTo>
                    <a:lnTo>
                      <a:pt x="56" y="120"/>
                    </a:lnTo>
                    <a:lnTo>
                      <a:pt x="56" y="122"/>
                    </a:lnTo>
                    <a:lnTo>
                      <a:pt x="56" y="124"/>
                    </a:lnTo>
                    <a:lnTo>
                      <a:pt x="58" y="128"/>
                    </a:lnTo>
                    <a:lnTo>
                      <a:pt x="58" y="130"/>
                    </a:lnTo>
                    <a:lnTo>
                      <a:pt x="58" y="134"/>
                    </a:lnTo>
                    <a:lnTo>
                      <a:pt x="58" y="136"/>
                    </a:lnTo>
                    <a:lnTo>
                      <a:pt x="60" y="138"/>
                    </a:lnTo>
                    <a:lnTo>
                      <a:pt x="60" y="138"/>
                    </a:lnTo>
                    <a:lnTo>
                      <a:pt x="58" y="140"/>
                    </a:lnTo>
                    <a:lnTo>
                      <a:pt x="58" y="140"/>
                    </a:lnTo>
                    <a:lnTo>
                      <a:pt x="58" y="142"/>
                    </a:lnTo>
                    <a:lnTo>
                      <a:pt x="58" y="142"/>
                    </a:lnTo>
                    <a:lnTo>
                      <a:pt x="56" y="142"/>
                    </a:lnTo>
                    <a:lnTo>
                      <a:pt x="56" y="142"/>
                    </a:lnTo>
                    <a:lnTo>
                      <a:pt x="56" y="142"/>
                    </a:lnTo>
                    <a:lnTo>
                      <a:pt x="56" y="142"/>
                    </a:lnTo>
                    <a:lnTo>
                      <a:pt x="54" y="140"/>
                    </a:lnTo>
                    <a:lnTo>
                      <a:pt x="52" y="140"/>
                    </a:lnTo>
                    <a:lnTo>
                      <a:pt x="50" y="138"/>
                    </a:lnTo>
                    <a:lnTo>
                      <a:pt x="50" y="138"/>
                    </a:lnTo>
                    <a:lnTo>
                      <a:pt x="48" y="136"/>
                    </a:lnTo>
                    <a:lnTo>
                      <a:pt x="46" y="134"/>
                    </a:lnTo>
                    <a:lnTo>
                      <a:pt x="46" y="132"/>
                    </a:lnTo>
                    <a:lnTo>
                      <a:pt x="44" y="130"/>
                    </a:lnTo>
                    <a:lnTo>
                      <a:pt x="44" y="128"/>
                    </a:lnTo>
                    <a:lnTo>
                      <a:pt x="42" y="128"/>
                    </a:lnTo>
                    <a:lnTo>
                      <a:pt x="42" y="126"/>
                    </a:lnTo>
                    <a:lnTo>
                      <a:pt x="42" y="126"/>
                    </a:lnTo>
                    <a:lnTo>
                      <a:pt x="42" y="126"/>
                    </a:lnTo>
                    <a:lnTo>
                      <a:pt x="42" y="126"/>
                    </a:lnTo>
                    <a:lnTo>
                      <a:pt x="40" y="126"/>
                    </a:lnTo>
                    <a:lnTo>
                      <a:pt x="40" y="128"/>
                    </a:lnTo>
                    <a:lnTo>
                      <a:pt x="40" y="128"/>
                    </a:lnTo>
                    <a:lnTo>
                      <a:pt x="40" y="128"/>
                    </a:lnTo>
                    <a:lnTo>
                      <a:pt x="38" y="130"/>
                    </a:lnTo>
                    <a:lnTo>
                      <a:pt x="38" y="134"/>
                    </a:lnTo>
                    <a:lnTo>
                      <a:pt x="38" y="136"/>
                    </a:lnTo>
                    <a:lnTo>
                      <a:pt x="38" y="138"/>
                    </a:lnTo>
                    <a:lnTo>
                      <a:pt x="38" y="140"/>
                    </a:lnTo>
                    <a:lnTo>
                      <a:pt x="38" y="140"/>
                    </a:lnTo>
                    <a:lnTo>
                      <a:pt x="38" y="140"/>
                    </a:lnTo>
                    <a:lnTo>
                      <a:pt x="38" y="142"/>
                    </a:lnTo>
                    <a:lnTo>
                      <a:pt x="36" y="142"/>
                    </a:lnTo>
                    <a:lnTo>
                      <a:pt x="36" y="142"/>
                    </a:lnTo>
                    <a:lnTo>
                      <a:pt x="34" y="144"/>
                    </a:lnTo>
                    <a:lnTo>
                      <a:pt x="32" y="144"/>
                    </a:lnTo>
                    <a:lnTo>
                      <a:pt x="32" y="144"/>
                    </a:lnTo>
                    <a:lnTo>
                      <a:pt x="30" y="144"/>
                    </a:lnTo>
                    <a:lnTo>
                      <a:pt x="30" y="144"/>
                    </a:lnTo>
                    <a:lnTo>
                      <a:pt x="28" y="144"/>
                    </a:lnTo>
                    <a:lnTo>
                      <a:pt x="28" y="144"/>
                    </a:lnTo>
                    <a:lnTo>
                      <a:pt x="28" y="144"/>
                    </a:lnTo>
                    <a:lnTo>
                      <a:pt x="26" y="142"/>
                    </a:lnTo>
                    <a:lnTo>
                      <a:pt x="26" y="140"/>
                    </a:lnTo>
                    <a:lnTo>
                      <a:pt x="24" y="138"/>
                    </a:lnTo>
                    <a:lnTo>
                      <a:pt x="22" y="136"/>
                    </a:lnTo>
                    <a:lnTo>
                      <a:pt x="22" y="134"/>
                    </a:lnTo>
                    <a:lnTo>
                      <a:pt x="20" y="134"/>
                    </a:lnTo>
                    <a:lnTo>
                      <a:pt x="20" y="132"/>
                    </a:lnTo>
                    <a:lnTo>
                      <a:pt x="20" y="132"/>
                    </a:lnTo>
                    <a:lnTo>
                      <a:pt x="18" y="132"/>
                    </a:lnTo>
                    <a:lnTo>
                      <a:pt x="18" y="132"/>
                    </a:lnTo>
                    <a:lnTo>
                      <a:pt x="16" y="132"/>
                    </a:lnTo>
                    <a:lnTo>
                      <a:pt x="14" y="132"/>
                    </a:lnTo>
                    <a:lnTo>
                      <a:pt x="10" y="132"/>
                    </a:lnTo>
                    <a:lnTo>
                      <a:pt x="10" y="132"/>
                    </a:lnTo>
                    <a:lnTo>
                      <a:pt x="8" y="132"/>
                    </a:lnTo>
                    <a:lnTo>
                      <a:pt x="6" y="130"/>
                    </a:lnTo>
                    <a:lnTo>
                      <a:pt x="4" y="130"/>
                    </a:lnTo>
                    <a:lnTo>
                      <a:pt x="4" y="128"/>
                    </a:lnTo>
                    <a:lnTo>
                      <a:pt x="2" y="128"/>
                    </a:lnTo>
                    <a:lnTo>
                      <a:pt x="2" y="128"/>
                    </a:lnTo>
                    <a:lnTo>
                      <a:pt x="0" y="126"/>
                    </a:lnTo>
                    <a:lnTo>
                      <a:pt x="0" y="126"/>
                    </a:lnTo>
                    <a:lnTo>
                      <a:pt x="0" y="126"/>
                    </a:lnTo>
                    <a:lnTo>
                      <a:pt x="0" y="124"/>
                    </a:lnTo>
                    <a:lnTo>
                      <a:pt x="0" y="124"/>
                    </a:lnTo>
                    <a:lnTo>
                      <a:pt x="2" y="122"/>
                    </a:lnTo>
                    <a:lnTo>
                      <a:pt x="2" y="122"/>
                    </a:lnTo>
                    <a:lnTo>
                      <a:pt x="4" y="120"/>
                    </a:lnTo>
                    <a:lnTo>
                      <a:pt x="4" y="118"/>
                    </a:lnTo>
                    <a:lnTo>
                      <a:pt x="8" y="118"/>
                    </a:lnTo>
                    <a:lnTo>
                      <a:pt x="8" y="116"/>
                    </a:lnTo>
                    <a:lnTo>
                      <a:pt x="12" y="114"/>
                    </a:lnTo>
                    <a:lnTo>
                      <a:pt x="14" y="112"/>
                    </a:lnTo>
                    <a:lnTo>
                      <a:pt x="14" y="112"/>
                    </a:lnTo>
                    <a:lnTo>
                      <a:pt x="18" y="110"/>
                    </a:lnTo>
                    <a:lnTo>
                      <a:pt x="22" y="108"/>
                    </a:lnTo>
                    <a:lnTo>
                      <a:pt x="24" y="106"/>
                    </a:lnTo>
                    <a:lnTo>
                      <a:pt x="26" y="106"/>
                    </a:lnTo>
                    <a:lnTo>
                      <a:pt x="26" y="104"/>
                    </a:lnTo>
                    <a:lnTo>
                      <a:pt x="28" y="102"/>
                    </a:lnTo>
                    <a:lnTo>
                      <a:pt x="30" y="100"/>
                    </a:lnTo>
                    <a:lnTo>
                      <a:pt x="32" y="100"/>
                    </a:lnTo>
                    <a:lnTo>
                      <a:pt x="32" y="100"/>
                    </a:lnTo>
                    <a:lnTo>
                      <a:pt x="34" y="98"/>
                    </a:lnTo>
                    <a:lnTo>
                      <a:pt x="34" y="98"/>
                    </a:lnTo>
                    <a:lnTo>
                      <a:pt x="36" y="98"/>
                    </a:lnTo>
                    <a:lnTo>
                      <a:pt x="38" y="98"/>
                    </a:lnTo>
                    <a:lnTo>
                      <a:pt x="38" y="98"/>
                    </a:lnTo>
                    <a:lnTo>
                      <a:pt x="42" y="100"/>
                    </a:lnTo>
                    <a:lnTo>
                      <a:pt x="46" y="100"/>
                    </a:lnTo>
                    <a:lnTo>
                      <a:pt x="48" y="102"/>
                    </a:lnTo>
                    <a:lnTo>
                      <a:pt x="50" y="102"/>
                    </a:lnTo>
                    <a:lnTo>
                      <a:pt x="52" y="102"/>
                    </a:lnTo>
                    <a:lnTo>
                      <a:pt x="52" y="102"/>
                    </a:lnTo>
                    <a:lnTo>
                      <a:pt x="54" y="102"/>
                    </a:lnTo>
                    <a:lnTo>
                      <a:pt x="56" y="102"/>
                    </a:lnTo>
                    <a:lnTo>
                      <a:pt x="56" y="100"/>
                    </a:lnTo>
                    <a:lnTo>
                      <a:pt x="56" y="100"/>
                    </a:lnTo>
                    <a:lnTo>
                      <a:pt x="56" y="100"/>
                    </a:lnTo>
                    <a:lnTo>
                      <a:pt x="58" y="100"/>
                    </a:lnTo>
                    <a:lnTo>
                      <a:pt x="58" y="98"/>
                    </a:lnTo>
                    <a:lnTo>
                      <a:pt x="58" y="96"/>
                    </a:lnTo>
                    <a:lnTo>
                      <a:pt x="58" y="94"/>
                    </a:lnTo>
                    <a:lnTo>
                      <a:pt x="58" y="90"/>
                    </a:lnTo>
                    <a:lnTo>
                      <a:pt x="58" y="88"/>
                    </a:lnTo>
                    <a:lnTo>
                      <a:pt x="58" y="86"/>
                    </a:lnTo>
                    <a:lnTo>
                      <a:pt x="58" y="82"/>
                    </a:lnTo>
                    <a:lnTo>
                      <a:pt x="58" y="80"/>
                    </a:lnTo>
                    <a:lnTo>
                      <a:pt x="60" y="78"/>
                    </a:lnTo>
                    <a:lnTo>
                      <a:pt x="60" y="76"/>
                    </a:lnTo>
                    <a:lnTo>
                      <a:pt x="60" y="76"/>
                    </a:lnTo>
                    <a:lnTo>
                      <a:pt x="60" y="74"/>
                    </a:lnTo>
                    <a:lnTo>
                      <a:pt x="62" y="74"/>
                    </a:lnTo>
                    <a:lnTo>
                      <a:pt x="62" y="74"/>
                    </a:lnTo>
                    <a:lnTo>
                      <a:pt x="62" y="74"/>
                    </a:lnTo>
                    <a:lnTo>
                      <a:pt x="62" y="74"/>
                    </a:lnTo>
                    <a:lnTo>
                      <a:pt x="64" y="74"/>
                    </a:lnTo>
                    <a:lnTo>
                      <a:pt x="64" y="74"/>
                    </a:lnTo>
                    <a:lnTo>
                      <a:pt x="66" y="74"/>
                    </a:lnTo>
                    <a:lnTo>
                      <a:pt x="66" y="74"/>
                    </a:lnTo>
                    <a:lnTo>
                      <a:pt x="68" y="76"/>
                    </a:lnTo>
                    <a:lnTo>
                      <a:pt x="70" y="76"/>
                    </a:lnTo>
                    <a:lnTo>
                      <a:pt x="70" y="78"/>
                    </a:lnTo>
                    <a:lnTo>
                      <a:pt x="72" y="78"/>
                    </a:lnTo>
                    <a:lnTo>
                      <a:pt x="74" y="78"/>
                    </a:lnTo>
                    <a:lnTo>
                      <a:pt x="78" y="78"/>
                    </a:lnTo>
                    <a:lnTo>
                      <a:pt x="80" y="78"/>
                    </a:lnTo>
                    <a:lnTo>
                      <a:pt x="84" y="78"/>
                    </a:lnTo>
                    <a:lnTo>
                      <a:pt x="86" y="76"/>
                    </a:lnTo>
                    <a:lnTo>
                      <a:pt x="88" y="76"/>
                    </a:lnTo>
                    <a:lnTo>
                      <a:pt x="88" y="76"/>
                    </a:lnTo>
                    <a:lnTo>
                      <a:pt x="90" y="76"/>
                    </a:lnTo>
                    <a:lnTo>
                      <a:pt x="90" y="74"/>
                    </a:lnTo>
                    <a:lnTo>
                      <a:pt x="90" y="74"/>
                    </a:lnTo>
                    <a:lnTo>
                      <a:pt x="90" y="74"/>
                    </a:lnTo>
                    <a:lnTo>
                      <a:pt x="92" y="72"/>
                    </a:lnTo>
                    <a:lnTo>
                      <a:pt x="92" y="70"/>
                    </a:lnTo>
                    <a:lnTo>
                      <a:pt x="92" y="70"/>
                    </a:lnTo>
                    <a:lnTo>
                      <a:pt x="92" y="66"/>
                    </a:lnTo>
                    <a:lnTo>
                      <a:pt x="92" y="64"/>
                    </a:lnTo>
                    <a:lnTo>
                      <a:pt x="92" y="62"/>
                    </a:lnTo>
                    <a:lnTo>
                      <a:pt x="92" y="60"/>
                    </a:lnTo>
                    <a:lnTo>
                      <a:pt x="92" y="54"/>
                    </a:lnTo>
                    <a:lnTo>
                      <a:pt x="92" y="52"/>
                    </a:lnTo>
                    <a:lnTo>
                      <a:pt x="92" y="50"/>
                    </a:lnTo>
                    <a:lnTo>
                      <a:pt x="92" y="48"/>
                    </a:lnTo>
                    <a:lnTo>
                      <a:pt x="92" y="46"/>
                    </a:lnTo>
                    <a:lnTo>
                      <a:pt x="94" y="44"/>
                    </a:lnTo>
                    <a:lnTo>
                      <a:pt x="94" y="44"/>
                    </a:lnTo>
                    <a:lnTo>
                      <a:pt x="96" y="40"/>
                    </a:lnTo>
                    <a:lnTo>
                      <a:pt x="96" y="40"/>
                    </a:lnTo>
                    <a:lnTo>
                      <a:pt x="98" y="38"/>
                    </a:lnTo>
                    <a:lnTo>
                      <a:pt x="98" y="36"/>
                    </a:lnTo>
                    <a:lnTo>
                      <a:pt x="98" y="36"/>
                    </a:lnTo>
                    <a:lnTo>
                      <a:pt x="100" y="34"/>
                    </a:lnTo>
                    <a:lnTo>
                      <a:pt x="98" y="32"/>
                    </a:lnTo>
                    <a:lnTo>
                      <a:pt x="98" y="32"/>
                    </a:lnTo>
                    <a:lnTo>
                      <a:pt x="98" y="30"/>
                    </a:lnTo>
                    <a:lnTo>
                      <a:pt x="98" y="26"/>
                    </a:lnTo>
                    <a:lnTo>
                      <a:pt x="96" y="24"/>
                    </a:lnTo>
                    <a:lnTo>
                      <a:pt x="96" y="20"/>
                    </a:lnTo>
                    <a:lnTo>
                      <a:pt x="94" y="16"/>
                    </a:lnTo>
                    <a:lnTo>
                      <a:pt x="94" y="16"/>
                    </a:lnTo>
                    <a:lnTo>
                      <a:pt x="94" y="14"/>
                    </a:lnTo>
                    <a:lnTo>
                      <a:pt x="94" y="12"/>
                    </a:lnTo>
                    <a:lnTo>
                      <a:pt x="94" y="12"/>
                    </a:lnTo>
                    <a:lnTo>
                      <a:pt x="94" y="10"/>
                    </a:lnTo>
                    <a:lnTo>
                      <a:pt x="96" y="8"/>
                    </a:lnTo>
                    <a:lnTo>
                      <a:pt x="96" y="8"/>
                    </a:lnTo>
                    <a:lnTo>
                      <a:pt x="96" y="6"/>
                    </a:lnTo>
                    <a:lnTo>
                      <a:pt x="98" y="4"/>
                    </a:lnTo>
                    <a:lnTo>
                      <a:pt x="100" y="4"/>
                    </a:lnTo>
                    <a:lnTo>
                      <a:pt x="100" y="2"/>
                    </a:lnTo>
                    <a:lnTo>
                      <a:pt x="102"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14" name="Freeform 61"/>
              <p:cNvSpPr>
                <a:spLocks/>
              </p:cNvSpPr>
              <p:nvPr/>
            </p:nvSpPr>
            <p:spPr bwMode="auto">
              <a:xfrm>
                <a:off x="7291678" y="3886367"/>
                <a:ext cx="28575" cy="28575"/>
              </a:xfrm>
              <a:custGeom>
                <a:avLst/>
                <a:gdLst>
                  <a:gd name="T0" fmla="*/ 2 w 18"/>
                  <a:gd name="T1" fmla="*/ 6 h 18"/>
                  <a:gd name="T2" fmla="*/ 2 w 18"/>
                  <a:gd name="T3" fmla="*/ 6 h 18"/>
                  <a:gd name="T4" fmla="*/ 2 w 18"/>
                  <a:gd name="T5" fmla="*/ 8 h 18"/>
                  <a:gd name="T6" fmla="*/ 2 w 18"/>
                  <a:gd name="T7" fmla="*/ 8 h 18"/>
                  <a:gd name="T8" fmla="*/ 0 w 18"/>
                  <a:gd name="T9" fmla="*/ 12 h 18"/>
                  <a:gd name="T10" fmla="*/ 0 w 18"/>
                  <a:gd name="T11" fmla="*/ 12 h 18"/>
                  <a:gd name="T12" fmla="*/ 0 w 18"/>
                  <a:gd name="T13" fmla="*/ 14 h 18"/>
                  <a:gd name="T14" fmla="*/ 0 w 18"/>
                  <a:gd name="T15" fmla="*/ 16 h 18"/>
                  <a:gd name="T16" fmla="*/ 0 w 18"/>
                  <a:gd name="T17" fmla="*/ 16 h 18"/>
                  <a:gd name="T18" fmla="*/ 0 w 18"/>
                  <a:gd name="T19" fmla="*/ 16 h 18"/>
                  <a:gd name="T20" fmla="*/ 2 w 18"/>
                  <a:gd name="T21" fmla="*/ 16 h 18"/>
                  <a:gd name="T22" fmla="*/ 2 w 18"/>
                  <a:gd name="T23" fmla="*/ 16 h 18"/>
                  <a:gd name="T24" fmla="*/ 4 w 18"/>
                  <a:gd name="T25" fmla="*/ 18 h 18"/>
                  <a:gd name="T26" fmla="*/ 4 w 18"/>
                  <a:gd name="T27" fmla="*/ 18 h 18"/>
                  <a:gd name="T28" fmla="*/ 6 w 18"/>
                  <a:gd name="T29" fmla="*/ 16 h 18"/>
                  <a:gd name="T30" fmla="*/ 8 w 18"/>
                  <a:gd name="T31" fmla="*/ 16 h 18"/>
                  <a:gd name="T32" fmla="*/ 8 w 18"/>
                  <a:gd name="T33" fmla="*/ 16 h 18"/>
                  <a:gd name="T34" fmla="*/ 10 w 18"/>
                  <a:gd name="T35" fmla="*/ 16 h 18"/>
                  <a:gd name="T36" fmla="*/ 10 w 18"/>
                  <a:gd name="T37" fmla="*/ 16 h 18"/>
                  <a:gd name="T38" fmla="*/ 12 w 18"/>
                  <a:gd name="T39" fmla="*/ 14 h 18"/>
                  <a:gd name="T40" fmla="*/ 14 w 18"/>
                  <a:gd name="T41" fmla="*/ 14 h 18"/>
                  <a:gd name="T42" fmla="*/ 14 w 18"/>
                  <a:gd name="T43" fmla="*/ 12 h 18"/>
                  <a:gd name="T44" fmla="*/ 16 w 18"/>
                  <a:gd name="T45" fmla="*/ 10 h 18"/>
                  <a:gd name="T46" fmla="*/ 16 w 18"/>
                  <a:gd name="T47" fmla="*/ 8 h 18"/>
                  <a:gd name="T48" fmla="*/ 18 w 18"/>
                  <a:gd name="T49" fmla="*/ 8 h 18"/>
                  <a:gd name="T50" fmla="*/ 18 w 18"/>
                  <a:gd name="T51" fmla="*/ 6 h 18"/>
                  <a:gd name="T52" fmla="*/ 18 w 18"/>
                  <a:gd name="T53" fmla="*/ 6 h 18"/>
                  <a:gd name="T54" fmla="*/ 18 w 18"/>
                  <a:gd name="T55" fmla="*/ 6 h 18"/>
                  <a:gd name="T56" fmla="*/ 16 w 18"/>
                  <a:gd name="T57" fmla="*/ 6 h 18"/>
                  <a:gd name="T58" fmla="*/ 16 w 18"/>
                  <a:gd name="T59" fmla="*/ 4 h 18"/>
                  <a:gd name="T60" fmla="*/ 16 w 18"/>
                  <a:gd name="T61" fmla="*/ 4 h 18"/>
                  <a:gd name="T62" fmla="*/ 14 w 18"/>
                  <a:gd name="T63" fmla="*/ 2 h 18"/>
                  <a:gd name="T64" fmla="*/ 12 w 18"/>
                  <a:gd name="T65" fmla="*/ 2 h 18"/>
                  <a:gd name="T66" fmla="*/ 10 w 18"/>
                  <a:gd name="T67" fmla="*/ 2 h 18"/>
                  <a:gd name="T68" fmla="*/ 8 w 18"/>
                  <a:gd name="T69" fmla="*/ 0 h 18"/>
                  <a:gd name="T70" fmla="*/ 6 w 18"/>
                  <a:gd name="T71" fmla="*/ 0 h 18"/>
                  <a:gd name="T72" fmla="*/ 4 w 18"/>
                  <a:gd name="T73" fmla="*/ 0 h 18"/>
                  <a:gd name="T74" fmla="*/ 4 w 18"/>
                  <a:gd name="T75" fmla="*/ 0 h 18"/>
                  <a:gd name="T76" fmla="*/ 2 w 18"/>
                  <a:gd name="T77" fmla="*/ 2 h 18"/>
                  <a:gd name="T78" fmla="*/ 2 w 18"/>
                  <a:gd name="T79" fmla="*/ 2 h 18"/>
                  <a:gd name="T80" fmla="*/ 2 w 18"/>
                  <a:gd name="T81" fmla="*/ 2 h 18"/>
                  <a:gd name="T82" fmla="*/ 2 w 18"/>
                  <a:gd name="T8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8">
                    <a:moveTo>
                      <a:pt x="2" y="6"/>
                    </a:moveTo>
                    <a:lnTo>
                      <a:pt x="2" y="6"/>
                    </a:lnTo>
                    <a:lnTo>
                      <a:pt x="2" y="8"/>
                    </a:lnTo>
                    <a:lnTo>
                      <a:pt x="2" y="8"/>
                    </a:lnTo>
                    <a:lnTo>
                      <a:pt x="0" y="12"/>
                    </a:lnTo>
                    <a:lnTo>
                      <a:pt x="0" y="12"/>
                    </a:lnTo>
                    <a:lnTo>
                      <a:pt x="0" y="14"/>
                    </a:lnTo>
                    <a:lnTo>
                      <a:pt x="0" y="16"/>
                    </a:lnTo>
                    <a:lnTo>
                      <a:pt x="0" y="16"/>
                    </a:lnTo>
                    <a:lnTo>
                      <a:pt x="0" y="16"/>
                    </a:lnTo>
                    <a:lnTo>
                      <a:pt x="2" y="16"/>
                    </a:lnTo>
                    <a:lnTo>
                      <a:pt x="2" y="16"/>
                    </a:lnTo>
                    <a:lnTo>
                      <a:pt x="4" y="18"/>
                    </a:lnTo>
                    <a:lnTo>
                      <a:pt x="4" y="18"/>
                    </a:lnTo>
                    <a:lnTo>
                      <a:pt x="6" y="16"/>
                    </a:lnTo>
                    <a:lnTo>
                      <a:pt x="8" y="16"/>
                    </a:lnTo>
                    <a:lnTo>
                      <a:pt x="8" y="16"/>
                    </a:lnTo>
                    <a:lnTo>
                      <a:pt x="10" y="16"/>
                    </a:lnTo>
                    <a:lnTo>
                      <a:pt x="10" y="16"/>
                    </a:lnTo>
                    <a:lnTo>
                      <a:pt x="12" y="14"/>
                    </a:lnTo>
                    <a:lnTo>
                      <a:pt x="14" y="14"/>
                    </a:lnTo>
                    <a:lnTo>
                      <a:pt x="14" y="12"/>
                    </a:lnTo>
                    <a:lnTo>
                      <a:pt x="16" y="10"/>
                    </a:lnTo>
                    <a:lnTo>
                      <a:pt x="16" y="8"/>
                    </a:lnTo>
                    <a:lnTo>
                      <a:pt x="18" y="8"/>
                    </a:lnTo>
                    <a:lnTo>
                      <a:pt x="18" y="6"/>
                    </a:lnTo>
                    <a:lnTo>
                      <a:pt x="18" y="6"/>
                    </a:lnTo>
                    <a:lnTo>
                      <a:pt x="18" y="6"/>
                    </a:lnTo>
                    <a:lnTo>
                      <a:pt x="16" y="6"/>
                    </a:lnTo>
                    <a:lnTo>
                      <a:pt x="16" y="4"/>
                    </a:lnTo>
                    <a:lnTo>
                      <a:pt x="16" y="4"/>
                    </a:lnTo>
                    <a:lnTo>
                      <a:pt x="14" y="2"/>
                    </a:lnTo>
                    <a:lnTo>
                      <a:pt x="12" y="2"/>
                    </a:lnTo>
                    <a:lnTo>
                      <a:pt x="10" y="2"/>
                    </a:lnTo>
                    <a:lnTo>
                      <a:pt x="8" y="0"/>
                    </a:lnTo>
                    <a:lnTo>
                      <a:pt x="6" y="0"/>
                    </a:lnTo>
                    <a:lnTo>
                      <a:pt x="4" y="0"/>
                    </a:lnTo>
                    <a:lnTo>
                      <a:pt x="4" y="0"/>
                    </a:lnTo>
                    <a:lnTo>
                      <a:pt x="2" y="2"/>
                    </a:lnTo>
                    <a:lnTo>
                      <a:pt x="2" y="2"/>
                    </a:lnTo>
                    <a:lnTo>
                      <a:pt x="2" y="2"/>
                    </a:lnTo>
                    <a:lnTo>
                      <a:pt x="2" y="2"/>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15" name="Freeform 63"/>
              <p:cNvSpPr>
                <a:spLocks/>
              </p:cNvSpPr>
              <p:nvPr/>
            </p:nvSpPr>
            <p:spPr bwMode="auto">
              <a:xfrm>
                <a:off x="7218653" y="3867317"/>
                <a:ext cx="57150" cy="85725"/>
              </a:xfrm>
              <a:custGeom>
                <a:avLst/>
                <a:gdLst>
                  <a:gd name="T0" fmla="*/ 16 w 36"/>
                  <a:gd name="T1" fmla="*/ 4 h 54"/>
                  <a:gd name="T2" fmla="*/ 14 w 36"/>
                  <a:gd name="T3" fmla="*/ 6 h 54"/>
                  <a:gd name="T4" fmla="*/ 10 w 36"/>
                  <a:gd name="T5" fmla="*/ 12 h 54"/>
                  <a:gd name="T6" fmla="*/ 10 w 36"/>
                  <a:gd name="T7" fmla="*/ 14 h 54"/>
                  <a:gd name="T8" fmla="*/ 8 w 36"/>
                  <a:gd name="T9" fmla="*/ 16 h 54"/>
                  <a:gd name="T10" fmla="*/ 4 w 36"/>
                  <a:gd name="T11" fmla="*/ 18 h 54"/>
                  <a:gd name="T12" fmla="*/ 2 w 36"/>
                  <a:gd name="T13" fmla="*/ 20 h 54"/>
                  <a:gd name="T14" fmla="*/ 0 w 36"/>
                  <a:gd name="T15" fmla="*/ 20 h 54"/>
                  <a:gd name="T16" fmla="*/ 0 w 36"/>
                  <a:gd name="T17" fmla="*/ 22 h 54"/>
                  <a:gd name="T18" fmla="*/ 0 w 36"/>
                  <a:gd name="T19" fmla="*/ 24 h 54"/>
                  <a:gd name="T20" fmla="*/ 2 w 36"/>
                  <a:gd name="T21" fmla="*/ 28 h 54"/>
                  <a:gd name="T22" fmla="*/ 4 w 36"/>
                  <a:gd name="T23" fmla="*/ 32 h 54"/>
                  <a:gd name="T24" fmla="*/ 6 w 36"/>
                  <a:gd name="T25" fmla="*/ 34 h 54"/>
                  <a:gd name="T26" fmla="*/ 8 w 36"/>
                  <a:gd name="T27" fmla="*/ 34 h 54"/>
                  <a:gd name="T28" fmla="*/ 8 w 36"/>
                  <a:gd name="T29" fmla="*/ 36 h 54"/>
                  <a:gd name="T30" fmla="*/ 10 w 36"/>
                  <a:gd name="T31" fmla="*/ 34 h 54"/>
                  <a:gd name="T32" fmla="*/ 12 w 36"/>
                  <a:gd name="T33" fmla="*/ 34 h 54"/>
                  <a:gd name="T34" fmla="*/ 12 w 36"/>
                  <a:gd name="T35" fmla="*/ 30 h 54"/>
                  <a:gd name="T36" fmla="*/ 14 w 36"/>
                  <a:gd name="T37" fmla="*/ 28 h 54"/>
                  <a:gd name="T38" fmla="*/ 16 w 36"/>
                  <a:gd name="T39" fmla="*/ 28 h 54"/>
                  <a:gd name="T40" fmla="*/ 18 w 36"/>
                  <a:gd name="T41" fmla="*/ 28 h 54"/>
                  <a:gd name="T42" fmla="*/ 18 w 36"/>
                  <a:gd name="T43" fmla="*/ 28 h 54"/>
                  <a:gd name="T44" fmla="*/ 20 w 36"/>
                  <a:gd name="T45" fmla="*/ 30 h 54"/>
                  <a:gd name="T46" fmla="*/ 22 w 36"/>
                  <a:gd name="T47" fmla="*/ 30 h 54"/>
                  <a:gd name="T48" fmla="*/ 22 w 36"/>
                  <a:gd name="T49" fmla="*/ 32 h 54"/>
                  <a:gd name="T50" fmla="*/ 22 w 36"/>
                  <a:gd name="T51" fmla="*/ 34 h 54"/>
                  <a:gd name="T52" fmla="*/ 20 w 36"/>
                  <a:gd name="T53" fmla="*/ 38 h 54"/>
                  <a:gd name="T54" fmla="*/ 20 w 36"/>
                  <a:gd name="T55" fmla="*/ 40 h 54"/>
                  <a:gd name="T56" fmla="*/ 20 w 36"/>
                  <a:gd name="T57" fmla="*/ 44 h 54"/>
                  <a:gd name="T58" fmla="*/ 22 w 36"/>
                  <a:gd name="T59" fmla="*/ 48 h 54"/>
                  <a:gd name="T60" fmla="*/ 24 w 36"/>
                  <a:gd name="T61" fmla="*/ 52 h 54"/>
                  <a:gd name="T62" fmla="*/ 24 w 36"/>
                  <a:gd name="T63" fmla="*/ 52 h 54"/>
                  <a:gd name="T64" fmla="*/ 26 w 36"/>
                  <a:gd name="T65" fmla="*/ 54 h 54"/>
                  <a:gd name="T66" fmla="*/ 26 w 36"/>
                  <a:gd name="T67" fmla="*/ 54 h 54"/>
                  <a:gd name="T68" fmla="*/ 30 w 36"/>
                  <a:gd name="T69" fmla="*/ 52 h 54"/>
                  <a:gd name="T70" fmla="*/ 32 w 36"/>
                  <a:gd name="T71" fmla="*/ 50 h 54"/>
                  <a:gd name="T72" fmla="*/ 34 w 36"/>
                  <a:gd name="T73" fmla="*/ 48 h 54"/>
                  <a:gd name="T74" fmla="*/ 34 w 36"/>
                  <a:gd name="T75" fmla="*/ 46 h 54"/>
                  <a:gd name="T76" fmla="*/ 36 w 36"/>
                  <a:gd name="T77" fmla="*/ 44 h 54"/>
                  <a:gd name="T78" fmla="*/ 36 w 36"/>
                  <a:gd name="T79" fmla="*/ 40 h 54"/>
                  <a:gd name="T80" fmla="*/ 34 w 36"/>
                  <a:gd name="T81" fmla="*/ 32 h 54"/>
                  <a:gd name="T82" fmla="*/ 34 w 36"/>
                  <a:gd name="T83" fmla="*/ 20 h 54"/>
                  <a:gd name="T84" fmla="*/ 34 w 36"/>
                  <a:gd name="T85" fmla="*/ 12 h 54"/>
                  <a:gd name="T86" fmla="*/ 32 w 36"/>
                  <a:gd name="T87" fmla="*/ 8 h 54"/>
                  <a:gd name="T88" fmla="*/ 30 w 36"/>
                  <a:gd name="T89" fmla="*/ 2 h 54"/>
                  <a:gd name="T90" fmla="*/ 28 w 36"/>
                  <a:gd name="T91" fmla="*/ 0 h 54"/>
                  <a:gd name="T92" fmla="*/ 26 w 36"/>
                  <a:gd name="T93" fmla="*/ 0 h 54"/>
                  <a:gd name="T94" fmla="*/ 26 w 36"/>
                  <a:gd name="T95" fmla="*/ 0 h 54"/>
                  <a:gd name="T96" fmla="*/ 22 w 36"/>
                  <a:gd name="T97" fmla="*/ 0 h 54"/>
                  <a:gd name="T98" fmla="*/ 20 w 36"/>
                  <a:gd name="T99" fmla="*/ 2 h 54"/>
                  <a:gd name="T100" fmla="*/ 16 w 36"/>
                  <a:gd name="T101"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54">
                    <a:moveTo>
                      <a:pt x="16" y="4"/>
                    </a:moveTo>
                    <a:lnTo>
                      <a:pt x="16" y="4"/>
                    </a:lnTo>
                    <a:lnTo>
                      <a:pt x="14" y="6"/>
                    </a:lnTo>
                    <a:lnTo>
                      <a:pt x="14" y="6"/>
                    </a:lnTo>
                    <a:lnTo>
                      <a:pt x="12" y="10"/>
                    </a:lnTo>
                    <a:lnTo>
                      <a:pt x="10" y="12"/>
                    </a:lnTo>
                    <a:lnTo>
                      <a:pt x="10" y="14"/>
                    </a:lnTo>
                    <a:lnTo>
                      <a:pt x="10" y="14"/>
                    </a:lnTo>
                    <a:lnTo>
                      <a:pt x="8" y="16"/>
                    </a:lnTo>
                    <a:lnTo>
                      <a:pt x="8" y="16"/>
                    </a:lnTo>
                    <a:lnTo>
                      <a:pt x="4" y="18"/>
                    </a:lnTo>
                    <a:lnTo>
                      <a:pt x="4" y="18"/>
                    </a:lnTo>
                    <a:lnTo>
                      <a:pt x="2" y="18"/>
                    </a:lnTo>
                    <a:lnTo>
                      <a:pt x="2" y="20"/>
                    </a:lnTo>
                    <a:lnTo>
                      <a:pt x="0" y="20"/>
                    </a:lnTo>
                    <a:lnTo>
                      <a:pt x="0" y="20"/>
                    </a:lnTo>
                    <a:lnTo>
                      <a:pt x="0" y="20"/>
                    </a:lnTo>
                    <a:lnTo>
                      <a:pt x="0" y="22"/>
                    </a:lnTo>
                    <a:lnTo>
                      <a:pt x="0" y="22"/>
                    </a:lnTo>
                    <a:lnTo>
                      <a:pt x="0" y="24"/>
                    </a:lnTo>
                    <a:lnTo>
                      <a:pt x="2" y="26"/>
                    </a:lnTo>
                    <a:lnTo>
                      <a:pt x="2" y="28"/>
                    </a:lnTo>
                    <a:lnTo>
                      <a:pt x="4" y="32"/>
                    </a:lnTo>
                    <a:lnTo>
                      <a:pt x="4" y="32"/>
                    </a:lnTo>
                    <a:lnTo>
                      <a:pt x="6" y="34"/>
                    </a:lnTo>
                    <a:lnTo>
                      <a:pt x="6" y="34"/>
                    </a:lnTo>
                    <a:lnTo>
                      <a:pt x="6" y="34"/>
                    </a:lnTo>
                    <a:lnTo>
                      <a:pt x="8" y="34"/>
                    </a:lnTo>
                    <a:lnTo>
                      <a:pt x="8" y="36"/>
                    </a:lnTo>
                    <a:lnTo>
                      <a:pt x="8" y="36"/>
                    </a:lnTo>
                    <a:lnTo>
                      <a:pt x="10" y="36"/>
                    </a:lnTo>
                    <a:lnTo>
                      <a:pt x="10" y="34"/>
                    </a:lnTo>
                    <a:lnTo>
                      <a:pt x="10" y="34"/>
                    </a:lnTo>
                    <a:lnTo>
                      <a:pt x="12" y="34"/>
                    </a:lnTo>
                    <a:lnTo>
                      <a:pt x="12" y="32"/>
                    </a:lnTo>
                    <a:lnTo>
                      <a:pt x="12" y="30"/>
                    </a:lnTo>
                    <a:lnTo>
                      <a:pt x="14" y="30"/>
                    </a:lnTo>
                    <a:lnTo>
                      <a:pt x="14" y="28"/>
                    </a:lnTo>
                    <a:lnTo>
                      <a:pt x="16" y="28"/>
                    </a:lnTo>
                    <a:lnTo>
                      <a:pt x="16" y="28"/>
                    </a:lnTo>
                    <a:lnTo>
                      <a:pt x="16" y="28"/>
                    </a:lnTo>
                    <a:lnTo>
                      <a:pt x="18" y="28"/>
                    </a:lnTo>
                    <a:lnTo>
                      <a:pt x="18" y="28"/>
                    </a:lnTo>
                    <a:lnTo>
                      <a:pt x="18" y="28"/>
                    </a:lnTo>
                    <a:lnTo>
                      <a:pt x="20" y="28"/>
                    </a:lnTo>
                    <a:lnTo>
                      <a:pt x="20" y="30"/>
                    </a:lnTo>
                    <a:lnTo>
                      <a:pt x="22" y="30"/>
                    </a:lnTo>
                    <a:lnTo>
                      <a:pt x="22" y="30"/>
                    </a:lnTo>
                    <a:lnTo>
                      <a:pt x="22" y="30"/>
                    </a:lnTo>
                    <a:lnTo>
                      <a:pt x="22" y="32"/>
                    </a:lnTo>
                    <a:lnTo>
                      <a:pt x="22" y="32"/>
                    </a:lnTo>
                    <a:lnTo>
                      <a:pt x="22" y="34"/>
                    </a:lnTo>
                    <a:lnTo>
                      <a:pt x="22" y="36"/>
                    </a:lnTo>
                    <a:lnTo>
                      <a:pt x="20" y="38"/>
                    </a:lnTo>
                    <a:lnTo>
                      <a:pt x="20" y="40"/>
                    </a:lnTo>
                    <a:lnTo>
                      <a:pt x="20" y="40"/>
                    </a:lnTo>
                    <a:lnTo>
                      <a:pt x="20" y="42"/>
                    </a:lnTo>
                    <a:lnTo>
                      <a:pt x="20" y="44"/>
                    </a:lnTo>
                    <a:lnTo>
                      <a:pt x="20" y="46"/>
                    </a:lnTo>
                    <a:lnTo>
                      <a:pt x="22" y="48"/>
                    </a:lnTo>
                    <a:lnTo>
                      <a:pt x="22" y="50"/>
                    </a:lnTo>
                    <a:lnTo>
                      <a:pt x="24" y="52"/>
                    </a:lnTo>
                    <a:lnTo>
                      <a:pt x="24" y="52"/>
                    </a:lnTo>
                    <a:lnTo>
                      <a:pt x="24" y="52"/>
                    </a:lnTo>
                    <a:lnTo>
                      <a:pt x="24" y="52"/>
                    </a:lnTo>
                    <a:lnTo>
                      <a:pt x="26" y="54"/>
                    </a:lnTo>
                    <a:lnTo>
                      <a:pt x="26" y="54"/>
                    </a:lnTo>
                    <a:lnTo>
                      <a:pt x="26" y="54"/>
                    </a:lnTo>
                    <a:lnTo>
                      <a:pt x="28" y="52"/>
                    </a:lnTo>
                    <a:lnTo>
                      <a:pt x="30" y="52"/>
                    </a:lnTo>
                    <a:lnTo>
                      <a:pt x="30" y="52"/>
                    </a:lnTo>
                    <a:lnTo>
                      <a:pt x="32" y="50"/>
                    </a:lnTo>
                    <a:lnTo>
                      <a:pt x="34" y="48"/>
                    </a:lnTo>
                    <a:lnTo>
                      <a:pt x="34" y="48"/>
                    </a:lnTo>
                    <a:lnTo>
                      <a:pt x="34" y="46"/>
                    </a:lnTo>
                    <a:lnTo>
                      <a:pt x="34" y="46"/>
                    </a:lnTo>
                    <a:lnTo>
                      <a:pt x="34" y="46"/>
                    </a:lnTo>
                    <a:lnTo>
                      <a:pt x="36" y="44"/>
                    </a:lnTo>
                    <a:lnTo>
                      <a:pt x="36" y="42"/>
                    </a:lnTo>
                    <a:lnTo>
                      <a:pt x="36" y="40"/>
                    </a:lnTo>
                    <a:lnTo>
                      <a:pt x="34" y="34"/>
                    </a:lnTo>
                    <a:lnTo>
                      <a:pt x="34" y="32"/>
                    </a:lnTo>
                    <a:lnTo>
                      <a:pt x="34" y="26"/>
                    </a:lnTo>
                    <a:lnTo>
                      <a:pt x="34" y="20"/>
                    </a:lnTo>
                    <a:lnTo>
                      <a:pt x="34" y="16"/>
                    </a:lnTo>
                    <a:lnTo>
                      <a:pt x="34" y="12"/>
                    </a:lnTo>
                    <a:lnTo>
                      <a:pt x="32" y="10"/>
                    </a:lnTo>
                    <a:lnTo>
                      <a:pt x="32" y="8"/>
                    </a:lnTo>
                    <a:lnTo>
                      <a:pt x="32" y="6"/>
                    </a:lnTo>
                    <a:lnTo>
                      <a:pt x="30" y="2"/>
                    </a:lnTo>
                    <a:lnTo>
                      <a:pt x="30" y="2"/>
                    </a:lnTo>
                    <a:lnTo>
                      <a:pt x="28" y="0"/>
                    </a:lnTo>
                    <a:lnTo>
                      <a:pt x="28" y="0"/>
                    </a:lnTo>
                    <a:lnTo>
                      <a:pt x="26" y="0"/>
                    </a:lnTo>
                    <a:lnTo>
                      <a:pt x="26" y="0"/>
                    </a:lnTo>
                    <a:lnTo>
                      <a:pt x="26" y="0"/>
                    </a:lnTo>
                    <a:lnTo>
                      <a:pt x="24" y="0"/>
                    </a:lnTo>
                    <a:lnTo>
                      <a:pt x="22" y="0"/>
                    </a:lnTo>
                    <a:lnTo>
                      <a:pt x="22" y="0"/>
                    </a:lnTo>
                    <a:lnTo>
                      <a:pt x="20" y="2"/>
                    </a:lnTo>
                    <a:lnTo>
                      <a:pt x="18" y="2"/>
                    </a:lnTo>
                    <a:lnTo>
                      <a:pt x="16"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grpSp>
        <p:grpSp>
          <p:nvGrpSpPr>
            <p:cNvPr id="1016" name="Gruppieren 713"/>
            <p:cNvGrpSpPr/>
            <p:nvPr/>
          </p:nvGrpSpPr>
          <p:grpSpPr>
            <a:xfrm>
              <a:off x="7213739" y="4095411"/>
              <a:ext cx="239026" cy="384521"/>
              <a:chOff x="7009103" y="4286417"/>
              <a:chExt cx="219075" cy="352425"/>
            </a:xfrm>
            <a:solidFill>
              <a:srgbClr val="778888">
                <a:lumMod val="20000"/>
                <a:lumOff val="80000"/>
              </a:srgbClr>
            </a:solidFill>
          </p:grpSpPr>
          <p:sp>
            <p:nvSpPr>
              <p:cNvPr id="1017" name="Freeform 95"/>
              <p:cNvSpPr>
                <a:spLocks/>
              </p:cNvSpPr>
              <p:nvPr/>
            </p:nvSpPr>
            <p:spPr bwMode="auto">
              <a:xfrm>
                <a:off x="7009103" y="4483267"/>
                <a:ext cx="53975" cy="92075"/>
              </a:xfrm>
              <a:custGeom>
                <a:avLst/>
                <a:gdLst>
                  <a:gd name="T0" fmla="*/ 26 w 34"/>
                  <a:gd name="T1" fmla="*/ 6 h 58"/>
                  <a:gd name="T2" fmla="*/ 24 w 34"/>
                  <a:gd name="T3" fmla="*/ 8 h 58"/>
                  <a:gd name="T4" fmla="*/ 24 w 34"/>
                  <a:gd name="T5" fmla="*/ 14 h 58"/>
                  <a:gd name="T6" fmla="*/ 22 w 34"/>
                  <a:gd name="T7" fmla="*/ 16 h 58"/>
                  <a:gd name="T8" fmla="*/ 22 w 34"/>
                  <a:gd name="T9" fmla="*/ 18 h 58"/>
                  <a:gd name="T10" fmla="*/ 18 w 34"/>
                  <a:gd name="T11" fmla="*/ 20 h 58"/>
                  <a:gd name="T12" fmla="*/ 12 w 34"/>
                  <a:gd name="T13" fmla="*/ 24 h 58"/>
                  <a:gd name="T14" fmla="*/ 8 w 34"/>
                  <a:gd name="T15" fmla="*/ 26 h 58"/>
                  <a:gd name="T16" fmla="*/ 4 w 34"/>
                  <a:gd name="T17" fmla="*/ 32 h 58"/>
                  <a:gd name="T18" fmla="*/ 2 w 34"/>
                  <a:gd name="T19" fmla="*/ 36 h 58"/>
                  <a:gd name="T20" fmla="*/ 2 w 34"/>
                  <a:gd name="T21" fmla="*/ 38 h 58"/>
                  <a:gd name="T22" fmla="*/ 0 w 34"/>
                  <a:gd name="T23" fmla="*/ 44 h 58"/>
                  <a:gd name="T24" fmla="*/ 0 w 34"/>
                  <a:gd name="T25" fmla="*/ 50 h 58"/>
                  <a:gd name="T26" fmla="*/ 0 w 34"/>
                  <a:gd name="T27" fmla="*/ 54 h 58"/>
                  <a:gd name="T28" fmla="*/ 2 w 34"/>
                  <a:gd name="T29" fmla="*/ 56 h 58"/>
                  <a:gd name="T30" fmla="*/ 2 w 34"/>
                  <a:gd name="T31" fmla="*/ 58 h 58"/>
                  <a:gd name="T32" fmla="*/ 4 w 34"/>
                  <a:gd name="T33" fmla="*/ 58 h 58"/>
                  <a:gd name="T34" fmla="*/ 6 w 34"/>
                  <a:gd name="T35" fmla="*/ 58 h 58"/>
                  <a:gd name="T36" fmla="*/ 8 w 34"/>
                  <a:gd name="T37" fmla="*/ 56 h 58"/>
                  <a:gd name="T38" fmla="*/ 12 w 34"/>
                  <a:gd name="T39" fmla="*/ 54 h 58"/>
                  <a:gd name="T40" fmla="*/ 16 w 34"/>
                  <a:gd name="T41" fmla="*/ 48 h 58"/>
                  <a:gd name="T42" fmla="*/ 20 w 34"/>
                  <a:gd name="T43" fmla="*/ 42 h 58"/>
                  <a:gd name="T44" fmla="*/ 24 w 34"/>
                  <a:gd name="T45" fmla="*/ 34 h 58"/>
                  <a:gd name="T46" fmla="*/ 28 w 34"/>
                  <a:gd name="T47" fmla="*/ 24 h 58"/>
                  <a:gd name="T48" fmla="*/ 32 w 34"/>
                  <a:gd name="T49" fmla="*/ 18 h 58"/>
                  <a:gd name="T50" fmla="*/ 34 w 34"/>
                  <a:gd name="T51" fmla="*/ 14 h 58"/>
                  <a:gd name="T52" fmla="*/ 34 w 34"/>
                  <a:gd name="T53" fmla="*/ 10 h 58"/>
                  <a:gd name="T54" fmla="*/ 34 w 34"/>
                  <a:gd name="T55" fmla="*/ 8 h 58"/>
                  <a:gd name="T56" fmla="*/ 32 w 34"/>
                  <a:gd name="T57" fmla="*/ 4 h 58"/>
                  <a:gd name="T58" fmla="*/ 30 w 34"/>
                  <a:gd name="T59" fmla="*/ 0 h 58"/>
                  <a:gd name="T60" fmla="*/ 30 w 34"/>
                  <a:gd name="T61" fmla="*/ 0 h 58"/>
                  <a:gd name="T62" fmla="*/ 28 w 34"/>
                  <a:gd name="T63" fmla="*/ 0 h 58"/>
                  <a:gd name="T64" fmla="*/ 28 w 34"/>
                  <a:gd name="T65" fmla="*/ 0 h 58"/>
                  <a:gd name="T66" fmla="*/ 28 w 34"/>
                  <a:gd name="T67" fmla="*/ 2 h 58"/>
                  <a:gd name="T68" fmla="*/ 26 w 34"/>
                  <a:gd name="T6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58">
                    <a:moveTo>
                      <a:pt x="26" y="6"/>
                    </a:moveTo>
                    <a:lnTo>
                      <a:pt x="26" y="6"/>
                    </a:lnTo>
                    <a:lnTo>
                      <a:pt x="24" y="6"/>
                    </a:lnTo>
                    <a:lnTo>
                      <a:pt x="24" y="8"/>
                    </a:lnTo>
                    <a:lnTo>
                      <a:pt x="24" y="10"/>
                    </a:lnTo>
                    <a:lnTo>
                      <a:pt x="24" y="14"/>
                    </a:lnTo>
                    <a:lnTo>
                      <a:pt x="22" y="14"/>
                    </a:lnTo>
                    <a:lnTo>
                      <a:pt x="22" y="16"/>
                    </a:lnTo>
                    <a:lnTo>
                      <a:pt x="22" y="16"/>
                    </a:lnTo>
                    <a:lnTo>
                      <a:pt x="22" y="18"/>
                    </a:lnTo>
                    <a:lnTo>
                      <a:pt x="20" y="18"/>
                    </a:lnTo>
                    <a:lnTo>
                      <a:pt x="18" y="20"/>
                    </a:lnTo>
                    <a:lnTo>
                      <a:pt x="16" y="20"/>
                    </a:lnTo>
                    <a:lnTo>
                      <a:pt x="12" y="24"/>
                    </a:lnTo>
                    <a:lnTo>
                      <a:pt x="10" y="24"/>
                    </a:lnTo>
                    <a:lnTo>
                      <a:pt x="8" y="26"/>
                    </a:lnTo>
                    <a:lnTo>
                      <a:pt x="6" y="28"/>
                    </a:lnTo>
                    <a:lnTo>
                      <a:pt x="4" y="32"/>
                    </a:lnTo>
                    <a:lnTo>
                      <a:pt x="4" y="34"/>
                    </a:lnTo>
                    <a:lnTo>
                      <a:pt x="2" y="36"/>
                    </a:lnTo>
                    <a:lnTo>
                      <a:pt x="2" y="36"/>
                    </a:lnTo>
                    <a:lnTo>
                      <a:pt x="2" y="38"/>
                    </a:lnTo>
                    <a:lnTo>
                      <a:pt x="0" y="40"/>
                    </a:lnTo>
                    <a:lnTo>
                      <a:pt x="0" y="44"/>
                    </a:lnTo>
                    <a:lnTo>
                      <a:pt x="0" y="46"/>
                    </a:lnTo>
                    <a:lnTo>
                      <a:pt x="0" y="50"/>
                    </a:lnTo>
                    <a:lnTo>
                      <a:pt x="0" y="52"/>
                    </a:lnTo>
                    <a:lnTo>
                      <a:pt x="0" y="54"/>
                    </a:lnTo>
                    <a:lnTo>
                      <a:pt x="0" y="56"/>
                    </a:lnTo>
                    <a:lnTo>
                      <a:pt x="2" y="56"/>
                    </a:lnTo>
                    <a:lnTo>
                      <a:pt x="2" y="58"/>
                    </a:lnTo>
                    <a:lnTo>
                      <a:pt x="2" y="58"/>
                    </a:lnTo>
                    <a:lnTo>
                      <a:pt x="4" y="58"/>
                    </a:lnTo>
                    <a:lnTo>
                      <a:pt x="4" y="58"/>
                    </a:lnTo>
                    <a:lnTo>
                      <a:pt x="6" y="58"/>
                    </a:lnTo>
                    <a:lnTo>
                      <a:pt x="6" y="58"/>
                    </a:lnTo>
                    <a:lnTo>
                      <a:pt x="8" y="58"/>
                    </a:lnTo>
                    <a:lnTo>
                      <a:pt x="8" y="56"/>
                    </a:lnTo>
                    <a:lnTo>
                      <a:pt x="10" y="56"/>
                    </a:lnTo>
                    <a:lnTo>
                      <a:pt x="12" y="54"/>
                    </a:lnTo>
                    <a:lnTo>
                      <a:pt x="14" y="50"/>
                    </a:lnTo>
                    <a:lnTo>
                      <a:pt x="16" y="48"/>
                    </a:lnTo>
                    <a:lnTo>
                      <a:pt x="18" y="44"/>
                    </a:lnTo>
                    <a:lnTo>
                      <a:pt x="20" y="42"/>
                    </a:lnTo>
                    <a:lnTo>
                      <a:pt x="22" y="40"/>
                    </a:lnTo>
                    <a:lnTo>
                      <a:pt x="24" y="34"/>
                    </a:lnTo>
                    <a:lnTo>
                      <a:pt x="26" y="28"/>
                    </a:lnTo>
                    <a:lnTo>
                      <a:pt x="28" y="24"/>
                    </a:lnTo>
                    <a:lnTo>
                      <a:pt x="30" y="20"/>
                    </a:lnTo>
                    <a:lnTo>
                      <a:pt x="32" y="18"/>
                    </a:lnTo>
                    <a:lnTo>
                      <a:pt x="32" y="16"/>
                    </a:lnTo>
                    <a:lnTo>
                      <a:pt x="34" y="14"/>
                    </a:lnTo>
                    <a:lnTo>
                      <a:pt x="34" y="12"/>
                    </a:lnTo>
                    <a:lnTo>
                      <a:pt x="34" y="10"/>
                    </a:lnTo>
                    <a:lnTo>
                      <a:pt x="34" y="10"/>
                    </a:lnTo>
                    <a:lnTo>
                      <a:pt x="34" y="8"/>
                    </a:lnTo>
                    <a:lnTo>
                      <a:pt x="34" y="6"/>
                    </a:lnTo>
                    <a:lnTo>
                      <a:pt x="32" y="4"/>
                    </a:lnTo>
                    <a:lnTo>
                      <a:pt x="32" y="2"/>
                    </a:lnTo>
                    <a:lnTo>
                      <a:pt x="30" y="0"/>
                    </a:lnTo>
                    <a:lnTo>
                      <a:pt x="30" y="0"/>
                    </a:lnTo>
                    <a:lnTo>
                      <a:pt x="30" y="0"/>
                    </a:lnTo>
                    <a:lnTo>
                      <a:pt x="30" y="0"/>
                    </a:lnTo>
                    <a:lnTo>
                      <a:pt x="28" y="0"/>
                    </a:lnTo>
                    <a:lnTo>
                      <a:pt x="28" y="0"/>
                    </a:lnTo>
                    <a:lnTo>
                      <a:pt x="28" y="0"/>
                    </a:lnTo>
                    <a:lnTo>
                      <a:pt x="28" y="0"/>
                    </a:lnTo>
                    <a:lnTo>
                      <a:pt x="28" y="2"/>
                    </a:lnTo>
                    <a:lnTo>
                      <a:pt x="26" y="2"/>
                    </a:lnTo>
                    <a:lnTo>
                      <a:pt x="26" y="4"/>
                    </a:lnTo>
                    <a:lnTo>
                      <a:pt x="26"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18" name="Freeform 97"/>
              <p:cNvSpPr>
                <a:spLocks/>
              </p:cNvSpPr>
              <p:nvPr/>
            </p:nvSpPr>
            <p:spPr bwMode="auto">
              <a:xfrm>
                <a:off x="7040853" y="4286417"/>
                <a:ext cx="82550" cy="123825"/>
              </a:xfrm>
              <a:custGeom>
                <a:avLst/>
                <a:gdLst>
                  <a:gd name="T0" fmla="*/ 24 w 52"/>
                  <a:gd name="T1" fmla="*/ 0 h 78"/>
                  <a:gd name="T2" fmla="*/ 24 w 52"/>
                  <a:gd name="T3" fmla="*/ 2 h 78"/>
                  <a:gd name="T4" fmla="*/ 22 w 52"/>
                  <a:gd name="T5" fmla="*/ 4 h 78"/>
                  <a:gd name="T6" fmla="*/ 20 w 52"/>
                  <a:gd name="T7" fmla="*/ 8 h 78"/>
                  <a:gd name="T8" fmla="*/ 18 w 52"/>
                  <a:gd name="T9" fmla="*/ 12 h 78"/>
                  <a:gd name="T10" fmla="*/ 16 w 52"/>
                  <a:gd name="T11" fmla="*/ 18 h 78"/>
                  <a:gd name="T12" fmla="*/ 14 w 52"/>
                  <a:gd name="T13" fmla="*/ 28 h 78"/>
                  <a:gd name="T14" fmla="*/ 14 w 52"/>
                  <a:gd name="T15" fmla="*/ 34 h 78"/>
                  <a:gd name="T16" fmla="*/ 12 w 52"/>
                  <a:gd name="T17" fmla="*/ 38 h 78"/>
                  <a:gd name="T18" fmla="*/ 10 w 52"/>
                  <a:gd name="T19" fmla="*/ 40 h 78"/>
                  <a:gd name="T20" fmla="*/ 6 w 52"/>
                  <a:gd name="T21" fmla="*/ 42 h 78"/>
                  <a:gd name="T22" fmla="*/ 4 w 52"/>
                  <a:gd name="T23" fmla="*/ 44 h 78"/>
                  <a:gd name="T24" fmla="*/ 2 w 52"/>
                  <a:gd name="T25" fmla="*/ 46 h 78"/>
                  <a:gd name="T26" fmla="*/ 2 w 52"/>
                  <a:gd name="T27" fmla="*/ 48 h 78"/>
                  <a:gd name="T28" fmla="*/ 0 w 52"/>
                  <a:gd name="T29" fmla="*/ 52 h 78"/>
                  <a:gd name="T30" fmla="*/ 0 w 52"/>
                  <a:gd name="T31" fmla="*/ 58 h 78"/>
                  <a:gd name="T32" fmla="*/ 2 w 52"/>
                  <a:gd name="T33" fmla="*/ 62 h 78"/>
                  <a:gd name="T34" fmla="*/ 2 w 52"/>
                  <a:gd name="T35" fmla="*/ 66 h 78"/>
                  <a:gd name="T36" fmla="*/ 4 w 52"/>
                  <a:gd name="T37" fmla="*/ 68 h 78"/>
                  <a:gd name="T38" fmla="*/ 4 w 52"/>
                  <a:gd name="T39" fmla="*/ 68 h 78"/>
                  <a:gd name="T40" fmla="*/ 8 w 52"/>
                  <a:gd name="T41" fmla="*/ 68 h 78"/>
                  <a:gd name="T42" fmla="*/ 12 w 52"/>
                  <a:gd name="T43" fmla="*/ 68 h 78"/>
                  <a:gd name="T44" fmla="*/ 16 w 52"/>
                  <a:gd name="T45" fmla="*/ 70 h 78"/>
                  <a:gd name="T46" fmla="*/ 16 w 52"/>
                  <a:gd name="T47" fmla="*/ 72 h 78"/>
                  <a:gd name="T48" fmla="*/ 18 w 52"/>
                  <a:gd name="T49" fmla="*/ 76 h 78"/>
                  <a:gd name="T50" fmla="*/ 20 w 52"/>
                  <a:gd name="T51" fmla="*/ 78 h 78"/>
                  <a:gd name="T52" fmla="*/ 22 w 52"/>
                  <a:gd name="T53" fmla="*/ 78 h 78"/>
                  <a:gd name="T54" fmla="*/ 22 w 52"/>
                  <a:gd name="T55" fmla="*/ 78 h 78"/>
                  <a:gd name="T56" fmla="*/ 26 w 52"/>
                  <a:gd name="T57" fmla="*/ 78 h 78"/>
                  <a:gd name="T58" fmla="*/ 32 w 52"/>
                  <a:gd name="T59" fmla="*/ 78 h 78"/>
                  <a:gd name="T60" fmla="*/ 40 w 52"/>
                  <a:gd name="T61" fmla="*/ 76 h 78"/>
                  <a:gd name="T62" fmla="*/ 44 w 52"/>
                  <a:gd name="T63" fmla="*/ 76 h 78"/>
                  <a:gd name="T64" fmla="*/ 48 w 52"/>
                  <a:gd name="T65" fmla="*/ 74 h 78"/>
                  <a:gd name="T66" fmla="*/ 50 w 52"/>
                  <a:gd name="T67" fmla="*/ 74 h 78"/>
                  <a:gd name="T68" fmla="*/ 52 w 52"/>
                  <a:gd name="T69" fmla="*/ 72 h 78"/>
                  <a:gd name="T70" fmla="*/ 52 w 52"/>
                  <a:gd name="T71" fmla="*/ 70 h 78"/>
                  <a:gd name="T72" fmla="*/ 52 w 52"/>
                  <a:gd name="T73" fmla="*/ 68 h 78"/>
                  <a:gd name="T74" fmla="*/ 50 w 52"/>
                  <a:gd name="T75" fmla="*/ 62 h 78"/>
                  <a:gd name="T76" fmla="*/ 46 w 52"/>
                  <a:gd name="T77" fmla="*/ 54 h 78"/>
                  <a:gd name="T78" fmla="*/ 46 w 52"/>
                  <a:gd name="T79" fmla="*/ 52 h 78"/>
                  <a:gd name="T80" fmla="*/ 46 w 52"/>
                  <a:gd name="T81" fmla="*/ 48 h 78"/>
                  <a:gd name="T82" fmla="*/ 48 w 52"/>
                  <a:gd name="T83" fmla="*/ 42 h 78"/>
                  <a:gd name="T84" fmla="*/ 48 w 52"/>
                  <a:gd name="T85" fmla="*/ 38 h 78"/>
                  <a:gd name="T86" fmla="*/ 48 w 52"/>
                  <a:gd name="T87" fmla="*/ 34 h 78"/>
                  <a:gd name="T88" fmla="*/ 48 w 52"/>
                  <a:gd name="T89" fmla="*/ 28 h 78"/>
                  <a:gd name="T90" fmla="*/ 48 w 52"/>
                  <a:gd name="T91" fmla="*/ 24 h 78"/>
                  <a:gd name="T92" fmla="*/ 44 w 52"/>
                  <a:gd name="T93" fmla="*/ 14 h 78"/>
                  <a:gd name="T94" fmla="*/ 42 w 52"/>
                  <a:gd name="T95" fmla="*/ 6 h 78"/>
                  <a:gd name="T96" fmla="*/ 42 w 52"/>
                  <a:gd name="T97" fmla="*/ 4 h 78"/>
                  <a:gd name="T98" fmla="*/ 40 w 52"/>
                  <a:gd name="T99" fmla="*/ 2 h 78"/>
                  <a:gd name="T100" fmla="*/ 36 w 52"/>
                  <a:gd name="T101" fmla="*/ 0 h 78"/>
                  <a:gd name="T102" fmla="*/ 32 w 52"/>
                  <a:gd name="T103" fmla="*/ 0 h 78"/>
                  <a:gd name="T104" fmla="*/ 28 w 52"/>
                  <a:gd name="T105" fmla="*/ 0 h 78"/>
                  <a:gd name="T106" fmla="*/ 26 w 52"/>
                  <a:gd name="T10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78">
                    <a:moveTo>
                      <a:pt x="24" y="0"/>
                    </a:moveTo>
                    <a:lnTo>
                      <a:pt x="24" y="0"/>
                    </a:lnTo>
                    <a:lnTo>
                      <a:pt x="24" y="0"/>
                    </a:lnTo>
                    <a:lnTo>
                      <a:pt x="24" y="2"/>
                    </a:lnTo>
                    <a:lnTo>
                      <a:pt x="22" y="2"/>
                    </a:lnTo>
                    <a:lnTo>
                      <a:pt x="22" y="4"/>
                    </a:lnTo>
                    <a:lnTo>
                      <a:pt x="20" y="6"/>
                    </a:lnTo>
                    <a:lnTo>
                      <a:pt x="20" y="8"/>
                    </a:lnTo>
                    <a:lnTo>
                      <a:pt x="18" y="10"/>
                    </a:lnTo>
                    <a:lnTo>
                      <a:pt x="18" y="12"/>
                    </a:lnTo>
                    <a:lnTo>
                      <a:pt x="16" y="16"/>
                    </a:lnTo>
                    <a:lnTo>
                      <a:pt x="16" y="18"/>
                    </a:lnTo>
                    <a:lnTo>
                      <a:pt x="16" y="22"/>
                    </a:lnTo>
                    <a:lnTo>
                      <a:pt x="14" y="28"/>
                    </a:lnTo>
                    <a:lnTo>
                      <a:pt x="14" y="30"/>
                    </a:lnTo>
                    <a:lnTo>
                      <a:pt x="14" y="34"/>
                    </a:lnTo>
                    <a:lnTo>
                      <a:pt x="12" y="36"/>
                    </a:lnTo>
                    <a:lnTo>
                      <a:pt x="12" y="38"/>
                    </a:lnTo>
                    <a:lnTo>
                      <a:pt x="12" y="38"/>
                    </a:lnTo>
                    <a:lnTo>
                      <a:pt x="10" y="40"/>
                    </a:lnTo>
                    <a:lnTo>
                      <a:pt x="10" y="40"/>
                    </a:lnTo>
                    <a:lnTo>
                      <a:pt x="6" y="42"/>
                    </a:lnTo>
                    <a:lnTo>
                      <a:pt x="4" y="44"/>
                    </a:lnTo>
                    <a:lnTo>
                      <a:pt x="4" y="44"/>
                    </a:lnTo>
                    <a:lnTo>
                      <a:pt x="2" y="46"/>
                    </a:lnTo>
                    <a:lnTo>
                      <a:pt x="2" y="46"/>
                    </a:lnTo>
                    <a:lnTo>
                      <a:pt x="2" y="46"/>
                    </a:lnTo>
                    <a:lnTo>
                      <a:pt x="2" y="48"/>
                    </a:lnTo>
                    <a:lnTo>
                      <a:pt x="0" y="50"/>
                    </a:lnTo>
                    <a:lnTo>
                      <a:pt x="0" y="52"/>
                    </a:lnTo>
                    <a:lnTo>
                      <a:pt x="0" y="54"/>
                    </a:lnTo>
                    <a:lnTo>
                      <a:pt x="0" y="58"/>
                    </a:lnTo>
                    <a:lnTo>
                      <a:pt x="2" y="60"/>
                    </a:lnTo>
                    <a:lnTo>
                      <a:pt x="2" y="62"/>
                    </a:lnTo>
                    <a:lnTo>
                      <a:pt x="2" y="64"/>
                    </a:lnTo>
                    <a:lnTo>
                      <a:pt x="2" y="66"/>
                    </a:lnTo>
                    <a:lnTo>
                      <a:pt x="4" y="66"/>
                    </a:lnTo>
                    <a:lnTo>
                      <a:pt x="4" y="68"/>
                    </a:lnTo>
                    <a:lnTo>
                      <a:pt x="4" y="68"/>
                    </a:lnTo>
                    <a:lnTo>
                      <a:pt x="4" y="68"/>
                    </a:lnTo>
                    <a:lnTo>
                      <a:pt x="6" y="68"/>
                    </a:lnTo>
                    <a:lnTo>
                      <a:pt x="8" y="68"/>
                    </a:lnTo>
                    <a:lnTo>
                      <a:pt x="10" y="68"/>
                    </a:lnTo>
                    <a:lnTo>
                      <a:pt x="12" y="68"/>
                    </a:lnTo>
                    <a:lnTo>
                      <a:pt x="14" y="70"/>
                    </a:lnTo>
                    <a:lnTo>
                      <a:pt x="16" y="70"/>
                    </a:lnTo>
                    <a:lnTo>
                      <a:pt x="16" y="70"/>
                    </a:lnTo>
                    <a:lnTo>
                      <a:pt x="16" y="72"/>
                    </a:lnTo>
                    <a:lnTo>
                      <a:pt x="18" y="74"/>
                    </a:lnTo>
                    <a:lnTo>
                      <a:pt x="18" y="76"/>
                    </a:lnTo>
                    <a:lnTo>
                      <a:pt x="20" y="76"/>
                    </a:lnTo>
                    <a:lnTo>
                      <a:pt x="20" y="78"/>
                    </a:lnTo>
                    <a:lnTo>
                      <a:pt x="20" y="78"/>
                    </a:lnTo>
                    <a:lnTo>
                      <a:pt x="22" y="78"/>
                    </a:lnTo>
                    <a:lnTo>
                      <a:pt x="22" y="78"/>
                    </a:lnTo>
                    <a:lnTo>
                      <a:pt x="22" y="78"/>
                    </a:lnTo>
                    <a:lnTo>
                      <a:pt x="24" y="78"/>
                    </a:lnTo>
                    <a:lnTo>
                      <a:pt x="26" y="78"/>
                    </a:lnTo>
                    <a:lnTo>
                      <a:pt x="28" y="78"/>
                    </a:lnTo>
                    <a:lnTo>
                      <a:pt x="32" y="78"/>
                    </a:lnTo>
                    <a:lnTo>
                      <a:pt x="36" y="78"/>
                    </a:lnTo>
                    <a:lnTo>
                      <a:pt x="40" y="76"/>
                    </a:lnTo>
                    <a:lnTo>
                      <a:pt x="42" y="76"/>
                    </a:lnTo>
                    <a:lnTo>
                      <a:pt x="44" y="76"/>
                    </a:lnTo>
                    <a:lnTo>
                      <a:pt x="46" y="74"/>
                    </a:lnTo>
                    <a:lnTo>
                      <a:pt x="48" y="74"/>
                    </a:lnTo>
                    <a:lnTo>
                      <a:pt x="50" y="74"/>
                    </a:lnTo>
                    <a:lnTo>
                      <a:pt x="50" y="74"/>
                    </a:lnTo>
                    <a:lnTo>
                      <a:pt x="50" y="72"/>
                    </a:lnTo>
                    <a:lnTo>
                      <a:pt x="52" y="72"/>
                    </a:lnTo>
                    <a:lnTo>
                      <a:pt x="52" y="72"/>
                    </a:lnTo>
                    <a:lnTo>
                      <a:pt x="52" y="70"/>
                    </a:lnTo>
                    <a:lnTo>
                      <a:pt x="52" y="68"/>
                    </a:lnTo>
                    <a:lnTo>
                      <a:pt x="52" y="68"/>
                    </a:lnTo>
                    <a:lnTo>
                      <a:pt x="50" y="66"/>
                    </a:lnTo>
                    <a:lnTo>
                      <a:pt x="50" y="62"/>
                    </a:lnTo>
                    <a:lnTo>
                      <a:pt x="48" y="56"/>
                    </a:lnTo>
                    <a:lnTo>
                      <a:pt x="46" y="54"/>
                    </a:lnTo>
                    <a:lnTo>
                      <a:pt x="46" y="52"/>
                    </a:lnTo>
                    <a:lnTo>
                      <a:pt x="46" y="52"/>
                    </a:lnTo>
                    <a:lnTo>
                      <a:pt x="46" y="50"/>
                    </a:lnTo>
                    <a:lnTo>
                      <a:pt x="46" y="48"/>
                    </a:lnTo>
                    <a:lnTo>
                      <a:pt x="48" y="46"/>
                    </a:lnTo>
                    <a:lnTo>
                      <a:pt x="48" y="42"/>
                    </a:lnTo>
                    <a:lnTo>
                      <a:pt x="48" y="40"/>
                    </a:lnTo>
                    <a:lnTo>
                      <a:pt x="48" y="38"/>
                    </a:lnTo>
                    <a:lnTo>
                      <a:pt x="48" y="36"/>
                    </a:lnTo>
                    <a:lnTo>
                      <a:pt x="48" y="34"/>
                    </a:lnTo>
                    <a:lnTo>
                      <a:pt x="48" y="30"/>
                    </a:lnTo>
                    <a:lnTo>
                      <a:pt x="48" y="28"/>
                    </a:lnTo>
                    <a:lnTo>
                      <a:pt x="48" y="26"/>
                    </a:lnTo>
                    <a:lnTo>
                      <a:pt x="48" y="24"/>
                    </a:lnTo>
                    <a:lnTo>
                      <a:pt x="46" y="20"/>
                    </a:lnTo>
                    <a:lnTo>
                      <a:pt x="44" y="14"/>
                    </a:lnTo>
                    <a:lnTo>
                      <a:pt x="44" y="10"/>
                    </a:lnTo>
                    <a:lnTo>
                      <a:pt x="42" y="6"/>
                    </a:lnTo>
                    <a:lnTo>
                      <a:pt x="42" y="4"/>
                    </a:lnTo>
                    <a:lnTo>
                      <a:pt x="42" y="4"/>
                    </a:lnTo>
                    <a:lnTo>
                      <a:pt x="40" y="2"/>
                    </a:lnTo>
                    <a:lnTo>
                      <a:pt x="40" y="2"/>
                    </a:lnTo>
                    <a:lnTo>
                      <a:pt x="38" y="0"/>
                    </a:lnTo>
                    <a:lnTo>
                      <a:pt x="36" y="0"/>
                    </a:lnTo>
                    <a:lnTo>
                      <a:pt x="34" y="0"/>
                    </a:lnTo>
                    <a:lnTo>
                      <a:pt x="32" y="0"/>
                    </a:lnTo>
                    <a:lnTo>
                      <a:pt x="30" y="0"/>
                    </a:lnTo>
                    <a:lnTo>
                      <a:pt x="28" y="0"/>
                    </a:lnTo>
                    <a:lnTo>
                      <a:pt x="26" y="0"/>
                    </a:lnTo>
                    <a:lnTo>
                      <a:pt x="26" y="0"/>
                    </a:lnTo>
                    <a:lnTo>
                      <a:pt x="24"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19" name="Freeform 102"/>
              <p:cNvSpPr>
                <a:spLocks/>
              </p:cNvSpPr>
              <p:nvPr/>
            </p:nvSpPr>
            <p:spPr bwMode="auto">
              <a:xfrm>
                <a:off x="7059903" y="4432467"/>
                <a:ext cx="47625" cy="38100"/>
              </a:xfrm>
              <a:custGeom>
                <a:avLst/>
                <a:gdLst>
                  <a:gd name="T0" fmla="*/ 18 w 30"/>
                  <a:gd name="T1" fmla="*/ 6 h 24"/>
                  <a:gd name="T2" fmla="*/ 18 w 30"/>
                  <a:gd name="T3" fmla="*/ 4 h 24"/>
                  <a:gd name="T4" fmla="*/ 16 w 30"/>
                  <a:gd name="T5" fmla="*/ 2 h 24"/>
                  <a:gd name="T6" fmla="*/ 14 w 30"/>
                  <a:gd name="T7" fmla="*/ 2 h 24"/>
                  <a:gd name="T8" fmla="*/ 8 w 30"/>
                  <a:gd name="T9" fmla="*/ 0 h 24"/>
                  <a:gd name="T10" fmla="*/ 6 w 30"/>
                  <a:gd name="T11" fmla="*/ 0 h 24"/>
                  <a:gd name="T12" fmla="*/ 4 w 30"/>
                  <a:gd name="T13" fmla="*/ 0 h 24"/>
                  <a:gd name="T14" fmla="*/ 2 w 30"/>
                  <a:gd name="T15" fmla="*/ 0 h 24"/>
                  <a:gd name="T16" fmla="*/ 2 w 30"/>
                  <a:gd name="T17" fmla="*/ 2 h 24"/>
                  <a:gd name="T18" fmla="*/ 0 w 30"/>
                  <a:gd name="T19" fmla="*/ 4 h 24"/>
                  <a:gd name="T20" fmla="*/ 0 w 30"/>
                  <a:gd name="T21" fmla="*/ 8 h 24"/>
                  <a:gd name="T22" fmla="*/ 2 w 30"/>
                  <a:gd name="T23" fmla="*/ 10 h 24"/>
                  <a:gd name="T24" fmla="*/ 2 w 30"/>
                  <a:gd name="T25" fmla="*/ 14 h 24"/>
                  <a:gd name="T26" fmla="*/ 4 w 30"/>
                  <a:gd name="T27" fmla="*/ 16 h 24"/>
                  <a:gd name="T28" fmla="*/ 6 w 30"/>
                  <a:gd name="T29" fmla="*/ 20 h 24"/>
                  <a:gd name="T30" fmla="*/ 8 w 30"/>
                  <a:gd name="T31" fmla="*/ 22 h 24"/>
                  <a:gd name="T32" fmla="*/ 12 w 30"/>
                  <a:gd name="T33" fmla="*/ 22 h 24"/>
                  <a:gd name="T34" fmla="*/ 14 w 30"/>
                  <a:gd name="T35" fmla="*/ 24 h 24"/>
                  <a:gd name="T36" fmla="*/ 20 w 30"/>
                  <a:gd name="T37" fmla="*/ 24 h 24"/>
                  <a:gd name="T38" fmla="*/ 22 w 30"/>
                  <a:gd name="T39" fmla="*/ 24 h 24"/>
                  <a:gd name="T40" fmla="*/ 26 w 30"/>
                  <a:gd name="T41" fmla="*/ 24 h 24"/>
                  <a:gd name="T42" fmla="*/ 28 w 30"/>
                  <a:gd name="T43" fmla="*/ 22 h 24"/>
                  <a:gd name="T44" fmla="*/ 28 w 30"/>
                  <a:gd name="T45" fmla="*/ 22 h 24"/>
                  <a:gd name="T46" fmla="*/ 30 w 30"/>
                  <a:gd name="T47" fmla="*/ 20 h 24"/>
                  <a:gd name="T48" fmla="*/ 30 w 30"/>
                  <a:gd name="T49" fmla="*/ 18 h 24"/>
                  <a:gd name="T50" fmla="*/ 28 w 30"/>
                  <a:gd name="T51" fmla="*/ 14 h 24"/>
                  <a:gd name="T52" fmla="*/ 28 w 30"/>
                  <a:gd name="T53" fmla="*/ 12 h 24"/>
                  <a:gd name="T54" fmla="*/ 26 w 30"/>
                  <a:gd name="T55" fmla="*/ 12 h 24"/>
                  <a:gd name="T56" fmla="*/ 22 w 30"/>
                  <a:gd name="T57" fmla="*/ 10 h 24"/>
                  <a:gd name="T58" fmla="*/ 20 w 30"/>
                  <a:gd name="T59" fmla="*/ 8 h 24"/>
                  <a:gd name="T60" fmla="*/ 18 w 30"/>
                  <a:gd name="T61" fmla="*/ 6 h 24"/>
                  <a:gd name="T62" fmla="*/ 18 w 30"/>
                  <a:gd name="T63"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24">
                    <a:moveTo>
                      <a:pt x="18" y="6"/>
                    </a:moveTo>
                    <a:lnTo>
                      <a:pt x="18" y="6"/>
                    </a:lnTo>
                    <a:lnTo>
                      <a:pt x="18" y="4"/>
                    </a:lnTo>
                    <a:lnTo>
                      <a:pt x="18" y="4"/>
                    </a:lnTo>
                    <a:lnTo>
                      <a:pt x="16" y="4"/>
                    </a:lnTo>
                    <a:lnTo>
                      <a:pt x="16" y="2"/>
                    </a:lnTo>
                    <a:lnTo>
                      <a:pt x="16" y="2"/>
                    </a:lnTo>
                    <a:lnTo>
                      <a:pt x="14" y="2"/>
                    </a:lnTo>
                    <a:lnTo>
                      <a:pt x="12" y="0"/>
                    </a:lnTo>
                    <a:lnTo>
                      <a:pt x="8" y="0"/>
                    </a:lnTo>
                    <a:lnTo>
                      <a:pt x="6" y="0"/>
                    </a:lnTo>
                    <a:lnTo>
                      <a:pt x="6" y="0"/>
                    </a:lnTo>
                    <a:lnTo>
                      <a:pt x="4" y="0"/>
                    </a:lnTo>
                    <a:lnTo>
                      <a:pt x="4" y="0"/>
                    </a:lnTo>
                    <a:lnTo>
                      <a:pt x="2" y="0"/>
                    </a:lnTo>
                    <a:lnTo>
                      <a:pt x="2" y="0"/>
                    </a:lnTo>
                    <a:lnTo>
                      <a:pt x="2" y="0"/>
                    </a:lnTo>
                    <a:lnTo>
                      <a:pt x="2" y="2"/>
                    </a:lnTo>
                    <a:lnTo>
                      <a:pt x="2" y="2"/>
                    </a:lnTo>
                    <a:lnTo>
                      <a:pt x="0" y="4"/>
                    </a:lnTo>
                    <a:lnTo>
                      <a:pt x="0" y="6"/>
                    </a:lnTo>
                    <a:lnTo>
                      <a:pt x="0" y="8"/>
                    </a:lnTo>
                    <a:lnTo>
                      <a:pt x="0" y="10"/>
                    </a:lnTo>
                    <a:lnTo>
                      <a:pt x="2" y="10"/>
                    </a:lnTo>
                    <a:lnTo>
                      <a:pt x="2" y="12"/>
                    </a:lnTo>
                    <a:lnTo>
                      <a:pt x="2" y="14"/>
                    </a:lnTo>
                    <a:lnTo>
                      <a:pt x="2" y="14"/>
                    </a:lnTo>
                    <a:lnTo>
                      <a:pt x="4" y="16"/>
                    </a:lnTo>
                    <a:lnTo>
                      <a:pt x="4" y="18"/>
                    </a:lnTo>
                    <a:lnTo>
                      <a:pt x="6" y="20"/>
                    </a:lnTo>
                    <a:lnTo>
                      <a:pt x="8" y="20"/>
                    </a:lnTo>
                    <a:lnTo>
                      <a:pt x="8" y="22"/>
                    </a:lnTo>
                    <a:lnTo>
                      <a:pt x="10" y="22"/>
                    </a:lnTo>
                    <a:lnTo>
                      <a:pt x="12" y="22"/>
                    </a:lnTo>
                    <a:lnTo>
                      <a:pt x="12" y="24"/>
                    </a:lnTo>
                    <a:lnTo>
                      <a:pt x="14" y="24"/>
                    </a:lnTo>
                    <a:lnTo>
                      <a:pt x="18" y="24"/>
                    </a:lnTo>
                    <a:lnTo>
                      <a:pt x="20" y="24"/>
                    </a:lnTo>
                    <a:lnTo>
                      <a:pt x="20" y="24"/>
                    </a:lnTo>
                    <a:lnTo>
                      <a:pt x="22" y="24"/>
                    </a:lnTo>
                    <a:lnTo>
                      <a:pt x="24" y="24"/>
                    </a:lnTo>
                    <a:lnTo>
                      <a:pt x="26" y="24"/>
                    </a:lnTo>
                    <a:lnTo>
                      <a:pt x="26" y="24"/>
                    </a:lnTo>
                    <a:lnTo>
                      <a:pt x="28" y="22"/>
                    </a:lnTo>
                    <a:lnTo>
                      <a:pt x="28" y="22"/>
                    </a:lnTo>
                    <a:lnTo>
                      <a:pt x="28" y="22"/>
                    </a:lnTo>
                    <a:lnTo>
                      <a:pt x="30" y="20"/>
                    </a:lnTo>
                    <a:lnTo>
                      <a:pt x="30" y="20"/>
                    </a:lnTo>
                    <a:lnTo>
                      <a:pt x="30" y="18"/>
                    </a:lnTo>
                    <a:lnTo>
                      <a:pt x="30" y="18"/>
                    </a:lnTo>
                    <a:lnTo>
                      <a:pt x="30" y="16"/>
                    </a:lnTo>
                    <a:lnTo>
                      <a:pt x="28" y="14"/>
                    </a:lnTo>
                    <a:lnTo>
                      <a:pt x="28" y="14"/>
                    </a:lnTo>
                    <a:lnTo>
                      <a:pt x="28" y="12"/>
                    </a:lnTo>
                    <a:lnTo>
                      <a:pt x="26" y="12"/>
                    </a:lnTo>
                    <a:lnTo>
                      <a:pt x="26" y="12"/>
                    </a:lnTo>
                    <a:lnTo>
                      <a:pt x="24" y="10"/>
                    </a:lnTo>
                    <a:lnTo>
                      <a:pt x="22" y="10"/>
                    </a:lnTo>
                    <a:lnTo>
                      <a:pt x="20" y="8"/>
                    </a:lnTo>
                    <a:lnTo>
                      <a:pt x="20" y="8"/>
                    </a:lnTo>
                    <a:lnTo>
                      <a:pt x="18" y="8"/>
                    </a:lnTo>
                    <a:lnTo>
                      <a:pt x="18" y="6"/>
                    </a:lnTo>
                    <a:lnTo>
                      <a:pt x="18" y="6"/>
                    </a:lnTo>
                    <a:lnTo>
                      <a:pt x="18" y="6"/>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20" name="Freeform 107"/>
              <p:cNvSpPr>
                <a:spLocks/>
              </p:cNvSpPr>
              <p:nvPr/>
            </p:nvSpPr>
            <p:spPr bwMode="auto">
              <a:xfrm>
                <a:off x="7123403" y="4419767"/>
                <a:ext cx="50800" cy="38100"/>
              </a:xfrm>
              <a:custGeom>
                <a:avLst/>
                <a:gdLst>
                  <a:gd name="T0" fmla="*/ 2 w 32"/>
                  <a:gd name="T1" fmla="*/ 2 h 24"/>
                  <a:gd name="T2" fmla="*/ 2 w 32"/>
                  <a:gd name="T3" fmla="*/ 2 h 24"/>
                  <a:gd name="T4" fmla="*/ 2 w 32"/>
                  <a:gd name="T5" fmla="*/ 4 h 24"/>
                  <a:gd name="T6" fmla="*/ 2 w 32"/>
                  <a:gd name="T7" fmla="*/ 6 h 24"/>
                  <a:gd name="T8" fmla="*/ 2 w 32"/>
                  <a:gd name="T9" fmla="*/ 8 h 24"/>
                  <a:gd name="T10" fmla="*/ 2 w 32"/>
                  <a:gd name="T11" fmla="*/ 10 h 24"/>
                  <a:gd name="T12" fmla="*/ 0 w 32"/>
                  <a:gd name="T13" fmla="*/ 12 h 24"/>
                  <a:gd name="T14" fmla="*/ 0 w 32"/>
                  <a:gd name="T15" fmla="*/ 14 h 24"/>
                  <a:gd name="T16" fmla="*/ 2 w 32"/>
                  <a:gd name="T17" fmla="*/ 14 h 24"/>
                  <a:gd name="T18" fmla="*/ 2 w 32"/>
                  <a:gd name="T19" fmla="*/ 14 h 24"/>
                  <a:gd name="T20" fmla="*/ 2 w 32"/>
                  <a:gd name="T21" fmla="*/ 16 h 24"/>
                  <a:gd name="T22" fmla="*/ 4 w 32"/>
                  <a:gd name="T23" fmla="*/ 16 h 24"/>
                  <a:gd name="T24" fmla="*/ 4 w 32"/>
                  <a:gd name="T25" fmla="*/ 18 h 24"/>
                  <a:gd name="T26" fmla="*/ 6 w 32"/>
                  <a:gd name="T27" fmla="*/ 18 h 24"/>
                  <a:gd name="T28" fmla="*/ 8 w 32"/>
                  <a:gd name="T29" fmla="*/ 20 h 24"/>
                  <a:gd name="T30" fmla="*/ 12 w 32"/>
                  <a:gd name="T31" fmla="*/ 20 h 24"/>
                  <a:gd name="T32" fmla="*/ 16 w 32"/>
                  <a:gd name="T33" fmla="*/ 22 h 24"/>
                  <a:gd name="T34" fmla="*/ 18 w 32"/>
                  <a:gd name="T35" fmla="*/ 22 h 24"/>
                  <a:gd name="T36" fmla="*/ 22 w 32"/>
                  <a:gd name="T37" fmla="*/ 22 h 24"/>
                  <a:gd name="T38" fmla="*/ 24 w 32"/>
                  <a:gd name="T39" fmla="*/ 24 h 24"/>
                  <a:gd name="T40" fmla="*/ 26 w 32"/>
                  <a:gd name="T41" fmla="*/ 24 h 24"/>
                  <a:gd name="T42" fmla="*/ 26 w 32"/>
                  <a:gd name="T43" fmla="*/ 24 h 24"/>
                  <a:gd name="T44" fmla="*/ 28 w 32"/>
                  <a:gd name="T45" fmla="*/ 22 h 24"/>
                  <a:gd name="T46" fmla="*/ 28 w 32"/>
                  <a:gd name="T47" fmla="*/ 22 h 24"/>
                  <a:gd name="T48" fmla="*/ 30 w 32"/>
                  <a:gd name="T49" fmla="*/ 22 h 24"/>
                  <a:gd name="T50" fmla="*/ 30 w 32"/>
                  <a:gd name="T51" fmla="*/ 22 h 24"/>
                  <a:gd name="T52" fmla="*/ 32 w 32"/>
                  <a:gd name="T53" fmla="*/ 22 h 24"/>
                  <a:gd name="T54" fmla="*/ 32 w 32"/>
                  <a:gd name="T55" fmla="*/ 20 h 24"/>
                  <a:gd name="T56" fmla="*/ 32 w 32"/>
                  <a:gd name="T57" fmla="*/ 20 h 24"/>
                  <a:gd name="T58" fmla="*/ 32 w 32"/>
                  <a:gd name="T59" fmla="*/ 18 h 24"/>
                  <a:gd name="T60" fmla="*/ 32 w 32"/>
                  <a:gd name="T61" fmla="*/ 16 h 24"/>
                  <a:gd name="T62" fmla="*/ 32 w 32"/>
                  <a:gd name="T63" fmla="*/ 14 h 24"/>
                  <a:gd name="T64" fmla="*/ 32 w 32"/>
                  <a:gd name="T65" fmla="*/ 12 h 24"/>
                  <a:gd name="T66" fmla="*/ 32 w 32"/>
                  <a:gd name="T67" fmla="*/ 10 h 24"/>
                  <a:gd name="T68" fmla="*/ 30 w 32"/>
                  <a:gd name="T69" fmla="*/ 10 h 24"/>
                  <a:gd name="T70" fmla="*/ 30 w 32"/>
                  <a:gd name="T71" fmla="*/ 8 h 24"/>
                  <a:gd name="T72" fmla="*/ 30 w 32"/>
                  <a:gd name="T73" fmla="*/ 8 h 24"/>
                  <a:gd name="T74" fmla="*/ 28 w 32"/>
                  <a:gd name="T75" fmla="*/ 6 h 24"/>
                  <a:gd name="T76" fmla="*/ 26 w 32"/>
                  <a:gd name="T77" fmla="*/ 4 h 24"/>
                  <a:gd name="T78" fmla="*/ 24 w 32"/>
                  <a:gd name="T79" fmla="*/ 4 h 24"/>
                  <a:gd name="T80" fmla="*/ 22 w 32"/>
                  <a:gd name="T81" fmla="*/ 2 h 24"/>
                  <a:gd name="T82" fmla="*/ 20 w 32"/>
                  <a:gd name="T83" fmla="*/ 0 h 24"/>
                  <a:gd name="T84" fmla="*/ 18 w 32"/>
                  <a:gd name="T85" fmla="*/ 0 h 24"/>
                  <a:gd name="T86" fmla="*/ 16 w 32"/>
                  <a:gd name="T87" fmla="*/ 0 h 24"/>
                  <a:gd name="T88" fmla="*/ 14 w 32"/>
                  <a:gd name="T89" fmla="*/ 0 h 24"/>
                  <a:gd name="T90" fmla="*/ 12 w 32"/>
                  <a:gd name="T91" fmla="*/ 0 h 24"/>
                  <a:gd name="T92" fmla="*/ 10 w 32"/>
                  <a:gd name="T93" fmla="*/ 0 h 24"/>
                  <a:gd name="T94" fmla="*/ 8 w 32"/>
                  <a:gd name="T95" fmla="*/ 0 h 24"/>
                  <a:gd name="T96" fmla="*/ 6 w 32"/>
                  <a:gd name="T97" fmla="*/ 0 h 24"/>
                  <a:gd name="T98" fmla="*/ 4 w 32"/>
                  <a:gd name="T99" fmla="*/ 0 h 24"/>
                  <a:gd name="T100" fmla="*/ 4 w 32"/>
                  <a:gd name="T101" fmla="*/ 0 h 24"/>
                  <a:gd name="T102" fmla="*/ 4 w 32"/>
                  <a:gd name="T103" fmla="*/ 0 h 24"/>
                  <a:gd name="T104" fmla="*/ 4 w 32"/>
                  <a:gd name="T105" fmla="*/ 2 h 24"/>
                  <a:gd name="T106" fmla="*/ 2 w 32"/>
                  <a:gd name="T107" fmla="*/ 2 h 24"/>
                  <a:gd name="T108" fmla="*/ 2 w 32"/>
                  <a:gd name="T10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4">
                    <a:moveTo>
                      <a:pt x="2" y="2"/>
                    </a:moveTo>
                    <a:lnTo>
                      <a:pt x="2" y="2"/>
                    </a:lnTo>
                    <a:lnTo>
                      <a:pt x="2" y="4"/>
                    </a:lnTo>
                    <a:lnTo>
                      <a:pt x="2" y="6"/>
                    </a:lnTo>
                    <a:lnTo>
                      <a:pt x="2" y="8"/>
                    </a:lnTo>
                    <a:lnTo>
                      <a:pt x="2" y="10"/>
                    </a:lnTo>
                    <a:lnTo>
                      <a:pt x="0" y="12"/>
                    </a:lnTo>
                    <a:lnTo>
                      <a:pt x="0" y="14"/>
                    </a:lnTo>
                    <a:lnTo>
                      <a:pt x="2" y="14"/>
                    </a:lnTo>
                    <a:lnTo>
                      <a:pt x="2" y="14"/>
                    </a:lnTo>
                    <a:lnTo>
                      <a:pt x="2" y="16"/>
                    </a:lnTo>
                    <a:lnTo>
                      <a:pt x="4" y="16"/>
                    </a:lnTo>
                    <a:lnTo>
                      <a:pt x="4" y="18"/>
                    </a:lnTo>
                    <a:lnTo>
                      <a:pt x="6" y="18"/>
                    </a:lnTo>
                    <a:lnTo>
                      <a:pt x="8" y="20"/>
                    </a:lnTo>
                    <a:lnTo>
                      <a:pt x="12" y="20"/>
                    </a:lnTo>
                    <a:lnTo>
                      <a:pt x="16" y="22"/>
                    </a:lnTo>
                    <a:lnTo>
                      <a:pt x="18" y="22"/>
                    </a:lnTo>
                    <a:lnTo>
                      <a:pt x="22" y="22"/>
                    </a:lnTo>
                    <a:lnTo>
                      <a:pt x="24" y="24"/>
                    </a:lnTo>
                    <a:lnTo>
                      <a:pt x="26" y="24"/>
                    </a:lnTo>
                    <a:lnTo>
                      <a:pt x="26" y="24"/>
                    </a:lnTo>
                    <a:lnTo>
                      <a:pt x="28" y="22"/>
                    </a:lnTo>
                    <a:lnTo>
                      <a:pt x="28" y="22"/>
                    </a:lnTo>
                    <a:lnTo>
                      <a:pt x="30" y="22"/>
                    </a:lnTo>
                    <a:lnTo>
                      <a:pt x="30" y="22"/>
                    </a:lnTo>
                    <a:lnTo>
                      <a:pt x="32" y="22"/>
                    </a:lnTo>
                    <a:lnTo>
                      <a:pt x="32" y="20"/>
                    </a:lnTo>
                    <a:lnTo>
                      <a:pt x="32" y="20"/>
                    </a:lnTo>
                    <a:lnTo>
                      <a:pt x="32" y="18"/>
                    </a:lnTo>
                    <a:lnTo>
                      <a:pt x="32" y="16"/>
                    </a:lnTo>
                    <a:lnTo>
                      <a:pt x="32" y="14"/>
                    </a:lnTo>
                    <a:lnTo>
                      <a:pt x="32" y="12"/>
                    </a:lnTo>
                    <a:lnTo>
                      <a:pt x="32" y="10"/>
                    </a:lnTo>
                    <a:lnTo>
                      <a:pt x="30" y="10"/>
                    </a:lnTo>
                    <a:lnTo>
                      <a:pt x="30" y="8"/>
                    </a:lnTo>
                    <a:lnTo>
                      <a:pt x="30" y="8"/>
                    </a:lnTo>
                    <a:lnTo>
                      <a:pt x="28" y="6"/>
                    </a:lnTo>
                    <a:lnTo>
                      <a:pt x="26" y="4"/>
                    </a:lnTo>
                    <a:lnTo>
                      <a:pt x="24" y="4"/>
                    </a:lnTo>
                    <a:lnTo>
                      <a:pt x="22" y="2"/>
                    </a:lnTo>
                    <a:lnTo>
                      <a:pt x="20" y="0"/>
                    </a:lnTo>
                    <a:lnTo>
                      <a:pt x="18" y="0"/>
                    </a:lnTo>
                    <a:lnTo>
                      <a:pt x="16" y="0"/>
                    </a:lnTo>
                    <a:lnTo>
                      <a:pt x="14" y="0"/>
                    </a:lnTo>
                    <a:lnTo>
                      <a:pt x="12" y="0"/>
                    </a:lnTo>
                    <a:lnTo>
                      <a:pt x="10" y="0"/>
                    </a:lnTo>
                    <a:lnTo>
                      <a:pt x="8" y="0"/>
                    </a:lnTo>
                    <a:lnTo>
                      <a:pt x="6" y="0"/>
                    </a:lnTo>
                    <a:lnTo>
                      <a:pt x="4" y="0"/>
                    </a:lnTo>
                    <a:lnTo>
                      <a:pt x="4" y="0"/>
                    </a:lnTo>
                    <a:lnTo>
                      <a:pt x="4" y="0"/>
                    </a:lnTo>
                    <a:lnTo>
                      <a:pt x="4" y="2"/>
                    </a:lnTo>
                    <a:lnTo>
                      <a:pt x="2" y="2"/>
                    </a:lnTo>
                    <a:lnTo>
                      <a:pt x="2" y="2"/>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21" name="Freeform 112"/>
              <p:cNvSpPr>
                <a:spLocks/>
              </p:cNvSpPr>
              <p:nvPr/>
            </p:nvSpPr>
            <p:spPr bwMode="auto">
              <a:xfrm>
                <a:off x="7117053" y="4476917"/>
                <a:ext cx="31750" cy="31750"/>
              </a:xfrm>
              <a:custGeom>
                <a:avLst/>
                <a:gdLst>
                  <a:gd name="T0" fmla="*/ 4 w 20"/>
                  <a:gd name="T1" fmla="*/ 0 h 20"/>
                  <a:gd name="T2" fmla="*/ 4 w 20"/>
                  <a:gd name="T3" fmla="*/ 0 h 20"/>
                  <a:gd name="T4" fmla="*/ 4 w 20"/>
                  <a:gd name="T5" fmla="*/ 2 h 20"/>
                  <a:gd name="T6" fmla="*/ 4 w 20"/>
                  <a:gd name="T7" fmla="*/ 4 h 20"/>
                  <a:gd name="T8" fmla="*/ 2 w 20"/>
                  <a:gd name="T9" fmla="*/ 6 h 20"/>
                  <a:gd name="T10" fmla="*/ 0 w 20"/>
                  <a:gd name="T11" fmla="*/ 8 h 20"/>
                  <a:gd name="T12" fmla="*/ 0 w 20"/>
                  <a:gd name="T13" fmla="*/ 10 h 20"/>
                  <a:gd name="T14" fmla="*/ 0 w 20"/>
                  <a:gd name="T15" fmla="*/ 10 h 20"/>
                  <a:gd name="T16" fmla="*/ 0 w 20"/>
                  <a:gd name="T17" fmla="*/ 12 h 20"/>
                  <a:gd name="T18" fmla="*/ 0 w 20"/>
                  <a:gd name="T19" fmla="*/ 12 h 20"/>
                  <a:gd name="T20" fmla="*/ 0 w 20"/>
                  <a:gd name="T21" fmla="*/ 12 h 20"/>
                  <a:gd name="T22" fmla="*/ 0 w 20"/>
                  <a:gd name="T23" fmla="*/ 14 h 20"/>
                  <a:gd name="T24" fmla="*/ 0 w 20"/>
                  <a:gd name="T25" fmla="*/ 16 h 20"/>
                  <a:gd name="T26" fmla="*/ 2 w 20"/>
                  <a:gd name="T27" fmla="*/ 16 h 20"/>
                  <a:gd name="T28" fmla="*/ 2 w 20"/>
                  <a:gd name="T29" fmla="*/ 18 h 20"/>
                  <a:gd name="T30" fmla="*/ 2 w 20"/>
                  <a:gd name="T31" fmla="*/ 20 h 20"/>
                  <a:gd name="T32" fmla="*/ 4 w 20"/>
                  <a:gd name="T33" fmla="*/ 20 h 20"/>
                  <a:gd name="T34" fmla="*/ 4 w 20"/>
                  <a:gd name="T35" fmla="*/ 20 h 20"/>
                  <a:gd name="T36" fmla="*/ 6 w 20"/>
                  <a:gd name="T37" fmla="*/ 20 h 20"/>
                  <a:gd name="T38" fmla="*/ 6 w 20"/>
                  <a:gd name="T39" fmla="*/ 20 h 20"/>
                  <a:gd name="T40" fmla="*/ 8 w 20"/>
                  <a:gd name="T41" fmla="*/ 20 h 20"/>
                  <a:gd name="T42" fmla="*/ 10 w 20"/>
                  <a:gd name="T43" fmla="*/ 20 h 20"/>
                  <a:gd name="T44" fmla="*/ 12 w 20"/>
                  <a:gd name="T45" fmla="*/ 20 h 20"/>
                  <a:gd name="T46" fmla="*/ 16 w 20"/>
                  <a:gd name="T47" fmla="*/ 20 h 20"/>
                  <a:gd name="T48" fmla="*/ 16 w 20"/>
                  <a:gd name="T49" fmla="*/ 18 h 20"/>
                  <a:gd name="T50" fmla="*/ 18 w 20"/>
                  <a:gd name="T51" fmla="*/ 18 h 20"/>
                  <a:gd name="T52" fmla="*/ 18 w 20"/>
                  <a:gd name="T53" fmla="*/ 16 h 20"/>
                  <a:gd name="T54" fmla="*/ 20 w 20"/>
                  <a:gd name="T55" fmla="*/ 16 h 20"/>
                  <a:gd name="T56" fmla="*/ 20 w 20"/>
                  <a:gd name="T57" fmla="*/ 16 h 20"/>
                  <a:gd name="T58" fmla="*/ 20 w 20"/>
                  <a:gd name="T59" fmla="*/ 16 h 20"/>
                  <a:gd name="T60" fmla="*/ 20 w 20"/>
                  <a:gd name="T61" fmla="*/ 14 h 20"/>
                  <a:gd name="T62" fmla="*/ 20 w 20"/>
                  <a:gd name="T63" fmla="*/ 14 h 20"/>
                  <a:gd name="T64" fmla="*/ 20 w 20"/>
                  <a:gd name="T65" fmla="*/ 12 h 20"/>
                  <a:gd name="T66" fmla="*/ 18 w 20"/>
                  <a:gd name="T67" fmla="*/ 10 h 20"/>
                  <a:gd name="T68" fmla="*/ 18 w 20"/>
                  <a:gd name="T69" fmla="*/ 8 h 20"/>
                  <a:gd name="T70" fmla="*/ 18 w 20"/>
                  <a:gd name="T71" fmla="*/ 6 h 20"/>
                  <a:gd name="T72" fmla="*/ 16 w 20"/>
                  <a:gd name="T73" fmla="*/ 6 h 20"/>
                  <a:gd name="T74" fmla="*/ 16 w 20"/>
                  <a:gd name="T75" fmla="*/ 4 h 20"/>
                  <a:gd name="T76" fmla="*/ 16 w 20"/>
                  <a:gd name="T77" fmla="*/ 4 h 20"/>
                  <a:gd name="T78" fmla="*/ 14 w 20"/>
                  <a:gd name="T79" fmla="*/ 4 h 20"/>
                  <a:gd name="T80" fmla="*/ 12 w 20"/>
                  <a:gd name="T81" fmla="*/ 4 h 20"/>
                  <a:gd name="T82" fmla="*/ 12 w 20"/>
                  <a:gd name="T83" fmla="*/ 4 h 20"/>
                  <a:gd name="T84" fmla="*/ 10 w 20"/>
                  <a:gd name="T85" fmla="*/ 2 h 20"/>
                  <a:gd name="T86" fmla="*/ 8 w 20"/>
                  <a:gd name="T87" fmla="*/ 2 h 20"/>
                  <a:gd name="T88" fmla="*/ 6 w 20"/>
                  <a:gd name="T89" fmla="*/ 2 h 20"/>
                  <a:gd name="T90" fmla="*/ 4 w 20"/>
                  <a:gd name="T91" fmla="*/ 2 h 20"/>
                  <a:gd name="T92" fmla="*/ 4 w 20"/>
                  <a:gd name="T93" fmla="*/ 2 h 20"/>
                  <a:gd name="T94" fmla="*/ 4 w 20"/>
                  <a:gd name="T95" fmla="*/ 2 h 20"/>
                  <a:gd name="T96" fmla="*/ 4 w 20"/>
                  <a:gd name="T9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 h="20">
                    <a:moveTo>
                      <a:pt x="4" y="0"/>
                    </a:moveTo>
                    <a:lnTo>
                      <a:pt x="4" y="0"/>
                    </a:lnTo>
                    <a:lnTo>
                      <a:pt x="4" y="2"/>
                    </a:lnTo>
                    <a:lnTo>
                      <a:pt x="4" y="4"/>
                    </a:lnTo>
                    <a:lnTo>
                      <a:pt x="2" y="6"/>
                    </a:lnTo>
                    <a:lnTo>
                      <a:pt x="0" y="8"/>
                    </a:lnTo>
                    <a:lnTo>
                      <a:pt x="0" y="10"/>
                    </a:lnTo>
                    <a:lnTo>
                      <a:pt x="0" y="10"/>
                    </a:lnTo>
                    <a:lnTo>
                      <a:pt x="0" y="12"/>
                    </a:lnTo>
                    <a:lnTo>
                      <a:pt x="0" y="12"/>
                    </a:lnTo>
                    <a:lnTo>
                      <a:pt x="0" y="12"/>
                    </a:lnTo>
                    <a:lnTo>
                      <a:pt x="0" y="14"/>
                    </a:lnTo>
                    <a:lnTo>
                      <a:pt x="0" y="16"/>
                    </a:lnTo>
                    <a:lnTo>
                      <a:pt x="2" y="16"/>
                    </a:lnTo>
                    <a:lnTo>
                      <a:pt x="2" y="18"/>
                    </a:lnTo>
                    <a:lnTo>
                      <a:pt x="2" y="20"/>
                    </a:lnTo>
                    <a:lnTo>
                      <a:pt x="4" y="20"/>
                    </a:lnTo>
                    <a:lnTo>
                      <a:pt x="4" y="20"/>
                    </a:lnTo>
                    <a:lnTo>
                      <a:pt x="6" y="20"/>
                    </a:lnTo>
                    <a:lnTo>
                      <a:pt x="6" y="20"/>
                    </a:lnTo>
                    <a:lnTo>
                      <a:pt x="8" y="20"/>
                    </a:lnTo>
                    <a:lnTo>
                      <a:pt x="10" y="20"/>
                    </a:lnTo>
                    <a:lnTo>
                      <a:pt x="12" y="20"/>
                    </a:lnTo>
                    <a:lnTo>
                      <a:pt x="16" y="20"/>
                    </a:lnTo>
                    <a:lnTo>
                      <a:pt x="16" y="18"/>
                    </a:lnTo>
                    <a:lnTo>
                      <a:pt x="18" y="18"/>
                    </a:lnTo>
                    <a:lnTo>
                      <a:pt x="18" y="16"/>
                    </a:lnTo>
                    <a:lnTo>
                      <a:pt x="20" y="16"/>
                    </a:lnTo>
                    <a:lnTo>
                      <a:pt x="20" y="16"/>
                    </a:lnTo>
                    <a:lnTo>
                      <a:pt x="20" y="16"/>
                    </a:lnTo>
                    <a:lnTo>
                      <a:pt x="20" y="14"/>
                    </a:lnTo>
                    <a:lnTo>
                      <a:pt x="20" y="14"/>
                    </a:lnTo>
                    <a:lnTo>
                      <a:pt x="20" y="12"/>
                    </a:lnTo>
                    <a:lnTo>
                      <a:pt x="18" y="10"/>
                    </a:lnTo>
                    <a:lnTo>
                      <a:pt x="18" y="8"/>
                    </a:lnTo>
                    <a:lnTo>
                      <a:pt x="18" y="6"/>
                    </a:lnTo>
                    <a:lnTo>
                      <a:pt x="16" y="6"/>
                    </a:lnTo>
                    <a:lnTo>
                      <a:pt x="16" y="4"/>
                    </a:lnTo>
                    <a:lnTo>
                      <a:pt x="16" y="4"/>
                    </a:lnTo>
                    <a:lnTo>
                      <a:pt x="14" y="4"/>
                    </a:lnTo>
                    <a:lnTo>
                      <a:pt x="12" y="4"/>
                    </a:lnTo>
                    <a:lnTo>
                      <a:pt x="12" y="4"/>
                    </a:lnTo>
                    <a:lnTo>
                      <a:pt x="10" y="2"/>
                    </a:lnTo>
                    <a:lnTo>
                      <a:pt x="8" y="2"/>
                    </a:lnTo>
                    <a:lnTo>
                      <a:pt x="6" y="2"/>
                    </a:lnTo>
                    <a:lnTo>
                      <a:pt x="4" y="2"/>
                    </a:lnTo>
                    <a:lnTo>
                      <a:pt x="4" y="2"/>
                    </a:lnTo>
                    <a:lnTo>
                      <a:pt x="4" y="2"/>
                    </a:lnTo>
                    <a:lnTo>
                      <a:pt x="4"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22" name="Freeform 114"/>
              <p:cNvSpPr>
                <a:spLocks/>
              </p:cNvSpPr>
              <p:nvPr/>
            </p:nvSpPr>
            <p:spPr bwMode="auto">
              <a:xfrm>
                <a:off x="7177378" y="4470567"/>
                <a:ext cx="28575" cy="22225"/>
              </a:xfrm>
              <a:custGeom>
                <a:avLst/>
                <a:gdLst>
                  <a:gd name="T0" fmla="*/ 0 w 18"/>
                  <a:gd name="T1" fmla="*/ 6 h 14"/>
                  <a:gd name="T2" fmla="*/ 0 w 18"/>
                  <a:gd name="T3" fmla="*/ 6 h 14"/>
                  <a:gd name="T4" fmla="*/ 0 w 18"/>
                  <a:gd name="T5" fmla="*/ 6 h 14"/>
                  <a:gd name="T6" fmla="*/ 0 w 18"/>
                  <a:gd name="T7" fmla="*/ 8 h 14"/>
                  <a:gd name="T8" fmla="*/ 0 w 18"/>
                  <a:gd name="T9" fmla="*/ 8 h 14"/>
                  <a:gd name="T10" fmla="*/ 0 w 18"/>
                  <a:gd name="T11" fmla="*/ 10 h 14"/>
                  <a:gd name="T12" fmla="*/ 0 w 18"/>
                  <a:gd name="T13" fmla="*/ 10 h 14"/>
                  <a:gd name="T14" fmla="*/ 0 w 18"/>
                  <a:gd name="T15" fmla="*/ 12 h 14"/>
                  <a:gd name="T16" fmla="*/ 2 w 18"/>
                  <a:gd name="T17" fmla="*/ 12 h 14"/>
                  <a:gd name="T18" fmla="*/ 2 w 18"/>
                  <a:gd name="T19" fmla="*/ 14 h 14"/>
                  <a:gd name="T20" fmla="*/ 2 w 18"/>
                  <a:gd name="T21" fmla="*/ 14 h 14"/>
                  <a:gd name="T22" fmla="*/ 4 w 18"/>
                  <a:gd name="T23" fmla="*/ 14 h 14"/>
                  <a:gd name="T24" fmla="*/ 4 w 18"/>
                  <a:gd name="T25" fmla="*/ 14 h 14"/>
                  <a:gd name="T26" fmla="*/ 6 w 18"/>
                  <a:gd name="T27" fmla="*/ 14 h 14"/>
                  <a:gd name="T28" fmla="*/ 8 w 18"/>
                  <a:gd name="T29" fmla="*/ 14 h 14"/>
                  <a:gd name="T30" fmla="*/ 10 w 18"/>
                  <a:gd name="T31" fmla="*/ 14 h 14"/>
                  <a:gd name="T32" fmla="*/ 12 w 18"/>
                  <a:gd name="T33" fmla="*/ 12 h 14"/>
                  <a:gd name="T34" fmla="*/ 14 w 18"/>
                  <a:gd name="T35" fmla="*/ 12 h 14"/>
                  <a:gd name="T36" fmla="*/ 16 w 18"/>
                  <a:gd name="T37" fmla="*/ 12 h 14"/>
                  <a:gd name="T38" fmla="*/ 16 w 18"/>
                  <a:gd name="T39" fmla="*/ 10 h 14"/>
                  <a:gd name="T40" fmla="*/ 16 w 18"/>
                  <a:gd name="T41" fmla="*/ 10 h 14"/>
                  <a:gd name="T42" fmla="*/ 16 w 18"/>
                  <a:gd name="T43" fmla="*/ 10 h 14"/>
                  <a:gd name="T44" fmla="*/ 18 w 18"/>
                  <a:gd name="T45" fmla="*/ 8 h 14"/>
                  <a:gd name="T46" fmla="*/ 18 w 18"/>
                  <a:gd name="T47" fmla="*/ 6 h 14"/>
                  <a:gd name="T48" fmla="*/ 18 w 18"/>
                  <a:gd name="T49" fmla="*/ 6 h 14"/>
                  <a:gd name="T50" fmla="*/ 18 w 18"/>
                  <a:gd name="T51" fmla="*/ 4 h 14"/>
                  <a:gd name="T52" fmla="*/ 18 w 18"/>
                  <a:gd name="T53" fmla="*/ 4 h 14"/>
                  <a:gd name="T54" fmla="*/ 18 w 18"/>
                  <a:gd name="T55" fmla="*/ 2 h 14"/>
                  <a:gd name="T56" fmla="*/ 18 w 18"/>
                  <a:gd name="T57" fmla="*/ 2 h 14"/>
                  <a:gd name="T58" fmla="*/ 18 w 18"/>
                  <a:gd name="T59" fmla="*/ 2 h 14"/>
                  <a:gd name="T60" fmla="*/ 18 w 18"/>
                  <a:gd name="T61" fmla="*/ 2 h 14"/>
                  <a:gd name="T62" fmla="*/ 16 w 18"/>
                  <a:gd name="T63" fmla="*/ 0 h 14"/>
                  <a:gd name="T64" fmla="*/ 16 w 18"/>
                  <a:gd name="T65" fmla="*/ 0 h 14"/>
                  <a:gd name="T66" fmla="*/ 14 w 18"/>
                  <a:gd name="T67" fmla="*/ 0 h 14"/>
                  <a:gd name="T68" fmla="*/ 12 w 18"/>
                  <a:gd name="T69" fmla="*/ 0 h 14"/>
                  <a:gd name="T70" fmla="*/ 10 w 18"/>
                  <a:gd name="T71" fmla="*/ 2 h 14"/>
                  <a:gd name="T72" fmla="*/ 8 w 18"/>
                  <a:gd name="T73" fmla="*/ 2 h 14"/>
                  <a:gd name="T74" fmla="*/ 6 w 18"/>
                  <a:gd name="T75" fmla="*/ 2 h 14"/>
                  <a:gd name="T76" fmla="*/ 2 w 18"/>
                  <a:gd name="T77" fmla="*/ 2 h 14"/>
                  <a:gd name="T78" fmla="*/ 2 w 18"/>
                  <a:gd name="T79" fmla="*/ 4 h 14"/>
                  <a:gd name="T80" fmla="*/ 0 w 18"/>
                  <a:gd name="T81" fmla="*/ 4 h 14"/>
                  <a:gd name="T82" fmla="*/ 0 w 18"/>
                  <a:gd name="T83" fmla="*/ 4 h 14"/>
                  <a:gd name="T84" fmla="*/ 0 w 18"/>
                  <a:gd name="T8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14">
                    <a:moveTo>
                      <a:pt x="0" y="6"/>
                    </a:moveTo>
                    <a:lnTo>
                      <a:pt x="0" y="6"/>
                    </a:lnTo>
                    <a:lnTo>
                      <a:pt x="0" y="6"/>
                    </a:lnTo>
                    <a:lnTo>
                      <a:pt x="0" y="8"/>
                    </a:lnTo>
                    <a:lnTo>
                      <a:pt x="0" y="8"/>
                    </a:lnTo>
                    <a:lnTo>
                      <a:pt x="0" y="10"/>
                    </a:lnTo>
                    <a:lnTo>
                      <a:pt x="0" y="10"/>
                    </a:lnTo>
                    <a:lnTo>
                      <a:pt x="0" y="12"/>
                    </a:lnTo>
                    <a:lnTo>
                      <a:pt x="2" y="12"/>
                    </a:lnTo>
                    <a:lnTo>
                      <a:pt x="2" y="14"/>
                    </a:lnTo>
                    <a:lnTo>
                      <a:pt x="2" y="14"/>
                    </a:lnTo>
                    <a:lnTo>
                      <a:pt x="4" y="14"/>
                    </a:lnTo>
                    <a:lnTo>
                      <a:pt x="4" y="14"/>
                    </a:lnTo>
                    <a:lnTo>
                      <a:pt x="6" y="14"/>
                    </a:lnTo>
                    <a:lnTo>
                      <a:pt x="8" y="14"/>
                    </a:lnTo>
                    <a:lnTo>
                      <a:pt x="10" y="14"/>
                    </a:lnTo>
                    <a:lnTo>
                      <a:pt x="12" y="12"/>
                    </a:lnTo>
                    <a:lnTo>
                      <a:pt x="14" y="12"/>
                    </a:lnTo>
                    <a:lnTo>
                      <a:pt x="16" y="12"/>
                    </a:lnTo>
                    <a:lnTo>
                      <a:pt x="16" y="10"/>
                    </a:lnTo>
                    <a:lnTo>
                      <a:pt x="16" y="10"/>
                    </a:lnTo>
                    <a:lnTo>
                      <a:pt x="16" y="10"/>
                    </a:lnTo>
                    <a:lnTo>
                      <a:pt x="18" y="8"/>
                    </a:lnTo>
                    <a:lnTo>
                      <a:pt x="18" y="6"/>
                    </a:lnTo>
                    <a:lnTo>
                      <a:pt x="18" y="6"/>
                    </a:lnTo>
                    <a:lnTo>
                      <a:pt x="18" y="4"/>
                    </a:lnTo>
                    <a:lnTo>
                      <a:pt x="18" y="4"/>
                    </a:lnTo>
                    <a:lnTo>
                      <a:pt x="18" y="2"/>
                    </a:lnTo>
                    <a:lnTo>
                      <a:pt x="18" y="2"/>
                    </a:lnTo>
                    <a:lnTo>
                      <a:pt x="18" y="2"/>
                    </a:lnTo>
                    <a:lnTo>
                      <a:pt x="18" y="2"/>
                    </a:lnTo>
                    <a:lnTo>
                      <a:pt x="16" y="0"/>
                    </a:lnTo>
                    <a:lnTo>
                      <a:pt x="16" y="0"/>
                    </a:lnTo>
                    <a:lnTo>
                      <a:pt x="14" y="0"/>
                    </a:lnTo>
                    <a:lnTo>
                      <a:pt x="12" y="0"/>
                    </a:lnTo>
                    <a:lnTo>
                      <a:pt x="10" y="2"/>
                    </a:lnTo>
                    <a:lnTo>
                      <a:pt x="8" y="2"/>
                    </a:lnTo>
                    <a:lnTo>
                      <a:pt x="6" y="2"/>
                    </a:lnTo>
                    <a:lnTo>
                      <a:pt x="2" y="2"/>
                    </a:lnTo>
                    <a:lnTo>
                      <a:pt x="2" y="4"/>
                    </a:lnTo>
                    <a:lnTo>
                      <a:pt x="0" y="4"/>
                    </a:lnTo>
                    <a:lnTo>
                      <a:pt x="0" y="4"/>
                    </a:lnTo>
                    <a:lnTo>
                      <a:pt x="0"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23" name="Freeform 116"/>
              <p:cNvSpPr>
                <a:spLocks/>
              </p:cNvSpPr>
              <p:nvPr/>
            </p:nvSpPr>
            <p:spPr bwMode="auto">
              <a:xfrm>
                <a:off x="7151978" y="4534067"/>
                <a:ext cx="76200" cy="104775"/>
              </a:xfrm>
              <a:custGeom>
                <a:avLst/>
                <a:gdLst>
                  <a:gd name="T0" fmla="*/ 28 w 48"/>
                  <a:gd name="T1" fmla="*/ 0 h 66"/>
                  <a:gd name="T2" fmla="*/ 26 w 48"/>
                  <a:gd name="T3" fmla="*/ 0 h 66"/>
                  <a:gd name="T4" fmla="*/ 22 w 48"/>
                  <a:gd name="T5" fmla="*/ 2 h 66"/>
                  <a:gd name="T6" fmla="*/ 18 w 48"/>
                  <a:gd name="T7" fmla="*/ 8 h 66"/>
                  <a:gd name="T8" fmla="*/ 10 w 48"/>
                  <a:gd name="T9" fmla="*/ 14 h 66"/>
                  <a:gd name="T10" fmla="*/ 6 w 48"/>
                  <a:gd name="T11" fmla="*/ 18 h 66"/>
                  <a:gd name="T12" fmla="*/ 2 w 48"/>
                  <a:gd name="T13" fmla="*/ 22 h 66"/>
                  <a:gd name="T14" fmla="*/ 0 w 48"/>
                  <a:gd name="T15" fmla="*/ 24 h 66"/>
                  <a:gd name="T16" fmla="*/ 0 w 48"/>
                  <a:gd name="T17" fmla="*/ 26 h 66"/>
                  <a:gd name="T18" fmla="*/ 0 w 48"/>
                  <a:gd name="T19" fmla="*/ 28 h 66"/>
                  <a:gd name="T20" fmla="*/ 0 w 48"/>
                  <a:gd name="T21" fmla="*/ 30 h 66"/>
                  <a:gd name="T22" fmla="*/ 4 w 48"/>
                  <a:gd name="T23" fmla="*/ 36 h 66"/>
                  <a:gd name="T24" fmla="*/ 6 w 48"/>
                  <a:gd name="T25" fmla="*/ 38 h 66"/>
                  <a:gd name="T26" fmla="*/ 16 w 48"/>
                  <a:gd name="T27" fmla="*/ 50 h 66"/>
                  <a:gd name="T28" fmla="*/ 20 w 48"/>
                  <a:gd name="T29" fmla="*/ 54 h 66"/>
                  <a:gd name="T30" fmla="*/ 22 w 48"/>
                  <a:gd name="T31" fmla="*/ 58 h 66"/>
                  <a:gd name="T32" fmla="*/ 24 w 48"/>
                  <a:gd name="T33" fmla="*/ 62 h 66"/>
                  <a:gd name="T34" fmla="*/ 28 w 48"/>
                  <a:gd name="T35" fmla="*/ 64 h 66"/>
                  <a:gd name="T36" fmla="*/ 28 w 48"/>
                  <a:gd name="T37" fmla="*/ 66 h 66"/>
                  <a:gd name="T38" fmla="*/ 30 w 48"/>
                  <a:gd name="T39" fmla="*/ 66 h 66"/>
                  <a:gd name="T40" fmla="*/ 32 w 48"/>
                  <a:gd name="T41" fmla="*/ 64 h 66"/>
                  <a:gd name="T42" fmla="*/ 34 w 48"/>
                  <a:gd name="T43" fmla="*/ 62 h 66"/>
                  <a:gd name="T44" fmla="*/ 36 w 48"/>
                  <a:gd name="T45" fmla="*/ 56 h 66"/>
                  <a:gd name="T46" fmla="*/ 38 w 48"/>
                  <a:gd name="T47" fmla="*/ 54 h 66"/>
                  <a:gd name="T48" fmla="*/ 40 w 48"/>
                  <a:gd name="T49" fmla="*/ 52 h 66"/>
                  <a:gd name="T50" fmla="*/ 44 w 48"/>
                  <a:gd name="T51" fmla="*/ 48 h 66"/>
                  <a:gd name="T52" fmla="*/ 46 w 48"/>
                  <a:gd name="T53" fmla="*/ 46 h 66"/>
                  <a:gd name="T54" fmla="*/ 48 w 48"/>
                  <a:gd name="T55" fmla="*/ 44 h 66"/>
                  <a:gd name="T56" fmla="*/ 48 w 48"/>
                  <a:gd name="T57" fmla="*/ 42 h 66"/>
                  <a:gd name="T58" fmla="*/ 48 w 48"/>
                  <a:gd name="T59" fmla="*/ 36 h 66"/>
                  <a:gd name="T60" fmla="*/ 48 w 48"/>
                  <a:gd name="T61" fmla="*/ 28 h 66"/>
                  <a:gd name="T62" fmla="*/ 48 w 48"/>
                  <a:gd name="T63" fmla="*/ 20 h 66"/>
                  <a:gd name="T64" fmla="*/ 48 w 48"/>
                  <a:gd name="T65" fmla="*/ 16 h 66"/>
                  <a:gd name="T66" fmla="*/ 44 w 48"/>
                  <a:gd name="T67" fmla="*/ 12 h 66"/>
                  <a:gd name="T68" fmla="*/ 42 w 48"/>
                  <a:gd name="T69" fmla="*/ 8 h 66"/>
                  <a:gd name="T70" fmla="*/ 40 w 48"/>
                  <a:gd name="T71" fmla="*/ 6 h 66"/>
                  <a:gd name="T72" fmla="*/ 36 w 48"/>
                  <a:gd name="T73" fmla="*/ 2 h 66"/>
                  <a:gd name="T74" fmla="*/ 34 w 48"/>
                  <a:gd name="T75" fmla="*/ 0 h 66"/>
                  <a:gd name="T76" fmla="*/ 30 w 48"/>
                  <a:gd name="T7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6">
                    <a:moveTo>
                      <a:pt x="28" y="0"/>
                    </a:moveTo>
                    <a:lnTo>
                      <a:pt x="28" y="0"/>
                    </a:lnTo>
                    <a:lnTo>
                      <a:pt x="28" y="0"/>
                    </a:lnTo>
                    <a:lnTo>
                      <a:pt x="26" y="0"/>
                    </a:lnTo>
                    <a:lnTo>
                      <a:pt x="24" y="2"/>
                    </a:lnTo>
                    <a:lnTo>
                      <a:pt x="22" y="2"/>
                    </a:lnTo>
                    <a:lnTo>
                      <a:pt x="20" y="4"/>
                    </a:lnTo>
                    <a:lnTo>
                      <a:pt x="18" y="8"/>
                    </a:lnTo>
                    <a:lnTo>
                      <a:pt x="14" y="10"/>
                    </a:lnTo>
                    <a:lnTo>
                      <a:pt x="10" y="14"/>
                    </a:lnTo>
                    <a:lnTo>
                      <a:pt x="8" y="16"/>
                    </a:lnTo>
                    <a:lnTo>
                      <a:pt x="6" y="18"/>
                    </a:lnTo>
                    <a:lnTo>
                      <a:pt x="4" y="20"/>
                    </a:lnTo>
                    <a:lnTo>
                      <a:pt x="2" y="22"/>
                    </a:lnTo>
                    <a:lnTo>
                      <a:pt x="0" y="24"/>
                    </a:lnTo>
                    <a:lnTo>
                      <a:pt x="0" y="24"/>
                    </a:lnTo>
                    <a:lnTo>
                      <a:pt x="0" y="26"/>
                    </a:lnTo>
                    <a:lnTo>
                      <a:pt x="0" y="26"/>
                    </a:lnTo>
                    <a:lnTo>
                      <a:pt x="0" y="28"/>
                    </a:lnTo>
                    <a:lnTo>
                      <a:pt x="0" y="28"/>
                    </a:lnTo>
                    <a:lnTo>
                      <a:pt x="0" y="30"/>
                    </a:lnTo>
                    <a:lnTo>
                      <a:pt x="0" y="30"/>
                    </a:lnTo>
                    <a:lnTo>
                      <a:pt x="2" y="32"/>
                    </a:lnTo>
                    <a:lnTo>
                      <a:pt x="4" y="36"/>
                    </a:lnTo>
                    <a:lnTo>
                      <a:pt x="6" y="36"/>
                    </a:lnTo>
                    <a:lnTo>
                      <a:pt x="6" y="38"/>
                    </a:lnTo>
                    <a:lnTo>
                      <a:pt x="12" y="46"/>
                    </a:lnTo>
                    <a:lnTo>
                      <a:pt x="16" y="50"/>
                    </a:lnTo>
                    <a:lnTo>
                      <a:pt x="18" y="54"/>
                    </a:lnTo>
                    <a:lnTo>
                      <a:pt x="20" y="54"/>
                    </a:lnTo>
                    <a:lnTo>
                      <a:pt x="20" y="56"/>
                    </a:lnTo>
                    <a:lnTo>
                      <a:pt x="22" y="58"/>
                    </a:lnTo>
                    <a:lnTo>
                      <a:pt x="24" y="60"/>
                    </a:lnTo>
                    <a:lnTo>
                      <a:pt x="24" y="62"/>
                    </a:lnTo>
                    <a:lnTo>
                      <a:pt x="26" y="64"/>
                    </a:lnTo>
                    <a:lnTo>
                      <a:pt x="28" y="64"/>
                    </a:lnTo>
                    <a:lnTo>
                      <a:pt x="28" y="66"/>
                    </a:lnTo>
                    <a:lnTo>
                      <a:pt x="28" y="66"/>
                    </a:lnTo>
                    <a:lnTo>
                      <a:pt x="30" y="66"/>
                    </a:lnTo>
                    <a:lnTo>
                      <a:pt x="30" y="66"/>
                    </a:lnTo>
                    <a:lnTo>
                      <a:pt x="32" y="66"/>
                    </a:lnTo>
                    <a:lnTo>
                      <a:pt x="32" y="64"/>
                    </a:lnTo>
                    <a:lnTo>
                      <a:pt x="32" y="64"/>
                    </a:lnTo>
                    <a:lnTo>
                      <a:pt x="34" y="62"/>
                    </a:lnTo>
                    <a:lnTo>
                      <a:pt x="34" y="60"/>
                    </a:lnTo>
                    <a:lnTo>
                      <a:pt x="36" y="56"/>
                    </a:lnTo>
                    <a:lnTo>
                      <a:pt x="38" y="54"/>
                    </a:lnTo>
                    <a:lnTo>
                      <a:pt x="38" y="54"/>
                    </a:lnTo>
                    <a:lnTo>
                      <a:pt x="40" y="52"/>
                    </a:lnTo>
                    <a:lnTo>
                      <a:pt x="40" y="52"/>
                    </a:lnTo>
                    <a:lnTo>
                      <a:pt x="44" y="50"/>
                    </a:lnTo>
                    <a:lnTo>
                      <a:pt x="44" y="48"/>
                    </a:lnTo>
                    <a:lnTo>
                      <a:pt x="46" y="48"/>
                    </a:lnTo>
                    <a:lnTo>
                      <a:pt x="46" y="46"/>
                    </a:lnTo>
                    <a:lnTo>
                      <a:pt x="48" y="46"/>
                    </a:lnTo>
                    <a:lnTo>
                      <a:pt x="48" y="44"/>
                    </a:lnTo>
                    <a:lnTo>
                      <a:pt x="48" y="42"/>
                    </a:lnTo>
                    <a:lnTo>
                      <a:pt x="48" y="42"/>
                    </a:lnTo>
                    <a:lnTo>
                      <a:pt x="48" y="40"/>
                    </a:lnTo>
                    <a:lnTo>
                      <a:pt x="48" y="36"/>
                    </a:lnTo>
                    <a:lnTo>
                      <a:pt x="48" y="32"/>
                    </a:lnTo>
                    <a:lnTo>
                      <a:pt x="48" y="28"/>
                    </a:lnTo>
                    <a:lnTo>
                      <a:pt x="48" y="24"/>
                    </a:lnTo>
                    <a:lnTo>
                      <a:pt x="48" y="20"/>
                    </a:lnTo>
                    <a:lnTo>
                      <a:pt x="48" y="18"/>
                    </a:lnTo>
                    <a:lnTo>
                      <a:pt x="48" y="16"/>
                    </a:lnTo>
                    <a:lnTo>
                      <a:pt x="46" y="14"/>
                    </a:lnTo>
                    <a:lnTo>
                      <a:pt x="44" y="12"/>
                    </a:lnTo>
                    <a:lnTo>
                      <a:pt x="42" y="8"/>
                    </a:lnTo>
                    <a:lnTo>
                      <a:pt x="42" y="8"/>
                    </a:lnTo>
                    <a:lnTo>
                      <a:pt x="40" y="6"/>
                    </a:lnTo>
                    <a:lnTo>
                      <a:pt x="40" y="6"/>
                    </a:lnTo>
                    <a:lnTo>
                      <a:pt x="38" y="4"/>
                    </a:lnTo>
                    <a:lnTo>
                      <a:pt x="36" y="2"/>
                    </a:lnTo>
                    <a:lnTo>
                      <a:pt x="36" y="2"/>
                    </a:lnTo>
                    <a:lnTo>
                      <a:pt x="34" y="0"/>
                    </a:lnTo>
                    <a:lnTo>
                      <a:pt x="32" y="0"/>
                    </a:lnTo>
                    <a:lnTo>
                      <a:pt x="30" y="0"/>
                    </a:lnTo>
                    <a:lnTo>
                      <a:pt x="28"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24" name="Freeform 121"/>
              <p:cNvSpPr>
                <a:spLocks/>
              </p:cNvSpPr>
              <p:nvPr/>
            </p:nvSpPr>
            <p:spPr bwMode="auto">
              <a:xfrm>
                <a:off x="7107528" y="4543592"/>
                <a:ext cx="44450" cy="57150"/>
              </a:xfrm>
              <a:custGeom>
                <a:avLst/>
                <a:gdLst>
                  <a:gd name="T0" fmla="*/ 18 w 28"/>
                  <a:gd name="T1" fmla="*/ 0 h 36"/>
                  <a:gd name="T2" fmla="*/ 18 w 28"/>
                  <a:gd name="T3" fmla="*/ 0 h 36"/>
                  <a:gd name="T4" fmla="*/ 18 w 28"/>
                  <a:gd name="T5" fmla="*/ 0 h 36"/>
                  <a:gd name="T6" fmla="*/ 18 w 28"/>
                  <a:gd name="T7" fmla="*/ 0 h 36"/>
                  <a:gd name="T8" fmla="*/ 18 w 28"/>
                  <a:gd name="T9" fmla="*/ 2 h 36"/>
                  <a:gd name="T10" fmla="*/ 18 w 28"/>
                  <a:gd name="T11" fmla="*/ 2 h 36"/>
                  <a:gd name="T12" fmla="*/ 16 w 28"/>
                  <a:gd name="T13" fmla="*/ 4 h 36"/>
                  <a:gd name="T14" fmla="*/ 14 w 28"/>
                  <a:gd name="T15" fmla="*/ 4 h 36"/>
                  <a:gd name="T16" fmla="*/ 12 w 28"/>
                  <a:gd name="T17" fmla="*/ 8 h 36"/>
                  <a:gd name="T18" fmla="*/ 10 w 28"/>
                  <a:gd name="T19" fmla="*/ 8 h 36"/>
                  <a:gd name="T20" fmla="*/ 10 w 28"/>
                  <a:gd name="T21" fmla="*/ 10 h 36"/>
                  <a:gd name="T22" fmla="*/ 8 w 28"/>
                  <a:gd name="T23" fmla="*/ 12 h 36"/>
                  <a:gd name="T24" fmla="*/ 8 w 28"/>
                  <a:gd name="T25" fmla="*/ 14 h 36"/>
                  <a:gd name="T26" fmla="*/ 6 w 28"/>
                  <a:gd name="T27" fmla="*/ 18 h 36"/>
                  <a:gd name="T28" fmla="*/ 4 w 28"/>
                  <a:gd name="T29" fmla="*/ 22 h 36"/>
                  <a:gd name="T30" fmla="*/ 4 w 28"/>
                  <a:gd name="T31" fmla="*/ 24 h 36"/>
                  <a:gd name="T32" fmla="*/ 2 w 28"/>
                  <a:gd name="T33" fmla="*/ 28 h 36"/>
                  <a:gd name="T34" fmla="*/ 0 w 28"/>
                  <a:gd name="T35" fmla="*/ 30 h 36"/>
                  <a:gd name="T36" fmla="*/ 0 w 28"/>
                  <a:gd name="T37" fmla="*/ 32 h 36"/>
                  <a:gd name="T38" fmla="*/ 0 w 28"/>
                  <a:gd name="T39" fmla="*/ 32 h 36"/>
                  <a:gd name="T40" fmla="*/ 0 w 28"/>
                  <a:gd name="T41" fmla="*/ 34 h 36"/>
                  <a:gd name="T42" fmla="*/ 0 w 28"/>
                  <a:gd name="T43" fmla="*/ 34 h 36"/>
                  <a:gd name="T44" fmla="*/ 0 w 28"/>
                  <a:gd name="T45" fmla="*/ 34 h 36"/>
                  <a:gd name="T46" fmla="*/ 0 w 28"/>
                  <a:gd name="T47" fmla="*/ 34 h 36"/>
                  <a:gd name="T48" fmla="*/ 2 w 28"/>
                  <a:gd name="T49" fmla="*/ 36 h 36"/>
                  <a:gd name="T50" fmla="*/ 2 w 28"/>
                  <a:gd name="T51" fmla="*/ 36 h 36"/>
                  <a:gd name="T52" fmla="*/ 2 w 28"/>
                  <a:gd name="T53" fmla="*/ 36 h 36"/>
                  <a:gd name="T54" fmla="*/ 4 w 28"/>
                  <a:gd name="T55" fmla="*/ 36 h 36"/>
                  <a:gd name="T56" fmla="*/ 6 w 28"/>
                  <a:gd name="T57" fmla="*/ 34 h 36"/>
                  <a:gd name="T58" fmla="*/ 8 w 28"/>
                  <a:gd name="T59" fmla="*/ 34 h 36"/>
                  <a:gd name="T60" fmla="*/ 10 w 28"/>
                  <a:gd name="T61" fmla="*/ 34 h 36"/>
                  <a:gd name="T62" fmla="*/ 12 w 28"/>
                  <a:gd name="T63" fmla="*/ 32 h 36"/>
                  <a:gd name="T64" fmla="*/ 14 w 28"/>
                  <a:gd name="T65" fmla="*/ 30 h 36"/>
                  <a:gd name="T66" fmla="*/ 14 w 28"/>
                  <a:gd name="T67" fmla="*/ 30 h 36"/>
                  <a:gd name="T68" fmla="*/ 16 w 28"/>
                  <a:gd name="T69" fmla="*/ 28 h 36"/>
                  <a:gd name="T70" fmla="*/ 16 w 28"/>
                  <a:gd name="T71" fmla="*/ 28 h 36"/>
                  <a:gd name="T72" fmla="*/ 18 w 28"/>
                  <a:gd name="T73" fmla="*/ 26 h 36"/>
                  <a:gd name="T74" fmla="*/ 18 w 28"/>
                  <a:gd name="T75" fmla="*/ 24 h 36"/>
                  <a:gd name="T76" fmla="*/ 20 w 28"/>
                  <a:gd name="T77" fmla="*/ 20 h 36"/>
                  <a:gd name="T78" fmla="*/ 22 w 28"/>
                  <a:gd name="T79" fmla="*/ 18 h 36"/>
                  <a:gd name="T80" fmla="*/ 24 w 28"/>
                  <a:gd name="T81" fmla="*/ 14 h 36"/>
                  <a:gd name="T82" fmla="*/ 26 w 28"/>
                  <a:gd name="T83" fmla="*/ 10 h 36"/>
                  <a:gd name="T84" fmla="*/ 26 w 28"/>
                  <a:gd name="T85" fmla="*/ 8 h 36"/>
                  <a:gd name="T86" fmla="*/ 26 w 28"/>
                  <a:gd name="T87" fmla="*/ 6 h 36"/>
                  <a:gd name="T88" fmla="*/ 28 w 28"/>
                  <a:gd name="T89" fmla="*/ 6 h 36"/>
                  <a:gd name="T90" fmla="*/ 28 w 28"/>
                  <a:gd name="T91" fmla="*/ 6 h 36"/>
                  <a:gd name="T92" fmla="*/ 28 w 28"/>
                  <a:gd name="T93" fmla="*/ 4 h 36"/>
                  <a:gd name="T94" fmla="*/ 26 w 28"/>
                  <a:gd name="T95" fmla="*/ 4 h 36"/>
                  <a:gd name="T96" fmla="*/ 26 w 28"/>
                  <a:gd name="T97" fmla="*/ 4 h 36"/>
                  <a:gd name="T98" fmla="*/ 26 w 28"/>
                  <a:gd name="T99" fmla="*/ 2 h 36"/>
                  <a:gd name="T100" fmla="*/ 26 w 28"/>
                  <a:gd name="T101" fmla="*/ 2 h 36"/>
                  <a:gd name="T102" fmla="*/ 24 w 28"/>
                  <a:gd name="T103" fmla="*/ 2 h 36"/>
                  <a:gd name="T104" fmla="*/ 22 w 28"/>
                  <a:gd name="T105" fmla="*/ 2 h 36"/>
                  <a:gd name="T106" fmla="*/ 22 w 28"/>
                  <a:gd name="T107" fmla="*/ 2 h 36"/>
                  <a:gd name="T108" fmla="*/ 20 w 28"/>
                  <a:gd name="T109" fmla="*/ 0 h 36"/>
                  <a:gd name="T110" fmla="*/ 20 w 28"/>
                  <a:gd name="T111" fmla="*/ 0 h 36"/>
                  <a:gd name="T112" fmla="*/ 20 w 28"/>
                  <a:gd name="T113" fmla="*/ 0 h 36"/>
                  <a:gd name="T114" fmla="*/ 18 w 28"/>
                  <a:gd name="T115" fmla="*/ 0 h 36"/>
                  <a:gd name="T116" fmla="*/ 18 w 28"/>
                  <a:gd name="T1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 h="36">
                    <a:moveTo>
                      <a:pt x="18" y="0"/>
                    </a:moveTo>
                    <a:lnTo>
                      <a:pt x="18" y="0"/>
                    </a:lnTo>
                    <a:lnTo>
                      <a:pt x="18" y="0"/>
                    </a:lnTo>
                    <a:lnTo>
                      <a:pt x="18" y="0"/>
                    </a:lnTo>
                    <a:lnTo>
                      <a:pt x="18" y="2"/>
                    </a:lnTo>
                    <a:lnTo>
                      <a:pt x="18" y="2"/>
                    </a:lnTo>
                    <a:lnTo>
                      <a:pt x="16" y="4"/>
                    </a:lnTo>
                    <a:lnTo>
                      <a:pt x="14" y="4"/>
                    </a:lnTo>
                    <a:lnTo>
                      <a:pt x="12" y="8"/>
                    </a:lnTo>
                    <a:lnTo>
                      <a:pt x="10" y="8"/>
                    </a:lnTo>
                    <a:lnTo>
                      <a:pt x="10" y="10"/>
                    </a:lnTo>
                    <a:lnTo>
                      <a:pt x="8" y="12"/>
                    </a:lnTo>
                    <a:lnTo>
                      <a:pt x="8" y="14"/>
                    </a:lnTo>
                    <a:lnTo>
                      <a:pt x="6" y="18"/>
                    </a:lnTo>
                    <a:lnTo>
                      <a:pt x="4" y="22"/>
                    </a:lnTo>
                    <a:lnTo>
                      <a:pt x="4" y="24"/>
                    </a:lnTo>
                    <a:lnTo>
                      <a:pt x="2" y="28"/>
                    </a:lnTo>
                    <a:lnTo>
                      <a:pt x="0" y="30"/>
                    </a:lnTo>
                    <a:lnTo>
                      <a:pt x="0" y="32"/>
                    </a:lnTo>
                    <a:lnTo>
                      <a:pt x="0" y="32"/>
                    </a:lnTo>
                    <a:lnTo>
                      <a:pt x="0" y="34"/>
                    </a:lnTo>
                    <a:lnTo>
                      <a:pt x="0" y="34"/>
                    </a:lnTo>
                    <a:lnTo>
                      <a:pt x="0" y="34"/>
                    </a:lnTo>
                    <a:lnTo>
                      <a:pt x="0" y="34"/>
                    </a:lnTo>
                    <a:lnTo>
                      <a:pt x="2" y="36"/>
                    </a:lnTo>
                    <a:lnTo>
                      <a:pt x="2" y="36"/>
                    </a:lnTo>
                    <a:lnTo>
                      <a:pt x="2" y="36"/>
                    </a:lnTo>
                    <a:lnTo>
                      <a:pt x="4" y="36"/>
                    </a:lnTo>
                    <a:lnTo>
                      <a:pt x="6" y="34"/>
                    </a:lnTo>
                    <a:lnTo>
                      <a:pt x="8" y="34"/>
                    </a:lnTo>
                    <a:lnTo>
                      <a:pt x="10" y="34"/>
                    </a:lnTo>
                    <a:lnTo>
                      <a:pt x="12" y="32"/>
                    </a:lnTo>
                    <a:lnTo>
                      <a:pt x="14" y="30"/>
                    </a:lnTo>
                    <a:lnTo>
                      <a:pt x="14" y="30"/>
                    </a:lnTo>
                    <a:lnTo>
                      <a:pt x="16" y="28"/>
                    </a:lnTo>
                    <a:lnTo>
                      <a:pt x="16" y="28"/>
                    </a:lnTo>
                    <a:lnTo>
                      <a:pt x="18" y="26"/>
                    </a:lnTo>
                    <a:lnTo>
                      <a:pt x="18" y="24"/>
                    </a:lnTo>
                    <a:lnTo>
                      <a:pt x="20" y="20"/>
                    </a:lnTo>
                    <a:lnTo>
                      <a:pt x="22" y="18"/>
                    </a:lnTo>
                    <a:lnTo>
                      <a:pt x="24" y="14"/>
                    </a:lnTo>
                    <a:lnTo>
                      <a:pt x="26" y="10"/>
                    </a:lnTo>
                    <a:lnTo>
                      <a:pt x="26" y="8"/>
                    </a:lnTo>
                    <a:lnTo>
                      <a:pt x="26" y="6"/>
                    </a:lnTo>
                    <a:lnTo>
                      <a:pt x="28" y="6"/>
                    </a:lnTo>
                    <a:lnTo>
                      <a:pt x="28" y="6"/>
                    </a:lnTo>
                    <a:lnTo>
                      <a:pt x="28" y="4"/>
                    </a:lnTo>
                    <a:lnTo>
                      <a:pt x="26" y="4"/>
                    </a:lnTo>
                    <a:lnTo>
                      <a:pt x="26" y="4"/>
                    </a:lnTo>
                    <a:lnTo>
                      <a:pt x="26" y="2"/>
                    </a:lnTo>
                    <a:lnTo>
                      <a:pt x="26" y="2"/>
                    </a:lnTo>
                    <a:lnTo>
                      <a:pt x="24" y="2"/>
                    </a:lnTo>
                    <a:lnTo>
                      <a:pt x="22" y="2"/>
                    </a:lnTo>
                    <a:lnTo>
                      <a:pt x="22" y="2"/>
                    </a:lnTo>
                    <a:lnTo>
                      <a:pt x="20" y="0"/>
                    </a:lnTo>
                    <a:lnTo>
                      <a:pt x="20" y="0"/>
                    </a:lnTo>
                    <a:lnTo>
                      <a:pt x="20" y="0"/>
                    </a:lnTo>
                    <a:lnTo>
                      <a:pt x="18" y="0"/>
                    </a:lnTo>
                    <a:lnTo>
                      <a:pt x="18"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25" name="Freeform 123"/>
              <p:cNvSpPr>
                <a:spLocks/>
              </p:cNvSpPr>
              <p:nvPr/>
            </p:nvSpPr>
            <p:spPr bwMode="auto">
              <a:xfrm>
                <a:off x="7155153" y="4508667"/>
                <a:ext cx="15875" cy="19050"/>
              </a:xfrm>
              <a:custGeom>
                <a:avLst/>
                <a:gdLst>
                  <a:gd name="T0" fmla="*/ 6 w 10"/>
                  <a:gd name="T1" fmla="*/ 12 h 12"/>
                  <a:gd name="T2" fmla="*/ 6 w 10"/>
                  <a:gd name="T3" fmla="*/ 12 h 12"/>
                  <a:gd name="T4" fmla="*/ 4 w 10"/>
                  <a:gd name="T5" fmla="*/ 12 h 12"/>
                  <a:gd name="T6" fmla="*/ 4 w 10"/>
                  <a:gd name="T7" fmla="*/ 12 h 12"/>
                  <a:gd name="T8" fmla="*/ 2 w 10"/>
                  <a:gd name="T9" fmla="*/ 10 h 12"/>
                  <a:gd name="T10" fmla="*/ 2 w 10"/>
                  <a:gd name="T11" fmla="*/ 10 h 12"/>
                  <a:gd name="T12" fmla="*/ 0 w 10"/>
                  <a:gd name="T13" fmla="*/ 8 h 12"/>
                  <a:gd name="T14" fmla="*/ 0 w 10"/>
                  <a:gd name="T15" fmla="*/ 8 h 12"/>
                  <a:gd name="T16" fmla="*/ 0 w 10"/>
                  <a:gd name="T17" fmla="*/ 6 h 12"/>
                  <a:gd name="T18" fmla="*/ 0 w 10"/>
                  <a:gd name="T19" fmla="*/ 6 h 12"/>
                  <a:gd name="T20" fmla="*/ 0 w 10"/>
                  <a:gd name="T21" fmla="*/ 4 h 12"/>
                  <a:gd name="T22" fmla="*/ 0 w 10"/>
                  <a:gd name="T23" fmla="*/ 4 h 12"/>
                  <a:gd name="T24" fmla="*/ 0 w 10"/>
                  <a:gd name="T25" fmla="*/ 2 h 12"/>
                  <a:gd name="T26" fmla="*/ 2 w 10"/>
                  <a:gd name="T27" fmla="*/ 2 h 12"/>
                  <a:gd name="T28" fmla="*/ 2 w 10"/>
                  <a:gd name="T29" fmla="*/ 0 h 12"/>
                  <a:gd name="T30" fmla="*/ 4 w 10"/>
                  <a:gd name="T31" fmla="*/ 0 h 12"/>
                  <a:gd name="T32" fmla="*/ 4 w 10"/>
                  <a:gd name="T33" fmla="*/ 0 h 12"/>
                  <a:gd name="T34" fmla="*/ 6 w 10"/>
                  <a:gd name="T35" fmla="*/ 0 h 12"/>
                  <a:gd name="T36" fmla="*/ 6 w 10"/>
                  <a:gd name="T37" fmla="*/ 0 h 12"/>
                  <a:gd name="T38" fmla="*/ 8 w 10"/>
                  <a:gd name="T39" fmla="*/ 0 h 12"/>
                  <a:gd name="T40" fmla="*/ 8 w 10"/>
                  <a:gd name="T41" fmla="*/ 0 h 12"/>
                  <a:gd name="T42" fmla="*/ 8 w 10"/>
                  <a:gd name="T43" fmla="*/ 2 h 12"/>
                  <a:gd name="T44" fmla="*/ 10 w 10"/>
                  <a:gd name="T45" fmla="*/ 2 h 12"/>
                  <a:gd name="T46" fmla="*/ 10 w 10"/>
                  <a:gd name="T47" fmla="*/ 4 h 12"/>
                  <a:gd name="T48" fmla="*/ 10 w 10"/>
                  <a:gd name="T49" fmla="*/ 4 h 12"/>
                  <a:gd name="T50" fmla="*/ 10 w 10"/>
                  <a:gd name="T51" fmla="*/ 6 h 12"/>
                  <a:gd name="T52" fmla="*/ 10 w 10"/>
                  <a:gd name="T53" fmla="*/ 6 h 12"/>
                  <a:gd name="T54" fmla="*/ 10 w 10"/>
                  <a:gd name="T55" fmla="*/ 8 h 12"/>
                  <a:gd name="T56" fmla="*/ 10 w 10"/>
                  <a:gd name="T57" fmla="*/ 8 h 12"/>
                  <a:gd name="T58" fmla="*/ 8 w 10"/>
                  <a:gd name="T59" fmla="*/ 10 h 12"/>
                  <a:gd name="T60" fmla="*/ 8 w 10"/>
                  <a:gd name="T61" fmla="*/ 10 h 12"/>
                  <a:gd name="T62" fmla="*/ 8 w 10"/>
                  <a:gd name="T63" fmla="*/ 12 h 12"/>
                  <a:gd name="T64" fmla="*/ 6 w 10"/>
                  <a:gd name="T65" fmla="*/ 12 h 12"/>
                  <a:gd name="T66" fmla="*/ 6 w 10"/>
                  <a:gd name="T6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2">
                    <a:moveTo>
                      <a:pt x="6" y="12"/>
                    </a:moveTo>
                    <a:lnTo>
                      <a:pt x="6" y="12"/>
                    </a:lnTo>
                    <a:lnTo>
                      <a:pt x="4" y="12"/>
                    </a:lnTo>
                    <a:lnTo>
                      <a:pt x="4" y="12"/>
                    </a:lnTo>
                    <a:lnTo>
                      <a:pt x="2" y="10"/>
                    </a:lnTo>
                    <a:lnTo>
                      <a:pt x="2" y="10"/>
                    </a:lnTo>
                    <a:lnTo>
                      <a:pt x="0" y="8"/>
                    </a:lnTo>
                    <a:lnTo>
                      <a:pt x="0" y="8"/>
                    </a:lnTo>
                    <a:lnTo>
                      <a:pt x="0" y="6"/>
                    </a:lnTo>
                    <a:lnTo>
                      <a:pt x="0" y="6"/>
                    </a:lnTo>
                    <a:lnTo>
                      <a:pt x="0" y="4"/>
                    </a:lnTo>
                    <a:lnTo>
                      <a:pt x="0" y="4"/>
                    </a:lnTo>
                    <a:lnTo>
                      <a:pt x="0" y="2"/>
                    </a:lnTo>
                    <a:lnTo>
                      <a:pt x="2" y="2"/>
                    </a:lnTo>
                    <a:lnTo>
                      <a:pt x="2" y="0"/>
                    </a:lnTo>
                    <a:lnTo>
                      <a:pt x="4" y="0"/>
                    </a:lnTo>
                    <a:lnTo>
                      <a:pt x="4" y="0"/>
                    </a:lnTo>
                    <a:lnTo>
                      <a:pt x="6" y="0"/>
                    </a:lnTo>
                    <a:lnTo>
                      <a:pt x="6" y="0"/>
                    </a:lnTo>
                    <a:lnTo>
                      <a:pt x="8" y="0"/>
                    </a:lnTo>
                    <a:lnTo>
                      <a:pt x="8" y="0"/>
                    </a:lnTo>
                    <a:lnTo>
                      <a:pt x="8" y="2"/>
                    </a:lnTo>
                    <a:lnTo>
                      <a:pt x="10" y="2"/>
                    </a:lnTo>
                    <a:lnTo>
                      <a:pt x="10" y="4"/>
                    </a:lnTo>
                    <a:lnTo>
                      <a:pt x="10" y="4"/>
                    </a:lnTo>
                    <a:lnTo>
                      <a:pt x="10" y="6"/>
                    </a:lnTo>
                    <a:lnTo>
                      <a:pt x="10" y="6"/>
                    </a:lnTo>
                    <a:lnTo>
                      <a:pt x="10" y="8"/>
                    </a:lnTo>
                    <a:lnTo>
                      <a:pt x="10" y="8"/>
                    </a:lnTo>
                    <a:lnTo>
                      <a:pt x="8" y="10"/>
                    </a:lnTo>
                    <a:lnTo>
                      <a:pt x="8" y="10"/>
                    </a:lnTo>
                    <a:lnTo>
                      <a:pt x="8" y="12"/>
                    </a:lnTo>
                    <a:lnTo>
                      <a:pt x="6" y="12"/>
                    </a:lnTo>
                    <a:lnTo>
                      <a:pt x="6"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grpSp>
        <p:grpSp>
          <p:nvGrpSpPr>
            <p:cNvPr id="1026" name="Gruppieren 26631"/>
            <p:cNvGrpSpPr/>
            <p:nvPr/>
          </p:nvGrpSpPr>
          <p:grpSpPr>
            <a:xfrm>
              <a:off x="6642154" y="4441826"/>
              <a:ext cx="1233237" cy="498838"/>
              <a:chOff x="6485228" y="4603917"/>
              <a:chExt cx="1130300" cy="457200"/>
            </a:xfrm>
            <a:solidFill>
              <a:srgbClr val="778888">
                <a:lumMod val="20000"/>
                <a:lumOff val="80000"/>
              </a:srgbClr>
            </a:solidFill>
          </p:grpSpPr>
          <p:sp>
            <p:nvSpPr>
              <p:cNvPr id="1027" name="Freeform 213"/>
              <p:cNvSpPr>
                <a:spLocks/>
              </p:cNvSpPr>
              <p:nvPr/>
            </p:nvSpPr>
            <p:spPr bwMode="auto">
              <a:xfrm>
                <a:off x="7145628" y="5035717"/>
                <a:ext cx="28575" cy="25400"/>
              </a:xfrm>
              <a:custGeom>
                <a:avLst/>
                <a:gdLst>
                  <a:gd name="T0" fmla="*/ 18 w 18"/>
                  <a:gd name="T1" fmla="*/ 2 h 16"/>
                  <a:gd name="T2" fmla="*/ 18 w 18"/>
                  <a:gd name="T3" fmla="*/ 2 h 16"/>
                  <a:gd name="T4" fmla="*/ 16 w 18"/>
                  <a:gd name="T5" fmla="*/ 0 h 16"/>
                  <a:gd name="T6" fmla="*/ 16 w 18"/>
                  <a:gd name="T7" fmla="*/ 0 h 16"/>
                  <a:gd name="T8" fmla="*/ 14 w 18"/>
                  <a:gd name="T9" fmla="*/ 0 h 16"/>
                  <a:gd name="T10" fmla="*/ 14 w 18"/>
                  <a:gd name="T11" fmla="*/ 0 h 16"/>
                  <a:gd name="T12" fmla="*/ 12 w 18"/>
                  <a:gd name="T13" fmla="*/ 0 h 16"/>
                  <a:gd name="T14" fmla="*/ 10 w 18"/>
                  <a:gd name="T15" fmla="*/ 0 h 16"/>
                  <a:gd name="T16" fmla="*/ 8 w 18"/>
                  <a:gd name="T17" fmla="*/ 2 h 16"/>
                  <a:gd name="T18" fmla="*/ 8 w 18"/>
                  <a:gd name="T19" fmla="*/ 2 h 16"/>
                  <a:gd name="T20" fmla="*/ 6 w 18"/>
                  <a:gd name="T21" fmla="*/ 2 h 16"/>
                  <a:gd name="T22" fmla="*/ 4 w 18"/>
                  <a:gd name="T23" fmla="*/ 4 h 16"/>
                  <a:gd name="T24" fmla="*/ 4 w 18"/>
                  <a:gd name="T25" fmla="*/ 4 h 16"/>
                  <a:gd name="T26" fmla="*/ 2 w 18"/>
                  <a:gd name="T27" fmla="*/ 6 h 16"/>
                  <a:gd name="T28" fmla="*/ 2 w 18"/>
                  <a:gd name="T29" fmla="*/ 8 h 16"/>
                  <a:gd name="T30" fmla="*/ 0 w 18"/>
                  <a:gd name="T31" fmla="*/ 10 h 16"/>
                  <a:gd name="T32" fmla="*/ 0 w 18"/>
                  <a:gd name="T33" fmla="*/ 12 h 16"/>
                  <a:gd name="T34" fmla="*/ 0 w 18"/>
                  <a:gd name="T35" fmla="*/ 12 h 16"/>
                  <a:gd name="T36" fmla="*/ 0 w 18"/>
                  <a:gd name="T37" fmla="*/ 12 h 16"/>
                  <a:gd name="T38" fmla="*/ 0 w 18"/>
                  <a:gd name="T39" fmla="*/ 14 h 16"/>
                  <a:gd name="T40" fmla="*/ 0 w 18"/>
                  <a:gd name="T41" fmla="*/ 14 h 16"/>
                  <a:gd name="T42" fmla="*/ 0 w 18"/>
                  <a:gd name="T43" fmla="*/ 14 h 16"/>
                  <a:gd name="T44" fmla="*/ 0 w 18"/>
                  <a:gd name="T45" fmla="*/ 14 h 16"/>
                  <a:gd name="T46" fmla="*/ 2 w 18"/>
                  <a:gd name="T47" fmla="*/ 16 h 16"/>
                  <a:gd name="T48" fmla="*/ 2 w 18"/>
                  <a:gd name="T49" fmla="*/ 16 h 16"/>
                  <a:gd name="T50" fmla="*/ 4 w 18"/>
                  <a:gd name="T51" fmla="*/ 16 h 16"/>
                  <a:gd name="T52" fmla="*/ 4 w 18"/>
                  <a:gd name="T53" fmla="*/ 16 h 16"/>
                  <a:gd name="T54" fmla="*/ 6 w 18"/>
                  <a:gd name="T55" fmla="*/ 14 h 16"/>
                  <a:gd name="T56" fmla="*/ 8 w 18"/>
                  <a:gd name="T57" fmla="*/ 14 h 16"/>
                  <a:gd name="T58" fmla="*/ 10 w 18"/>
                  <a:gd name="T59" fmla="*/ 14 h 16"/>
                  <a:gd name="T60" fmla="*/ 10 w 18"/>
                  <a:gd name="T61" fmla="*/ 12 h 16"/>
                  <a:gd name="T62" fmla="*/ 12 w 18"/>
                  <a:gd name="T63" fmla="*/ 12 h 16"/>
                  <a:gd name="T64" fmla="*/ 14 w 18"/>
                  <a:gd name="T65" fmla="*/ 10 h 16"/>
                  <a:gd name="T66" fmla="*/ 14 w 18"/>
                  <a:gd name="T67" fmla="*/ 10 h 16"/>
                  <a:gd name="T68" fmla="*/ 16 w 18"/>
                  <a:gd name="T69" fmla="*/ 8 h 16"/>
                  <a:gd name="T70" fmla="*/ 16 w 18"/>
                  <a:gd name="T71" fmla="*/ 8 h 16"/>
                  <a:gd name="T72" fmla="*/ 18 w 18"/>
                  <a:gd name="T73" fmla="*/ 6 h 16"/>
                  <a:gd name="T74" fmla="*/ 18 w 18"/>
                  <a:gd name="T75" fmla="*/ 6 h 16"/>
                  <a:gd name="T76" fmla="*/ 18 w 18"/>
                  <a:gd name="T77" fmla="*/ 4 h 16"/>
                  <a:gd name="T78" fmla="*/ 18 w 18"/>
                  <a:gd name="T79" fmla="*/ 2 h 16"/>
                  <a:gd name="T80" fmla="*/ 18 w 18"/>
                  <a:gd name="T81" fmla="*/ 2 h 16"/>
                  <a:gd name="T82" fmla="*/ 18 w 18"/>
                  <a:gd name="T8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6">
                    <a:moveTo>
                      <a:pt x="18" y="2"/>
                    </a:moveTo>
                    <a:lnTo>
                      <a:pt x="18" y="2"/>
                    </a:lnTo>
                    <a:lnTo>
                      <a:pt x="16" y="0"/>
                    </a:lnTo>
                    <a:lnTo>
                      <a:pt x="16" y="0"/>
                    </a:lnTo>
                    <a:lnTo>
                      <a:pt x="14" y="0"/>
                    </a:lnTo>
                    <a:lnTo>
                      <a:pt x="14" y="0"/>
                    </a:lnTo>
                    <a:lnTo>
                      <a:pt x="12" y="0"/>
                    </a:lnTo>
                    <a:lnTo>
                      <a:pt x="10" y="0"/>
                    </a:lnTo>
                    <a:lnTo>
                      <a:pt x="8" y="2"/>
                    </a:lnTo>
                    <a:lnTo>
                      <a:pt x="8" y="2"/>
                    </a:lnTo>
                    <a:lnTo>
                      <a:pt x="6" y="2"/>
                    </a:lnTo>
                    <a:lnTo>
                      <a:pt x="4" y="4"/>
                    </a:lnTo>
                    <a:lnTo>
                      <a:pt x="4" y="4"/>
                    </a:lnTo>
                    <a:lnTo>
                      <a:pt x="2" y="6"/>
                    </a:lnTo>
                    <a:lnTo>
                      <a:pt x="2" y="8"/>
                    </a:lnTo>
                    <a:lnTo>
                      <a:pt x="0" y="10"/>
                    </a:lnTo>
                    <a:lnTo>
                      <a:pt x="0" y="12"/>
                    </a:lnTo>
                    <a:lnTo>
                      <a:pt x="0" y="12"/>
                    </a:lnTo>
                    <a:lnTo>
                      <a:pt x="0" y="12"/>
                    </a:lnTo>
                    <a:lnTo>
                      <a:pt x="0" y="14"/>
                    </a:lnTo>
                    <a:lnTo>
                      <a:pt x="0" y="14"/>
                    </a:lnTo>
                    <a:lnTo>
                      <a:pt x="0" y="14"/>
                    </a:lnTo>
                    <a:lnTo>
                      <a:pt x="0" y="14"/>
                    </a:lnTo>
                    <a:lnTo>
                      <a:pt x="2" y="16"/>
                    </a:lnTo>
                    <a:lnTo>
                      <a:pt x="2" y="16"/>
                    </a:lnTo>
                    <a:lnTo>
                      <a:pt x="4" y="16"/>
                    </a:lnTo>
                    <a:lnTo>
                      <a:pt x="4" y="16"/>
                    </a:lnTo>
                    <a:lnTo>
                      <a:pt x="6" y="14"/>
                    </a:lnTo>
                    <a:lnTo>
                      <a:pt x="8" y="14"/>
                    </a:lnTo>
                    <a:lnTo>
                      <a:pt x="10" y="14"/>
                    </a:lnTo>
                    <a:lnTo>
                      <a:pt x="10" y="12"/>
                    </a:lnTo>
                    <a:lnTo>
                      <a:pt x="12" y="12"/>
                    </a:lnTo>
                    <a:lnTo>
                      <a:pt x="14" y="10"/>
                    </a:lnTo>
                    <a:lnTo>
                      <a:pt x="14" y="10"/>
                    </a:lnTo>
                    <a:lnTo>
                      <a:pt x="16" y="8"/>
                    </a:lnTo>
                    <a:lnTo>
                      <a:pt x="16" y="8"/>
                    </a:lnTo>
                    <a:lnTo>
                      <a:pt x="18" y="6"/>
                    </a:lnTo>
                    <a:lnTo>
                      <a:pt x="18" y="6"/>
                    </a:lnTo>
                    <a:lnTo>
                      <a:pt x="18" y="4"/>
                    </a:lnTo>
                    <a:lnTo>
                      <a:pt x="18" y="2"/>
                    </a:lnTo>
                    <a:lnTo>
                      <a:pt x="18" y="2"/>
                    </a:lnTo>
                    <a:lnTo>
                      <a:pt x="18"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28" name="Freeform 191"/>
              <p:cNvSpPr>
                <a:spLocks/>
              </p:cNvSpPr>
              <p:nvPr/>
            </p:nvSpPr>
            <p:spPr bwMode="auto">
              <a:xfrm>
                <a:off x="7247228" y="4829342"/>
                <a:ext cx="28575" cy="9525"/>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29" name="Freeform 193"/>
              <p:cNvSpPr>
                <a:spLocks/>
              </p:cNvSpPr>
              <p:nvPr/>
            </p:nvSpPr>
            <p:spPr bwMode="auto">
              <a:xfrm>
                <a:off x="6485228" y="4645192"/>
                <a:ext cx="273050" cy="298450"/>
              </a:xfrm>
              <a:custGeom>
                <a:avLst/>
                <a:gdLst>
                  <a:gd name="T0" fmla="*/ 62 w 172"/>
                  <a:gd name="T1" fmla="*/ 28 h 188"/>
                  <a:gd name="T2" fmla="*/ 50 w 172"/>
                  <a:gd name="T3" fmla="*/ 24 h 188"/>
                  <a:gd name="T4" fmla="*/ 44 w 172"/>
                  <a:gd name="T5" fmla="*/ 22 h 188"/>
                  <a:gd name="T6" fmla="*/ 42 w 172"/>
                  <a:gd name="T7" fmla="*/ 20 h 188"/>
                  <a:gd name="T8" fmla="*/ 34 w 172"/>
                  <a:gd name="T9" fmla="*/ 10 h 188"/>
                  <a:gd name="T10" fmla="*/ 28 w 172"/>
                  <a:gd name="T11" fmla="*/ 4 h 188"/>
                  <a:gd name="T12" fmla="*/ 26 w 172"/>
                  <a:gd name="T13" fmla="*/ 0 h 188"/>
                  <a:gd name="T14" fmla="*/ 20 w 172"/>
                  <a:gd name="T15" fmla="*/ 0 h 188"/>
                  <a:gd name="T16" fmla="*/ 10 w 172"/>
                  <a:gd name="T17" fmla="*/ 0 h 188"/>
                  <a:gd name="T18" fmla="*/ 4 w 172"/>
                  <a:gd name="T19" fmla="*/ 2 h 188"/>
                  <a:gd name="T20" fmla="*/ 2 w 172"/>
                  <a:gd name="T21" fmla="*/ 4 h 188"/>
                  <a:gd name="T22" fmla="*/ 0 w 172"/>
                  <a:gd name="T23" fmla="*/ 8 h 188"/>
                  <a:gd name="T24" fmla="*/ 0 w 172"/>
                  <a:gd name="T25" fmla="*/ 12 h 188"/>
                  <a:gd name="T26" fmla="*/ 2 w 172"/>
                  <a:gd name="T27" fmla="*/ 14 h 188"/>
                  <a:gd name="T28" fmla="*/ 6 w 172"/>
                  <a:gd name="T29" fmla="*/ 18 h 188"/>
                  <a:gd name="T30" fmla="*/ 20 w 172"/>
                  <a:gd name="T31" fmla="*/ 26 h 188"/>
                  <a:gd name="T32" fmla="*/ 26 w 172"/>
                  <a:gd name="T33" fmla="*/ 30 h 188"/>
                  <a:gd name="T34" fmla="*/ 38 w 172"/>
                  <a:gd name="T35" fmla="*/ 40 h 188"/>
                  <a:gd name="T36" fmla="*/ 58 w 172"/>
                  <a:gd name="T37" fmla="*/ 56 h 188"/>
                  <a:gd name="T38" fmla="*/ 64 w 172"/>
                  <a:gd name="T39" fmla="*/ 62 h 188"/>
                  <a:gd name="T40" fmla="*/ 66 w 172"/>
                  <a:gd name="T41" fmla="*/ 66 h 188"/>
                  <a:gd name="T42" fmla="*/ 68 w 172"/>
                  <a:gd name="T43" fmla="*/ 74 h 188"/>
                  <a:gd name="T44" fmla="*/ 70 w 172"/>
                  <a:gd name="T45" fmla="*/ 86 h 188"/>
                  <a:gd name="T46" fmla="*/ 76 w 172"/>
                  <a:gd name="T47" fmla="*/ 100 h 188"/>
                  <a:gd name="T48" fmla="*/ 84 w 172"/>
                  <a:gd name="T49" fmla="*/ 114 h 188"/>
                  <a:gd name="T50" fmla="*/ 102 w 172"/>
                  <a:gd name="T51" fmla="*/ 136 h 188"/>
                  <a:gd name="T52" fmla="*/ 122 w 172"/>
                  <a:gd name="T53" fmla="*/ 160 h 188"/>
                  <a:gd name="T54" fmla="*/ 136 w 172"/>
                  <a:gd name="T55" fmla="*/ 176 h 188"/>
                  <a:gd name="T56" fmla="*/ 140 w 172"/>
                  <a:gd name="T57" fmla="*/ 184 h 188"/>
                  <a:gd name="T58" fmla="*/ 144 w 172"/>
                  <a:gd name="T59" fmla="*/ 186 h 188"/>
                  <a:gd name="T60" fmla="*/ 148 w 172"/>
                  <a:gd name="T61" fmla="*/ 188 h 188"/>
                  <a:gd name="T62" fmla="*/ 152 w 172"/>
                  <a:gd name="T63" fmla="*/ 186 h 188"/>
                  <a:gd name="T64" fmla="*/ 160 w 172"/>
                  <a:gd name="T65" fmla="*/ 184 h 188"/>
                  <a:gd name="T66" fmla="*/ 164 w 172"/>
                  <a:gd name="T67" fmla="*/ 182 h 188"/>
                  <a:gd name="T68" fmla="*/ 168 w 172"/>
                  <a:gd name="T69" fmla="*/ 178 h 188"/>
                  <a:gd name="T70" fmla="*/ 172 w 172"/>
                  <a:gd name="T71" fmla="*/ 174 h 188"/>
                  <a:gd name="T72" fmla="*/ 172 w 172"/>
                  <a:gd name="T73" fmla="*/ 172 h 188"/>
                  <a:gd name="T74" fmla="*/ 168 w 172"/>
                  <a:gd name="T75" fmla="*/ 164 h 188"/>
                  <a:gd name="T76" fmla="*/ 166 w 172"/>
                  <a:gd name="T77" fmla="*/ 158 h 188"/>
                  <a:gd name="T78" fmla="*/ 168 w 172"/>
                  <a:gd name="T79" fmla="*/ 146 h 188"/>
                  <a:gd name="T80" fmla="*/ 168 w 172"/>
                  <a:gd name="T81" fmla="*/ 140 h 188"/>
                  <a:gd name="T82" fmla="*/ 166 w 172"/>
                  <a:gd name="T83" fmla="*/ 136 h 188"/>
                  <a:gd name="T84" fmla="*/ 162 w 172"/>
                  <a:gd name="T85" fmla="*/ 132 h 188"/>
                  <a:gd name="T86" fmla="*/ 160 w 172"/>
                  <a:gd name="T87" fmla="*/ 128 h 188"/>
                  <a:gd name="T88" fmla="*/ 156 w 172"/>
                  <a:gd name="T89" fmla="*/ 126 h 188"/>
                  <a:gd name="T90" fmla="*/ 148 w 172"/>
                  <a:gd name="T91" fmla="*/ 124 h 188"/>
                  <a:gd name="T92" fmla="*/ 140 w 172"/>
                  <a:gd name="T93" fmla="*/ 122 h 188"/>
                  <a:gd name="T94" fmla="*/ 136 w 172"/>
                  <a:gd name="T95" fmla="*/ 120 h 188"/>
                  <a:gd name="T96" fmla="*/ 136 w 172"/>
                  <a:gd name="T97" fmla="*/ 118 h 188"/>
                  <a:gd name="T98" fmla="*/ 136 w 172"/>
                  <a:gd name="T99" fmla="*/ 112 h 188"/>
                  <a:gd name="T100" fmla="*/ 136 w 172"/>
                  <a:gd name="T101" fmla="*/ 108 h 188"/>
                  <a:gd name="T102" fmla="*/ 130 w 172"/>
                  <a:gd name="T103" fmla="*/ 100 h 188"/>
                  <a:gd name="T104" fmla="*/ 128 w 172"/>
                  <a:gd name="T105" fmla="*/ 96 h 188"/>
                  <a:gd name="T106" fmla="*/ 128 w 172"/>
                  <a:gd name="T107" fmla="*/ 86 h 188"/>
                  <a:gd name="T108" fmla="*/ 128 w 172"/>
                  <a:gd name="T109" fmla="*/ 82 h 188"/>
                  <a:gd name="T110" fmla="*/ 126 w 172"/>
                  <a:gd name="T111" fmla="*/ 78 h 188"/>
                  <a:gd name="T112" fmla="*/ 122 w 172"/>
                  <a:gd name="T113" fmla="*/ 72 h 188"/>
                  <a:gd name="T114" fmla="*/ 112 w 172"/>
                  <a:gd name="T115" fmla="*/ 64 h 188"/>
                  <a:gd name="T116" fmla="*/ 102 w 172"/>
                  <a:gd name="T117" fmla="*/ 60 h 188"/>
                  <a:gd name="T118" fmla="*/ 92 w 172"/>
                  <a:gd name="T119" fmla="*/ 54 h 188"/>
                  <a:gd name="T120" fmla="*/ 78 w 172"/>
                  <a:gd name="T121" fmla="*/ 42 h 188"/>
                  <a:gd name="T122" fmla="*/ 68 w 172"/>
                  <a:gd name="T123" fmla="*/ 3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88">
                    <a:moveTo>
                      <a:pt x="64" y="30"/>
                    </a:moveTo>
                    <a:lnTo>
                      <a:pt x="64" y="30"/>
                    </a:lnTo>
                    <a:lnTo>
                      <a:pt x="62" y="28"/>
                    </a:lnTo>
                    <a:lnTo>
                      <a:pt x="60" y="28"/>
                    </a:lnTo>
                    <a:lnTo>
                      <a:pt x="54" y="26"/>
                    </a:lnTo>
                    <a:lnTo>
                      <a:pt x="50" y="24"/>
                    </a:lnTo>
                    <a:lnTo>
                      <a:pt x="48" y="24"/>
                    </a:lnTo>
                    <a:lnTo>
                      <a:pt x="46" y="22"/>
                    </a:lnTo>
                    <a:lnTo>
                      <a:pt x="44" y="22"/>
                    </a:lnTo>
                    <a:lnTo>
                      <a:pt x="44" y="20"/>
                    </a:lnTo>
                    <a:lnTo>
                      <a:pt x="42" y="20"/>
                    </a:lnTo>
                    <a:lnTo>
                      <a:pt x="42" y="20"/>
                    </a:lnTo>
                    <a:lnTo>
                      <a:pt x="38" y="16"/>
                    </a:lnTo>
                    <a:lnTo>
                      <a:pt x="36" y="14"/>
                    </a:lnTo>
                    <a:lnTo>
                      <a:pt x="34" y="10"/>
                    </a:lnTo>
                    <a:lnTo>
                      <a:pt x="32" y="8"/>
                    </a:lnTo>
                    <a:lnTo>
                      <a:pt x="30" y="4"/>
                    </a:lnTo>
                    <a:lnTo>
                      <a:pt x="28" y="4"/>
                    </a:lnTo>
                    <a:lnTo>
                      <a:pt x="28" y="2"/>
                    </a:lnTo>
                    <a:lnTo>
                      <a:pt x="26" y="2"/>
                    </a:lnTo>
                    <a:lnTo>
                      <a:pt x="26" y="0"/>
                    </a:lnTo>
                    <a:lnTo>
                      <a:pt x="24" y="0"/>
                    </a:lnTo>
                    <a:lnTo>
                      <a:pt x="24" y="0"/>
                    </a:lnTo>
                    <a:lnTo>
                      <a:pt x="20" y="0"/>
                    </a:lnTo>
                    <a:lnTo>
                      <a:pt x="18" y="0"/>
                    </a:lnTo>
                    <a:lnTo>
                      <a:pt x="14" y="0"/>
                    </a:lnTo>
                    <a:lnTo>
                      <a:pt x="10" y="0"/>
                    </a:lnTo>
                    <a:lnTo>
                      <a:pt x="8" y="2"/>
                    </a:lnTo>
                    <a:lnTo>
                      <a:pt x="6" y="2"/>
                    </a:lnTo>
                    <a:lnTo>
                      <a:pt x="4" y="2"/>
                    </a:lnTo>
                    <a:lnTo>
                      <a:pt x="4" y="2"/>
                    </a:lnTo>
                    <a:lnTo>
                      <a:pt x="2" y="4"/>
                    </a:lnTo>
                    <a:lnTo>
                      <a:pt x="2" y="4"/>
                    </a:lnTo>
                    <a:lnTo>
                      <a:pt x="2" y="6"/>
                    </a:lnTo>
                    <a:lnTo>
                      <a:pt x="0" y="6"/>
                    </a:lnTo>
                    <a:lnTo>
                      <a:pt x="0" y="8"/>
                    </a:lnTo>
                    <a:lnTo>
                      <a:pt x="0" y="8"/>
                    </a:lnTo>
                    <a:lnTo>
                      <a:pt x="0" y="10"/>
                    </a:lnTo>
                    <a:lnTo>
                      <a:pt x="0" y="12"/>
                    </a:lnTo>
                    <a:lnTo>
                      <a:pt x="0" y="12"/>
                    </a:lnTo>
                    <a:lnTo>
                      <a:pt x="0" y="14"/>
                    </a:lnTo>
                    <a:lnTo>
                      <a:pt x="2" y="14"/>
                    </a:lnTo>
                    <a:lnTo>
                      <a:pt x="4" y="16"/>
                    </a:lnTo>
                    <a:lnTo>
                      <a:pt x="4" y="18"/>
                    </a:lnTo>
                    <a:lnTo>
                      <a:pt x="6" y="18"/>
                    </a:lnTo>
                    <a:lnTo>
                      <a:pt x="8" y="20"/>
                    </a:lnTo>
                    <a:lnTo>
                      <a:pt x="12" y="22"/>
                    </a:lnTo>
                    <a:lnTo>
                      <a:pt x="20" y="26"/>
                    </a:lnTo>
                    <a:lnTo>
                      <a:pt x="24" y="28"/>
                    </a:lnTo>
                    <a:lnTo>
                      <a:pt x="26" y="28"/>
                    </a:lnTo>
                    <a:lnTo>
                      <a:pt x="26" y="30"/>
                    </a:lnTo>
                    <a:lnTo>
                      <a:pt x="30" y="32"/>
                    </a:lnTo>
                    <a:lnTo>
                      <a:pt x="32" y="34"/>
                    </a:lnTo>
                    <a:lnTo>
                      <a:pt x="38" y="40"/>
                    </a:lnTo>
                    <a:lnTo>
                      <a:pt x="50" y="50"/>
                    </a:lnTo>
                    <a:lnTo>
                      <a:pt x="54" y="52"/>
                    </a:lnTo>
                    <a:lnTo>
                      <a:pt x="58" y="56"/>
                    </a:lnTo>
                    <a:lnTo>
                      <a:pt x="60" y="58"/>
                    </a:lnTo>
                    <a:lnTo>
                      <a:pt x="62" y="60"/>
                    </a:lnTo>
                    <a:lnTo>
                      <a:pt x="64" y="62"/>
                    </a:lnTo>
                    <a:lnTo>
                      <a:pt x="64" y="64"/>
                    </a:lnTo>
                    <a:lnTo>
                      <a:pt x="66" y="64"/>
                    </a:lnTo>
                    <a:lnTo>
                      <a:pt x="66" y="66"/>
                    </a:lnTo>
                    <a:lnTo>
                      <a:pt x="66" y="68"/>
                    </a:lnTo>
                    <a:lnTo>
                      <a:pt x="66" y="72"/>
                    </a:lnTo>
                    <a:lnTo>
                      <a:pt x="68" y="74"/>
                    </a:lnTo>
                    <a:lnTo>
                      <a:pt x="68" y="80"/>
                    </a:lnTo>
                    <a:lnTo>
                      <a:pt x="70" y="82"/>
                    </a:lnTo>
                    <a:lnTo>
                      <a:pt x="70" y="86"/>
                    </a:lnTo>
                    <a:lnTo>
                      <a:pt x="72" y="90"/>
                    </a:lnTo>
                    <a:lnTo>
                      <a:pt x="74" y="94"/>
                    </a:lnTo>
                    <a:lnTo>
                      <a:pt x="76" y="100"/>
                    </a:lnTo>
                    <a:lnTo>
                      <a:pt x="78" y="104"/>
                    </a:lnTo>
                    <a:lnTo>
                      <a:pt x="82" y="108"/>
                    </a:lnTo>
                    <a:lnTo>
                      <a:pt x="84" y="114"/>
                    </a:lnTo>
                    <a:lnTo>
                      <a:pt x="88" y="118"/>
                    </a:lnTo>
                    <a:lnTo>
                      <a:pt x="94" y="124"/>
                    </a:lnTo>
                    <a:lnTo>
                      <a:pt x="102" y="136"/>
                    </a:lnTo>
                    <a:lnTo>
                      <a:pt x="108" y="144"/>
                    </a:lnTo>
                    <a:lnTo>
                      <a:pt x="114" y="152"/>
                    </a:lnTo>
                    <a:lnTo>
                      <a:pt x="122" y="160"/>
                    </a:lnTo>
                    <a:lnTo>
                      <a:pt x="130" y="168"/>
                    </a:lnTo>
                    <a:lnTo>
                      <a:pt x="136" y="176"/>
                    </a:lnTo>
                    <a:lnTo>
                      <a:pt x="136" y="176"/>
                    </a:lnTo>
                    <a:lnTo>
                      <a:pt x="138" y="178"/>
                    </a:lnTo>
                    <a:lnTo>
                      <a:pt x="140" y="182"/>
                    </a:lnTo>
                    <a:lnTo>
                      <a:pt x="140" y="184"/>
                    </a:lnTo>
                    <a:lnTo>
                      <a:pt x="142" y="186"/>
                    </a:lnTo>
                    <a:lnTo>
                      <a:pt x="142" y="186"/>
                    </a:lnTo>
                    <a:lnTo>
                      <a:pt x="144" y="186"/>
                    </a:lnTo>
                    <a:lnTo>
                      <a:pt x="144" y="186"/>
                    </a:lnTo>
                    <a:lnTo>
                      <a:pt x="146" y="188"/>
                    </a:lnTo>
                    <a:lnTo>
                      <a:pt x="148" y="188"/>
                    </a:lnTo>
                    <a:lnTo>
                      <a:pt x="150" y="188"/>
                    </a:lnTo>
                    <a:lnTo>
                      <a:pt x="150" y="186"/>
                    </a:lnTo>
                    <a:lnTo>
                      <a:pt x="152" y="186"/>
                    </a:lnTo>
                    <a:lnTo>
                      <a:pt x="154" y="186"/>
                    </a:lnTo>
                    <a:lnTo>
                      <a:pt x="156" y="186"/>
                    </a:lnTo>
                    <a:lnTo>
                      <a:pt x="160" y="184"/>
                    </a:lnTo>
                    <a:lnTo>
                      <a:pt x="160" y="184"/>
                    </a:lnTo>
                    <a:lnTo>
                      <a:pt x="162" y="182"/>
                    </a:lnTo>
                    <a:lnTo>
                      <a:pt x="164" y="182"/>
                    </a:lnTo>
                    <a:lnTo>
                      <a:pt x="166" y="180"/>
                    </a:lnTo>
                    <a:lnTo>
                      <a:pt x="168" y="180"/>
                    </a:lnTo>
                    <a:lnTo>
                      <a:pt x="168" y="178"/>
                    </a:lnTo>
                    <a:lnTo>
                      <a:pt x="170" y="176"/>
                    </a:lnTo>
                    <a:lnTo>
                      <a:pt x="170" y="176"/>
                    </a:lnTo>
                    <a:lnTo>
                      <a:pt x="172" y="174"/>
                    </a:lnTo>
                    <a:lnTo>
                      <a:pt x="172" y="174"/>
                    </a:lnTo>
                    <a:lnTo>
                      <a:pt x="172" y="174"/>
                    </a:lnTo>
                    <a:lnTo>
                      <a:pt x="172" y="172"/>
                    </a:lnTo>
                    <a:lnTo>
                      <a:pt x="170" y="170"/>
                    </a:lnTo>
                    <a:lnTo>
                      <a:pt x="170" y="168"/>
                    </a:lnTo>
                    <a:lnTo>
                      <a:pt x="168" y="164"/>
                    </a:lnTo>
                    <a:lnTo>
                      <a:pt x="168" y="160"/>
                    </a:lnTo>
                    <a:lnTo>
                      <a:pt x="166" y="160"/>
                    </a:lnTo>
                    <a:lnTo>
                      <a:pt x="166" y="158"/>
                    </a:lnTo>
                    <a:lnTo>
                      <a:pt x="166" y="154"/>
                    </a:lnTo>
                    <a:lnTo>
                      <a:pt x="168" y="150"/>
                    </a:lnTo>
                    <a:lnTo>
                      <a:pt x="168" y="146"/>
                    </a:lnTo>
                    <a:lnTo>
                      <a:pt x="168" y="144"/>
                    </a:lnTo>
                    <a:lnTo>
                      <a:pt x="168" y="142"/>
                    </a:lnTo>
                    <a:lnTo>
                      <a:pt x="168" y="140"/>
                    </a:lnTo>
                    <a:lnTo>
                      <a:pt x="166" y="140"/>
                    </a:lnTo>
                    <a:lnTo>
                      <a:pt x="166" y="138"/>
                    </a:lnTo>
                    <a:lnTo>
                      <a:pt x="166" y="136"/>
                    </a:lnTo>
                    <a:lnTo>
                      <a:pt x="164" y="134"/>
                    </a:lnTo>
                    <a:lnTo>
                      <a:pt x="164" y="134"/>
                    </a:lnTo>
                    <a:lnTo>
                      <a:pt x="162" y="132"/>
                    </a:lnTo>
                    <a:lnTo>
                      <a:pt x="162" y="130"/>
                    </a:lnTo>
                    <a:lnTo>
                      <a:pt x="160" y="128"/>
                    </a:lnTo>
                    <a:lnTo>
                      <a:pt x="160" y="128"/>
                    </a:lnTo>
                    <a:lnTo>
                      <a:pt x="158" y="128"/>
                    </a:lnTo>
                    <a:lnTo>
                      <a:pt x="158" y="126"/>
                    </a:lnTo>
                    <a:lnTo>
                      <a:pt x="156" y="126"/>
                    </a:lnTo>
                    <a:lnTo>
                      <a:pt x="154" y="126"/>
                    </a:lnTo>
                    <a:lnTo>
                      <a:pt x="152" y="126"/>
                    </a:lnTo>
                    <a:lnTo>
                      <a:pt x="148" y="124"/>
                    </a:lnTo>
                    <a:lnTo>
                      <a:pt x="144" y="124"/>
                    </a:lnTo>
                    <a:lnTo>
                      <a:pt x="140" y="124"/>
                    </a:lnTo>
                    <a:lnTo>
                      <a:pt x="140" y="122"/>
                    </a:lnTo>
                    <a:lnTo>
                      <a:pt x="138" y="122"/>
                    </a:lnTo>
                    <a:lnTo>
                      <a:pt x="138" y="122"/>
                    </a:lnTo>
                    <a:lnTo>
                      <a:pt x="136" y="120"/>
                    </a:lnTo>
                    <a:lnTo>
                      <a:pt x="136" y="120"/>
                    </a:lnTo>
                    <a:lnTo>
                      <a:pt x="136" y="120"/>
                    </a:lnTo>
                    <a:lnTo>
                      <a:pt x="136" y="118"/>
                    </a:lnTo>
                    <a:lnTo>
                      <a:pt x="136" y="116"/>
                    </a:lnTo>
                    <a:lnTo>
                      <a:pt x="136" y="116"/>
                    </a:lnTo>
                    <a:lnTo>
                      <a:pt x="136" y="112"/>
                    </a:lnTo>
                    <a:lnTo>
                      <a:pt x="136" y="112"/>
                    </a:lnTo>
                    <a:lnTo>
                      <a:pt x="136" y="110"/>
                    </a:lnTo>
                    <a:lnTo>
                      <a:pt x="136" y="108"/>
                    </a:lnTo>
                    <a:lnTo>
                      <a:pt x="136" y="108"/>
                    </a:lnTo>
                    <a:lnTo>
                      <a:pt x="134" y="104"/>
                    </a:lnTo>
                    <a:lnTo>
                      <a:pt x="130" y="100"/>
                    </a:lnTo>
                    <a:lnTo>
                      <a:pt x="130" y="98"/>
                    </a:lnTo>
                    <a:lnTo>
                      <a:pt x="128" y="98"/>
                    </a:lnTo>
                    <a:lnTo>
                      <a:pt x="128" y="96"/>
                    </a:lnTo>
                    <a:lnTo>
                      <a:pt x="128" y="94"/>
                    </a:lnTo>
                    <a:lnTo>
                      <a:pt x="128" y="88"/>
                    </a:lnTo>
                    <a:lnTo>
                      <a:pt x="128" y="86"/>
                    </a:lnTo>
                    <a:lnTo>
                      <a:pt x="128" y="84"/>
                    </a:lnTo>
                    <a:lnTo>
                      <a:pt x="128" y="82"/>
                    </a:lnTo>
                    <a:lnTo>
                      <a:pt x="128" y="82"/>
                    </a:lnTo>
                    <a:lnTo>
                      <a:pt x="128" y="80"/>
                    </a:lnTo>
                    <a:lnTo>
                      <a:pt x="128" y="80"/>
                    </a:lnTo>
                    <a:lnTo>
                      <a:pt x="126" y="78"/>
                    </a:lnTo>
                    <a:lnTo>
                      <a:pt x="126" y="76"/>
                    </a:lnTo>
                    <a:lnTo>
                      <a:pt x="124" y="74"/>
                    </a:lnTo>
                    <a:lnTo>
                      <a:pt x="122" y="72"/>
                    </a:lnTo>
                    <a:lnTo>
                      <a:pt x="118" y="70"/>
                    </a:lnTo>
                    <a:lnTo>
                      <a:pt x="116" y="68"/>
                    </a:lnTo>
                    <a:lnTo>
                      <a:pt x="112" y="64"/>
                    </a:lnTo>
                    <a:lnTo>
                      <a:pt x="110" y="64"/>
                    </a:lnTo>
                    <a:lnTo>
                      <a:pt x="108" y="62"/>
                    </a:lnTo>
                    <a:lnTo>
                      <a:pt x="102" y="60"/>
                    </a:lnTo>
                    <a:lnTo>
                      <a:pt x="96" y="56"/>
                    </a:lnTo>
                    <a:lnTo>
                      <a:pt x="94" y="54"/>
                    </a:lnTo>
                    <a:lnTo>
                      <a:pt x="92" y="54"/>
                    </a:lnTo>
                    <a:lnTo>
                      <a:pt x="90" y="52"/>
                    </a:lnTo>
                    <a:lnTo>
                      <a:pt x="86" y="48"/>
                    </a:lnTo>
                    <a:lnTo>
                      <a:pt x="78" y="42"/>
                    </a:lnTo>
                    <a:lnTo>
                      <a:pt x="74" y="38"/>
                    </a:lnTo>
                    <a:lnTo>
                      <a:pt x="72" y="34"/>
                    </a:lnTo>
                    <a:lnTo>
                      <a:pt x="68" y="32"/>
                    </a:lnTo>
                    <a:lnTo>
                      <a:pt x="66" y="30"/>
                    </a:lnTo>
                    <a:lnTo>
                      <a:pt x="64" y="3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0" name="Freeform 198"/>
              <p:cNvSpPr>
                <a:spLocks/>
              </p:cNvSpPr>
              <p:nvPr/>
            </p:nvSpPr>
            <p:spPr bwMode="auto">
              <a:xfrm>
                <a:off x="6739228" y="4819817"/>
                <a:ext cx="38100" cy="41275"/>
              </a:xfrm>
              <a:custGeom>
                <a:avLst/>
                <a:gdLst>
                  <a:gd name="T0" fmla="*/ 0 w 24"/>
                  <a:gd name="T1" fmla="*/ 0 h 26"/>
                  <a:gd name="T2" fmla="*/ 0 w 24"/>
                  <a:gd name="T3" fmla="*/ 0 h 26"/>
                  <a:gd name="T4" fmla="*/ 0 w 24"/>
                  <a:gd name="T5" fmla="*/ 0 h 26"/>
                  <a:gd name="T6" fmla="*/ 0 w 24"/>
                  <a:gd name="T7" fmla="*/ 2 h 26"/>
                  <a:gd name="T8" fmla="*/ 2 w 24"/>
                  <a:gd name="T9" fmla="*/ 2 h 26"/>
                  <a:gd name="T10" fmla="*/ 2 w 24"/>
                  <a:gd name="T11" fmla="*/ 2 h 26"/>
                  <a:gd name="T12" fmla="*/ 4 w 24"/>
                  <a:gd name="T13" fmla="*/ 2 h 26"/>
                  <a:gd name="T14" fmla="*/ 6 w 24"/>
                  <a:gd name="T15" fmla="*/ 2 h 26"/>
                  <a:gd name="T16" fmla="*/ 8 w 24"/>
                  <a:gd name="T17" fmla="*/ 2 h 26"/>
                  <a:gd name="T18" fmla="*/ 10 w 24"/>
                  <a:gd name="T19" fmla="*/ 2 h 26"/>
                  <a:gd name="T20" fmla="*/ 12 w 24"/>
                  <a:gd name="T21" fmla="*/ 2 h 26"/>
                  <a:gd name="T22" fmla="*/ 12 w 24"/>
                  <a:gd name="T23" fmla="*/ 2 h 26"/>
                  <a:gd name="T24" fmla="*/ 12 w 24"/>
                  <a:gd name="T25" fmla="*/ 2 h 26"/>
                  <a:gd name="T26" fmla="*/ 14 w 24"/>
                  <a:gd name="T27" fmla="*/ 4 h 26"/>
                  <a:gd name="T28" fmla="*/ 16 w 24"/>
                  <a:gd name="T29" fmla="*/ 6 h 26"/>
                  <a:gd name="T30" fmla="*/ 18 w 24"/>
                  <a:gd name="T31" fmla="*/ 8 h 26"/>
                  <a:gd name="T32" fmla="*/ 20 w 24"/>
                  <a:gd name="T33" fmla="*/ 10 h 26"/>
                  <a:gd name="T34" fmla="*/ 20 w 24"/>
                  <a:gd name="T35" fmla="*/ 12 h 26"/>
                  <a:gd name="T36" fmla="*/ 22 w 24"/>
                  <a:gd name="T37" fmla="*/ 14 h 26"/>
                  <a:gd name="T38" fmla="*/ 22 w 24"/>
                  <a:gd name="T39" fmla="*/ 16 h 26"/>
                  <a:gd name="T40" fmla="*/ 24 w 24"/>
                  <a:gd name="T41" fmla="*/ 18 h 26"/>
                  <a:gd name="T42" fmla="*/ 24 w 24"/>
                  <a:gd name="T43" fmla="*/ 20 h 26"/>
                  <a:gd name="T44" fmla="*/ 24 w 24"/>
                  <a:gd name="T45" fmla="*/ 22 h 26"/>
                  <a:gd name="T46" fmla="*/ 24 w 24"/>
                  <a:gd name="T47" fmla="*/ 22 h 26"/>
                  <a:gd name="T48" fmla="*/ 24 w 24"/>
                  <a:gd name="T49" fmla="*/ 22 h 26"/>
                  <a:gd name="T50" fmla="*/ 24 w 24"/>
                  <a:gd name="T51" fmla="*/ 24 h 26"/>
                  <a:gd name="T52" fmla="*/ 24 w 24"/>
                  <a:gd name="T53" fmla="*/ 24 h 26"/>
                  <a:gd name="T54" fmla="*/ 24 w 24"/>
                  <a:gd name="T55" fmla="*/ 24 h 26"/>
                  <a:gd name="T56" fmla="*/ 24 w 24"/>
                  <a:gd name="T57" fmla="*/ 24 h 26"/>
                  <a:gd name="T58" fmla="*/ 22 w 24"/>
                  <a:gd name="T59" fmla="*/ 26 h 26"/>
                  <a:gd name="T60" fmla="*/ 22 w 24"/>
                  <a:gd name="T61" fmla="*/ 26 h 26"/>
                  <a:gd name="T62" fmla="*/ 20 w 24"/>
                  <a:gd name="T63" fmla="*/ 26 h 26"/>
                  <a:gd name="T64" fmla="*/ 18 w 24"/>
                  <a:gd name="T65" fmla="*/ 26 h 26"/>
                  <a:gd name="T66" fmla="*/ 16 w 24"/>
                  <a:gd name="T67" fmla="*/ 26 h 26"/>
                  <a:gd name="T68" fmla="*/ 16 w 24"/>
                  <a:gd name="T69" fmla="*/ 26 h 26"/>
                  <a:gd name="T70" fmla="*/ 14 w 24"/>
                  <a:gd name="T71" fmla="*/ 26 h 26"/>
                  <a:gd name="T72" fmla="*/ 14 w 24"/>
                  <a:gd name="T73" fmla="*/ 26 h 26"/>
                  <a:gd name="T74" fmla="*/ 12 w 24"/>
                  <a:gd name="T75" fmla="*/ 24 h 26"/>
                  <a:gd name="T76" fmla="*/ 10 w 24"/>
                  <a:gd name="T77" fmla="*/ 24 h 26"/>
                  <a:gd name="T78" fmla="*/ 8 w 24"/>
                  <a:gd name="T79" fmla="*/ 22 h 26"/>
                  <a:gd name="T80" fmla="*/ 6 w 24"/>
                  <a:gd name="T81" fmla="*/ 20 h 26"/>
                  <a:gd name="T82" fmla="*/ 4 w 24"/>
                  <a:gd name="T83" fmla="*/ 16 h 26"/>
                  <a:gd name="T84" fmla="*/ 2 w 24"/>
                  <a:gd name="T85" fmla="*/ 14 h 26"/>
                  <a:gd name="T86" fmla="*/ 0 w 24"/>
                  <a:gd name="T87" fmla="*/ 12 h 26"/>
                  <a:gd name="T88" fmla="*/ 0 w 24"/>
                  <a:gd name="T89" fmla="*/ 10 h 26"/>
                  <a:gd name="T90" fmla="*/ 0 w 24"/>
                  <a:gd name="T91" fmla="*/ 10 h 26"/>
                  <a:gd name="T92" fmla="*/ 0 w 24"/>
                  <a:gd name="T93" fmla="*/ 10 h 26"/>
                  <a:gd name="T94" fmla="*/ 0 w 24"/>
                  <a:gd name="T95" fmla="*/ 8 h 26"/>
                  <a:gd name="T96" fmla="*/ 0 w 24"/>
                  <a:gd name="T97" fmla="*/ 6 h 26"/>
                  <a:gd name="T98" fmla="*/ 0 w 24"/>
                  <a:gd name="T99" fmla="*/ 2 h 26"/>
                  <a:gd name="T100" fmla="*/ 0 w 24"/>
                  <a:gd name="T101" fmla="*/ 2 h 26"/>
                  <a:gd name="T102" fmla="*/ 0 w 24"/>
                  <a:gd name="T10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6">
                    <a:moveTo>
                      <a:pt x="0" y="0"/>
                    </a:moveTo>
                    <a:lnTo>
                      <a:pt x="0" y="0"/>
                    </a:lnTo>
                    <a:lnTo>
                      <a:pt x="0" y="0"/>
                    </a:lnTo>
                    <a:lnTo>
                      <a:pt x="0" y="2"/>
                    </a:lnTo>
                    <a:lnTo>
                      <a:pt x="2" y="2"/>
                    </a:lnTo>
                    <a:lnTo>
                      <a:pt x="2" y="2"/>
                    </a:lnTo>
                    <a:lnTo>
                      <a:pt x="4" y="2"/>
                    </a:lnTo>
                    <a:lnTo>
                      <a:pt x="6" y="2"/>
                    </a:lnTo>
                    <a:lnTo>
                      <a:pt x="8" y="2"/>
                    </a:lnTo>
                    <a:lnTo>
                      <a:pt x="10" y="2"/>
                    </a:lnTo>
                    <a:lnTo>
                      <a:pt x="12" y="2"/>
                    </a:lnTo>
                    <a:lnTo>
                      <a:pt x="12" y="2"/>
                    </a:lnTo>
                    <a:lnTo>
                      <a:pt x="12" y="2"/>
                    </a:lnTo>
                    <a:lnTo>
                      <a:pt x="14" y="4"/>
                    </a:lnTo>
                    <a:lnTo>
                      <a:pt x="16" y="6"/>
                    </a:lnTo>
                    <a:lnTo>
                      <a:pt x="18" y="8"/>
                    </a:lnTo>
                    <a:lnTo>
                      <a:pt x="20" y="10"/>
                    </a:lnTo>
                    <a:lnTo>
                      <a:pt x="20" y="12"/>
                    </a:lnTo>
                    <a:lnTo>
                      <a:pt x="22" y="14"/>
                    </a:lnTo>
                    <a:lnTo>
                      <a:pt x="22" y="16"/>
                    </a:lnTo>
                    <a:lnTo>
                      <a:pt x="24" y="18"/>
                    </a:lnTo>
                    <a:lnTo>
                      <a:pt x="24" y="20"/>
                    </a:lnTo>
                    <a:lnTo>
                      <a:pt x="24" y="22"/>
                    </a:lnTo>
                    <a:lnTo>
                      <a:pt x="24" y="22"/>
                    </a:lnTo>
                    <a:lnTo>
                      <a:pt x="24" y="22"/>
                    </a:lnTo>
                    <a:lnTo>
                      <a:pt x="24" y="24"/>
                    </a:lnTo>
                    <a:lnTo>
                      <a:pt x="24" y="24"/>
                    </a:lnTo>
                    <a:lnTo>
                      <a:pt x="24" y="24"/>
                    </a:lnTo>
                    <a:lnTo>
                      <a:pt x="24" y="24"/>
                    </a:lnTo>
                    <a:lnTo>
                      <a:pt x="22" y="26"/>
                    </a:lnTo>
                    <a:lnTo>
                      <a:pt x="22" y="26"/>
                    </a:lnTo>
                    <a:lnTo>
                      <a:pt x="20" y="26"/>
                    </a:lnTo>
                    <a:lnTo>
                      <a:pt x="18" y="26"/>
                    </a:lnTo>
                    <a:lnTo>
                      <a:pt x="16" y="26"/>
                    </a:lnTo>
                    <a:lnTo>
                      <a:pt x="16" y="26"/>
                    </a:lnTo>
                    <a:lnTo>
                      <a:pt x="14" y="26"/>
                    </a:lnTo>
                    <a:lnTo>
                      <a:pt x="14" y="26"/>
                    </a:lnTo>
                    <a:lnTo>
                      <a:pt x="12" y="24"/>
                    </a:lnTo>
                    <a:lnTo>
                      <a:pt x="10" y="24"/>
                    </a:lnTo>
                    <a:lnTo>
                      <a:pt x="8" y="22"/>
                    </a:lnTo>
                    <a:lnTo>
                      <a:pt x="6" y="20"/>
                    </a:lnTo>
                    <a:lnTo>
                      <a:pt x="4" y="16"/>
                    </a:lnTo>
                    <a:lnTo>
                      <a:pt x="2" y="14"/>
                    </a:lnTo>
                    <a:lnTo>
                      <a:pt x="0" y="12"/>
                    </a:lnTo>
                    <a:lnTo>
                      <a:pt x="0" y="10"/>
                    </a:lnTo>
                    <a:lnTo>
                      <a:pt x="0" y="10"/>
                    </a:lnTo>
                    <a:lnTo>
                      <a:pt x="0" y="10"/>
                    </a:lnTo>
                    <a:lnTo>
                      <a:pt x="0" y="8"/>
                    </a:lnTo>
                    <a:lnTo>
                      <a:pt x="0" y="6"/>
                    </a:lnTo>
                    <a:lnTo>
                      <a:pt x="0" y="2"/>
                    </a:lnTo>
                    <a:lnTo>
                      <a:pt x="0" y="2"/>
                    </a:lnTo>
                    <a:lnTo>
                      <a:pt x="0"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1" name="Freeform 200"/>
              <p:cNvSpPr>
                <a:spLocks/>
              </p:cNvSpPr>
              <p:nvPr/>
            </p:nvSpPr>
            <p:spPr bwMode="auto">
              <a:xfrm>
                <a:off x="6742403" y="4937292"/>
                <a:ext cx="215900" cy="76200"/>
              </a:xfrm>
              <a:custGeom>
                <a:avLst/>
                <a:gdLst>
                  <a:gd name="T0" fmla="*/ 16 w 136"/>
                  <a:gd name="T1" fmla="*/ 2 h 48"/>
                  <a:gd name="T2" fmla="*/ 8 w 136"/>
                  <a:gd name="T3" fmla="*/ 6 h 48"/>
                  <a:gd name="T4" fmla="*/ 4 w 136"/>
                  <a:gd name="T5" fmla="*/ 10 h 48"/>
                  <a:gd name="T6" fmla="*/ 0 w 136"/>
                  <a:gd name="T7" fmla="*/ 14 h 48"/>
                  <a:gd name="T8" fmla="*/ 0 w 136"/>
                  <a:gd name="T9" fmla="*/ 16 h 48"/>
                  <a:gd name="T10" fmla="*/ 0 w 136"/>
                  <a:gd name="T11" fmla="*/ 20 h 48"/>
                  <a:gd name="T12" fmla="*/ 4 w 136"/>
                  <a:gd name="T13" fmla="*/ 26 h 48"/>
                  <a:gd name="T14" fmla="*/ 8 w 136"/>
                  <a:gd name="T15" fmla="*/ 30 h 48"/>
                  <a:gd name="T16" fmla="*/ 12 w 136"/>
                  <a:gd name="T17" fmla="*/ 32 h 48"/>
                  <a:gd name="T18" fmla="*/ 22 w 136"/>
                  <a:gd name="T19" fmla="*/ 30 h 48"/>
                  <a:gd name="T20" fmla="*/ 32 w 136"/>
                  <a:gd name="T21" fmla="*/ 30 h 48"/>
                  <a:gd name="T22" fmla="*/ 36 w 136"/>
                  <a:gd name="T23" fmla="*/ 30 h 48"/>
                  <a:gd name="T24" fmla="*/ 42 w 136"/>
                  <a:gd name="T25" fmla="*/ 34 h 48"/>
                  <a:gd name="T26" fmla="*/ 46 w 136"/>
                  <a:gd name="T27" fmla="*/ 36 h 48"/>
                  <a:gd name="T28" fmla="*/ 54 w 136"/>
                  <a:gd name="T29" fmla="*/ 36 h 48"/>
                  <a:gd name="T30" fmla="*/ 62 w 136"/>
                  <a:gd name="T31" fmla="*/ 34 h 48"/>
                  <a:gd name="T32" fmla="*/ 66 w 136"/>
                  <a:gd name="T33" fmla="*/ 34 h 48"/>
                  <a:gd name="T34" fmla="*/ 68 w 136"/>
                  <a:gd name="T35" fmla="*/ 36 h 48"/>
                  <a:gd name="T36" fmla="*/ 70 w 136"/>
                  <a:gd name="T37" fmla="*/ 40 h 48"/>
                  <a:gd name="T38" fmla="*/ 70 w 136"/>
                  <a:gd name="T39" fmla="*/ 44 h 48"/>
                  <a:gd name="T40" fmla="*/ 70 w 136"/>
                  <a:gd name="T41" fmla="*/ 46 h 48"/>
                  <a:gd name="T42" fmla="*/ 72 w 136"/>
                  <a:gd name="T43" fmla="*/ 48 h 48"/>
                  <a:gd name="T44" fmla="*/ 78 w 136"/>
                  <a:gd name="T45" fmla="*/ 48 h 48"/>
                  <a:gd name="T46" fmla="*/ 88 w 136"/>
                  <a:gd name="T47" fmla="*/ 48 h 48"/>
                  <a:gd name="T48" fmla="*/ 102 w 136"/>
                  <a:gd name="T49" fmla="*/ 46 h 48"/>
                  <a:gd name="T50" fmla="*/ 112 w 136"/>
                  <a:gd name="T51" fmla="*/ 46 h 48"/>
                  <a:gd name="T52" fmla="*/ 130 w 136"/>
                  <a:gd name="T53" fmla="*/ 46 h 48"/>
                  <a:gd name="T54" fmla="*/ 134 w 136"/>
                  <a:gd name="T55" fmla="*/ 46 h 48"/>
                  <a:gd name="T56" fmla="*/ 134 w 136"/>
                  <a:gd name="T57" fmla="*/ 46 h 48"/>
                  <a:gd name="T58" fmla="*/ 136 w 136"/>
                  <a:gd name="T59" fmla="*/ 42 h 48"/>
                  <a:gd name="T60" fmla="*/ 136 w 136"/>
                  <a:gd name="T61" fmla="*/ 36 h 48"/>
                  <a:gd name="T62" fmla="*/ 134 w 136"/>
                  <a:gd name="T63" fmla="*/ 34 h 48"/>
                  <a:gd name="T64" fmla="*/ 132 w 136"/>
                  <a:gd name="T65" fmla="*/ 32 h 48"/>
                  <a:gd name="T66" fmla="*/ 126 w 136"/>
                  <a:gd name="T67" fmla="*/ 30 h 48"/>
                  <a:gd name="T68" fmla="*/ 122 w 136"/>
                  <a:gd name="T69" fmla="*/ 28 h 48"/>
                  <a:gd name="T70" fmla="*/ 122 w 136"/>
                  <a:gd name="T71" fmla="*/ 28 h 48"/>
                  <a:gd name="T72" fmla="*/ 122 w 136"/>
                  <a:gd name="T73" fmla="*/ 24 h 48"/>
                  <a:gd name="T74" fmla="*/ 124 w 136"/>
                  <a:gd name="T75" fmla="*/ 18 h 48"/>
                  <a:gd name="T76" fmla="*/ 124 w 136"/>
                  <a:gd name="T77" fmla="*/ 16 h 48"/>
                  <a:gd name="T78" fmla="*/ 122 w 136"/>
                  <a:gd name="T79" fmla="*/ 16 h 48"/>
                  <a:gd name="T80" fmla="*/ 120 w 136"/>
                  <a:gd name="T81" fmla="*/ 16 h 48"/>
                  <a:gd name="T82" fmla="*/ 112 w 136"/>
                  <a:gd name="T83" fmla="*/ 18 h 48"/>
                  <a:gd name="T84" fmla="*/ 104 w 136"/>
                  <a:gd name="T85" fmla="*/ 18 h 48"/>
                  <a:gd name="T86" fmla="*/ 96 w 136"/>
                  <a:gd name="T87" fmla="*/ 16 h 48"/>
                  <a:gd name="T88" fmla="*/ 88 w 136"/>
                  <a:gd name="T89" fmla="*/ 12 h 48"/>
                  <a:gd name="T90" fmla="*/ 82 w 136"/>
                  <a:gd name="T91" fmla="*/ 8 h 48"/>
                  <a:gd name="T92" fmla="*/ 74 w 136"/>
                  <a:gd name="T93" fmla="*/ 8 h 48"/>
                  <a:gd name="T94" fmla="*/ 64 w 136"/>
                  <a:gd name="T95" fmla="*/ 8 h 48"/>
                  <a:gd name="T96" fmla="*/ 56 w 136"/>
                  <a:gd name="T97" fmla="*/ 6 h 48"/>
                  <a:gd name="T98" fmla="*/ 44 w 136"/>
                  <a:gd name="T99" fmla="*/ 0 h 48"/>
                  <a:gd name="T100" fmla="*/ 38 w 136"/>
                  <a:gd name="T101" fmla="*/ 0 h 48"/>
                  <a:gd name="T102" fmla="*/ 30 w 136"/>
                  <a:gd name="T103" fmla="*/ 0 h 48"/>
                  <a:gd name="T104" fmla="*/ 20 w 136"/>
                  <a:gd name="T10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48">
                    <a:moveTo>
                      <a:pt x="20" y="0"/>
                    </a:moveTo>
                    <a:lnTo>
                      <a:pt x="20" y="0"/>
                    </a:lnTo>
                    <a:lnTo>
                      <a:pt x="16" y="2"/>
                    </a:lnTo>
                    <a:lnTo>
                      <a:pt x="14" y="2"/>
                    </a:lnTo>
                    <a:lnTo>
                      <a:pt x="10" y="4"/>
                    </a:lnTo>
                    <a:lnTo>
                      <a:pt x="8" y="6"/>
                    </a:lnTo>
                    <a:lnTo>
                      <a:pt x="8" y="6"/>
                    </a:lnTo>
                    <a:lnTo>
                      <a:pt x="6" y="8"/>
                    </a:lnTo>
                    <a:lnTo>
                      <a:pt x="4" y="10"/>
                    </a:lnTo>
                    <a:lnTo>
                      <a:pt x="2" y="10"/>
                    </a:lnTo>
                    <a:lnTo>
                      <a:pt x="2" y="12"/>
                    </a:lnTo>
                    <a:lnTo>
                      <a:pt x="0" y="14"/>
                    </a:lnTo>
                    <a:lnTo>
                      <a:pt x="0" y="14"/>
                    </a:lnTo>
                    <a:lnTo>
                      <a:pt x="0" y="16"/>
                    </a:lnTo>
                    <a:lnTo>
                      <a:pt x="0" y="16"/>
                    </a:lnTo>
                    <a:lnTo>
                      <a:pt x="0" y="18"/>
                    </a:lnTo>
                    <a:lnTo>
                      <a:pt x="0" y="18"/>
                    </a:lnTo>
                    <a:lnTo>
                      <a:pt x="0" y="20"/>
                    </a:lnTo>
                    <a:lnTo>
                      <a:pt x="2" y="22"/>
                    </a:lnTo>
                    <a:lnTo>
                      <a:pt x="2" y="24"/>
                    </a:lnTo>
                    <a:lnTo>
                      <a:pt x="4" y="26"/>
                    </a:lnTo>
                    <a:lnTo>
                      <a:pt x="6" y="28"/>
                    </a:lnTo>
                    <a:lnTo>
                      <a:pt x="8" y="30"/>
                    </a:lnTo>
                    <a:lnTo>
                      <a:pt x="8" y="30"/>
                    </a:lnTo>
                    <a:lnTo>
                      <a:pt x="10" y="30"/>
                    </a:lnTo>
                    <a:lnTo>
                      <a:pt x="10" y="32"/>
                    </a:lnTo>
                    <a:lnTo>
                      <a:pt x="12" y="32"/>
                    </a:lnTo>
                    <a:lnTo>
                      <a:pt x="14" y="32"/>
                    </a:lnTo>
                    <a:lnTo>
                      <a:pt x="18" y="32"/>
                    </a:lnTo>
                    <a:lnTo>
                      <a:pt x="22" y="30"/>
                    </a:lnTo>
                    <a:lnTo>
                      <a:pt x="26" y="30"/>
                    </a:lnTo>
                    <a:lnTo>
                      <a:pt x="28" y="30"/>
                    </a:lnTo>
                    <a:lnTo>
                      <a:pt x="32" y="30"/>
                    </a:lnTo>
                    <a:lnTo>
                      <a:pt x="34" y="30"/>
                    </a:lnTo>
                    <a:lnTo>
                      <a:pt x="34" y="30"/>
                    </a:lnTo>
                    <a:lnTo>
                      <a:pt x="36" y="30"/>
                    </a:lnTo>
                    <a:lnTo>
                      <a:pt x="38" y="32"/>
                    </a:lnTo>
                    <a:lnTo>
                      <a:pt x="40" y="32"/>
                    </a:lnTo>
                    <a:lnTo>
                      <a:pt x="42" y="34"/>
                    </a:lnTo>
                    <a:lnTo>
                      <a:pt x="44" y="36"/>
                    </a:lnTo>
                    <a:lnTo>
                      <a:pt x="44" y="36"/>
                    </a:lnTo>
                    <a:lnTo>
                      <a:pt x="46" y="36"/>
                    </a:lnTo>
                    <a:lnTo>
                      <a:pt x="48" y="36"/>
                    </a:lnTo>
                    <a:lnTo>
                      <a:pt x="50" y="36"/>
                    </a:lnTo>
                    <a:lnTo>
                      <a:pt x="54" y="36"/>
                    </a:lnTo>
                    <a:lnTo>
                      <a:pt x="58" y="34"/>
                    </a:lnTo>
                    <a:lnTo>
                      <a:pt x="60" y="34"/>
                    </a:lnTo>
                    <a:lnTo>
                      <a:pt x="62" y="34"/>
                    </a:lnTo>
                    <a:lnTo>
                      <a:pt x="64" y="34"/>
                    </a:lnTo>
                    <a:lnTo>
                      <a:pt x="66" y="34"/>
                    </a:lnTo>
                    <a:lnTo>
                      <a:pt x="66" y="34"/>
                    </a:lnTo>
                    <a:lnTo>
                      <a:pt x="68" y="34"/>
                    </a:lnTo>
                    <a:lnTo>
                      <a:pt x="68" y="36"/>
                    </a:lnTo>
                    <a:lnTo>
                      <a:pt x="68" y="36"/>
                    </a:lnTo>
                    <a:lnTo>
                      <a:pt x="70" y="36"/>
                    </a:lnTo>
                    <a:lnTo>
                      <a:pt x="70" y="38"/>
                    </a:lnTo>
                    <a:lnTo>
                      <a:pt x="70" y="40"/>
                    </a:lnTo>
                    <a:lnTo>
                      <a:pt x="70" y="40"/>
                    </a:lnTo>
                    <a:lnTo>
                      <a:pt x="70" y="42"/>
                    </a:lnTo>
                    <a:lnTo>
                      <a:pt x="70" y="44"/>
                    </a:lnTo>
                    <a:lnTo>
                      <a:pt x="70" y="44"/>
                    </a:lnTo>
                    <a:lnTo>
                      <a:pt x="70" y="46"/>
                    </a:lnTo>
                    <a:lnTo>
                      <a:pt x="70" y="46"/>
                    </a:lnTo>
                    <a:lnTo>
                      <a:pt x="70" y="46"/>
                    </a:lnTo>
                    <a:lnTo>
                      <a:pt x="72" y="46"/>
                    </a:lnTo>
                    <a:lnTo>
                      <a:pt x="72" y="48"/>
                    </a:lnTo>
                    <a:lnTo>
                      <a:pt x="74" y="48"/>
                    </a:lnTo>
                    <a:lnTo>
                      <a:pt x="76" y="48"/>
                    </a:lnTo>
                    <a:lnTo>
                      <a:pt x="78" y="48"/>
                    </a:lnTo>
                    <a:lnTo>
                      <a:pt x="82" y="48"/>
                    </a:lnTo>
                    <a:lnTo>
                      <a:pt x="84" y="48"/>
                    </a:lnTo>
                    <a:lnTo>
                      <a:pt x="88" y="48"/>
                    </a:lnTo>
                    <a:lnTo>
                      <a:pt x="90" y="48"/>
                    </a:lnTo>
                    <a:lnTo>
                      <a:pt x="96" y="48"/>
                    </a:lnTo>
                    <a:lnTo>
                      <a:pt x="102" y="46"/>
                    </a:lnTo>
                    <a:lnTo>
                      <a:pt x="108" y="46"/>
                    </a:lnTo>
                    <a:lnTo>
                      <a:pt x="110" y="46"/>
                    </a:lnTo>
                    <a:lnTo>
                      <a:pt x="112" y="46"/>
                    </a:lnTo>
                    <a:lnTo>
                      <a:pt x="124" y="46"/>
                    </a:lnTo>
                    <a:lnTo>
                      <a:pt x="126" y="46"/>
                    </a:lnTo>
                    <a:lnTo>
                      <a:pt x="130" y="46"/>
                    </a:lnTo>
                    <a:lnTo>
                      <a:pt x="130" y="46"/>
                    </a:lnTo>
                    <a:lnTo>
                      <a:pt x="132" y="46"/>
                    </a:lnTo>
                    <a:lnTo>
                      <a:pt x="134" y="46"/>
                    </a:lnTo>
                    <a:lnTo>
                      <a:pt x="134" y="46"/>
                    </a:lnTo>
                    <a:lnTo>
                      <a:pt x="134" y="46"/>
                    </a:lnTo>
                    <a:lnTo>
                      <a:pt x="134" y="46"/>
                    </a:lnTo>
                    <a:lnTo>
                      <a:pt x="134" y="44"/>
                    </a:lnTo>
                    <a:lnTo>
                      <a:pt x="136" y="44"/>
                    </a:lnTo>
                    <a:lnTo>
                      <a:pt x="136" y="42"/>
                    </a:lnTo>
                    <a:lnTo>
                      <a:pt x="136" y="40"/>
                    </a:lnTo>
                    <a:lnTo>
                      <a:pt x="136" y="38"/>
                    </a:lnTo>
                    <a:lnTo>
                      <a:pt x="136" y="36"/>
                    </a:lnTo>
                    <a:lnTo>
                      <a:pt x="136" y="36"/>
                    </a:lnTo>
                    <a:lnTo>
                      <a:pt x="134" y="34"/>
                    </a:lnTo>
                    <a:lnTo>
                      <a:pt x="134" y="34"/>
                    </a:lnTo>
                    <a:lnTo>
                      <a:pt x="134" y="34"/>
                    </a:lnTo>
                    <a:lnTo>
                      <a:pt x="134" y="32"/>
                    </a:lnTo>
                    <a:lnTo>
                      <a:pt x="132" y="32"/>
                    </a:lnTo>
                    <a:lnTo>
                      <a:pt x="130" y="32"/>
                    </a:lnTo>
                    <a:lnTo>
                      <a:pt x="128" y="30"/>
                    </a:lnTo>
                    <a:lnTo>
                      <a:pt x="126" y="30"/>
                    </a:lnTo>
                    <a:lnTo>
                      <a:pt x="124" y="30"/>
                    </a:lnTo>
                    <a:lnTo>
                      <a:pt x="124" y="30"/>
                    </a:lnTo>
                    <a:lnTo>
                      <a:pt x="122" y="28"/>
                    </a:lnTo>
                    <a:lnTo>
                      <a:pt x="122" y="28"/>
                    </a:lnTo>
                    <a:lnTo>
                      <a:pt x="122" y="28"/>
                    </a:lnTo>
                    <a:lnTo>
                      <a:pt x="122" y="28"/>
                    </a:lnTo>
                    <a:lnTo>
                      <a:pt x="122" y="26"/>
                    </a:lnTo>
                    <a:lnTo>
                      <a:pt x="122" y="26"/>
                    </a:lnTo>
                    <a:lnTo>
                      <a:pt x="122" y="24"/>
                    </a:lnTo>
                    <a:lnTo>
                      <a:pt x="122" y="22"/>
                    </a:lnTo>
                    <a:lnTo>
                      <a:pt x="124" y="20"/>
                    </a:lnTo>
                    <a:lnTo>
                      <a:pt x="124" y="18"/>
                    </a:lnTo>
                    <a:lnTo>
                      <a:pt x="124" y="18"/>
                    </a:lnTo>
                    <a:lnTo>
                      <a:pt x="124" y="18"/>
                    </a:lnTo>
                    <a:lnTo>
                      <a:pt x="124" y="16"/>
                    </a:lnTo>
                    <a:lnTo>
                      <a:pt x="124" y="16"/>
                    </a:lnTo>
                    <a:lnTo>
                      <a:pt x="124" y="16"/>
                    </a:lnTo>
                    <a:lnTo>
                      <a:pt x="122" y="16"/>
                    </a:lnTo>
                    <a:lnTo>
                      <a:pt x="122" y="16"/>
                    </a:lnTo>
                    <a:lnTo>
                      <a:pt x="122" y="16"/>
                    </a:lnTo>
                    <a:lnTo>
                      <a:pt x="120" y="16"/>
                    </a:lnTo>
                    <a:lnTo>
                      <a:pt x="118" y="16"/>
                    </a:lnTo>
                    <a:lnTo>
                      <a:pt x="114" y="18"/>
                    </a:lnTo>
                    <a:lnTo>
                      <a:pt x="112" y="18"/>
                    </a:lnTo>
                    <a:lnTo>
                      <a:pt x="112" y="18"/>
                    </a:lnTo>
                    <a:lnTo>
                      <a:pt x="108" y="18"/>
                    </a:lnTo>
                    <a:lnTo>
                      <a:pt x="104" y="18"/>
                    </a:lnTo>
                    <a:lnTo>
                      <a:pt x="98" y="18"/>
                    </a:lnTo>
                    <a:lnTo>
                      <a:pt x="96" y="16"/>
                    </a:lnTo>
                    <a:lnTo>
                      <a:pt x="96" y="16"/>
                    </a:lnTo>
                    <a:lnTo>
                      <a:pt x="94" y="16"/>
                    </a:lnTo>
                    <a:lnTo>
                      <a:pt x="92" y="14"/>
                    </a:lnTo>
                    <a:lnTo>
                      <a:pt x="88" y="12"/>
                    </a:lnTo>
                    <a:lnTo>
                      <a:pt x="86" y="10"/>
                    </a:lnTo>
                    <a:lnTo>
                      <a:pt x="84" y="10"/>
                    </a:lnTo>
                    <a:lnTo>
                      <a:pt x="82" y="8"/>
                    </a:lnTo>
                    <a:lnTo>
                      <a:pt x="80" y="8"/>
                    </a:lnTo>
                    <a:lnTo>
                      <a:pt x="78" y="8"/>
                    </a:lnTo>
                    <a:lnTo>
                      <a:pt x="74" y="8"/>
                    </a:lnTo>
                    <a:lnTo>
                      <a:pt x="72" y="8"/>
                    </a:lnTo>
                    <a:lnTo>
                      <a:pt x="66" y="8"/>
                    </a:lnTo>
                    <a:lnTo>
                      <a:pt x="64" y="8"/>
                    </a:lnTo>
                    <a:lnTo>
                      <a:pt x="62" y="8"/>
                    </a:lnTo>
                    <a:lnTo>
                      <a:pt x="58" y="6"/>
                    </a:lnTo>
                    <a:lnTo>
                      <a:pt x="56" y="6"/>
                    </a:lnTo>
                    <a:lnTo>
                      <a:pt x="50" y="4"/>
                    </a:lnTo>
                    <a:lnTo>
                      <a:pt x="48" y="2"/>
                    </a:lnTo>
                    <a:lnTo>
                      <a:pt x="44" y="0"/>
                    </a:lnTo>
                    <a:lnTo>
                      <a:pt x="42" y="0"/>
                    </a:lnTo>
                    <a:lnTo>
                      <a:pt x="40" y="0"/>
                    </a:lnTo>
                    <a:lnTo>
                      <a:pt x="38" y="0"/>
                    </a:lnTo>
                    <a:lnTo>
                      <a:pt x="36" y="0"/>
                    </a:lnTo>
                    <a:lnTo>
                      <a:pt x="32" y="0"/>
                    </a:lnTo>
                    <a:lnTo>
                      <a:pt x="30" y="0"/>
                    </a:lnTo>
                    <a:lnTo>
                      <a:pt x="24" y="0"/>
                    </a:lnTo>
                    <a:lnTo>
                      <a:pt x="22" y="0"/>
                    </a:lnTo>
                    <a:lnTo>
                      <a:pt x="2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2" name="Freeform 202"/>
              <p:cNvSpPr>
                <a:spLocks/>
              </p:cNvSpPr>
              <p:nvPr/>
            </p:nvSpPr>
            <p:spPr bwMode="auto">
              <a:xfrm>
                <a:off x="6971003" y="5003967"/>
                <a:ext cx="19050" cy="12700"/>
              </a:xfrm>
              <a:custGeom>
                <a:avLst/>
                <a:gdLst>
                  <a:gd name="T0" fmla="*/ 6 w 12"/>
                  <a:gd name="T1" fmla="*/ 8 h 8"/>
                  <a:gd name="T2" fmla="*/ 6 w 12"/>
                  <a:gd name="T3" fmla="*/ 8 h 8"/>
                  <a:gd name="T4" fmla="*/ 8 w 12"/>
                  <a:gd name="T5" fmla="*/ 8 h 8"/>
                  <a:gd name="T6" fmla="*/ 8 w 12"/>
                  <a:gd name="T7" fmla="*/ 8 h 8"/>
                  <a:gd name="T8" fmla="*/ 10 w 12"/>
                  <a:gd name="T9" fmla="*/ 8 h 8"/>
                  <a:gd name="T10" fmla="*/ 10 w 12"/>
                  <a:gd name="T11" fmla="*/ 6 h 8"/>
                  <a:gd name="T12" fmla="*/ 12 w 12"/>
                  <a:gd name="T13" fmla="*/ 6 h 8"/>
                  <a:gd name="T14" fmla="*/ 12 w 12"/>
                  <a:gd name="T15" fmla="*/ 6 h 8"/>
                  <a:gd name="T16" fmla="*/ 12 w 12"/>
                  <a:gd name="T17" fmla="*/ 4 h 8"/>
                  <a:gd name="T18" fmla="*/ 12 w 12"/>
                  <a:gd name="T19" fmla="*/ 4 h 8"/>
                  <a:gd name="T20" fmla="*/ 12 w 12"/>
                  <a:gd name="T21" fmla="*/ 4 h 8"/>
                  <a:gd name="T22" fmla="*/ 12 w 12"/>
                  <a:gd name="T23" fmla="*/ 2 h 8"/>
                  <a:gd name="T24" fmla="*/ 12 w 12"/>
                  <a:gd name="T25" fmla="*/ 2 h 8"/>
                  <a:gd name="T26" fmla="*/ 10 w 12"/>
                  <a:gd name="T27" fmla="*/ 2 h 8"/>
                  <a:gd name="T28" fmla="*/ 10 w 12"/>
                  <a:gd name="T29" fmla="*/ 0 h 8"/>
                  <a:gd name="T30" fmla="*/ 8 w 12"/>
                  <a:gd name="T31" fmla="*/ 0 h 8"/>
                  <a:gd name="T32" fmla="*/ 8 w 12"/>
                  <a:gd name="T33" fmla="*/ 0 h 8"/>
                  <a:gd name="T34" fmla="*/ 6 w 12"/>
                  <a:gd name="T35" fmla="*/ 0 h 8"/>
                  <a:gd name="T36" fmla="*/ 4 w 12"/>
                  <a:gd name="T37" fmla="*/ 0 h 8"/>
                  <a:gd name="T38" fmla="*/ 4 w 12"/>
                  <a:gd name="T39" fmla="*/ 0 h 8"/>
                  <a:gd name="T40" fmla="*/ 2 w 12"/>
                  <a:gd name="T41" fmla="*/ 0 h 8"/>
                  <a:gd name="T42" fmla="*/ 2 w 12"/>
                  <a:gd name="T43" fmla="*/ 2 h 8"/>
                  <a:gd name="T44" fmla="*/ 0 w 12"/>
                  <a:gd name="T45" fmla="*/ 2 h 8"/>
                  <a:gd name="T46" fmla="*/ 0 w 12"/>
                  <a:gd name="T47" fmla="*/ 2 h 8"/>
                  <a:gd name="T48" fmla="*/ 0 w 12"/>
                  <a:gd name="T49" fmla="*/ 4 h 8"/>
                  <a:gd name="T50" fmla="*/ 0 w 12"/>
                  <a:gd name="T51" fmla="*/ 4 h 8"/>
                  <a:gd name="T52" fmla="*/ 0 w 12"/>
                  <a:gd name="T53" fmla="*/ 4 h 8"/>
                  <a:gd name="T54" fmla="*/ 0 w 12"/>
                  <a:gd name="T55" fmla="*/ 6 h 8"/>
                  <a:gd name="T56" fmla="*/ 0 w 12"/>
                  <a:gd name="T57" fmla="*/ 6 h 8"/>
                  <a:gd name="T58" fmla="*/ 2 w 12"/>
                  <a:gd name="T59" fmla="*/ 6 h 8"/>
                  <a:gd name="T60" fmla="*/ 2 w 12"/>
                  <a:gd name="T61" fmla="*/ 8 h 8"/>
                  <a:gd name="T62" fmla="*/ 4 w 12"/>
                  <a:gd name="T63" fmla="*/ 8 h 8"/>
                  <a:gd name="T64" fmla="*/ 4 w 12"/>
                  <a:gd name="T65" fmla="*/ 8 h 8"/>
                  <a:gd name="T66" fmla="*/ 6 w 12"/>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8">
                    <a:moveTo>
                      <a:pt x="6" y="8"/>
                    </a:moveTo>
                    <a:lnTo>
                      <a:pt x="6" y="8"/>
                    </a:lnTo>
                    <a:lnTo>
                      <a:pt x="8" y="8"/>
                    </a:lnTo>
                    <a:lnTo>
                      <a:pt x="8" y="8"/>
                    </a:lnTo>
                    <a:lnTo>
                      <a:pt x="10" y="8"/>
                    </a:lnTo>
                    <a:lnTo>
                      <a:pt x="10" y="6"/>
                    </a:lnTo>
                    <a:lnTo>
                      <a:pt x="12" y="6"/>
                    </a:lnTo>
                    <a:lnTo>
                      <a:pt x="12" y="6"/>
                    </a:lnTo>
                    <a:lnTo>
                      <a:pt x="12" y="4"/>
                    </a:lnTo>
                    <a:lnTo>
                      <a:pt x="12" y="4"/>
                    </a:lnTo>
                    <a:lnTo>
                      <a:pt x="12" y="4"/>
                    </a:lnTo>
                    <a:lnTo>
                      <a:pt x="12" y="2"/>
                    </a:lnTo>
                    <a:lnTo>
                      <a:pt x="12" y="2"/>
                    </a:lnTo>
                    <a:lnTo>
                      <a:pt x="10" y="2"/>
                    </a:lnTo>
                    <a:lnTo>
                      <a:pt x="10" y="0"/>
                    </a:lnTo>
                    <a:lnTo>
                      <a:pt x="8" y="0"/>
                    </a:lnTo>
                    <a:lnTo>
                      <a:pt x="8" y="0"/>
                    </a:lnTo>
                    <a:lnTo>
                      <a:pt x="6" y="0"/>
                    </a:lnTo>
                    <a:lnTo>
                      <a:pt x="4" y="0"/>
                    </a:lnTo>
                    <a:lnTo>
                      <a:pt x="4" y="0"/>
                    </a:lnTo>
                    <a:lnTo>
                      <a:pt x="2" y="0"/>
                    </a:lnTo>
                    <a:lnTo>
                      <a:pt x="2" y="2"/>
                    </a:lnTo>
                    <a:lnTo>
                      <a:pt x="0" y="2"/>
                    </a:lnTo>
                    <a:lnTo>
                      <a:pt x="0" y="2"/>
                    </a:lnTo>
                    <a:lnTo>
                      <a:pt x="0" y="4"/>
                    </a:lnTo>
                    <a:lnTo>
                      <a:pt x="0" y="4"/>
                    </a:lnTo>
                    <a:lnTo>
                      <a:pt x="0" y="4"/>
                    </a:lnTo>
                    <a:lnTo>
                      <a:pt x="0" y="6"/>
                    </a:lnTo>
                    <a:lnTo>
                      <a:pt x="0" y="6"/>
                    </a:lnTo>
                    <a:lnTo>
                      <a:pt x="2" y="6"/>
                    </a:lnTo>
                    <a:lnTo>
                      <a:pt x="2" y="8"/>
                    </a:lnTo>
                    <a:lnTo>
                      <a:pt x="4" y="8"/>
                    </a:lnTo>
                    <a:lnTo>
                      <a:pt x="4" y="8"/>
                    </a:lnTo>
                    <a:lnTo>
                      <a:pt x="6"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3" name="Freeform 204"/>
              <p:cNvSpPr>
                <a:spLocks/>
              </p:cNvSpPr>
              <p:nvPr/>
            </p:nvSpPr>
            <p:spPr bwMode="auto">
              <a:xfrm>
                <a:off x="6999578" y="5003967"/>
                <a:ext cx="9525" cy="12700"/>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4" name="Freeform 207"/>
              <p:cNvSpPr>
                <a:spLocks/>
              </p:cNvSpPr>
              <p:nvPr/>
            </p:nvSpPr>
            <p:spPr bwMode="auto">
              <a:xfrm>
                <a:off x="7024978" y="4994442"/>
                <a:ext cx="25400" cy="25400"/>
              </a:xfrm>
              <a:custGeom>
                <a:avLst/>
                <a:gdLst>
                  <a:gd name="T0" fmla="*/ 2 w 16"/>
                  <a:gd name="T1" fmla="*/ 6 h 16"/>
                  <a:gd name="T2" fmla="*/ 2 w 16"/>
                  <a:gd name="T3" fmla="*/ 6 h 16"/>
                  <a:gd name="T4" fmla="*/ 2 w 16"/>
                  <a:gd name="T5" fmla="*/ 6 h 16"/>
                  <a:gd name="T6" fmla="*/ 2 w 16"/>
                  <a:gd name="T7" fmla="*/ 4 h 16"/>
                  <a:gd name="T8" fmla="*/ 4 w 16"/>
                  <a:gd name="T9" fmla="*/ 2 h 16"/>
                  <a:gd name="T10" fmla="*/ 6 w 16"/>
                  <a:gd name="T11" fmla="*/ 2 h 16"/>
                  <a:gd name="T12" fmla="*/ 6 w 16"/>
                  <a:gd name="T13" fmla="*/ 2 h 16"/>
                  <a:gd name="T14" fmla="*/ 8 w 16"/>
                  <a:gd name="T15" fmla="*/ 0 h 16"/>
                  <a:gd name="T16" fmla="*/ 8 w 16"/>
                  <a:gd name="T17" fmla="*/ 0 h 16"/>
                  <a:gd name="T18" fmla="*/ 10 w 16"/>
                  <a:gd name="T19" fmla="*/ 0 h 16"/>
                  <a:gd name="T20" fmla="*/ 10 w 16"/>
                  <a:gd name="T21" fmla="*/ 2 h 16"/>
                  <a:gd name="T22" fmla="*/ 12 w 16"/>
                  <a:gd name="T23" fmla="*/ 2 h 16"/>
                  <a:gd name="T24" fmla="*/ 12 w 16"/>
                  <a:gd name="T25" fmla="*/ 2 h 16"/>
                  <a:gd name="T26" fmla="*/ 14 w 16"/>
                  <a:gd name="T27" fmla="*/ 4 h 16"/>
                  <a:gd name="T28" fmla="*/ 14 w 16"/>
                  <a:gd name="T29" fmla="*/ 4 h 16"/>
                  <a:gd name="T30" fmla="*/ 14 w 16"/>
                  <a:gd name="T31" fmla="*/ 6 h 16"/>
                  <a:gd name="T32" fmla="*/ 16 w 16"/>
                  <a:gd name="T33" fmla="*/ 6 h 16"/>
                  <a:gd name="T34" fmla="*/ 16 w 16"/>
                  <a:gd name="T35" fmla="*/ 6 h 16"/>
                  <a:gd name="T36" fmla="*/ 16 w 16"/>
                  <a:gd name="T37" fmla="*/ 8 h 16"/>
                  <a:gd name="T38" fmla="*/ 16 w 16"/>
                  <a:gd name="T39" fmla="*/ 10 h 16"/>
                  <a:gd name="T40" fmla="*/ 16 w 16"/>
                  <a:gd name="T41" fmla="*/ 10 h 16"/>
                  <a:gd name="T42" fmla="*/ 16 w 16"/>
                  <a:gd name="T43" fmla="*/ 12 h 16"/>
                  <a:gd name="T44" fmla="*/ 16 w 16"/>
                  <a:gd name="T45" fmla="*/ 14 h 16"/>
                  <a:gd name="T46" fmla="*/ 14 w 16"/>
                  <a:gd name="T47" fmla="*/ 14 h 16"/>
                  <a:gd name="T48" fmla="*/ 14 w 16"/>
                  <a:gd name="T49" fmla="*/ 14 h 16"/>
                  <a:gd name="T50" fmla="*/ 14 w 16"/>
                  <a:gd name="T51" fmla="*/ 16 h 16"/>
                  <a:gd name="T52" fmla="*/ 14 w 16"/>
                  <a:gd name="T53" fmla="*/ 16 h 16"/>
                  <a:gd name="T54" fmla="*/ 12 w 16"/>
                  <a:gd name="T55" fmla="*/ 16 h 16"/>
                  <a:gd name="T56" fmla="*/ 12 w 16"/>
                  <a:gd name="T57" fmla="*/ 16 h 16"/>
                  <a:gd name="T58" fmla="*/ 10 w 16"/>
                  <a:gd name="T59" fmla="*/ 16 h 16"/>
                  <a:gd name="T60" fmla="*/ 8 w 16"/>
                  <a:gd name="T61" fmla="*/ 16 h 16"/>
                  <a:gd name="T62" fmla="*/ 6 w 16"/>
                  <a:gd name="T63" fmla="*/ 14 h 16"/>
                  <a:gd name="T64" fmla="*/ 4 w 16"/>
                  <a:gd name="T65" fmla="*/ 14 h 16"/>
                  <a:gd name="T66" fmla="*/ 2 w 16"/>
                  <a:gd name="T67" fmla="*/ 12 h 16"/>
                  <a:gd name="T68" fmla="*/ 0 w 16"/>
                  <a:gd name="T69" fmla="*/ 12 h 16"/>
                  <a:gd name="T70" fmla="*/ 0 w 16"/>
                  <a:gd name="T71" fmla="*/ 12 h 16"/>
                  <a:gd name="T72" fmla="*/ 0 w 16"/>
                  <a:gd name="T73" fmla="*/ 10 h 16"/>
                  <a:gd name="T74" fmla="*/ 0 w 16"/>
                  <a:gd name="T75" fmla="*/ 10 h 16"/>
                  <a:gd name="T76" fmla="*/ 0 w 16"/>
                  <a:gd name="T77" fmla="*/ 10 h 16"/>
                  <a:gd name="T78" fmla="*/ 0 w 16"/>
                  <a:gd name="T79" fmla="*/ 8 h 16"/>
                  <a:gd name="T80" fmla="*/ 0 w 16"/>
                  <a:gd name="T81" fmla="*/ 6 h 16"/>
                  <a:gd name="T82" fmla="*/ 2 w 16"/>
                  <a:gd name="T8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 h="16">
                    <a:moveTo>
                      <a:pt x="2" y="6"/>
                    </a:moveTo>
                    <a:lnTo>
                      <a:pt x="2" y="6"/>
                    </a:lnTo>
                    <a:lnTo>
                      <a:pt x="2" y="6"/>
                    </a:lnTo>
                    <a:lnTo>
                      <a:pt x="2" y="4"/>
                    </a:lnTo>
                    <a:lnTo>
                      <a:pt x="4" y="2"/>
                    </a:lnTo>
                    <a:lnTo>
                      <a:pt x="6" y="2"/>
                    </a:lnTo>
                    <a:lnTo>
                      <a:pt x="6" y="2"/>
                    </a:lnTo>
                    <a:lnTo>
                      <a:pt x="8" y="0"/>
                    </a:lnTo>
                    <a:lnTo>
                      <a:pt x="8" y="0"/>
                    </a:lnTo>
                    <a:lnTo>
                      <a:pt x="10" y="0"/>
                    </a:lnTo>
                    <a:lnTo>
                      <a:pt x="10" y="2"/>
                    </a:lnTo>
                    <a:lnTo>
                      <a:pt x="12" y="2"/>
                    </a:lnTo>
                    <a:lnTo>
                      <a:pt x="12" y="2"/>
                    </a:lnTo>
                    <a:lnTo>
                      <a:pt x="14" y="4"/>
                    </a:lnTo>
                    <a:lnTo>
                      <a:pt x="14" y="4"/>
                    </a:lnTo>
                    <a:lnTo>
                      <a:pt x="14" y="6"/>
                    </a:lnTo>
                    <a:lnTo>
                      <a:pt x="16" y="6"/>
                    </a:lnTo>
                    <a:lnTo>
                      <a:pt x="16" y="6"/>
                    </a:lnTo>
                    <a:lnTo>
                      <a:pt x="16" y="8"/>
                    </a:lnTo>
                    <a:lnTo>
                      <a:pt x="16" y="10"/>
                    </a:lnTo>
                    <a:lnTo>
                      <a:pt x="16" y="10"/>
                    </a:lnTo>
                    <a:lnTo>
                      <a:pt x="16" y="12"/>
                    </a:lnTo>
                    <a:lnTo>
                      <a:pt x="16" y="14"/>
                    </a:lnTo>
                    <a:lnTo>
                      <a:pt x="14" y="14"/>
                    </a:lnTo>
                    <a:lnTo>
                      <a:pt x="14" y="14"/>
                    </a:lnTo>
                    <a:lnTo>
                      <a:pt x="14" y="16"/>
                    </a:lnTo>
                    <a:lnTo>
                      <a:pt x="14" y="16"/>
                    </a:lnTo>
                    <a:lnTo>
                      <a:pt x="12" y="16"/>
                    </a:lnTo>
                    <a:lnTo>
                      <a:pt x="12" y="16"/>
                    </a:lnTo>
                    <a:lnTo>
                      <a:pt x="10" y="16"/>
                    </a:lnTo>
                    <a:lnTo>
                      <a:pt x="8" y="16"/>
                    </a:lnTo>
                    <a:lnTo>
                      <a:pt x="6" y="14"/>
                    </a:lnTo>
                    <a:lnTo>
                      <a:pt x="4" y="14"/>
                    </a:lnTo>
                    <a:lnTo>
                      <a:pt x="2" y="12"/>
                    </a:lnTo>
                    <a:lnTo>
                      <a:pt x="0" y="12"/>
                    </a:lnTo>
                    <a:lnTo>
                      <a:pt x="0" y="12"/>
                    </a:lnTo>
                    <a:lnTo>
                      <a:pt x="0" y="10"/>
                    </a:lnTo>
                    <a:lnTo>
                      <a:pt x="0" y="10"/>
                    </a:lnTo>
                    <a:lnTo>
                      <a:pt x="0" y="10"/>
                    </a:lnTo>
                    <a:lnTo>
                      <a:pt x="0" y="8"/>
                    </a:lnTo>
                    <a:lnTo>
                      <a:pt x="0" y="6"/>
                    </a:lnTo>
                    <a:lnTo>
                      <a:pt x="2"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5" name="Freeform 209"/>
              <p:cNvSpPr>
                <a:spLocks/>
              </p:cNvSpPr>
              <p:nvPr/>
            </p:nvSpPr>
            <p:spPr bwMode="auto">
              <a:xfrm>
                <a:off x="7056728" y="5035717"/>
                <a:ext cx="31750" cy="19050"/>
              </a:xfrm>
              <a:custGeom>
                <a:avLst/>
                <a:gdLst>
                  <a:gd name="T0" fmla="*/ 4 w 20"/>
                  <a:gd name="T1" fmla="*/ 2 h 12"/>
                  <a:gd name="T2" fmla="*/ 4 w 20"/>
                  <a:gd name="T3" fmla="*/ 2 h 12"/>
                  <a:gd name="T4" fmla="*/ 2 w 20"/>
                  <a:gd name="T5" fmla="*/ 2 h 12"/>
                  <a:gd name="T6" fmla="*/ 2 w 20"/>
                  <a:gd name="T7" fmla="*/ 4 h 12"/>
                  <a:gd name="T8" fmla="*/ 2 w 20"/>
                  <a:gd name="T9" fmla="*/ 6 h 12"/>
                  <a:gd name="T10" fmla="*/ 0 w 20"/>
                  <a:gd name="T11" fmla="*/ 8 h 12"/>
                  <a:gd name="T12" fmla="*/ 0 w 20"/>
                  <a:gd name="T13" fmla="*/ 8 h 12"/>
                  <a:gd name="T14" fmla="*/ 0 w 20"/>
                  <a:gd name="T15" fmla="*/ 10 h 12"/>
                  <a:gd name="T16" fmla="*/ 0 w 20"/>
                  <a:gd name="T17" fmla="*/ 12 h 12"/>
                  <a:gd name="T18" fmla="*/ 0 w 20"/>
                  <a:gd name="T19" fmla="*/ 12 h 12"/>
                  <a:gd name="T20" fmla="*/ 0 w 20"/>
                  <a:gd name="T21" fmla="*/ 12 h 12"/>
                  <a:gd name="T22" fmla="*/ 2 w 20"/>
                  <a:gd name="T23" fmla="*/ 12 h 12"/>
                  <a:gd name="T24" fmla="*/ 2 w 20"/>
                  <a:gd name="T25" fmla="*/ 12 h 12"/>
                  <a:gd name="T26" fmla="*/ 2 w 20"/>
                  <a:gd name="T27" fmla="*/ 12 h 12"/>
                  <a:gd name="T28" fmla="*/ 4 w 20"/>
                  <a:gd name="T29" fmla="*/ 12 h 12"/>
                  <a:gd name="T30" fmla="*/ 4 w 20"/>
                  <a:gd name="T31" fmla="*/ 12 h 12"/>
                  <a:gd name="T32" fmla="*/ 6 w 20"/>
                  <a:gd name="T33" fmla="*/ 12 h 12"/>
                  <a:gd name="T34" fmla="*/ 8 w 20"/>
                  <a:gd name="T35" fmla="*/ 12 h 12"/>
                  <a:gd name="T36" fmla="*/ 10 w 20"/>
                  <a:gd name="T37" fmla="*/ 10 h 12"/>
                  <a:gd name="T38" fmla="*/ 12 w 20"/>
                  <a:gd name="T39" fmla="*/ 10 h 12"/>
                  <a:gd name="T40" fmla="*/ 14 w 20"/>
                  <a:gd name="T41" fmla="*/ 8 h 12"/>
                  <a:gd name="T42" fmla="*/ 16 w 20"/>
                  <a:gd name="T43" fmla="*/ 8 h 12"/>
                  <a:gd name="T44" fmla="*/ 18 w 20"/>
                  <a:gd name="T45" fmla="*/ 6 h 12"/>
                  <a:gd name="T46" fmla="*/ 18 w 20"/>
                  <a:gd name="T47" fmla="*/ 4 h 12"/>
                  <a:gd name="T48" fmla="*/ 20 w 20"/>
                  <a:gd name="T49" fmla="*/ 4 h 12"/>
                  <a:gd name="T50" fmla="*/ 20 w 20"/>
                  <a:gd name="T51" fmla="*/ 2 h 12"/>
                  <a:gd name="T52" fmla="*/ 20 w 20"/>
                  <a:gd name="T53" fmla="*/ 2 h 12"/>
                  <a:gd name="T54" fmla="*/ 20 w 20"/>
                  <a:gd name="T55" fmla="*/ 2 h 12"/>
                  <a:gd name="T56" fmla="*/ 20 w 20"/>
                  <a:gd name="T57" fmla="*/ 0 h 12"/>
                  <a:gd name="T58" fmla="*/ 20 w 20"/>
                  <a:gd name="T59" fmla="*/ 0 h 12"/>
                  <a:gd name="T60" fmla="*/ 18 w 20"/>
                  <a:gd name="T61" fmla="*/ 0 h 12"/>
                  <a:gd name="T62" fmla="*/ 18 w 20"/>
                  <a:gd name="T63" fmla="*/ 0 h 12"/>
                  <a:gd name="T64" fmla="*/ 16 w 20"/>
                  <a:gd name="T65" fmla="*/ 0 h 12"/>
                  <a:gd name="T66" fmla="*/ 16 w 20"/>
                  <a:gd name="T67" fmla="*/ 0 h 12"/>
                  <a:gd name="T68" fmla="*/ 14 w 20"/>
                  <a:gd name="T69" fmla="*/ 0 h 12"/>
                  <a:gd name="T70" fmla="*/ 12 w 20"/>
                  <a:gd name="T71" fmla="*/ 0 h 12"/>
                  <a:gd name="T72" fmla="*/ 10 w 20"/>
                  <a:gd name="T73" fmla="*/ 0 h 12"/>
                  <a:gd name="T74" fmla="*/ 6 w 20"/>
                  <a:gd name="T75" fmla="*/ 0 h 12"/>
                  <a:gd name="T76" fmla="*/ 4 w 20"/>
                  <a:gd name="T77" fmla="*/ 2 h 12"/>
                  <a:gd name="T78" fmla="*/ 4 w 20"/>
                  <a:gd name="T79" fmla="*/ 2 h 12"/>
                  <a:gd name="T80" fmla="*/ 4 w 20"/>
                  <a:gd name="T8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12">
                    <a:moveTo>
                      <a:pt x="4" y="2"/>
                    </a:moveTo>
                    <a:lnTo>
                      <a:pt x="4" y="2"/>
                    </a:lnTo>
                    <a:lnTo>
                      <a:pt x="2" y="2"/>
                    </a:lnTo>
                    <a:lnTo>
                      <a:pt x="2" y="4"/>
                    </a:lnTo>
                    <a:lnTo>
                      <a:pt x="2" y="6"/>
                    </a:lnTo>
                    <a:lnTo>
                      <a:pt x="0" y="8"/>
                    </a:lnTo>
                    <a:lnTo>
                      <a:pt x="0" y="8"/>
                    </a:lnTo>
                    <a:lnTo>
                      <a:pt x="0" y="10"/>
                    </a:lnTo>
                    <a:lnTo>
                      <a:pt x="0" y="12"/>
                    </a:lnTo>
                    <a:lnTo>
                      <a:pt x="0" y="12"/>
                    </a:lnTo>
                    <a:lnTo>
                      <a:pt x="0" y="12"/>
                    </a:lnTo>
                    <a:lnTo>
                      <a:pt x="2" y="12"/>
                    </a:lnTo>
                    <a:lnTo>
                      <a:pt x="2" y="12"/>
                    </a:lnTo>
                    <a:lnTo>
                      <a:pt x="2" y="12"/>
                    </a:lnTo>
                    <a:lnTo>
                      <a:pt x="4" y="12"/>
                    </a:lnTo>
                    <a:lnTo>
                      <a:pt x="4" y="12"/>
                    </a:lnTo>
                    <a:lnTo>
                      <a:pt x="6" y="12"/>
                    </a:lnTo>
                    <a:lnTo>
                      <a:pt x="8" y="12"/>
                    </a:lnTo>
                    <a:lnTo>
                      <a:pt x="10" y="10"/>
                    </a:lnTo>
                    <a:lnTo>
                      <a:pt x="12" y="10"/>
                    </a:lnTo>
                    <a:lnTo>
                      <a:pt x="14" y="8"/>
                    </a:lnTo>
                    <a:lnTo>
                      <a:pt x="16" y="8"/>
                    </a:lnTo>
                    <a:lnTo>
                      <a:pt x="18" y="6"/>
                    </a:lnTo>
                    <a:lnTo>
                      <a:pt x="18" y="4"/>
                    </a:lnTo>
                    <a:lnTo>
                      <a:pt x="20" y="4"/>
                    </a:lnTo>
                    <a:lnTo>
                      <a:pt x="20" y="2"/>
                    </a:lnTo>
                    <a:lnTo>
                      <a:pt x="20" y="2"/>
                    </a:lnTo>
                    <a:lnTo>
                      <a:pt x="20" y="2"/>
                    </a:lnTo>
                    <a:lnTo>
                      <a:pt x="20" y="0"/>
                    </a:lnTo>
                    <a:lnTo>
                      <a:pt x="20" y="0"/>
                    </a:lnTo>
                    <a:lnTo>
                      <a:pt x="18" y="0"/>
                    </a:lnTo>
                    <a:lnTo>
                      <a:pt x="18" y="0"/>
                    </a:lnTo>
                    <a:lnTo>
                      <a:pt x="16" y="0"/>
                    </a:lnTo>
                    <a:lnTo>
                      <a:pt x="16" y="0"/>
                    </a:lnTo>
                    <a:lnTo>
                      <a:pt x="14" y="0"/>
                    </a:lnTo>
                    <a:lnTo>
                      <a:pt x="12" y="0"/>
                    </a:lnTo>
                    <a:lnTo>
                      <a:pt x="10" y="0"/>
                    </a:lnTo>
                    <a:lnTo>
                      <a:pt x="6" y="0"/>
                    </a:lnTo>
                    <a:lnTo>
                      <a:pt x="4" y="2"/>
                    </a:lnTo>
                    <a:lnTo>
                      <a:pt x="4" y="2"/>
                    </a:lnTo>
                    <a:lnTo>
                      <a:pt x="4"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6" name="Freeform 211"/>
              <p:cNvSpPr>
                <a:spLocks/>
              </p:cNvSpPr>
              <p:nvPr/>
            </p:nvSpPr>
            <p:spPr bwMode="auto">
              <a:xfrm>
                <a:off x="7078953" y="5003967"/>
                <a:ext cx="53975" cy="25400"/>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7" name="Freeform 215"/>
              <p:cNvSpPr>
                <a:spLocks/>
              </p:cNvSpPr>
              <p:nvPr/>
            </p:nvSpPr>
            <p:spPr bwMode="auto">
              <a:xfrm>
                <a:off x="6805903" y="4603917"/>
                <a:ext cx="260350" cy="292100"/>
              </a:xfrm>
              <a:custGeom>
                <a:avLst/>
                <a:gdLst>
                  <a:gd name="T0" fmla="*/ 28 w 164"/>
                  <a:gd name="T1" fmla="*/ 90 h 184"/>
                  <a:gd name="T2" fmla="*/ 12 w 164"/>
                  <a:gd name="T3" fmla="*/ 88 h 184"/>
                  <a:gd name="T4" fmla="*/ 4 w 164"/>
                  <a:gd name="T5" fmla="*/ 90 h 184"/>
                  <a:gd name="T6" fmla="*/ 0 w 164"/>
                  <a:gd name="T7" fmla="*/ 100 h 184"/>
                  <a:gd name="T8" fmla="*/ 2 w 164"/>
                  <a:gd name="T9" fmla="*/ 112 h 184"/>
                  <a:gd name="T10" fmla="*/ 8 w 164"/>
                  <a:gd name="T11" fmla="*/ 116 h 184"/>
                  <a:gd name="T12" fmla="*/ 12 w 164"/>
                  <a:gd name="T13" fmla="*/ 120 h 184"/>
                  <a:gd name="T14" fmla="*/ 12 w 164"/>
                  <a:gd name="T15" fmla="*/ 134 h 184"/>
                  <a:gd name="T16" fmla="*/ 14 w 164"/>
                  <a:gd name="T17" fmla="*/ 138 h 184"/>
                  <a:gd name="T18" fmla="*/ 24 w 164"/>
                  <a:gd name="T19" fmla="*/ 138 h 184"/>
                  <a:gd name="T20" fmla="*/ 26 w 164"/>
                  <a:gd name="T21" fmla="*/ 144 h 184"/>
                  <a:gd name="T22" fmla="*/ 26 w 164"/>
                  <a:gd name="T23" fmla="*/ 158 h 184"/>
                  <a:gd name="T24" fmla="*/ 32 w 164"/>
                  <a:gd name="T25" fmla="*/ 162 h 184"/>
                  <a:gd name="T26" fmla="*/ 38 w 164"/>
                  <a:gd name="T27" fmla="*/ 166 h 184"/>
                  <a:gd name="T28" fmla="*/ 48 w 164"/>
                  <a:gd name="T29" fmla="*/ 174 h 184"/>
                  <a:gd name="T30" fmla="*/ 62 w 164"/>
                  <a:gd name="T31" fmla="*/ 176 h 184"/>
                  <a:gd name="T32" fmla="*/ 66 w 164"/>
                  <a:gd name="T33" fmla="*/ 170 h 184"/>
                  <a:gd name="T34" fmla="*/ 72 w 164"/>
                  <a:gd name="T35" fmla="*/ 166 h 184"/>
                  <a:gd name="T36" fmla="*/ 82 w 164"/>
                  <a:gd name="T37" fmla="*/ 168 h 184"/>
                  <a:gd name="T38" fmla="*/ 86 w 164"/>
                  <a:gd name="T39" fmla="*/ 176 h 184"/>
                  <a:gd name="T40" fmla="*/ 90 w 164"/>
                  <a:gd name="T41" fmla="*/ 184 h 184"/>
                  <a:gd name="T42" fmla="*/ 104 w 164"/>
                  <a:gd name="T43" fmla="*/ 184 h 184"/>
                  <a:gd name="T44" fmla="*/ 110 w 164"/>
                  <a:gd name="T45" fmla="*/ 180 h 184"/>
                  <a:gd name="T46" fmla="*/ 114 w 164"/>
                  <a:gd name="T47" fmla="*/ 170 h 184"/>
                  <a:gd name="T48" fmla="*/ 122 w 164"/>
                  <a:gd name="T49" fmla="*/ 158 h 184"/>
                  <a:gd name="T50" fmla="*/ 120 w 164"/>
                  <a:gd name="T51" fmla="*/ 144 h 184"/>
                  <a:gd name="T52" fmla="*/ 126 w 164"/>
                  <a:gd name="T53" fmla="*/ 138 h 184"/>
                  <a:gd name="T54" fmla="*/ 134 w 164"/>
                  <a:gd name="T55" fmla="*/ 132 h 184"/>
                  <a:gd name="T56" fmla="*/ 138 w 164"/>
                  <a:gd name="T57" fmla="*/ 116 h 184"/>
                  <a:gd name="T58" fmla="*/ 140 w 164"/>
                  <a:gd name="T59" fmla="*/ 108 h 184"/>
                  <a:gd name="T60" fmla="*/ 150 w 164"/>
                  <a:gd name="T61" fmla="*/ 104 h 184"/>
                  <a:gd name="T62" fmla="*/ 154 w 164"/>
                  <a:gd name="T63" fmla="*/ 100 h 184"/>
                  <a:gd name="T64" fmla="*/ 152 w 164"/>
                  <a:gd name="T65" fmla="*/ 88 h 184"/>
                  <a:gd name="T66" fmla="*/ 144 w 164"/>
                  <a:gd name="T67" fmla="*/ 82 h 184"/>
                  <a:gd name="T68" fmla="*/ 138 w 164"/>
                  <a:gd name="T69" fmla="*/ 76 h 184"/>
                  <a:gd name="T70" fmla="*/ 138 w 164"/>
                  <a:gd name="T71" fmla="*/ 56 h 184"/>
                  <a:gd name="T72" fmla="*/ 158 w 164"/>
                  <a:gd name="T73" fmla="*/ 38 h 184"/>
                  <a:gd name="T74" fmla="*/ 164 w 164"/>
                  <a:gd name="T75" fmla="*/ 32 h 184"/>
                  <a:gd name="T76" fmla="*/ 164 w 164"/>
                  <a:gd name="T77" fmla="*/ 22 h 184"/>
                  <a:gd name="T78" fmla="*/ 158 w 164"/>
                  <a:gd name="T79" fmla="*/ 16 h 184"/>
                  <a:gd name="T80" fmla="*/ 142 w 164"/>
                  <a:gd name="T81" fmla="*/ 14 h 184"/>
                  <a:gd name="T82" fmla="*/ 124 w 164"/>
                  <a:gd name="T83" fmla="*/ 4 h 184"/>
                  <a:gd name="T84" fmla="*/ 116 w 164"/>
                  <a:gd name="T85" fmla="*/ 0 h 184"/>
                  <a:gd name="T86" fmla="*/ 114 w 164"/>
                  <a:gd name="T87" fmla="*/ 6 h 184"/>
                  <a:gd name="T88" fmla="*/ 108 w 164"/>
                  <a:gd name="T89" fmla="*/ 16 h 184"/>
                  <a:gd name="T90" fmla="*/ 100 w 164"/>
                  <a:gd name="T91" fmla="*/ 20 h 184"/>
                  <a:gd name="T92" fmla="*/ 98 w 164"/>
                  <a:gd name="T93" fmla="*/ 38 h 184"/>
                  <a:gd name="T94" fmla="*/ 76 w 164"/>
                  <a:gd name="T95" fmla="*/ 50 h 184"/>
                  <a:gd name="T96" fmla="*/ 70 w 164"/>
                  <a:gd name="T97" fmla="*/ 56 h 184"/>
                  <a:gd name="T98" fmla="*/ 64 w 164"/>
                  <a:gd name="T99" fmla="*/ 68 h 184"/>
                  <a:gd name="T100" fmla="*/ 58 w 164"/>
                  <a:gd name="T101" fmla="*/ 68 h 184"/>
                  <a:gd name="T102" fmla="*/ 46 w 164"/>
                  <a:gd name="T103" fmla="*/ 66 h 184"/>
                  <a:gd name="T104" fmla="*/ 44 w 164"/>
                  <a:gd name="T105" fmla="*/ 72 h 184"/>
                  <a:gd name="T106" fmla="*/ 40 w 164"/>
                  <a:gd name="T107" fmla="*/ 8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4" h="184">
                    <a:moveTo>
                      <a:pt x="36" y="90"/>
                    </a:moveTo>
                    <a:lnTo>
                      <a:pt x="36" y="90"/>
                    </a:lnTo>
                    <a:lnTo>
                      <a:pt x="34" y="90"/>
                    </a:lnTo>
                    <a:lnTo>
                      <a:pt x="32" y="90"/>
                    </a:lnTo>
                    <a:lnTo>
                      <a:pt x="30" y="90"/>
                    </a:lnTo>
                    <a:lnTo>
                      <a:pt x="28" y="90"/>
                    </a:lnTo>
                    <a:lnTo>
                      <a:pt x="26" y="90"/>
                    </a:lnTo>
                    <a:lnTo>
                      <a:pt x="24" y="90"/>
                    </a:lnTo>
                    <a:lnTo>
                      <a:pt x="20" y="88"/>
                    </a:lnTo>
                    <a:lnTo>
                      <a:pt x="16" y="88"/>
                    </a:lnTo>
                    <a:lnTo>
                      <a:pt x="14" y="88"/>
                    </a:lnTo>
                    <a:lnTo>
                      <a:pt x="12" y="88"/>
                    </a:lnTo>
                    <a:lnTo>
                      <a:pt x="10" y="88"/>
                    </a:lnTo>
                    <a:lnTo>
                      <a:pt x="8" y="88"/>
                    </a:lnTo>
                    <a:lnTo>
                      <a:pt x="6" y="88"/>
                    </a:lnTo>
                    <a:lnTo>
                      <a:pt x="6" y="88"/>
                    </a:lnTo>
                    <a:lnTo>
                      <a:pt x="4" y="88"/>
                    </a:lnTo>
                    <a:lnTo>
                      <a:pt x="4" y="90"/>
                    </a:lnTo>
                    <a:lnTo>
                      <a:pt x="4" y="90"/>
                    </a:lnTo>
                    <a:lnTo>
                      <a:pt x="2" y="92"/>
                    </a:lnTo>
                    <a:lnTo>
                      <a:pt x="2" y="94"/>
                    </a:lnTo>
                    <a:lnTo>
                      <a:pt x="2" y="96"/>
                    </a:lnTo>
                    <a:lnTo>
                      <a:pt x="2" y="96"/>
                    </a:lnTo>
                    <a:lnTo>
                      <a:pt x="0" y="100"/>
                    </a:lnTo>
                    <a:lnTo>
                      <a:pt x="0" y="104"/>
                    </a:lnTo>
                    <a:lnTo>
                      <a:pt x="0" y="108"/>
                    </a:lnTo>
                    <a:lnTo>
                      <a:pt x="0" y="108"/>
                    </a:lnTo>
                    <a:lnTo>
                      <a:pt x="0" y="110"/>
                    </a:lnTo>
                    <a:lnTo>
                      <a:pt x="0" y="112"/>
                    </a:lnTo>
                    <a:lnTo>
                      <a:pt x="2" y="112"/>
                    </a:lnTo>
                    <a:lnTo>
                      <a:pt x="2" y="114"/>
                    </a:lnTo>
                    <a:lnTo>
                      <a:pt x="2" y="114"/>
                    </a:lnTo>
                    <a:lnTo>
                      <a:pt x="4" y="114"/>
                    </a:lnTo>
                    <a:lnTo>
                      <a:pt x="4" y="116"/>
                    </a:lnTo>
                    <a:lnTo>
                      <a:pt x="6" y="116"/>
                    </a:lnTo>
                    <a:lnTo>
                      <a:pt x="8" y="116"/>
                    </a:lnTo>
                    <a:lnTo>
                      <a:pt x="10" y="118"/>
                    </a:lnTo>
                    <a:lnTo>
                      <a:pt x="10" y="118"/>
                    </a:lnTo>
                    <a:lnTo>
                      <a:pt x="10" y="118"/>
                    </a:lnTo>
                    <a:lnTo>
                      <a:pt x="12" y="120"/>
                    </a:lnTo>
                    <a:lnTo>
                      <a:pt x="12" y="120"/>
                    </a:lnTo>
                    <a:lnTo>
                      <a:pt x="12" y="120"/>
                    </a:lnTo>
                    <a:lnTo>
                      <a:pt x="12" y="122"/>
                    </a:lnTo>
                    <a:lnTo>
                      <a:pt x="12" y="124"/>
                    </a:lnTo>
                    <a:lnTo>
                      <a:pt x="12" y="126"/>
                    </a:lnTo>
                    <a:lnTo>
                      <a:pt x="12" y="128"/>
                    </a:lnTo>
                    <a:lnTo>
                      <a:pt x="12" y="130"/>
                    </a:lnTo>
                    <a:lnTo>
                      <a:pt x="12" y="134"/>
                    </a:lnTo>
                    <a:lnTo>
                      <a:pt x="12" y="134"/>
                    </a:lnTo>
                    <a:lnTo>
                      <a:pt x="12" y="136"/>
                    </a:lnTo>
                    <a:lnTo>
                      <a:pt x="12" y="136"/>
                    </a:lnTo>
                    <a:lnTo>
                      <a:pt x="12" y="136"/>
                    </a:lnTo>
                    <a:lnTo>
                      <a:pt x="14" y="138"/>
                    </a:lnTo>
                    <a:lnTo>
                      <a:pt x="14" y="138"/>
                    </a:lnTo>
                    <a:lnTo>
                      <a:pt x="16" y="138"/>
                    </a:lnTo>
                    <a:lnTo>
                      <a:pt x="16" y="138"/>
                    </a:lnTo>
                    <a:lnTo>
                      <a:pt x="18" y="138"/>
                    </a:lnTo>
                    <a:lnTo>
                      <a:pt x="20" y="138"/>
                    </a:lnTo>
                    <a:lnTo>
                      <a:pt x="22" y="138"/>
                    </a:lnTo>
                    <a:lnTo>
                      <a:pt x="24" y="138"/>
                    </a:lnTo>
                    <a:lnTo>
                      <a:pt x="24" y="138"/>
                    </a:lnTo>
                    <a:lnTo>
                      <a:pt x="26" y="140"/>
                    </a:lnTo>
                    <a:lnTo>
                      <a:pt x="26" y="140"/>
                    </a:lnTo>
                    <a:lnTo>
                      <a:pt x="26" y="142"/>
                    </a:lnTo>
                    <a:lnTo>
                      <a:pt x="26" y="142"/>
                    </a:lnTo>
                    <a:lnTo>
                      <a:pt x="26" y="144"/>
                    </a:lnTo>
                    <a:lnTo>
                      <a:pt x="26" y="146"/>
                    </a:lnTo>
                    <a:lnTo>
                      <a:pt x="26" y="150"/>
                    </a:lnTo>
                    <a:lnTo>
                      <a:pt x="26" y="154"/>
                    </a:lnTo>
                    <a:lnTo>
                      <a:pt x="26" y="156"/>
                    </a:lnTo>
                    <a:lnTo>
                      <a:pt x="26" y="158"/>
                    </a:lnTo>
                    <a:lnTo>
                      <a:pt x="26" y="158"/>
                    </a:lnTo>
                    <a:lnTo>
                      <a:pt x="28" y="160"/>
                    </a:lnTo>
                    <a:lnTo>
                      <a:pt x="28" y="160"/>
                    </a:lnTo>
                    <a:lnTo>
                      <a:pt x="28" y="162"/>
                    </a:lnTo>
                    <a:lnTo>
                      <a:pt x="30" y="162"/>
                    </a:lnTo>
                    <a:lnTo>
                      <a:pt x="30" y="162"/>
                    </a:lnTo>
                    <a:lnTo>
                      <a:pt x="32" y="162"/>
                    </a:lnTo>
                    <a:lnTo>
                      <a:pt x="34" y="162"/>
                    </a:lnTo>
                    <a:lnTo>
                      <a:pt x="34" y="162"/>
                    </a:lnTo>
                    <a:lnTo>
                      <a:pt x="36" y="162"/>
                    </a:lnTo>
                    <a:lnTo>
                      <a:pt x="36" y="162"/>
                    </a:lnTo>
                    <a:lnTo>
                      <a:pt x="38" y="164"/>
                    </a:lnTo>
                    <a:lnTo>
                      <a:pt x="38" y="166"/>
                    </a:lnTo>
                    <a:lnTo>
                      <a:pt x="40" y="168"/>
                    </a:lnTo>
                    <a:lnTo>
                      <a:pt x="40" y="170"/>
                    </a:lnTo>
                    <a:lnTo>
                      <a:pt x="42" y="170"/>
                    </a:lnTo>
                    <a:lnTo>
                      <a:pt x="44" y="172"/>
                    </a:lnTo>
                    <a:lnTo>
                      <a:pt x="46" y="174"/>
                    </a:lnTo>
                    <a:lnTo>
                      <a:pt x="48" y="174"/>
                    </a:lnTo>
                    <a:lnTo>
                      <a:pt x="52" y="176"/>
                    </a:lnTo>
                    <a:lnTo>
                      <a:pt x="56" y="176"/>
                    </a:lnTo>
                    <a:lnTo>
                      <a:pt x="58" y="176"/>
                    </a:lnTo>
                    <a:lnTo>
                      <a:pt x="60" y="176"/>
                    </a:lnTo>
                    <a:lnTo>
                      <a:pt x="60" y="176"/>
                    </a:lnTo>
                    <a:lnTo>
                      <a:pt x="62" y="176"/>
                    </a:lnTo>
                    <a:lnTo>
                      <a:pt x="62" y="176"/>
                    </a:lnTo>
                    <a:lnTo>
                      <a:pt x="64" y="176"/>
                    </a:lnTo>
                    <a:lnTo>
                      <a:pt x="64" y="174"/>
                    </a:lnTo>
                    <a:lnTo>
                      <a:pt x="66" y="174"/>
                    </a:lnTo>
                    <a:lnTo>
                      <a:pt x="66" y="172"/>
                    </a:lnTo>
                    <a:lnTo>
                      <a:pt x="66" y="170"/>
                    </a:lnTo>
                    <a:lnTo>
                      <a:pt x="68" y="170"/>
                    </a:lnTo>
                    <a:lnTo>
                      <a:pt x="68" y="168"/>
                    </a:lnTo>
                    <a:lnTo>
                      <a:pt x="70" y="166"/>
                    </a:lnTo>
                    <a:lnTo>
                      <a:pt x="70" y="166"/>
                    </a:lnTo>
                    <a:lnTo>
                      <a:pt x="70" y="166"/>
                    </a:lnTo>
                    <a:lnTo>
                      <a:pt x="72" y="166"/>
                    </a:lnTo>
                    <a:lnTo>
                      <a:pt x="74" y="166"/>
                    </a:lnTo>
                    <a:lnTo>
                      <a:pt x="76" y="166"/>
                    </a:lnTo>
                    <a:lnTo>
                      <a:pt x="76" y="166"/>
                    </a:lnTo>
                    <a:lnTo>
                      <a:pt x="78" y="166"/>
                    </a:lnTo>
                    <a:lnTo>
                      <a:pt x="80" y="166"/>
                    </a:lnTo>
                    <a:lnTo>
                      <a:pt x="82" y="168"/>
                    </a:lnTo>
                    <a:lnTo>
                      <a:pt x="84" y="168"/>
                    </a:lnTo>
                    <a:lnTo>
                      <a:pt x="84" y="168"/>
                    </a:lnTo>
                    <a:lnTo>
                      <a:pt x="84" y="170"/>
                    </a:lnTo>
                    <a:lnTo>
                      <a:pt x="86" y="172"/>
                    </a:lnTo>
                    <a:lnTo>
                      <a:pt x="86" y="174"/>
                    </a:lnTo>
                    <a:lnTo>
                      <a:pt x="86" y="176"/>
                    </a:lnTo>
                    <a:lnTo>
                      <a:pt x="88" y="178"/>
                    </a:lnTo>
                    <a:lnTo>
                      <a:pt x="88" y="180"/>
                    </a:lnTo>
                    <a:lnTo>
                      <a:pt x="88" y="182"/>
                    </a:lnTo>
                    <a:lnTo>
                      <a:pt x="90" y="182"/>
                    </a:lnTo>
                    <a:lnTo>
                      <a:pt x="90" y="182"/>
                    </a:lnTo>
                    <a:lnTo>
                      <a:pt x="90" y="184"/>
                    </a:lnTo>
                    <a:lnTo>
                      <a:pt x="92" y="184"/>
                    </a:lnTo>
                    <a:lnTo>
                      <a:pt x="92" y="184"/>
                    </a:lnTo>
                    <a:lnTo>
                      <a:pt x="94" y="184"/>
                    </a:lnTo>
                    <a:lnTo>
                      <a:pt x="98" y="184"/>
                    </a:lnTo>
                    <a:lnTo>
                      <a:pt x="100" y="184"/>
                    </a:lnTo>
                    <a:lnTo>
                      <a:pt x="104" y="184"/>
                    </a:lnTo>
                    <a:lnTo>
                      <a:pt x="106" y="184"/>
                    </a:lnTo>
                    <a:lnTo>
                      <a:pt x="108" y="184"/>
                    </a:lnTo>
                    <a:lnTo>
                      <a:pt x="108" y="182"/>
                    </a:lnTo>
                    <a:lnTo>
                      <a:pt x="110" y="182"/>
                    </a:lnTo>
                    <a:lnTo>
                      <a:pt x="110" y="182"/>
                    </a:lnTo>
                    <a:lnTo>
                      <a:pt x="110" y="180"/>
                    </a:lnTo>
                    <a:lnTo>
                      <a:pt x="112" y="180"/>
                    </a:lnTo>
                    <a:lnTo>
                      <a:pt x="112" y="178"/>
                    </a:lnTo>
                    <a:lnTo>
                      <a:pt x="112" y="176"/>
                    </a:lnTo>
                    <a:lnTo>
                      <a:pt x="112" y="172"/>
                    </a:lnTo>
                    <a:lnTo>
                      <a:pt x="114" y="170"/>
                    </a:lnTo>
                    <a:lnTo>
                      <a:pt x="114" y="170"/>
                    </a:lnTo>
                    <a:lnTo>
                      <a:pt x="114" y="168"/>
                    </a:lnTo>
                    <a:lnTo>
                      <a:pt x="116" y="166"/>
                    </a:lnTo>
                    <a:lnTo>
                      <a:pt x="118" y="164"/>
                    </a:lnTo>
                    <a:lnTo>
                      <a:pt x="120" y="160"/>
                    </a:lnTo>
                    <a:lnTo>
                      <a:pt x="120" y="158"/>
                    </a:lnTo>
                    <a:lnTo>
                      <a:pt x="122" y="158"/>
                    </a:lnTo>
                    <a:lnTo>
                      <a:pt x="122" y="156"/>
                    </a:lnTo>
                    <a:lnTo>
                      <a:pt x="122" y="154"/>
                    </a:lnTo>
                    <a:lnTo>
                      <a:pt x="120" y="150"/>
                    </a:lnTo>
                    <a:lnTo>
                      <a:pt x="120" y="148"/>
                    </a:lnTo>
                    <a:lnTo>
                      <a:pt x="120" y="146"/>
                    </a:lnTo>
                    <a:lnTo>
                      <a:pt x="120" y="144"/>
                    </a:lnTo>
                    <a:lnTo>
                      <a:pt x="120" y="144"/>
                    </a:lnTo>
                    <a:lnTo>
                      <a:pt x="122" y="144"/>
                    </a:lnTo>
                    <a:lnTo>
                      <a:pt x="122" y="142"/>
                    </a:lnTo>
                    <a:lnTo>
                      <a:pt x="122" y="142"/>
                    </a:lnTo>
                    <a:lnTo>
                      <a:pt x="124" y="140"/>
                    </a:lnTo>
                    <a:lnTo>
                      <a:pt x="126" y="138"/>
                    </a:lnTo>
                    <a:lnTo>
                      <a:pt x="126" y="138"/>
                    </a:lnTo>
                    <a:lnTo>
                      <a:pt x="130" y="136"/>
                    </a:lnTo>
                    <a:lnTo>
                      <a:pt x="132" y="134"/>
                    </a:lnTo>
                    <a:lnTo>
                      <a:pt x="132" y="134"/>
                    </a:lnTo>
                    <a:lnTo>
                      <a:pt x="134" y="132"/>
                    </a:lnTo>
                    <a:lnTo>
                      <a:pt x="134" y="132"/>
                    </a:lnTo>
                    <a:lnTo>
                      <a:pt x="134" y="130"/>
                    </a:lnTo>
                    <a:lnTo>
                      <a:pt x="134" y="130"/>
                    </a:lnTo>
                    <a:lnTo>
                      <a:pt x="136" y="126"/>
                    </a:lnTo>
                    <a:lnTo>
                      <a:pt x="136" y="124"/>
                    </a:lnTo>
                    <a:lnTo>
                      <a:pt x="136" y="120"/>
                    </a:lnTo>
                    <a:lnTo>
                      <a:pt x="138" y="116"/>
                    </a:lnTo>
                    <a:lnTo>
                      <a:pt x="138" y="112"/>
                    </a:lnTo>
                    <a:lnTo>
                      <a:pt x="138" y="112"/>
                    </a:lnTo>
                    <a:lnTo>
                      <a:pt x="138" y="110"/>
                    </a:lnTo>
                    <a:lnTo>
                      <a:pt x="140" y="108"/>
                    </a:lnTo>
                    <a:lnTo>
                      <a:pt x="140" y="108"/>
                    </a:lnTo>
                    <a:lnTo>
                      <a:pt x="140" y="108"/>
                    </a:lnTo>
                    <a:lnTo>
                      <a:pt x="142" y="108"/>
                    </a:lnTo>
                    <a:lnTo>
                      <a:pt x="142" y="106"/>
                    </a:lnTo>
                    <a:lnTo>
                      <a:pt x="144" y="106"/>
                    </a:lnTo>
                    <a:lnTo>
                      <a:pt x="146" y="106"/>
                    </a:lnTo>
                    <a:lnTo>
                      <a:pt x="148" y="104"/>
                    </a:lnTo>
                    <a:lnTo>
                      <a:pt x="150" y="104"/>
                    </a:lnTo>
                    <a:lnTo>
                      <a:pt x="152" y="104"/>
                    </a:lnTo>
                    <a:lnTo>
                      <a:pt x="152" y="104"/>
                    </a:lnTo>
                    <a:lnTo>
                      <a:pt x="152" y="102"/>
                    </a:lnTo>
                    <a:lnTo>
                      <a:pt x="152" y="102"/>
                    </a:lnTo>
                    <a:lnTo>
                      <a:pt x="154" y="102"/>
                    </a:lnTo>
                    <a:lnTo>
                      <a:pt x="154" y="100"/>
                    </a:lnTo>
                    <a:lnTo>
                      <a:pt x="154" y="98"/>
                    </a:lnTo>
                    <a:lnTo>
                      <a:pt x="154" y="96"/>
                    </a:lnTo>
                    <a:lnTo>
                      <a:pt x="154" y="94"/>
                    </a:lnTo>
                    <a:lnTo>
                      <a:pt x="154" y="92"/>
                    </a:lnTo>
                    <a:lnTo>
                      <a:pt x="154" y="90"/>
                    </a:lnTo>
                    <a:lnTo>
                      <a:pt x="152" y="88"/>
                    </a:lnTo>
                    <a:lnTo>
                      <a:pt x="152" y="88"/>
                    </a:lnTo>
                    <a:lnTo>
                      <a:pt x="152" y="86"/>
                    </a:lnTo>
                    <a:lnTo>
                      <a:pt x="150" y="86"/>
                    </a:lnTo>
                    <a:lnTo>
                      <a:pt x="148" y="84"/>
                    </a:lnTo>
                    <a:lnTo>
                      <a:pt x="146" y="82"/>
                    </a:lnTo>
                    <a:lnTo>
                      <a:pt x="144" y="82"/>
                    </a:lnTo>
                    <a:lnTo>
                      <a:pt x="142" y="80"/>
                    </a:lnTo>
                    <a:lnTo>
                      <a:pt x="140" y="80"/>
                    </a:lnTo>
                    <a:lnTo>
                      <a:pt x="140" y="78"/>
                    </a:lnTo>
                    <a:lnTo>
                      <a:pt x="138" y="78"/>
                    </a:lnTo>
                    <a:lnTo>
                      <a:pt x="138" y="76"/>
                    </a:lnTo>
                    <a:lnTo>
                      <a:pt x="138" y="76"/>
                    </a:lnTo>
                    <a:lnTo>
                      <a:pt x="138" y="74"/>
                    </a:lnTo>
                    <a:lnTo>
                      <a:pt x="138" y="72"/>
                    </a:lnTo>
                    <a:lnTo>
                      <a:pt x="138" y="68"/>
                    </a:lnTo>
                    <a:lnTo>
                      <a:pt x="138" y="62"/>
                    </a:lnTo>
                    <a:lnTo>
                      <a:pt x="138" y="58"/>
                    </a:lnTo>
                    <a:lnTo>
                      <a:pt x="138" y="56"/>
                    </a:lnTo>
                    <a:lnTo>
                      <a:pt x="138" y="52"/>
                    </a:lnTo>
                    <a:lnTo>
                      <a:pt x="144" y="48"/>
                    </a:lnTo>
                    <a:lnTo>
                      <a:pt x="150" y="44"/>
                    </a:lnTo>
                    <a:lnTo>
                      <a:pt x="152" y="42"/>
                    </a:lnTo>
                    <a:lnTo>
                      <a:pt x="154" y="42"/>
                    </a:lnTo>
                    <a:lnTo>
                      <a:pt x="158" y="38"/>
                    </a:lnTo>
                    <a:lnTo>
                      <a:pt x="160" y="36"/>
                    </a:lnTo>
                    <a:lnTo>
                      <a:pt x="162" y="36"/>
                    </a:lnTo>
                    <a:lnTo>
                      <a:pt x="162" y="34"/>
                    </a:lnTo>
                    <a:lnTo>
                      <a:pt x="164" y="34"/>
                    </a:lnTo>
                    <a:lnTo>
                      <a:pt x="164" y="32"/>
                    </a:lnTo>
                    <a:lnTo>
                      <a:pt x="164" y="32"/>
                    </a:lnTo>
                    <a:lnTo>
                      <a:pt x="164" y="32"/>
                    </a:lnTo>
                    <a:lnTo>
                      <a:pt x="164" y="30"/>
                    </a:lnTo>
                    <a:lnTo>
                      <a:pt x="164" y="28"/>
                    </a:lnTo>
                    <a:lnTo>
                      <a:pt x="164" y="26"/>
                    </a:lnTo>
                    <a:lnTo>
                      <a:pt x="164" y="24"/>
                    </a:lnTo>
                    <a:lnTo>
                      <a:pt x="164" y="22"/>
                    </a:lnTo>
                    <a:lnTo>
                      <a:pt x="162" y="20"/>
                    </a:lnTo>
                    <a:lnTo>
                      <a:pt x="162" y="18"/>
                    </a:lnTo>
                    <a:lnTo>
                      <a:pt x="160" y="16"/>
                    </a:lnTo>
                    <a:lnTo>
                      <a:pt x="160" y="16"/>
                    </a:lnTo>
                    <a:lnTo>
                      <a:pt x="160" y="16"/>
                    </a:lnTo>
                    <a:lnTo>
                      <a:pt x="158" y="16"/>
                    </a:lnTo>
                    <a:lnTo>
                      <a:pt x="156" y="16"/>
                    </a:lnTo>
                    <a:lnTo>
                      <a:pt x="154" y="14"/>
                    </a:lnTo>
                    <a:lnTo>
                      <a:pt x="152" y="14"/>
                    </a:lnTo>
                    <a:lnTo>
                      <a:pt x="146" y="14"/>
                    </a:lnTo>
                    <a:lnTo>
                      <a:pt x="144" y="14"/>
                    </a:lnTo>
                    <a:lnTo>
                      <a:pt x="142" y="14"/>
                    </a:lnTo>
                    <a:lnTo>
                      <a:pt x="140" y="12"/>
                    </a:lnTo>
                    <a:lnTo>
                      <a:pt x="138" y="12"/>
                    </a:lnTo>
                    <a:lnTo>
                      <a:pt x="132" y="10"/>
                    </a:lnTo>
                    <a:lnTo>
                      <a:pt x="130" y="8"/>
                    </a:lnTo>
                    <a:lnTo>
                      <a:pt x="128" y="6"/>
                    </a:lnTo>
                    <a:lnTo>
                      <a:pt x="124" y="4"/>
                    </a:lnTo>
                    <a:lnTo>
                      <a:pt x="122" y="2"/>
                    </a:lnTo>
                    <a:lnTo>
                      <a:pt x="120" y="2"/>
                    </a:lnTo>
                    <a:lnTo>
                      <a:pt x="120" y="0"/>
                    </a:lnTo>
                    <a:lnTo>
                      <a:pt x="118" y="0"/>
                    </a:lnTo>
                    <a:lnTo>
                      <a:pt x="116" y="0"/>
                    </a:lnTo>
                    <a:lnTo>
                      <a:pt x="116" y="0"/>
                    </a:lnTo>
                    <a:lnTo>
                      <a:pt x="116" y="0"/>
                    </a:lnTo>
                    <a:lnTo>
                      <a:pt x="114" y="0"/>
                    </a:lnTo>
                    <a:lnTo>
                      <a:pt x="114" y="2"/>
                    </a:lnTo>
                    <a:lnTo>
                      <a:pt x="114" y="2"/>
                    </a:lnTo>
                    <a:lnTo>
                      <a:pt x="114" y="4"/>
                    </a:lnTo>
                    <a:lnTo>
                      <a:pt x="114" y="6"/>
                    </a:lnTo>
                    <a:lnTo>
                      <a:pt x="112" y="8"/>
                    </a:lnTo>
                    <a:lnTo>
                      <a:pt x="112" y="10"/>
                    </a:lnTo>
                    <a:lnTo>
                      <a:pt x="112" y="12"/>
                    </a:lnTo>
                    <a:lnTo>
                      <a:pt x="112" y="14"/>
                    </a:lnTo>
                    <a:lnTo>
                      <a:pt x="110" y="14"/>
                    </a:lnTo>
                    <a:lnTo>
                      <a:pt x="108" y="16"/>
                    </a:lnTo>
                    <a:lnTo>
                      <a:pt x="106" y="16"/>
                    </a:lnTo>
                    <a:lnTo>
                      <a:pt x="104" y="18"/>
                    </a:lnTo>
                    <a:lnTo>
                      <a:pt x="102" y="18"/>
                    </a:lnTo>
                    <a:lnTo>
                      <a:pt x="102" y="20"/>
                    </a:lnTo>
                    <a:lnTo>
                      <a:pt x="102" y="20"/>
                    </a:lnTo>
                    <a:lnTo>
                      <a:pt x="100" y="20"/>
                    </a:lnTo>
                    <a:lnTo>
                      <a:pt x="100" y="22"/>
                    </a:lnTo>
                    <a:lnTo>
                      <a:pt x="100" y="24"/>
                    </a:lnTo>
                    <a:lnTo>
                      <a:pt x="98" y="26"/>
                    </a:lnTo>
                    <a:lnTo>
                      <a:pt x="98" y="30"/>
                    </a:lnTo>
                    <a:lnTo>
                      <a:pt x="98" y="34"/>
                    </a:lnTo>
                    <a:lnTo>
                      <a:pt x="98" y="38"/>
                    </a:lnTo>
                    <a:lnTo>
                      <a:pt x="92" y="40"/>
                    </a:lnTo>
                    <a:lnTo>
                      <a:pt x="88" y="42"/>
                    </a:lnTo>
                    <a:lnTo>
                      <a:pt x="84" y="44"/>
                    </a:lnTo>
                    <a:lnTo>
                      <a:pt x="82" y="46"/>
                    </a:lnTo>
                    <a:lnTo>
                      <a:pt x="78" y="48"/>
                    </a:lnTo>
                    <a:lnTo>
                      <a:pt x="76" y="50"/>
                    </a:lnTo>
                    <a:lnTo>
                      <a:pt x="74" y="50"/>
                    </a:lnTo>
                    <a:lnTo>
                      <a:pt x="72" y="52"/>
                    </a:lnTo>
                    <a:lnTo>
                      <a:pt x="72" y="54"/>
                    </a:lnTo>
                    <a:lnTo>
                      <a:pt x="70" y="54"/>
                    </a:lnTo>
                    <a:lnTo>
                      <a:pt x="70" y="54"/>
                    </a:lnTo>
                    <a:lnTo>
                      <a:pt x="70" y="56"/>
                    </a:lnTo>
                    <a:lnTo>
                      <a:pt x="68" y="62"/>
                    </a:lnTo>
                    <a:lnTo>
                      <a:pt x="66" y="64"/>
                    </a:lnTo>
                    <a:lnTo>
                      <a:pt x="66" y="66"/>
                    </a:lnTo>
                    <a:lnTo>
                      <a:pt x="66" y="66"/>
                    </a:lnTo>
                    <a:lnTo>
                      <a:pt x="64" y="68"/>
                    </a:lnTo>
                    <a:lnTo>
                      <a:pt x="64" y="68"/>
                    </a:lnTo>
                    <a:lnTo>
                      <a:pt x="64" y="68"/>
                    </a:lnTo>
                    <a:lnTo>
                      <a:pt x="62" y="68"/>
                    </a:lnTo>
                    <a:lnTo>
                      <a:pt x="62" y="70"/>
                    </a:lnTo>
                    <a:lnTo>
                      <a:pt x="60" y="70"/>
                    </a:lnTo>
                    <a:lnTo>
                      <a:pt x="60" y="68"/>
                    </a:lnTo>
                    <a:lnTo>
                      <a:pt x="58" y="68"/>
                    </a:lnTo>
                    <a:lnTo>
                      <a:pt x="54" y="68"/>
                    </a:lnTo>
                    <a:lnTo>
                      <a:pt x="52" y="68"/>
                    </a:lnTo>
                    <a:lnTo>
                      <a:pt x="50" y="66"/>
                    </a:lnTo>
                    <a:lnTo>
                      <a:pt x="48" y="66"/>
                    </a:lnTo>
                    <a:lnTo>
                      <a:pt x="48" y="66"/>
                    </a:lnTo>
                    <a:lnTo>
                      <a:pt x="46" y="66"/>
                    </a:lnTo>
                    <a:lnTo>
                      <a:pt x="46" y="68"/>
                    </a:lnTo>
                    <a:lnTo>
                      <a:pt x="46" y="68"/>
                    </a:lnTo>
                    <a:lnTo>
                      <a:pt x="44" y="68"/>
                    </a:lnTo>
                    <a:lnTo>
                      <a:pt x="44" y="70"/>
                    </a:lnTo>
                    <a:lnTo>
                      <a:pt x="44" y="70"/>
                    </a:lnTo>
                    <a:lnTo>
                      <a:pt x="44" y="72"/>
                    </a:lnTo>
                    <a:lnTo>
                      <a:pt x="44" y="74"/>
                    </a:lnTo>
                    <a:lnTo>
                      <a:pt x="42" y="78"/>
                    </a:lnTo>
                    <a:lnTo>
                      <a:pt x="42" y="80"/>
                    </a:lnTo>
                    <a:lnTo>
                      <a:pt x="42" y="82"/>
                    </a:lnTo>
                    <a:lnTo>
                      <a:pt x="40" y="84"/>
                    </a:lnTo>
                    <a:lnTo>
                      <a:pt x="40" y="86"/>
                    </a:lnTo>
                    <a:lnTo>
                      <a:pt x="38" y="88"/>
                    </a:lnTo>
                    <a:lnTo>
                      <a:pt x="38" y="88"/>
                    </a:lnTo>
                    <a:lnTo>
                      <a:pt x="36" y="90"/>
                    </a:lnTo>
                    <a:lnTo>
                      <a:pt x="36" y="9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8" name="Freeform 217"/>
              <p:cNvSpPr>
                <a:spLocks/>
              </p:cNvSpPr>
              <p:nvPr/>
            </p:nvSpPr>
            <p:spPr bwMode="auto">
              <a:xfrm>
                <a:off x="7034503" y="4740442"/>
                <a:ext cx="158750" cy="196850"/>
              </a:xfrm>
              <a:custGeom>
                <a:avLst/>
                <a:gdLst>
                  <a:gd name="T0" fmla="*/ 26 w 100"/>
                  <a:gd name="T1" fmla="*/ 30 h 124"/>
                  <a:gd name="T2" fmla="*/ 22 w 100"/>
                  <a:gd name="T3" fmla="*/ 38 h 124"/>
                  <a:gd name="T4" fmla="*/ 16 w 100"/>
                  <a:gd name="T5" fmla="*/ 48 h 124"/>
                  <a:gd name="T6" fmla="*/ 14 w 100"/>
                  <a:gd name="T7" fmla="*/ 60 h 124"/>
                  <a:gd name="T8" fmla="*/ 6 w 100"/>
                  <a:gd name="T9" fmla="*/ 64 h 124"/>
                  <a:gd name="T10" fmla="*/ 2 w 100"/>
                  <a:gd name="T11" fmla="*/ 70 h 124"/>
                  <a:gd name="T12" fmla="*/ 0 w 100"/>
                  <a:gd name="T13" fmla="*/ 88 h 124"/>
                  <a:gd name="T14" fmla="*/ 4 w 100"/>
                  <a:gd name="T15" fmla="*/ 94 h 124"/>
                  <a:gd name="T16" fmla="*/ 14 w 100"/>
                  <a:gd name="T17" fmla="*/ 100 h 124"/>
                  <a:gd name="T18" fmla="*/ 16 w 100"/>
                  <a:gd name="T19" fmla="*/ 104 h 124"/>
                  <a:gd name="T20" fmla="*/ 18 w 100"/>
                  <a:gd name="T21" fmla="*/ 116 h 124"/>
                  <a:gd name="T22" fmla="*/ 24 w 100"/>
                  <a:gd name="T23" fmla="*/ 120 h 124"/>
                  <a:gd name="T24" fmla="*/ 30 w 100"/>
                  <a:gd name="T25" fmla="*/ 120 h 124"/>
                  <a:gd name="T26" fmla="*/ 34 w 100"/>
                  <a:gd name="T27" fmla="*/ 110 h 124"/>
                  <a:gd name="T28" fmla="*/ 34 w 100"/>
                  <a:gd name="T29" fmla="*/ 94 h 124"/>
                  <a:gd name="T30" fmla="*/ 40 w 100"/>
                  <a:gd name="T31" fmla="*/ 90 h 124"/>
                  <a:gd name="T32" fmla="*/ 46 w 100"/>
                  <a:gd name="T33" fmla="*/ 88 h 124"/>
                  <a:gd name="T34" fmla="*/ 46 w 100"/>
                  <a:gd name="T35" fmla="*/ 94 h 124"/>
                  <a:gd name="T36" fmla="*/ 44 w 100"/>
                  <a:gd name="T37" fmla="*/ 110 h 124"/>
                  <a:gd name="T38" fmla="*/ 48 w 100"/>
                  <a:gd name="T39" fmla="*/ 114 h 124"/>
                  <a:gd name="T40" fmla="*/ 56 w 100"/>
                  <a:gd name="T41" fmla="*/ 116 h 124"/>
                  <a:gd name="T42" fmla="*/ 60 w 100"/>
                  <a:gd name="T43" fmla="*/ 122 h 124"/>
                  <a:gd name="T44" fmla="*/ 70 w 100"/>
                  <a:gd name="T45" fmla="*/ 122 h 124"/>
                  <a:gd name="T46" fmla="*/ 72 w 100"/>
                  <a:gd name="T47" fmla="*/ 118 h 124"/>
                  <a:gd name="T48" fmla="*/ 70 w 100"/>
                  <a:gd name="T49" fmla="*/ 104 h 124"/>
                  <a:gd name="T50" fmla="*/ 60 w 100"/>
                  <a:gd name="T51" fmla="*/ 88 h 124"/>
                  <a:gd name="T52" fmla="*/ 52 w 100"/>
                  <a:gd name="T53" fmla="*/ 74 h 124"/>
                  <a:gd name="T54" fmla="*/ 56 w 100"/>
                  <a:gd name="T55" fmla="*/ 68 h 124"/>
                  <a:gd name="T56" fmla="*/ 66 w 100"/>
                  <a:gd name="T57" fmla="*/ 58 h 124"/>
                  <a:gd name="T58" fmla="*/ 70 w 100"/>
                  <a:gd name="T59" fmla="*/ 48 h 124"/>
                  <a:gd name="T60" fmla="*/ 68 w 100"/>
                  <a:gd name="T61" fmla="*/ 42 h 124"/>
                  <a:gd name="T62" fmla="*/ 62 w 100"/>
                  <a:gd name="T63" fmla="*/ 42 h 124"/>
                  <a:gd name="T64" fmla="*/ 52 w 100"/>
                  <a:gd name="T65" fmla="*/ 48 h 124"/>
                  <a:gd name="T66" fmla="*/ 44 w 100"/>
                  <a:gd name="T67" fmla="*/ 52 h 124"/>
                  <a:gd name="T68" fmla="*/ 40 w 100"/>
                  <a:gd name="T69" fmla="*/ 46 h 124"/>
                  <a:gd name="T70" fmla="*/ 38 w 100"/>
                  <a:gd name="T71" fmla="*/ 30 h 124"/>
                  <a:gd name="T72" fmla="*/ 34 w 100"/>
                  <a:gd name="T73" fmla="*/ 18 h 124"/>
                  <a:gd name="T74" fmla="*/ 36 w 100"/>
                  <a:gd name="T75" fmla="*/ 14 h 124"/>
                  <a:gd name="T76" fmla="*/ 44 w 100"/>
                  <a:gd name="T77" fmla="*/ 18 h 124"/>
                  <a:gd name="T78" fmla="*/ 52 w 100"/>
                  <a:gd name="T79" fmla="*/ 24 h 124"/>
                  <a:gd name="T80" fmla="*/ 64 w 100"/>
                  <a:gd name="T81" fmla="*/ 22 h 124"/>
                  <a:gd name="T82" fmla="*/ 70 w 100"/>
                  <a:gd name="T83" fmla="*/ 24 h 124"/>
                  <a:gd name="T84" fmla="*/ 78 w 100"/>
                  <a:gd name="T85" fmla="*/ 26 h 124"/>
                  <a:gd name="T86" fmla="*/ 96 w 100"/>
                  <a:gd name="T87" fmla="*/ 20 h 124"/>
                  <a:gd name="T88" fmla="*/ 100 w 100"/>
                  <a:gd name="T89" fmla="*/ 14 h 124"/>
                  <a:gd name="T90" fmla="*/ 96 w 100"/>
                  <a:gd name="T91" fmla="*/ 2 h 124"/>
                  <a:gd name="T92" fmla="*/ 92 w 100"/>
                  <a:gd name="T93" fmla="*/ 0 h 124"/>
                  <a:gd name="T94" fmla="*/ 86 w 100"/>
                  <a:gd name="T95" fmla="*/ 0 h 124"/>
                  <a:gd name="T96" fmla="*/ 82 w 100"/>
                  <a:gd name="T97" fmla="*/ 10 h 124"/>
                  <a:gd name="T98" fmla="*/ 74 w 100"/>
                  <a:gd name="T99" fmla="*/ 12 h 124"/>
                  <a:gd name="T100" fmla="*/ 50 w 100"/>
                  <a:gd name="T101" fmla="*/ 8 h 124"/>
                  <a:gd name="T102" fmla="*/ 32 w 100"/>
                  <a:gd name="T103" fmla="*/ 8 h 124"/>
                  <a:gd name="T104" fmla="*/ 28 w 100"/>
                  <a:gd name="T105"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4">
                    <a:moveTo>
                      <a:pt x="26" y="16"/>
                    </a:moveTo>
                    <a:lnTo>
                      <a:pt x="26" y="16"/>
                    </a:lnTo>
                    <a:lnTo>
                      <a:pt x="26" y="18"/>
                    </a:lnTo>
                    <a:lnTo>
                      <a:pt x="26" y="20"/>
                    </a:lnTo>
                    <a:lnTo>
                      <a:pt x="26" y="26"/>
                    </a:lnTo>
                    <a:lnTo>
                      <a:pt x="26" y="30"/>
                    </a:lnTo>
                    <a:lnTo>
                      <a:pt x="26" y="32"/>
                    </a:lnTo>
                    <a:lnTo>
                      <a:pt x="24" y="34"/>
                    </a:lnTo>
                    <a:lnTo>
                      <a:pt x="24" y="36"/>
                    </a:lnTo>
                    <a:lnTo>
                      <a:pt x="24" y="36"/>
                    </a:lnTo>
                    <a:lnTo>
                      <a:pt x="24" y="38"/>
                    </a:lnTo>
                    <a:lnTo>
                      <a:pt x="22" y="38"/>
                    </a:lnTo>
                    <a:lnTo>
                      <a:pt x="20" y="40"/>
                    </a:lnTo>
                    <a:lnTo>
                      <a:pt x="18" y="42"/>
                    </a:lnTo>
                    <a:lnTo>
                      <a:pt x="18" y="44"/>
                    </a:lnTo>
                    <a:lnTo>
                      <a:pt x="16" y="46"/>
                    </a:lnTo>
                    <a:lnTo>
                      <a:pt x="16" y="46"/>
                    </a:lnTo>
                    <a:lnTo>
                      <a:pt x="16" y="48"/>
                    </a:lnTo>
                    <a:lnTo>
                      <a:pt x="16" y="52"/>
                    </a:lnTo>
                    <a:lnTo>
                      <a:pt x="16" y="54"/>
                    </a:lnTo>
                    <a:lnTo>
                      <a:pt x="16" y="56"/>
                    </a:lnTo>
                    <a:lnTo>
                      <a:pt x="14" y="58"/>
                    </a:lnTo>
                    <a:lnTo>
                      <a:pt x="14" y="60"/>
                    </a:lnTo>
                    <a:lnTo>
                      <a:pt x="14" y="60"/>
                    </a:lnTo>
                    <a:lnTo>
                      <a:pt x="14" y="60"/>
                    </a:lnTo>
                    <a:lnTo>
                      <a:pt x="14" y="60"/>
                    </a:lnTo>
                    <a:lnTo>
                      <a:pt x="12" y="62"/>
                    </a:lnTo>
                    <a:lnTo>
                      <a:pt x="10" y="62"/>
                    </a:lnTo>
                    <a:lnTo>
                      <a:pt x="8" y="64"/>
                    </a:lnTo>
                    <a:lnTo>
                      <a:pt x="6" y="64"/>
                    </a:lnTo>
                    <a:lnTo>
                      <a:pt x="6" y="66"/>
                    </a:lnTo>
                    <a:lnTo>
                      <a:pt x="4" y="66"/>
                    </a:lnTo>
                    <a:lnTo>
                      <a:pt x="4" y="66"/>
                    </a:lnTo>
                    <a:lnTo>
                      <a:pt x="2" y="68"/>
                    </a:lnTo>
                    <a:lnTo>
                      <a:pt x="2" y="68"/>
                    </a:lnTo>
                    <a:lnTo>
                      <a:pt x="2" y="70"/>
                    </a:lnTo>
                    <a:lnTo>
                      <a:pt x="2" y="72"/>
                    </a:lnTo>
                    <a:lnTo>
                      <a:pt x="0" y="74"/>
                    </a:lnTo>
                    <a:lnTo>
                      <a:pt x="0" y="76"/>
                    </a:lnTo>
                    <a:lnTo>
                      <a:pt x="0" y="80"/>
                    </a:lnTo>
                    <a:lnTo>
                      <a:pt x="0" y="84"/>
                    </a:lnTo>
                    <a:lnTo>
                      <a:pt x="0" y="88"/>
                    </a:lnTo>
                    <a:lnTo>
                      <a:pt x="2" y="90"/>
                    </a:lnTo>
                    <a:lnTo>
                      <a:pt x="2" y="92"/>
                    </a:lnTo>
                    <a:lnTo>
                      <a:pt x="2" y="92"/>
                    </a:lnTo>
                    <a:lnTo>
                      <a:pt x="2" y="94"/>
                    </a:lnTo>
                    <a:lnTo>
                      <a:pt x="4" y="94"/>
                    </a:lnTo>
                    <a:lnTo>
                      <a:pt x="4" y="94"/>
                    </a:lnTo>
                    <a:lnTo>
                      <a:pt x="6" y="96"/>
                    </a:lnTo>
                    <a:lnTo>
                      <a:pt x="8" y="96"/>
                    </a:lnTo>
                    <a:lnTo>
                      <a:pt x="10" y="96"/>
                    </a:lnTo>
                    <a:lnTo>
                      <a:pt x="12" y="98"/>
                    </a:lnTo>
                    <a:lnTo>
                      <a:pt x="12" y="98"/>
                    </a:lnTo>
                    <a:lnTo>
                      <a:pt x="14" y="100"/>
                    </a:lnTo>
                    <a:lnTo>
                      <a:pt x="14" y="100"/>
                    </a:lnTo>
                    <a:lnTo>
                      <a:pt x="16" y="100"/>
                    </a:lnTo>
                    <a:lnTo>
                      <a:pt x="16" y="100"/>
                    </a:lnTo>
                    <a:lnTo>
                      <a:pt x="16" y="102"/>
                    </a:lnTo>
                    <a:lnTo>
                      <a:pt x="16" y="102"/>
                    </a:lnTo>
                    <a:lnTo>
                      <a:pt x="16" y="104"/>
                    </a:lnTo>
                    <a:lnTo>
                      <a:pt x="16" y="106"/>
                    </a:lnTo>
                    <a:lnTo>
                      <a:pt x="16" y="108"/>
                    </a:lnTo>
                    <a:lnTo>
                      <a:pt x="16" y="112"/>
                    </a:lnTo>
                    <a:lnTo>
                      <a:pt x="16" y="114"/>
                    </a:lnTo>
                    <a:lnTo>
                      <a:pt x="16" y="116"/>
                    </a:lnTo>
                    <a:lnTo>
                      <a:pt x="18" y="116"/>
                    </a:lnTo>
                    <a:lnTo>
                      <a:pt x="18" y="116"/>
                    </a:lnTo>
                    <a:lnTo>
                      <a:pt x="18" y="118"/>
                    </a:lnTo>
                    <a:lnTo>
                      <a:pt x="20" y="118"/>
                    </a:lnTo>
                    <a:lnTo>
                      <a:pt x="20" y="120"/>
                    </a:lnTo>
                    <a:lnTo>
                      <a:pt x="22" y="120"/>
                    </a:lnTo>
                    <a:lnTo>
                      <a:pt x="24" y="120"/>
                    </a:lnTo>
                    <a:lnTo>
                      <a:pt x="26" y="120"/>
                    </a:lnTo>
                    <a:lnTo>
                      <a:pt x="28" y="120"/>
                    </a:lnTo>
                    <a:lnTo>
                      <a:pt x="30" y="120"/>
                    </a:lnTo>
                    <a:lnTo>
                      <a:pt x="30" y="120"/>
                    </a:lnTo>
                    <a:lnTo>
                      <a:pt x="30" y="120"/>
                    </a:lnTo>
                    <a:lnTo>
                      <a:pt x="30" y="120"/>
                    </a:lnTo>
                    <a:lnTo>
                      <a:pt x="32" y="120"/>
                    </a:lnTo>
                    <a:lnTo>
                      <a:pt x="32" y="118"/>
                    </a:lnTo>
                    <a:lnTo>
                      <a:pt x="32" y="116"/>
                    </a:lnTo>
                    <a:lnTo>
                      <a:pt x="34" y="114"/>
                    </a:lnTo>
                    <a:lnTo>
                      <a:pt x="34" y="112"/>
                    </a:lnTo>
                    <a:lnTo>
                      <a:pt x="34" y="110"/>
                    </a:lnTo>
                    <a:lnTo>
                      <a:pt x="34" y="106"/>
                    </a:lnTo>
                    <a:lnTo>
                      <a:pt x="34" y="102"/>
                    </a:lnTo>
                    <a:lnTo>
                      <a:pt x="34" y="100"/>
                    </a:lnTo>
                    <a:lnTo>
                      <a:pt x="34" y="98"/>
                    </a:lnTo>
                    <a:lnTo>
                      <a:pt x="34" y="96"/>
                    </a:lnTo>
                    <a:lnTo>
                      <a:pt x="34" y="94"/>
                    </a:lnTo>
                    <a:lnTo>
                      <a:pt x="34" y="92"/>
                    </a:lnTo>
                    <a:lnTo>
                      <a:pt x="36" y="92"/>
                    </a:lnTo>
                    <a:lnTo>
                      <a:pt x="36" y="92"/>
                    </a:lnTo>
                    <a:lnTo>
                      <a:pt x="36" y="90"/>
                    </a:lnTo>
                    <a:lnTo>
                      <a:pt x="38" y="90"/>
                    </a:lnTo>
                    <a:lnTo>
                      <a:pt x="40" y="90"/>
                    </a:lnTo>
                    <a:lnTo>
                      <a:pt x="40" y="88"/>
                    </a:lnTo>
                    <a:lnTo>
                      <a:pt x="42" y="88"/>
                    </a:lnTo>
                    <a:lnTo>
                      <a:pt x="44" y="88"/>
                    </a:lnTo>
                    <a:lnTo>
                      <a:pt x="44" y="88"/>
                    </a:lnTo>
                    <a:lnTo>
                      <a:pt x="46" y="88"/>
                    </a:lnTo>
                    <a:lnTo>
                      <a:pt x="46" y="88"/>
                    </a:lnTo>
                    <a:lnTo>
                      <a:pt x="46" y="90"/>
                    </a:lnTo>
                    <a:lnTo>
                      <a:pt x="46" y="90"/>
                    </a:lnTo>
                    <a:lnTo>
                      <a:pt x="46" y="90"/>
                    </a:lnTo>
                    <a:lnTo>
                      <a:pt x="46" y="92"/>
                    </a:lnTo>
                    <a:lnTo>
                      <a:pt x="46" y="94"/>
                    </a:lnTo>
                    <a:lnTo>
                      <a:pt x="46" y="94"/>
                    </a:lnTo>
                    <a:lnTo>
                      <a:pt x="46" y="96"/>
                    </a:lnTo>
                    <a:lnTo>
                      <a:pt x="46" y="100"/>
                    </a:lnTo>
                    <a:lnTo>
                      <a:pt x="44" y="104"/>
                    </a:lnTo>
                    <a:lnTo>
                      <a:pt x="44" y="106"/>
                    </a:lnTo>
                    <a:lnTo>
                      <a:pt x="44" y="108"/>
                    </a:lnTo>
                    <a:lnTo>
                      <a:pt x="44" y="110"/>
                    </a:lnTo>
                    <a:lnTo>
                      <a:pt x="44" y="110"/>
                    </a:lnTo>
                    <a:lnTo>
                      <a:pt x="44" y="112"/>
                    </a:lnTo>
                    <a:lnTo>
                      <a:pt x="44" y="112"/>
                    </a:lnTo>
                    <a:lnTo>
                      <a:pt x="46" y="112"/>
                    </a:lnTo>
                    <a:lnTo>
                      <a:pt x="46" y="112"/>
                    </a:lnTo>
                    <a:lnTo>
                      <a:pt x="48" y="114"/>
                    </a:lnTo>
                    <a:lnTo>
                      <a:pt x="50" y="114"/>
                    </a:lnTo>
                    <a:lnTo>
                      <a:pt x="54" y="114"/>
                    </a:lnTo>
                    <a:lnTo>
                      <a:pt x="54" y="114"/>
                    </a:lnTo>
                    <a:lnTo>
                      <a:pt x="56" y="114"/>
                    </a:lnTo>
                    <a:lnTo>
                      <a:pt x="56" y="116"/>
                    </a:lnTo>
                    <a:lnTo>
                      <a:pt x="56" y="116"/>
                    </a:lnTo>
                    <a:lnTo>
                      <a:pt x="56" y="116"/>
                    </a:lnTo>
                    <a:lnTo>
                      <a:pt x="58" y="118"/>
                    </a:lnTo>
                    <a:lnTo>
                      <a:pt x="58" y="120"/>
                    </a:lnTo>
                    <a:lnTo>
                      <a:pt x="58" y="122"/>
                    </a:lnTo>
                    <a:lnTo>
                      <a:pt x="58" y="122"/>
                    </a:lnTo>
                    <a:lnTo>
                      <a:pt x="60" y="122"/>
                    </a:lnTo>
                    <a:lnTo>
                      <a:pt x="60" y="122"/>
                    </a:lnTo>
                    <a:lnTo>
                      <a:pt x="62" y="124"/>
                    </a:lnTo>
                    <a:lnTo>
                      <a:pt x="64" y="122"/>
                    </a:lnTo>
                    <a:lnTo>
                      <a:pt x="66" y="122"/>
                    </a:lnTo>
                    <a:lnTo>
                      <a:pt x="68" y="122"/>
                    </a:lnTo>
                    <a:lnTo>
                      <a:pt x="70" y="122"/>
                    </a:lnTo>
                    <a:lnTo>
                      <a:pt x="70" y="122"/>
                    </a:lnTo>
                    <a:lnTo>
                      <a:pt x="72" y="120"/>
                    </a:lnTo>
                    <a:lnTo>
                      <a:pt x="72" y="120"/>
                    </a:lnTo>
                    <a:lnTo>
                      <a:pt x="72" y="120"/>
                    </a:lnTo>
                    <a:lnTo>
                      <a:pt x="72" y="118"/>
                    </a:lnTo>
                    <a:lnTo>
                      <a:pt x="72" y="118"/>
                    </a:lnTo>
                    <a:lnTo>
                      <a:pt x="72" y="116"/>
                    </a:lnTo>
                    <a:lnTo>
                      <a:pt x="72" y="114"/>
                    </a:lnTo>
                    <a:lnTo>
                      <a:pt x="72" y="112"/>
                    </a:lnTo>
                    <a:lnTo>
                      <a:pt x="72" y="110"/>
                    </a:lnTo>
                    <a:lnTo>
                      <a:pt x="72" y="108"/>
                    </a:lnTo>
                    <a:lnTo>
                      <a:pt x="70" y="104"/>
                    </a:lnTo>
                    <a:lnTo>
                      <a:pt x="70" y="102"/>
                    </a:lnTo>
                    <a:lnTo>
                      <a:pt x="70" y="100"/>
                    </a:lnTo>
                    <a:lnTo>
                      <a:pt x="68" y="98"/>
                    </a:lnTo>
                    <a:lnTo>
                      <a:pt x="66" y="96"/>
                    </a:lnTo>
                    <a:lnTo>
                      <a:pt x="64" y="92"/>
                    </a:lnTo>
                    <a:lnTo>
                      <a:pt x="60" y="88"/>
                    </a:lnTo>
                    <a:lnTo>
                      <a:pt x="58" y="84"/>
                    </a:lnTo>
                    <a:lnTo>
                      <a:pt x="56" y="82"/>
                    </a:lnTo>
                    <a:lnTo>
                      <a:pt x="54" y="78"/>
                    </a:lnTo>
                    <a:lnTo>
                      <a:pt x="54" y="76"/>
                    </a:lnTo>
                    <a:lnTo>
                      <a:pt x="54" y="74"/>
                    </a:lnTo>
                    <a:lnTo>
                      <a:pt x="52" y="74"/>
                    </a:lnTo>
                    <a:lnTo>
                      <a:pt x="52" y="72"/>
                    </a:lnTo>
                    <a:lnTo>
                      <a:pt x="54" y="72"/>
                    </a:lnTo>
                    <a:lnTo>
                      <a:pt x="54" y="70"/>
                    </a:lnTo>
                    <a:lnTo>
                      <a:pt x="54" y="70"/>
                    </a:lnTo>
                    <a:lnTo>
                      <a:pt x="54" y="70"/>
                    </a:lnTo>
                    <a:lnTo>
                      <a:pt x="56" y="68"/>
                    </a:lnTo>
                    <a:lnTo>
                      <a:pt x="56" y="68"/>
                    </a:lnTo>
                    <a:lnTo>
                      <a:pt x="60" y="66"/>
                    </a:lnTo>
                    <a:lnTo>
                      <a:pt x="60" y="64"/>
                    </a:lnTo>
                    <a:lnTo>
                      <a:pt x="62" y="64"/>
                    </a:lnTo>
                    <a:lnTo>
                      <a:pt x="64" y="60"/>
                    </a:lnTo>
                    <a:lnTo>
                      <a:pt x="66" y="58"/>
                    </a:lnTo>
                    <a:lnTo>
                      <a:pt x="68" y="56"/>
                    </a:lnTo>
                    <a:lnTo>
                      <a:pt x="68" y="54"/>
                    </a:lnTo>
                    <a:lnTo>
                      <a:pt x="70" y="52"/>
                    </a:lnTo>
                    <a:lnTo>
                      <a:pt x="70" y="50"/>
                    </a:lnTo>
                    <a:lnTo>
                      <a:pt x="70" y="50"/>
                    </a:lnTo>
                    <a:lnTo>
                      <a:pt x="70" y="48"/>
                    </a:lnTo>
                    <a:lnTo>
                      <a:pt x="70" y="48"/>
                    </a:lnTo>
                    <a:lnTo>
                      <a:pt x="70" y="46"/>
                    </a:lnTo>
                    <a:lnTo>
                      <a:pt x="70" y="46"/>
                    </a:lnTo>
                    <a:lnTo>
                      <a:pt x="70" y="44"/>
                    </a:lnTo>
                    <a:lnTo>
                      <a:pt x="68" y="44"/>
                    </a:lnTo>
                    <a:lnTo>
                      <a:pt x="68" y="42"/>
                    </a:lnTo>
                    <a:lnTo>
                      <a:pt x="66" y="42"/>
                    </a:lnTo>
                    <a:lnTo>
                      <a:pt x="66" y="42"/>
                    </a:lnTo>
                    <a:lnTo>
                      <a:pt x="64" y="42"/>
                    </a:lnTo>
                    <a:lnTo>
                      <a:pt x="64" y="42"/>
                    </a:lnTo>
                    <a:lnTo>
                      <a:pt x="64" y="42"/>
                    </a:lnTo>
                    <a:lnTo>
                      <a:pt x="62" y="42"/>
                    </a:lnTo>
                    <a:lnTo>
                      <a:pt x="60" y="42"/>
                    </a:lnTo>
                    <a:lnTo>
                      <a:pt x="60" y="44"/>
                    </a:lnTo>
                    <a:lnTo>
                      <a:pt x="56" y="44"/>
                    </a:lnTo>
                    <a:lnTo>
                      <a:pt x="54" y="46"/>
                    </a:lnTo>
                    <a:lnTo>
                      <a:pt x="54" y="46"/>
                    </a:lnTo>
                    <a:lnTo>
                      <a:pt x="52" y="48"/>
                    </a:lnTo>
                    <a:lnTo>
                      <a:pt x="50" y="50"/>
                    </a:lnTo>
                    <a:lnTo>
                      <a:pt x="48" y="50"/>
                    </a:lnTo>
                    <a:lnTo>
                      <a:pt x="46" y="52"/>
                    </a:lnTo>
                    <a:lnTo>
                      <a:pt x="46" y="52"/>
                    </a:lnTo>
                    <a:lnTo>
                      <a:pt x="44" y="52"/>
                    </a:lnTo>
                    <a:lnTo>
                      <a:pt x="44" y="52"/>
                    </a:lnTo>
                    <a:lnTo>
                      <a:pt x="44" y="50"/>
                    </a:lnTo>
                    <a:lnTo>
                      <a:pt x="42" y="50"/>
                    </a:lnTo>
                    <a:lnTo>
                      <a:pt x="42" y="50"/>
                    </a:lnTo>
                    <a:lnTo>
                      <a:pt x="42" y="48"/>
                    </a:lnTo>
                    <a:lnTo>
                      <a:pt x="40" y="48"/>
                    </a:lnTo>
                    <a:lnTo>
                      <a:pt x="40" y="46"/>
                    </a:lnTo>
                    <a:lnTo>
                      <a:pt x="40" y="44"/>
                    </a:lnTo>
                    <a:lnTo>
                      <a:pt x="40" y="40"/>
                    </a:lnTo>
                    <a:lnTo>
                      <a:pt x="38" y="38"/>
                    </a:lnTo>
                    <a:lnTo>
                      <a:pt x="38" y="34"/>
                    </a:lnTo>
                    <a:lnTo>
                      <a:pt x="38" y="32"/>
                    </a:lnTo>
                    <a:lnTo>
                      <a:pt x="38" y="30"/>
                    </a:lnTo>
                    <a:lnTo>
                      <a:pt x="36" y="28"/>
                    </a:lnTo>
                    <a:lnTo>
                      <a:pt x="36" y="26"/>
                    </a:lnTo>
                    <a:lnTo>
                      <a:pt x="36" y="24"/>
                    </a:lnTo>
                    <a:lnTo>
                      <a:pt x="34" y="20"/>
                    </a:lnTo>
                    <a:lnTo>
                      <a:pt x="34" y="20"/>
                    </a:lnTo>
                    <a:lnTo>
                      <a:pt x="34" y="18"/>
                    </a:lnTo>
                    <a:lnTo>
                      <a:pt x="34" y="18"/>
                    </a:lnTo>
                    <a:lnTo>
                      <a:pt x="34" y="16"/>
                    </a:lnTo>
                    <a:lnTo>
                      <a:pt x="34" y="16"/>
                    </a:lnTo>
                    <a:lnTo>
                      <a:pt x="36" y="16"/>
                    </a:lnTo>
                    <a:lnTo>
                      <a:pt x="36" y="14"/>
                    </a:lnTo>
                    <a:lnTo>
                      <a:pt x="36" y="14"/>
                    </a:lnTo>
                    <a:lnTo>
                      <a:pt x="38" y="14"/>
                    </a:lnTo>
                    <a:lnTo>
                      <a:pt x="38" y="16"/>
                    </a:lnTo>
                    <a:lnTo>
                      <a:pt x="40" y="16"/>
                    </a:lnTo>
                    <a:lnTo>
                      <a:pt x="42" y="16"/>
                    </a:lnTo>
                    <a:lnTo>
                      <a:pt x="44" y="18"/>
                    </a:lnTo>
                    <a:lnTo>
                      <a:pt x="44" y="18"/>
                    </a:lnTo>
                    <a:lnTo>
                      <a:pt x="46" y="18"/>
                    </a:lnTo>
                    <a:lnTo>
                      <a:pt x="48" y="20"/>
                    </a:lnTo>
                    <a:lnTo>
                      <a:pt x="50" y="22"/>
                    </a:lnTo>
                    <a:lnTo>
                      <a:pt x="50" y="24"/>
                    </a:lnTo>
                    <a:lnTo>
                      <a:pt x="52" y="24"/>
                    </a:lnTo>
                    <a:lnTo>
                      <a:pt x="52" y="24"/>
                    </a:lnTo>
                    <a:lnTo>
                      <a:pt x="54" y="24"/>
                    </a:lnTo>
                    <a:lnTo>
                      <a:pt x="56" y="24"/>
                    </a:lnTo>
                    <a:lnTo>
                      <a:pt x="58" y="24"/>
                    </a:lnTo>
                    <a:lnTo>
                      <a:pt x="60" y="22"/>
                    </a:lnTo>
                    <a:lnTo>
                      <a:pt x="62" y="22"/>
                    </a:lnTo>
                    <a:lnTo>
                      <a:pt x="64" y="22"/>
                    </a:lnTo>
                    <a:lnTo>
                      <a:pt x="66" y="22"/>
                    </a:lnTo>
                    <a:lnTo>
                      <a:pt x="66" y="22"/>
                    </a:lnTo>
                    <a:lnTo>
                      <a:pt x="66" y="22"/>
                    </a:lnTo>
                    <a:lnTo>
                      <a:pt x="68" y="22"/>
                    </a:lnTo>
                    <a:lnTo>
                      <a:pt x="68" y="22"/>
                    </a:lnTo>
                    <a:lnTo>
                      <a:pt x="70" y="24"/>
                    </a:lnTo>
                    <a:lnTo>
                      <a:pt x="72" y="26"/>
                    </a:lnTo>
                    <a:lnTo>
                      <a:pt x="74" y="26"/>
                    </a:lnTo>
                    <a:lnTo>
                      <a:pt x="74" y="26"/>
                    </a:lnTo>
                    <a:lnTo>
                      <a:pt x="76" y="26"/>
                    </a:lnTo>
                    <a:lnTo>
                      <a:pt x="76" y="26"/>
                    </a:lnTo>
                    <a:lnTo>
                      <a:pt x="78" y="26"/>
                    </a:lnTo>
                    <a:lnTo>
                      <a:pt x="80" y="26"/>
                    </a:lnTo>
                    <a:lnTo>
                      <a:pt x="82" y="24"/>
                    </a:lnTo>
                    <a:lnTo>
                      <a:pt x="88" y="22"/>
                    </a:lnTo>
                    <a:lnTo>
                      <a:pt x="90" y="22"/>
                    </a:lnTo>
                    <a:lnTo>
                      <a:pt x="92" y="20"/>
                    </a:lnTo>
                    <a:lnTo>
                      <a:pt x="96" y="20"/>
                    </a:lnTo>
                    <a:lnTo>
                      <a:pt x="96" y="18"/>
                    </a:lnTo>
                    <a:lnTo>
                      <a:pt x="98" y="18"/>
                    </a:lnTo>
                    <a:lnTo>
                      <a:pt x="100" y="18"/>
                    </a:lnTo>
                    <a:lnTo>
                      <a:pt x="100" y="16"/>
                    </a:lnTo>
                    <a:lnTo>
                      <a:pt x="100" y="16"/>
                    </a:lnTo>
                    <a:lnTo>
                      <a:pt x="100" y="14"/>
                    </a:lnTo>
                    <a:lnTo>
                      <a:pt x="100" y="12"/>
                    </a:lnTo>
                    <a:lnTo>
                      <a:pt x="100" y="10"/>
                    </a:lnTo>
                    <a:lnTo>
                      <a:pt x="100" y="8"/>
                    </a:lnTo>
                    <a:lnTo>
                      <a:pt x="98" y="6"/>
                    </a:lnTo>
                    <a:lnTo>
                      <a:pt x="98" y="4"/>
                    </a:lnTo>
                    <a:lnTo>
                      <a:pt x="96" y="2"/>
                    </a:lnTo>
                    <a:lnTo>
                      <a:pt x="96" y="0"/>
                    </a:lnTo>
                    <a:lnTo>
                      <a:pt x="96" y="0"/>
                    </a:lnTo>
                    <a:lnTo>
                      <a:pt x="96" y="0"/>
                    </a:lnTo>
                    <a:lnTo>
                      <a:pt x="94" y="0"/>
                    </a:lnTo>
                    <a:lnTo>
                      <a:pt x="92" y="0"/>
                    </a:lnTo>
                    <a:lnTo>
                      <a:pt x="92" y="0"/>
                    </a:lnTo>
                    <a:lnTo>
                      <a:pt x="90" y="0"/>
                    </a:lnTo>
                    <a:lnTo>
                      <a:pt x="88" y="0"/>
                    </a:lnTo>
                    <a:lnTo>
                      <a:pt x="88" y="0"/>
                    </a:lnTo>
                    <a:lnTo>
                      <a:pt x="86" y="0"/>
                    </a:lnTo>
                    <a:lnTo>
                      <a:pt x="86" y="0"/>
                    </a:lnTo>
                    <a:lnTo>
                      <a:pt x="86" y="0"/>
                    </a:lnTo>
                    <a:lnTo>
                      <a:pt x="86" y="2"/>
                    </a:lnTo>
                    <a:lnTo>
                      <a:pt x="84" y="4"/>
                    </a:lnTo>
                    <a:lnTo>
                      <a:pt x="84" y="6"/>
                    </a:lnTo>
                    <a:lnTo>
                      <a:pt x="84" y="8"/>
                    </a:lnTo>
                    <a:lnTo>
                      <a:pt x="82" y="10"/>
                    </a:lnTo>
                    <a:lnTo>
                      <a:pt x="82" y="10"/>
                    </a:lnTo>
                    <a:lnTo>
                      <a:pt x="82" y="10"/>
                    </a:lnTo>
                    <a:lnTo>
                      <a:pt x="80" y="12"/>
                    </a:lnTo>
                    <a:lnTo>
                      <a:pt x="80" y="12"/>
                    </a:lnTo>
                    <a:lnTo>
                      <a:pt x="78" y="12"/>
                    </a:lnTo>
                    <a:lnTo>
                      <a:pt x="76" y="12"/>
                    </a:lnTo>
                    <a:lnTo>
                      <a:pt x="74" y="12"/>
                    </a:lnTo>
                    <a:lnTo>
                      <a:pt x="72" y="12"/>
                    </a:lnTo>
                    <a:lnTo>
                      <a:pt x="70" y="12"/>
                    </a:lnTo>
                    <a:lnTo>
                      <a:pt x="64" y="12"/>
                    </a:lnTo>
                    <a:lnTo>
                      <a:pt x="56" y="10"/>
                    </a:lnTo>
                    <a:lnTo>
                      <a:pt x="52" y="10"/>
                    </a:lnTo>
                    <a:lnTo>
                      <a:pt x="50" y="8"/>
                    </a:lnTo>
                    <a:lnTo>
                      <a:pt x="48" y="8"/>
                    </a:lnTo>
                    <a:lnTo>
                      <a:pt x="44" y="8"/>
                    </a:lnTo>
                    <a:lnTo>
                      <a:pt x="38" y="8"/>
                    </a:lnTo>
                    <a:lnTo>
                      <a:pt x="36" y="8"/>
                    </a:lnTo>
                    <a:lnTo>
                      <a:pt x="34" y="8"/>
                    </a:lnTo>
                    <a:lnTo>
                      <a:pt x="32" y="8"/>
                    </a:lnTo>
                    <a:lnTo>
                      <a:pt x="30" y="10"/>
                    </a:lnTo>
                    <a:lnTo>
                      <a:pt x="30" y="10"/>
                    </a:lnTo>
                    <a:lnTo>
                      <a:pt x="30" y="10"/>
                    </a:lnTo>
                    <a:lnTo>
                      <a:pt x="28" y="10"/>
                    </a:lnTo>
                    <a:lnTo>
                      <a:pt x="28" y="12"/>
                    </a:lnTo>
                    <a:lnTo>
                      <a:pt x="28" y="12"/>
                    </a:lnTo>
                    <a:lnTo>
                      <a:pt x="28" y="14"/>
                    </a:lnTo>
                    <a:lnTo>
                      <a:pt x="26"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39" name="Freeform 219"/>
              <p:cNvSpPr>
                <a:spLocks/>
              </p:cNvSpPr>
              <p:nvPr/>
            </p:nvSpPr>
            <p:spPr bwMode="auto">
              <a:xfrm>
                <a:off x="7237703" y="4711867"/>
                <a:ext cx="38100" cy="85725"/>
              </a:xfrm>
              <a:custGeom>
                <a:avLst/>
                <a:gdLst>
                  <a:gd name="T0" fmla="*/ 12 w 24"/>
                  <a:gd name="T1" fmla="*/ 22 h 54"/>
                  <a:gd name="T2" fmla="*/ 12 w 24"/>
                  <a:gd name="T3" fmla="*/ 22 h 54"/>
                  <a:gd name="T4" fmla="*/ 8 w 24"/>
                  <a:gd name="T5" fmla="*/ 24 h 54"/>
                  <a:gd name="T6" fmla="*/ 4 w 24"/>
                  <a:gd name="T7" fmla="*/ 26 h 54"/>
                  <a:gd name="T8" fmla="*/ 0 w 24"/>
                  <a:gd name="T9" fmla="*/ 26 h 54"/>
                  <a:gd name="T10" fmla="*/ 0 w 24"/>
                  <a:gd name="T11" fmla="*/ 28 h 54"/>
                  <a:gd name="T12" fmla="*/ 0 w 24"/>
                  <a:gd name="T13" fmla="*/ 28 h 54"/>
                  <a:gd name="T14" fmla="*/ 0 w 24"/>
                  <a:gd name="T15" fmla="*/ 32 h 54"/>
                  <a:gd name="T16" fmla="*/ 0 w 24"/>
                  <a:gd name="T17" fmla="*/ 36 h 54"/>
                  <a:gd name="T18" fmla="*/ 2 w 24"/>
                  <a:gd name="T19" fmla="*/ 40 h 54"/>
                  <a:gd name="T20" fmla="*/ 4 w 24"/>
                  <a:gd name="T21" fmla="*/ 44 h 54"/>
                  <a:gd name="T22" fmla="*/ 6 w 24"/>
                  <a:gd name="T23" fmla="*/ 46 h 54"/>
                  <a:gd name="T24" fmla="*/ 10 w 24"/>
                  <a:gd name="T25" fmla="*/ 50 h 54"/>
                  <a:gd name="T26" fmla="*/ 14 w 24"/>
                  <a:gd name="T27" fmla="*/ 52 h 54"/>
                  <a:gd name="T28" fmla="*/ 16 w 24"/>
                  <a:gd name="T29" fmla="*/ 54 h 54"/>
                  <a:gd name="T30" fmla="*/ 18 w 24"/>
                  <a:gd name="T31" fmla="*/ 54 h 54"/>
                  <a:gd name="T32" fmla="*/ 20 w 24"/>
                  <a:gd name="T33" fmla="*/ 52 h 54"/>
                  <a:gd name="T34" fmla="*/ 20 w 24"/>
                  <a:gd name="T35" fmla="*/ 50 h 54"/>
                  <a:gd name="T36" fmla="*/ 22 w 24"/>
                  <a:gd name="T37" fmla="*/ 48 h 54"/>
                  <a:gd name="T38" fmla="*/ 22 w 24"/>
                  <a:gd name="T39" fmla="*/ 44 h 54"/>
                  <a:gd name="T40" fmla="*/ 22 w 24"/>
                  <a:gd name="T41" fmla="*/ 36 h 54"/>
                  <a:gd name="T42" fmla="*/ 24 w 24"/>
                  <a:gd name="T43" fmla="*/ 32 h 54"/>
                  <a:gd name="T44" fmla="*/ 24 w 24"/>
                  <a:gd name="T45" fmla="*/ 22 h 54"/>
                  <a:gd name="T46" fmla="*/ 24 w 24"/>
                  <a:gd name="T47" fmla="*/ 16 h 54"/>
                  <a:gd name="T48" fmla="*/ 24 w 24"/>
                  <a:gd name="T49" fmla="*/ 10 h 54"/>
                  <a:gd name="T50" fmla="*/ 24 w 24"/>
                  <a:gd name="T51" fmla="*/ 6 h 54"/>
                  <a:gd name="T52" fmla="*/ 22 w 24"/>
                  <a:gd name="T53" fmla="*/ 2 h 54"/>
                  <a:gd name="T54" fmla="*/ 20 w 24"/>
                  <a:gd name="T55" fmla="*/ 0 h 54"/>
                  <a:gd name="T56" fmla="*/ 20 w 24"/>
                  <a:gd name="T57" fmla="*/ 0 h 54"/>
                  <a:gd name="T58" fmla="*/ 18 w 24"/>
                  <a:gd name="T59" fmla="*/ 0 h 54"/>
                  <a:gd name="T60" fmla="*/ 16 w 24"/>
                  <a:gd name="T61" fmla="*/ 0 h 54"/>
                  <a:gd name="T62" fmla="*/ 14 w 24"/>
                  <a:gd name="T63" fmla="*/ 2 h 54"/>
                  <a:gd name="T64" fmla="*/ 12 w 24"/>
                  <a:gd name="T65" fmla="*/ 6 h 54"/>
                  <a:gd name="T66" fmla="*/ 12 w 24"/>
                  <a:gd name="T67" fmla="*/ 6 h 54"/>
                  <a:gd name="T68" fmla="*/ 12 w 24"/>
                  <a:gd name="T69" fmla="*/ 10 h 54"/>
                  <a:gd name="T70" fmla="*/ 12 w 24"/>
                  <a:gd name="T71" fmla="*/ 14 h 54"/>
                  <a:gd name="T72" fmla="*/ 12 w 24"/>
                  <a:gd name="T73" fmla="*/ 18 h 54"/>
                  <a:gd name="T74" fmla="*/ 12 w 24"/>
                  <a:gd name="T75"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4">
                    <a:moveTo>
                      <a:pt x="12" y="22"/>
                    </a:moveTo>
                    <a:lnTo>
                      <a:pt x="12" y="22"/>
                    </a:lnTo>
                    <a:lnTo>
                      <a:pt x="12" y="22"/>
                    </a:lnTo>
                    <a:lnTo>
                      <a:pt x="12" y="22"/>
                    </a:lnTo>
                    <a:lnTo>
                      <a:pt x="10" y="24"/>
                    </a:lnTo>
                    <a:lnTo>
                      <a:pt x="8" y="24"/>
                    </a:lnTo>
                    <a:lnTo>
                      <a:pt x="6" y="24"/>
                    </a:lnTo>
                    <a:lnTo>
                      <a:pt x="4" y="26"/>
                    </a:lnTo>
                    <a:lnTo>
                      <a:pt x="2" y="26"/>
                    </a:lnTo>
                    <a:lnTo>
                      <a:pt x="0" y="26"/>
                    </a:lnTo>
                    <a:lnTo>
                      <a:pt x="0" y="26"/>
                    </a:lnTo>
                    <a:lnTo>
                      <a:pt x="0" y="28"/>
                    </a:lnTo>
                    <a:lnTo>
                      <a:pt x="0" y="28"/>
                    </a:lnTo>
                    <a:lnTo>
                      <a:pt x="0" y="28"/>
                    </a:lnTo>
                    <a:lnTo>
                      <a:pt x="0" y="30"/>
                    </a:lnTo>
                    <a:lnTo>
                      <a:pt x="0" y="32"/>
                    </a:lnTo>
                    <a:lnTo>
                      <a:pt x="0" y="34"/>
                    </a:lnTo>
                    <a:lnTo>
                      <a:pt x="0" y="36"/>
                    </a:lnTo>
                    <a:lnTo>
                      <a:pt x="0" y="38"/>
                    </a:lnTo>
                    <a:lnTo>
                      <a:pt x="2" y="40"/>
                    </a:lnTo>
                    <a:lnTo>
                      <a:pt x="2" y="42"/>
                    </a:lnTo>
                    <a:lnTo>
                      <a:pt x="4" y="44"/>
                    </a:lnTo>
                    <a:lnTo>
                      <a:pt x="4" y="44"/>
                    </a:lnTo>
                    <a:lnTo>
                      <a:pt x="6" y="46"/>
                    </a:lnTo>
                    <a:lnTo>
                      <a:pt x="8" y="48"/>
                    </a:lnTo>
                    <a:lnTo>
                      <a:pt x="10" y="50"/>
                    </a:lnTo>
                    <a:lnTo>
                      <a:pt x="12" y="52"/>
                    </a:lnTo>
                    <a:lnTo>
                      <a:pt x="14" y="52"/>
                    </a:lnTo>
                    <a:lnTo>
                      <a:pt x="14" y="52"/>
                    </a:lnTo>
                    <a:lnTo>
                      <a:pt x="16" y="54"/>
                    </a:lnTo>
                    <a:lnTo>
                      <a:pt x="16" y="54"/>
                    </a:lnTo>
                    <a:lnTo>
                      <a:pt x="18" y="54"/>
                    </a:lnTo>
                    <a:lnTo>
                      <a:pt x="18" y="54"/>
                    </a:lnTo>
                    <a:lnTo>
                      <a:pt x="20" y="52"/>
                    </a:lnTo>
                    <a:lnTo>
                      <a:pt x="20" y="52"/>
                    </a:lnTo>
                    <a:lnTo>
                      <a:pt x="20" y="50"/>
                    </a:lnTo>
                    <a:lnTo>
                      <a:pt x="22" y="50"/>
                    </a:lnTo>
                    <a:lnTo>
                      <a:pt x="22" y="48"/>
                    </a:lnTo>
                    <a:lnTo>
                      <a:pt x="22" y="46"/>
                    </a:lnTo>
                    <a:lnTo>
                      <a:pt x="22" y="44"/>
                    </a:lnTo>
                    <a:lnTo>
                      <a:pt x="22" y="40"/>
                    </a:lnTo>
                    <a:lnTo>
                      <a:pt x="22" y="36"/>
                    </a:lnTo>
                    <a:lnTo>
                      <a:pt x="24" y="34"/>
                    </a:lnTo>
                    <a:lnTo>
                      <a:pt x="24" y="32"/>
                    </a:lnTo>
                    <a:lnTo>
                      <a:pt x="24" y="28"/>
                    </a:lnTo>
                    <a:lnTo>
                      <a:pt x="24" y="22"/>
                    </a:lnTo>
                    <a:lnTo>
                      <a:pt x="24" y="18"/>
                    </a:lnTo>
                    <a:lnTo>
                      <a:pt x="24" y="16"/>
                    </a:lnTo>
                    <a:lnTo>
                      <a:pt x="24" y="14"/>
                    </a:lnTo>
                    <a:lnTo>
                      <a:pt x="24" y="10"/>
                    </a:lnTo>
                    <a:lnTo>
                      <a:pt x="24" y="8"/>
                    </a:lnTo>
                    <a:lnTo>
                      <a:pt x="24" y="6"/>
                    </a:lnTo>
                    <a:lnTo>
                      <a:pt x="22" y="4"/>
                    </a:lnTo>
                    <a:lnTo>
                      <a:pt x="22" y="2"/>
                    </a:lnTo>
                    <a:lnTo>
                      <a:pt x="22" y="2"/>
                    </a:lnTo>
                    <a:lnTo>
                      <a:pt x="20" y="0"/>
                    </a:lnTo>
                    <a:lnTo>
                      <a:pt x="20" y="0"/>
                    </a:lnTo>
                    <a:lnTo>
                      <a:pt x="20" y="0"/>
                    </a:lnTo>
                    <a:lnTo>
                      <a:pt x="20" y="0"/>
                    </a:lnTo>
                    <a:lnTo>
                      <a:pt x="18" y="0"/>
                    </a:lnTo>
                    <a:lnTo>
                      <a:pt x="18" y="0"/>
                    </a:lnTo>
                    <a:lnTo>
                      <a:pt x="16" y="0"/>
                    </a:lnTo>
                    <a:lnTo>
                      <a:pt x="16" y="2"/>
                    </a:lnTo>
                    <a:lnTo>
                      <a:pt x="14" y="2"/>
                    </a:lnTo>
                    <a:lnTo>
                      <a:pt x="14" y="4"/>
                    </a:lnTo>
                    <a:lnTo>
                      <a:pt x="12" y="6"/>
                    </a:lnTo>
                    <a:lnTo>
                      <a:pt x="12" y="6"/>
                    </a:lnTo>
                    <a:lnTo>
                      <a:pt x="12" y="6"/>
                    </a:lnTo>
                    <a:lnTo>
                      <a:pt x="12" y="8"/>
                    </a:lnTo>
                    <a:lnTo>
                      <a:pt x="12" y="10"/>
                    </a:lnTo>
                    <a:lnTo>
                      <a:pt x="12" y="12"/>
                    </a:lnTo>
                    <a:lnTo>
                      <a:pt x="12" y="14"/>
                    </a:lnTo>
                    <a:lnTo>
                      <a:pt x="12" y="16"/>
                    </a:lnTo>
                    <a:lnTo>
                      <a:pt x="12" y="18"/>
                    </a:lnTo>
                    <a:lnTo>
                      <a:pt x="12" y="20"/>
                    </a:lnTo>
                    <a:lnTo>
                      <a:pt x="12" y="20"/>
                    </a:lnTo>
                    <a:lnTo>
                      <a:pt x="12" y="2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40" name="Freeform 221"/>
              <p:cNvSpPr>
                <a:spLocks/>
              </p:cNvSpPr>
              <p:nvPr/>
            </p:nvSpPr>
            <p:spPr bwMode="auto">
              <a:xfrm>
                <a:off x="7269453" y="4851567"/>
                <a:ext cx="57150" cy="31750"/>
              </a:xfrm>
              <a:custGeom>
                <a:avLst/>
                <a:gdLst>
                  <a:gd name="T0" fmla="*/ 4 w 36"/>
                  <a:gd name="T1" fmla="*/ 6 h 20"/>
                  <a:gd name="T2" fmla="*/ 4 w 36"/>
                  <a:gd name="T3" fmla="*/ 6 h 20"/>
                  <a:gd name="T4" fmla="*/ 4 w 36"/>
                  <a:gd name="T5" fmla="*/ 4 h 20"/>
                  <a:gd name="T6" fmla="*/ 6 w 36"/>
                  <a:gd name="T7" fmla="*/ 4 h 20"/>
                  <a:gd name="T8" fmla="*/ 8 w 36"/>
                  <a:gd name="T9" fmla="*/ 2 h 20"/>
                  <a:gd name="T10" fmla="*/ 10 w 36"/>
                  <a:gd name="T11" fmla="*/ 2 h 20"/>
                  <a:gd name="T12" fmla="*/ 14 w 36"/>
                  <a:gd name="T13" fmla="*/ 2 h 20"/>
                  <a:gd name="T14" fmla="*/ 16 w 36"/>
                  <a:gd name="T15" fmla="*/ 2 h 20"/>
                  <a:gd name="T16" fmla="*/ 18 w 36"/>
                  <a:gd name="T17" fmla="*/ 2 h 20"/>
                  <a:gd name="T18" fmla="*/ 22 w 36"/>
                  <a:gd name="T19" fmla="*/ 0 h 20"/>
                  <a:gd name="T20" fmla="*/ 22 w 36"/>
                  <a:gd name="T21" fmla="*/ 0 h 20"/>
                  <a:gd name="T22" fmla="*/ 24 w 36"/>
                  <a:gd name="T23" fmla="*/ 0 h 20"/>
                  <a:gd name="T24" fmla="*/ 26 w 36"/>
                  <a:gd name="T25" fmla="*/ 2 h 20"/>
                  <a:gd name="T26" fmla="*/ 26 w 36"/>
                  <a:gd name="T27" fmla="*/ 2 h 20"/>
                  <a:gd name="T28" fmla="*/ 28 w 36"/>
                  <a:gd name="T29" fmla="*/ 2 h 20"/>
                  <a:gd name="T30" fmla="*/ 28 w 36"/>
                  <a:gd name="T31" fmla="*/ 2 h 20"/>
                  <a:gd name="T32" fmla="*/ 30 w 36"/>
                  <a:gd name="T33" fmla="*/ 4 h 20"/>
                  <a:gd name="T34" fmla="*/ 30 w 36"/>
                  <a:gd name="T35" fmla="*/ 6 h 20"/>
                  <a:gd name="T36" fmla="*/ 32 w 36"/>
                  <a:gd name="T37" fmla="*/ 8 h 20"/>
                  <a:gd name="T38" fmla="*/ 34 w 36"/>
                  <a:gd name="T39" fmla="*/ 12 h 20"/>
                  <a:gd name="T40" fmla="*/ 34 w 36"/>
                  <a:gd name="T41" fmla="*/ 14 h 20"/>
                  <a:gd name="T42" fmla="*/ 36 w 36"/>
                  <a:gd name="T43" fmla="*/ 16 h 20"/>
                  <a:gd name="T44" fmla="*/ 36 w 36"/>
                  <a:gd name="T45" fmla="*/ 16 h 20"/>
                  <a:gd name="T46" fmla="*/ 36 w 36"/>
                  <a:gd name="T47" fmla="*/ 18 h 20"/>
                  <a:gd name="T48" fmla="*/ 36 w 36"/>
                  <a:gd name="T49" fmla="*/ 18 h 20"/>
                  <a:gd name="T50" fmla="*/ 36 w 36"/>
                  <a:gd name="T51" fmla="*/ 18 h 20"/>
                  <a:gd name="T52" fmla="*/ 36 w 36"/>
                  <a:gd name="T53" fmla="*/ 20 h 20"/>
                  <a:gd name="T54" fmla="*/ 34 w 36"/>
                  <a:gd name="T55" fmla="*/ 20 h 20"/>
                  <a:gd name="T56" fmla="*/ 34 w 36"/>
                  <a:gd name="T57" fmla="*/ 20 h 20"/>
                  <a:gd name="T58" fmla="*/ 34 w 36"/>
                  <a:gd name="T59" fmla="*/ 20 h 20"/>
                  <a:gd name="T60" fmla="*/ 32 w 36"/>
                  <a:gd name="T61" fmla="*/ 20 h 20"/>
                  <a:gd name="T62" fmla="*/ 32 w 36"/>
                  <a:gd name="T63" fmla="*/ 18 h 20"/>
                  <a:gd name="T64" fmla="*/ 30 w 36"/>
                  <a:gd name="T65" fmla="*/ 18 h 20"/>
                  <a:gd name="T66" fmla="*/ 26 w 36"/>
                  <a:gd name="T67" fmla="*/ 16 h 20"/>
                  <a:gd name="T68" fmla="*/ 24 w 36"/>
                  <a:gd name="T69" fmla="*/ 14 h 20"/>
                  <a:gd name="T70" fmla="*/ 24 w 36"/>
                  <a:gd name="T71" fmla="*/ 14 h 20"/>
                  <a:gd name="T72" fmla="*/ 22 w 36"/>
                  <a:gd name="T73" fmla="*/ 14 h 20"/>
                  <a:gd name="T74" fmla="*/ 18 w 36"/>
                  <a:gd name="T75" fmla="*/ 12 h 20"/>
                  <a:gd name="T76" fmla="*/ 14 w 36"/>
                  <a:gd name="T77" fmla="*/ 12 h 20"/>
                  <a:gd name="T78" fmla="*/ 14 w 36"/>
                  <a:gd name="T79" fmla="*/ 12 h 20"/>
                  <a:gd name="T80" fmla="*/ 12 w 36"/>
                  <a:gd name="T81" fmla="*/ 12 h 20"/>
                  <a:gd name="T82" fmla="*/ 10 w 36"/>
                  <a:gd name="T83" fmla="*/ 12 h 20"/>
                  <a:gd name="T84" fmla="*/ 10 w 36"/>
                  <a:gd name="T85" fmla="*/ 12 h 20"/>
                  <a:gd name="T86" fmla="*/ 6 w 36"/>
                  <a:gd name="T87" fmla="*/ 14 h 20"/>
                  <a:gd name="T88" fmla="*/ 4 w 36"/>
                  <a:gd name="T89" fmla="*/ 14 h 20"/>
                  <a:gd name="T90" fmla="*/ 2 w 36"/>
                  <a:gd name="T91" fmla="*/ 14 h 20"/>
                  <a:gd name="T92" fmla="*/ 2 w 36"/>
                  <a:gd name="T93" fmla="*/ 14 h 20"/>
                  <a:gd name="T94" fmla="*/ 0 w 36"/>
                  <a:gd name="T95" fmla="*/ 14 h 20"/>
                  <a:gd name="T96" fmla="*/ 0 w 36"/>
                  <a:gd name="T97" fmla="*/ 14 h 20"/>
                  <a:gd name="T98" fmla="*/ 0 w 36"/>
                  <a:gd name="T99" fmla="*/ 14 h 20"/>
                  <a:gd name="T100" fmla="*/ 0 w 36"/>
                  <a:gd name="T101" fmla="*/ 14 h 20"/>
                  <a:gd name="T102" fmla="*/ 0 w 36"/>
                  <a:gd name="T103" fmla="*/ 14 h 20"/>
                  <a:gd name="T104" fmla="*/ 0 w 36"/>
                  <a:gd name="T105" fmla="*/ 12 h 20"/>
                  <a:gd name="T106" fmla="*/ 0 w 36"/>
                  <a:gd name="T107" fmla="*/ 10 h 20"/>
                  <a:gd name="T108" fmla="*/ 0 w 36"/>
                  <a:gd name="T109" fmla="*/ 10 h 20"/>
                  <a:gd name="T110" fmla="*/ 2 w 36"/>
                  <a:gd name="T111" fmla="*/ 8 h 20"/>
                  <a:gd name="T112" fmla="*/ 2 w 36"/>
                  <a:gd name="T113" fmla="*/ 6 h 20"/>
                  <a:gd name="T114" fmla="*/ 2 w 36"/>
                  <a:gd name="T115" fmla="*/ 6 h 20"/>
                  <a:gd name="T116" fmla="*/ 4 w 36"/>
                  <a:gd name="T11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 h="20">
                    <a:moveTo>
                      <a:pt x="4" y="6"/>
                    </a:moveTo>
                    <a:lnTo>
                      <a:pt x="4" y="6"/>
                    </a:lnTo>
                    <a:lnTo>
                      <a:pt x="4" y="4"/>
                    </a:lnTo>
                    <a:lnTo>
                      <a:pt x="6" y="4"/>
                    </a:lnTo>
                    <a:lnTo>
                      <a:pt x="8" y="2"/>
                    </a:lnTo>
                    <a:lnTo>
                      <a:pt x="10" y="2"/>
                    </a:lnTo>
                    <a:lnTo>
                      <a:pt x="14" y="2"/>
                    </a:lnTo>
                    <a:lnTo>
                      <a:pt x="16" y="2"/>
                    </a:lnTo>
                    <a:lnTo>
                      <a:pt x="18" y="2"/>
                    </a:lnTo>
                    <a:lnTo>
                      <a:pt x="22" y="0"/>
                    </a:lnTo>
                    <a:lnTo>
                      <a:pt x="22" y="0"/>
                    </a:lnTo>
                    <a:lnTo>
                      <a:pt x="24" y="0"/>
                    </a:lnTo>
                    <a:lnTo>
                      <a:pt x="26" y="2"/>
                    </a:lnTo>
                    <a:lnTo>
                      <a:pt x="26" y="2"/>
                    </a:lnTo>
                    <a:lnTo>
                      <a:pt x="28" y="2"/>
                    </a:lnTo>
                    <a:lnTo>
                      <a:pt x="28" y="2"/>
                    </a:lnTo>
                    <a:lnTo>
                      <a:pt x="30" y="4"/>
                    </a:lnTo>
                    <a:lnTo>
                      <a:pt x="30" y="6"/>
                    </a:lnTo>
                    <a:lnTo>
                      <a:pt x="32" y="8"/>
                    </a:lnTo>
                    <a:lnTo>
                      <a:pt x="34" y="12"/>
                    </a:lnTo>
                    <a:lnTo>
                      <a:pt x="34" y="14"/>
                    </a:lnTo>
                    <a:lnTo>
                      <a:pt x="36" y="16"/>
                    </a:lnTo>
                    <a:lnTo>
                      <a:pt x="36" y="16"/>
                    </a:lnTo>
                    <a:lnTo>
                      <a:pt x="36" y="18"/>
                    </a:lnTo>
                    <a:lnTo>
                      <a:pt x="36" y="18"/>
                    </a:lnTo>
                    <a:lnTo>
                      <a:pt x="36" y="18"/>
                    </a:lnTo>
                    <a:lnTo>
                      <a:pt x="36" y="20"/>
                    </a:lnTo>
                    <a:lnTo>
                      <a:pt x="34" y="20"/>
                    </a:lnTo>
                    <a:lnTo>
                      <a:pt x="34" y="20"/>
                    </a:lnTo>
                    <a:lnTo>
                      <a:pt x="34" y="20"/>
                    </a:lnTo>
                    <a:lnTo>
                      <a:pt x="32" y="20"/>
                    </a:lnTo>
                    <a:lnTo>
                      <a:pt x="32" y="18"/>
                    </a:lnTo>
                    <a:lnTo>
                      <a:pt x="30" y="18"/>
                    </a:lnTo>
                    <a:lnTo>
                      <a:pt x="26" y="16"/>
                    </a:lnTo>
                    <a:lnTo>
                      <a:pt x="24" y="14"/>
                    </a:lnTo>
                    <a:lnTo>
                      <a:pt x="24" y="14"/>
                    </a:lnTo>
                    <a:lnTo>
                      <a:pt x="22" y="14"/>
                    </a:lnTo>
                    <a:lnTo>
                      <a:pt x="18" y="12"/>
                    </a:lnTo>
                    <a:lnTo>
                      <a:pt x="14" y="12"/>
                    </a:lnTo>
                    <a:lnTo>
                      <a:pt x="14" y="12"/>
                    </a:lnTo>
                    <a:lnTo>
                      <a:pt x="12" y="12"/>
                    </a:lnTo>
                    <a:lnTo>
                      <a:pt x="10" y="12"/>
                    </a:lnTo>
                    <a:lnTo>
                      <a:pt x="10" y="12"/>
                    </a:lnTo>
                    <a:lnTo>
                      <a:pt x="6" y="14"/>
                    </a:lnTo>
                    <a:lnTo>
                      <a:pt x="4" y="14"/>
                    </a:lnTo>
                    <a:lnTo>
                      <a:pt x="2" y="14"/>
                    </a:lnTo>
                    <a:lnTo>
                      <a:pt x="2" y="14"/>
                    </a:lnTo>
                    <a:lnTo>
                      <a:pt x="0" y="14"/>
                    </a:lnTo>
                    <a:lnTo>
                      <a:pt x="0" y="14"/>
                    </a:lnTo>
                    <a:lnTo>
                      <a:pt x="0" y="14"/>
                    </a:lnTo>
                    <a:lnTo>
                      <a:pt x="0" y="14"/>
                    </a:lnTo>
                    <a:lnTo>
                      <a:pt x="0" y="14"/>
                    </a:lnTo>
                    <a:lnTo>
                      <a:pt x="0" y="12"/>
                    </a:lnTo>
                    <a:lnTo>
                      <a:pt x="0" y="10"/>
                    </a:lnTo>
                    <a:lnTo>
                      <a:pt x="0" y="10"/>
                    </a:lnTo>
                    <a:lnTo>
                      <a:pt x="2" y="8"/>
                    </a:lnTo>
                    <a:lnTo>
                      <a:pt x="2" y="6"/>
                    </a:lnTo>
                    <a:lnTo>
                      <a:pt x="2" y="6"/>
                    </a:lnTo>
                    <a:lnTo>
                      <a:pt x="4"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41" name="Freeform 225"/>
              <p:cNvSpPr>
                <a:spLocks/>
              </p:cNvSpPr>
              <p:nvPr/>
            </p:nvSpPr>
            <p:spPr bwMode="auto">
              <a:xfrm>
                <a:off x="7399628" y="4803942"/>
                <a:ext cx="60325" cy="41275"/>
              </a:xfrm>
              <a:custGeom>
                <a:avLst/>
                <a:gdLst>
                  <a:gd name="T0" fmla="*/ 14 w 38"/>
                  <a:gd name="T1" fmla="*/ 24 h 26"/>
                  <a:gd name="T2" fmla="*/ 14 w 38"/>
                  <a:gd name="T3" fmla="*/ 24 h 26"/>
                  <a:gd name="T4" fmla="*/ 14 w 38"/>
                  <a:gd name="T5" fmla="*/ 24 h 26"/>
                  <a:gd name="T6" fmla="*/ 12 w 38"/>
                  <a:gd name="T7" fmla="*/ 24 h 26"/>
                  <a:gd name="T8" fmla="*/ 8 w 38"/>
                  <a:gd name="T9" fmla="*/ 24 h 26"/>
                  <a:gd name="T10" fmla="*/ 6 w 38"/>
                  <a:gd name="T11" fmla="*/ 26 h 26"/>
                  <a:gd name="T12" fmla="*/ 4 w 38"/>
                  <a:gd name="T13" fmla="*/ 26 h 26"/>
                  <a:gd name="T14" fmla="*/ 4 w 38"/>
                  <a:gd name="T15" fmla="*/ 26 h 26"/>
                  <a:gd name="T16" fmla="*/ 2 w 38"/>
                  <a:gd name="T17" fmla="*/ 26 h 26"/>
                  <a:gd name="T18" fmla="*/ 2 w 38"/>
                  <a:gd name="T19" fmla="*/ 24 h 26"/>
                  <a:gd name="T20" fmla="*/ 2 w 38"/>
                  <a:gd name="T21" fmla="*/ 24 h 26"/>
                  <a:gd name="T22" fmla="*/ 2 w 38"/>
                  <a:gd name="T23" fmla="*/ 24 h 26"/>
                  <a:gd name="T24" fmla="*/ 0 w 38"/>
                  <a:gd name="T25" fmla="*/ 24 h 26"/>
                  <a:gd name="T26" fmla="*/ 0 w 38"/>
                  <a:gd name="T27" fmla="*/ 22 h 26"/>
                  <a:gd name="T28" fmla="*/ 0 w 38"/>
                  <a:gd name="T29" fmla="*/ 22 h 26"/>
                  <a:gd name="T30" fmla="*/ 2 w 38"/>
                  <a:gd name="T31" fmla="*/ 20 h 26"/>
                  <a:gd name="T32" fmla="*/ 2 w 38"/>
                  <a:gd name="T33" fmla="*/ 20 h 26"/>
                  <a:gd name="T34" fmla="*/ 2 w 38"/>
                  <a:gd name="T35" fmla="*/ 16 h 26"/>
                  <a:gd name="T36" fmla="*/ 4 w 38"/>
                  <a:gd name="T37" fmla="*/ 14 h 26"/>
                  <a:gd name="T38" fmla="*/ 4 w 38"/>
                  <a:gd name="T39" fmla="*/ 10 h 26"/>
                  <a:gd name="T40" fmla="*/ 6 w 38"/>
                  <a:gd name="T41" fmla="*/ 6 h 26"/>
                  <a:gd name="T42" fmla="*/ 6 w 38"/>
                  <a:gd name="T43" fmla="*/ 4 h 26"/>
                  <a:gd name="T44" fmla="*/ 8 w 38"/>
                  <a:gd name="T45" fmla="*/ 4 h 26"/>
                  <a:gd name="T46" fmla="*/ 8 w 38"/>
                  <a:gd name="T47" fmla="*/ 2 h 26"/>
                  <a:gd name="T48" fmla="*/ 10 w 38"/>
                  <a:gd name="T49" fmla="*/ 2 h 26"/>
                  <a:gd name="T50" fmla="*/ 10 w 38"/>
                  <a:gd name="T51" fmla="*/ 2 h 26"/>
                  <a:gd name="T52" fmla="*/ 10 w 38"/>
                  <a:gd name="T53" fmla="*/ 2 h 26"/>
                  <a:gd name="T54" fmla="*/ 12 w 38"/>
                  <a:gd name="T55" fmla="*/ 0 h 26"/>
                  <a:gd name="T56" fmla="*/ 14 w 38"/>
                  <a:gd name="T57" fmla="*/ 0 h 26"/>
                  <a:gd name="T58" fmla="*/ 16 w 38"/>
                  <a:gd name="T59" fmla="*/ 2 h 26"/>
                  <a:gd name="T60" fmla="*/ 18 w 38"/>
                  <a:gd name="T61" fmla="*/ 2 h 26"/>
                  <a:gd name="T62" fmla="*/ 22 w 38"/>
                  <a:gd name="T63" fmla="*/ 2 h 26"/>
                  <a:gd name="T64" fmla="*/ 24 w 38"/>
                  <a:gd name="T65" fmla="*/ 4 h 26"/>
                  <a:gd name="T66" fmla="*/ 28 w 38"/>
                  <a:gd name="T67" fmla="*/ 4 h 26"/>
                  <a:gd name="T68" fmla="*/ 32 w 38"/>
                  <a:gd name="T69" fmla="*/ 4 h 26"/>
                  <a:gd name="T70" fmla="*/ 34 w 38"/>
                  <a:gd name="T71" fmla="*/ 6 h 26"/>
                  <a:gd name="T72" fmla="*/ 34 w 38"/>
                  <a:gd name="T73" fmla="*/ 6 h 26"/>
                  <a:gd name="T74" fmla="*/ 36 w 38"/>
                  <a:gd name="T75" fmla="*/ 6 h 26"/>
                  <a:gd name="T76" fmla="*/ 36 w 38"/>
                  <a:gd name="T77" fmla="*/ 6 h 26"/>
                  <a:gd name="T78" fmla="*/ 36 w 38"/>
                  <a:gd name="T79" fmla="*/ 6 h 26"/>
                  <a:gd name="T80" fmla="*/ 38 w 38"/>
                  <a:gd name="T81" fmla="*/ 8 h 26"/>
                  <a:gd name="T82" fmla="*/ 38 w 38"/>
                  <a:gd name="T83" fmla="*/ 8 h 26"/>
                  <a:gd name="T84" fmla="*/ 38 w 38"/>
                  <a:gd name="T85" fmla="*/ 8 h 26"/>
                  <a:gd name="T86" fmla="*/ 38 w 38"/>
                  <a:gd name="T87" fmla="*/ 10 h 26"/>
                  <a:gd name="T88" fmla="*/ 36 w 38"/>
                  <a:gd name="T89" fmla="*/ 10 h 26"/>
                  <a:gd name="T90" fmla="*/ 36 w 38"/>
                  <a:gd name="T91" fmla="*/ 12 h 26"/>
                  <a:gd name="T92" fmla="*/ 34 w 38"/>
                  <a:gd name="T93" fmla="*/ 14 h 26"/>
                  <a:gd name="T94" fmla="*/ 34 w 38"/>
                  <a:gd name="T95" fmla="*/ 16 h 26"/>
                  <a:gd name="T96" fmla="*/ 32 w 38"/>
                  <a:gd name="T97" fmla="*/ 18 h 26"/>
                  <a:gd name="T98" fmla="*/ 28 w 38"/>
                  <a:gd name="T99" fmla="*/ 20 h 26"/>
                  <a:gd name="T100" fmla="*/ 28 w 38"/>
                  <a:gd name="T101" fmla="*/ 22 h 26"/>
                  <a:gd name="T102" fmla="*/ 26 w 38"/>
                  <a:gd name="T103" fmla="*/ 24 h 26"/>
                  <a:gd name="T104" fmla="*/ 24 w 38"/>
                  <a:gd name="T105" fmla="*/ 24 h 26"/>
                  <a:gd name="T106" fmla="*/ 24 w 38"/>
                  <a:gd name="T107" fmla="*/ 24 h 26"/>
                  <a:gd name="T108" fmla="*/ 22 w 38"/>
                  <a:gd name="T109" fmla="*/ 24 h 26"/>
                  <a:gd name="T110" fmla="*/ 22 w 38"/>
                  <a:gd name="T111" fmla="*/ 24 h 26"/>
                  <a:gd name="T112" fmla="*/ 20 w 38"/>
                  <a:gd name="T113" fmla="*/ 24 h 26"/>
                  <a:gd name="T114" fmla="*/ 16 w 38"/>
                  <a:gd name="T115" fmla="*/ 24 h 26"/>
                  <a:gd name="T116" fmla="*/ 16 w 38"/>
                  <a:gd name="T117" fmla="*/ 24 h 26"/>
                  <a:gd name="T118" fmla="*/ 14 w 38"/>
                  <a:gd name="T11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 h="26">
                    <a:moveTo>
                      <a:pt x="14" y="24"/>
                    </a:moveTo>
                    <a:lnTo>
                      <a:pt x="14" y="24"/>
                    </a:lnTo>
                    <a:lnTo>
                      <a:pt x="14" y="24"/>
                    </a:lnTo>
                    <a:lnTo>
                      <a:pt x="12" y="24"/>
                    </a:lnTo>
                    <a:lnTo>
                      <a:pt x="8" y="24"/>
                    </a:lnTo>
                    <a:lnTo>
                      <a:pt x="6" y="26"/>
                    </a:lnTo>
                    <a:lnTo>
                      <a:pt x="4" y="26"/>
                    </a:lnTo>
                    <a:lnTo>
                      <a:pt x="4" y="26"/>
                    </a:lnTo>
                    <a:lnTo>
                      <a:pt x="2" y="26"/>
                    </a:lnTo>
                    <a:lnTo>
                      <a:pt x="2" y="24"/>
                    </a:lnTo>
                    <a:lnTo>
                      <a:pt x="2" y="24"/>
                    </a:lnTo>
                    <a:lnTo>
                      <a:pt x="2" y="24"/>
                    </a:lnTo>
                    <a:lnTo>
                      <a:pt x="0" y="24"/>
                    </a:lnTo>
                    <a:lnTo>
                      <a:pt x="0" y="22"/>
                    </a:lnTo>
                    <a:lnTo>
                      <a:pt x="0" y="22"/>
                    </a:lnTo>
                    <a:lnTo>
                      <a:pt x="2" y="20"/>
                    </a:lnTo>
                    <a:lnTo>
                      <a:pt x="2" y="20"/>
                    </a:lnTo>
                    <a:lnTo>
                      <a:pt x="2" y="16"/>
                    </a:lnTo>
                    <a:lnTo>
                      <a:pt x="4" y="14"/>
                    </a:lnTo>
                    <a:lnTo>
                      <a:pt x="4" y="10"/>
                    </a:lnTo>
                    <a:lnTo>
                      <a:pt x="6" y="6"/>
                    </a:lnTo>
                    <a:lnTo>
                      <a:pt x="6" y="4"/>
                    </a:lnTo>
                    <a:lnTo>
                      <a:pt x="8" y="4"/>
                    </a:lnTo>
                    <a:lnTo>
                      <a:pt x="8" y="2"/>
                    </a:lnTo>
                    <a:lnTo>
                      <a:pt x="10" y="2"/>
                    </a:lnTo>
                    <a:lnTo>
                      <a:pt x="10" y="2"/>
                    </a:lnTo>
                    <a:lnTo>
                      <a:pt x="10" y="2"/>
                    </a:lnTo>
                    <a:lnTo>
                      <a:pt x="12" y="0"/>
                    </a:lnTo>
                    <a:lnTo>
                      <a:pt x="14" y="0"/>
                    </a:lnTo>
                    <a:lnTo>
                      <a:pt x="16" y="2"/>
                    </a:lnTo>
                    <a:lnTo>
                      <a:pt x="18" y="2"/>
                    </a:lnTo>
                    <a:lnTo>
                      <a:pt x="22" y="2"/>
                    </a:lnTo>
                    <a:lnTo>
                      <a:pt x="24" y="4"/>
                    </a:lnTo>
                    <a:lnTo>
                      <a:pt x="28" y="4"/>
                    </a:lnTo>
                    <a:lnTo>
                      <a:pt x="32" y="4"/>
                    </a:lnTo>
                    <a:lnTo>
                      <a:pt x="34" y="6"/>
                    </a:lnTo>
                    <a:lnTo>
                      <a:pt x="34" y="6"/>
                    </a:lnTo>
                    <a:lnTo>
                      <a:pt x="36" y="6"/>
                    </a:lnTo>
                    <a:lnTo>
                      <a:pt x="36" y="6"/>
                    </a:lnTo>
                    <a:lnTo>
                      <a:pt x="36" y="6"/>
                    </a:lnTo>
                    <a:lnTo>
                      <a:pt x="38" y="8"/>
                    </a:lnTo>
                    <a:lnTo>
                      <a:pt x="38" y="8"/>
                    </a:lnTo>
                    <a:lnTo>
                      <a:pt x="38" y="8"/>
                    </a:lnTo>
                    <a:lnTo>
                      <a:pt x="38" y="10"/>
                    </a:lnTo>
                    <a:lnTo>
                      <a:pt x="36" y="10"/>
                    </a:lnTo>
                    <a:lnTo>
                      <a:pt x="36" y="12"/>
                    </a:lnTo>
                    <a:lnTo>
                      <a:pt x="34" y="14"/>
                    </a:lnTo>
                    <a:lnTo>
                      <a:pt x="34" y="16"/>
                    </a:lnTo>
                    <a:lnTo>
                      <a:pt x="32" y="18"/>
                    </a:lnTo>
                    <a:lnTo>
                      <a:pt x="28" y="20"/>
                    </a:lnTo>
                    <a:lnTo>
                      <a:pt x="28" y="22"/>
                    </a:lnTo>
                    <a:lnTo>
                      <a:pt x="26" y="24"/>
                    </a:lnTo>
                    <a:lnTo>
                      <a:pt x="24" y="24"/>
                    </a:lnTo>
                    <a:lnTo>
                      <a:pt x="24" y="24"/>
                    </a:lnTo>
                    <a:lnTo>
                      <a:pt x="22" y="24"/>
                    </a:lnTo>
                    <a:lnTo>
                      <a:pt x="22" y="24"/>
                    </a:lnTo>
                    <a:lnTo>
                      <a:pt x="20" y="24"/>
                    </a:lnTo>
                    <a:lnTo>
                      <a:pt x="16" y="24"/>
                    </a:lnTo>
                    <a:lnTo>
                      <a:pt x="16" y="24"/>
                    </a:lnTo>
                    <a:lnTo>
                      <a:pt x="14"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42" name="Freeform 227"/>
              <p:cNvSpPr>
                <a:spLocks/>
              </p:cNvSpPr>
              <p:nvPr/>
            </p:nvSpPr>
            <p:spPr bwMode="auto">
              <a:xfrm>
                <a:off x="7386928" y="4822992"/>
                <a:ext cx="228600" cy="206375"/>
              </a:xfrm>
              <a:custGeom>
                <a:avLst/>
                <a:gdLst>
                  <a:gd name="T0" fmla="*/ 120 w 144"/>
                  <a:gd name="T1" fmla="*/ 22 h 130"/>
                  <a:gd name="T2" fmla="*/ 88 w 144"/>
                  <a:gd name="T3" fmla="*/ 10 h 130"/>
                  <a:gd name="T4" fmla="*/ 80 w 144"/>
                  <a:gd name="T5" fmla="*/ 6 h 130"/>
                  <a:gd name="T6" fmla="*/ 76 w 144"/>
                  <a:gd name="T7" fmla="*/ 2 h 130"/>
                  <a:gd name="T8" fmla="*/ 72 w 144"/>
                  <a:gd name="T9" fmla="*/ 0 h 130"/>
                  <a:gd name="T10" fmla="*/ 66 w 144"/>
                  <a:gd name="T11" fmla="*/ 0 h 130"/>
                  <a:gd name="T12" fmla="*/ 60 w 144"/>
                  <a:gd name="T13" fmla="*/ 2 h 130"/>
                  <a:gd name="T14" fmla="*/ 56 w 144"/>
                  <a:gd name="T15" fmla="*/ 4 h 130"/>
                  <a:gd name="T16" fmla="*/ 50 w 144"/>
                  <a:gd name="T17" fmla="*/ 10 h 130"/>
                  <a:gd name="T18" fmla="*/ 42 w 144"/>
                  <a:gd name="T19" fmla="*/ 18 h 130"/>
                  <a:gd name="T20" fmla="*/ 38 w 144"/>
                  <a:gd name="T21" fmla="*/ 22 h 130"/>
                  <a:gd name="T22" fmla="*/ 26 w 144"/>
                  <a:gd name="T23" fmla="*/ 30 h 130"/>
                  <a:gd name="T24" fmla="*/ 20 w 144"/>
                  <a:gd name="T25" fmla="*/ 32 h 130"/>
                  <a:gd name="T26" fmla="*/ 8 w 144"/>
                  <a:gd name="T27" fmla="*/ 32 h 130"/>
                  <a:gd name="T28" fmla="*/ 4 w 144"/>
                  <a:gd name="T29" fmla="*/ 34 h 130"/>
                  <a:gd name="T30" fmla="*/ 2 w 144"/>
                  <a:gd name="T31" fmla="*/ 34 h 130"/>
                  <a:gd name="T32" fmla="*/ 0 w 144"/>
                  <a:gd name="T33" fmla="*/ 36 h 130"/>
                  <a:gd name="T34" fmla="*/ 2 w 144"/>
                  <a:gd name="T35" fmla="*/ 42 h 130"/>
                  <a:gd name="T36" fmla="*/ 6 w 144"/>
                  <a:gd name="T37" fmla="*/ 46 h 130"/>
                  <a:gd name="T38" fmla="*/ 8 w 144"/>
                  <a:gd name="T39" fmla="*/ 48 h 130"/>
                  <a:gd name="T40" fmla="*/ 12 w 144"/>
                  <a:gd name="T41" fmla="*/ 46 h 130"/>
                  <a:gd name="T42" fmla="*/ 18 w 144"/>
                  <a:gd name="T43" fmla="*/ 44 h 130"/>
                  <a:gd name="T44" fmla="*/ 22 w 144"/>
                  <a:gd name="T45" fmla="*/ 44 h 130"/>
                  <a:gd name="T46" fmla="*/ 28 w 144"/>
                  <a:gd name="T47" fmla="*/ 46 h 130"/>
                  <a:gd name="T48" fmla="*/ 38 w 144"/>
                  <a:gd name="T49" fmla="*/ 52 h 130"/>
                  <a:gd name="T50" fmla="*/ 54 w 144"/>
                  <a:gd name="T51" fmla="*/ 62 h 130"/>
                  <a:gd name="T52" fmla="*/ 64 w 144"/>
                  <a:gd name="T53" fmla="*/ 70 h 130"/>
                  <a:gd name="T54" fmla="*/ 70 w 144"/>
                  <a:gd name="T55" fmla="*/ 76 h 130"/>
                  <a:gd name="T56" fmla="*/ 70 w 144"/>
                  <a:gd name="T57" fmla="*/ 78 h 130"/>
                  <a:gd name="T58" fmla="*/ 72 w 144"/>
                  <a:gd name="T59" fmla="*/ 86 h 130"/>
                  <a:gd name="T60" fmla="*/ 72 w 144"/>
                  <a:gd name="T61" fmla="*/ 92 h 130"/>
                  <a:gd name="T62" fmla="*/ 70 w 144"/>
                  <a:gd name="T63" fmla="*/ 98 h 130"/>
                  <a:gd name="T64" fmla="*/ 68 w 144"/>
                  <a:gd name="T65" fmla="*/ 102 h 130"/>
                  <a:gd name="T66" fmla="*/ 64 w 144"/>
                  <a:gd name="T67" fmla="*/ 102 h 130"/>
                  <a:gd name="T68" fmla="*/ 58 w 144"/>
                  <a:gd name="T69" fmla="*/ 104 h 130"/>
                  <a:gd name="T70" fmla="*/ 56 w 144"/>
                  <a:gd name="T71" fmla="*/ 106 h 130"/>
                  <a:gd name="T72" fmla="*/ 54 w 144"/>
                  <a:gd name="T73" fmla="*/ 108 h 130"/>
                  <a:gd name="T74" fmla="*/ 54 w 144"/>
                  <a:gd name="T75" fmla="*/ 112 h 130"/>
                  <a:gd name="T76" fmla="*/ 56 w 144"/>
                  <a:gd name="T77" fmla="*/ 118 h 130"/>
                  <a:gd name="T78" fmla="*/ 58 w 144"/>
                  <a:gd name="T79" fmla="*/ 120 h 130"/>
                  <a:gd name="T80" fmla="*/ 62 w 144"/>
                  <a:gd name="T81" fmla="*/ 120 h 130"/>
                  <a:gd name="T82" fmla="*/ 72 w 144"/>
                  <a:gd name="T83" fmla="*/ 118 h 130"/>
                  <a:gd name="T84" fmla="*/ 80 w 144"/>
                  <a:gd name="T85" fmla="*/ 118 h 130"/>
                  <a:gd name="T86" fmla="*/ 90 w 144"/>
                  <a:gd name="T87" fmla="*/ 116 h 130"/>
                  <a:gd name="T88" fmla="*/ 94 w 144"/>
                  <a:gd name="T89" fmla="*/ 118 h 130"/>
                  <a:gd name="T90" fmla="*/ 98 w 144"/>
                  <a:gd name="T91" fmla="*/ 122 h 130"/>
                  <a:gd name="T92" fmla="*/ 100 w 144"/>
                  <a:gd name="T93" fmla="*/ 126 h 130"/>
                  <a:gd name="T94" fmla="*/ 106 w 144"/>
                  <a:gd name="T95" fmla="*/ 128 h 130"/>
                  <a:gd name="T96" fmla="*/ 112 w 144"/>
                  <a:gd name="T97" fmla="*/ 130 h 130"/>
                  <a:gd name="T98" fmla="*/ 118 w 144"/>
                  <a:gd name="T99" fmla="*/ 130 h 130"/>
                  <a:gd name="T100" fmla="*/ 124 w 144"/>
                  <a:gd name="T101" fmla="*/ 128 h 130"/>
                  <a:gd name="T102" fmla="*/ 130 w 144"/>
                  <a:gd name="T103" fmla="*/ 124 h 130"/>
                  <a:gd name="T104" fmla="*/ 134 w 144"/>
                  <a:gd name="T105" fmla="*/ 120 h 130"/>
                  <a:gd name="T106" fmla="*/ 138 w 144"/>
                  <a:gd name="T107" fmla="*/ 112 h 130"/>
                  <a:gd name="T108" fmla="*/ 144 w 144"/>
                  <a:gd name="T109" fmla="*/ 10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130">
                    <a:moveTo>
                      <a:pt x="128" y="24"/>
                    </a:moveTo>
                    <a:lnTo>
                      <a:pt x="128" y="24"/>
                    </a:lnTo>
                    <a:lnTo>
                      <a:pt x="120" y="22"/>
                    </a:lnTo>
                    <a:lnTo>
                      <a:pt x="112" y="18"/>
                    </a:lnTo>
                    <a:lnTo>
                      <a:pt x="96" y="12"/>
                    </a:lnTo>
                    <a:lnTo>
                      <a:pt x="88" y="10"/>
                    </a:lnTo>
                    <a:lnTo>
                      <a:pt x="84" y="8"/>
                    </a:lnTo>
                    <a:lnTo>
                      <a:pt x="82" y="6"/>
                    </a:lnTo>
                    <a:lnTo>
                      <a:pt x="80" y="6"/>
                    </a:lnTo>
                    <a:lnTo>
                      <a:pt x="80" y="4"/>
                    </a:lnTo>
                    <a:lnTo>
                      <a:pt x="78" y="2"/>
                    </a:lnTo>
                    <a:lnTo>
                      <a:pt x="76" y="2"/>
                    </a:lnTo>
                    <a:lnTo>
                      <a:pt x="74" y="0"/>
                    </a:lnTo>
                    <a:lnTo>
                      <a:pt x="74" y="0"/>
                    </a:lnTo>
                    <a:lnTo>
                      <a:pt x="72" y="0"/>
                    </a:lnTo>
                    <a:lnTo>
                      <a:pt x="70" y="0"/>
                    </a:lnTo>
                    <a:lnTo>
                      <a:pt x="68" y="0"/>
                    </a:lnTo>
                    <a:lnTo>
                      <a:pt x="66" y="0"/>
                    </a:lnTo>
                    <a:lnTo>
                      <a:pt x="64" y="0"/>
                    </a:lnTo>
                    <a:lnTo>
                      <a:pt x="62" y="2"/>
                    </a:lnTo>
                    <a:lnTo>
                      <a:pt x="60" y="2"/>
                    </a:lnTo>
                    <a:lnTo>
                      <a:pt x="58" y="2"/>
                    </a:lnTo>
                    <a:lnTo>
                      <a:pt x="56" y="4"/>
                    </a:lnTo>
                    <a:lnTo>
                      <a:pt x="56" y="4"/>
                    </a:lnTo>
                    <a:lnTo>
                      <a:pt x="54" y="4"/>
                    </a:lnTo>
                    <a:lnTo>
                      <a:pt x="52" y="6"/>
                    </a:lnTo>
                    <a:lnTo>
                      <a:pt x="50" y="10"/>
                    </a:lnTo>
                    <a:lnTo>
                      <a:pt x="48" y="12"/>
                    </a:lnTo>
                    <a:lnTo>
                      <a:pt x="44" y="16"/>
                    </a:lnTo>
                    <a:lnTo>
                      <a:pt x="42" y="18"/>
                    </a:lnTo>
                    <a:lnTo>
                      <a:pt x="42" y="20"/>
                    </a:lnTo>
                    <a:lnTo>
                      <a:pt x="40" y="22"/>
                    </a:lnTo>
                    <a:lnTo>
                      <a:pt x="38" y="22"/>
                    </a:lnTo>
                    <a:lnTo>
                      <a:pt x="32" y="26"/>
                    </a:lnTo>
                    <a:lnTo>
                      <a:pt x="28" y="28"/>
                    </a:lnTo>
                    <a:lnTo>
                      <a:pt x="26" y="30"/>
                    </a:lnTo>
                    <a:lnTo>
                      <a:pt x="24" y="30"/>
                    </a:lnTo>
                    <a:lnTo>
                      <a:pt x="22" y="30"/>
                    </a:lnTo>
                    <a:lnTo>
                      <a:pt x="20" y="32"/>
                    </a:lnTo>
                    <a:lnTo>
                      <a:pt x="16" y="32"/>
                    </a:lnTo>
                    <a:lnTo>
                      <a:pt x="10" y="32"/>
                    </a:lnTo>
                    <a:lnTo>
                      <a:pt x="8" y="32"/>
                    </a:lnTo>
                    <a:lnTo>
                      <a:pt x="8" y="32"/>
                    </a:lnTo>
                    <a:lnTo>
                      <a:pt x="6" y="34"/>
                    </a:lnTo>
                    <a:lnTo>
                      <a:pt x="4" y="34"/>
                    </a:lnTo>
                    <a:lnTo>
                      <a:pt x="2" y="34"/>
                    </a:lnTo>
                    <a:lnTo>
                      <a:pt x="2" y="34"/>
                    </a:lnTo>
                    <a:lnTo>
                      <a:pt x="2" y="34"/>
                    </a:lnTo>
                    <a:lnTo>
                      <a:pt x="0" y="36"/>
                    </a:lnTo>
                    <a:lnTo>
                      <a:pt x="0" y="36"/>
                    </a:lnTo>
                    <a:lnTo>
                      <a:pt x="0" y="36"/>
                    </a:lnTo>
                    <a:lnTo>
                      <a:pt x="2" y="38"/>
                    </a:lnTo>
                    <a:lnTo>
                      <a:pt x="2" y="40"/>
                    </a:lnTo>
                    <a:lnTo>
                      <a:pt x="2" y="42"/>
                    </a:lnTo>
                    <a:lnTo>
                      <a:pt x="4" y="44"/>
                    </a:lnTo>
                    <a:lnTo>
                      <a:pt x="4" y="44"/>
                    </a:lnTo>
                    <a:lnTo>
                      <a:pt x="6" y="46"/>
                    </a:lnTo>
                    <a:lnTo>
                      <a:pt x="8" y="46"/>
                    </a:lnTo>
                    <a:lnTo>
                      <a:pt x="8" y="46"/>
                    </a:lnTo>
                    <a:lnTo>
                      <a:pt x="8" y="48"/>
                    </a:lnTo>
                    <a:lnTo>
                      <a:pt x="10" y="48"/>
                    </a:lnTo>
                    <a:lnTo>
                      <a:pt x="10" y="46"/>
                    </a:lnTo>
                    <a:lnTo>
                      <a:pt x="12" y="46"/>
                    </a:lnTo>
                    <a:lnTo>
                      <a:pt x="14" y="46"/>
                    </a:lnTo>
                    <a:lnTo>
                      <a:pt x="16" y="46"/>
                    </a:lnTo>
                    <a:lnTo>
                      <a:pt x="18" y="44"/>
                    </a:lnTo>
                    <a:lnTo>
                      <a:pt x="20" y="44"/>
                    </a:lnTo>
                    <a:lnTo>
                      <a:pt x="22" y="44"/>
                    </a:lnTo>
                    <a:lnTo>
                      <a:pt x="22" y="44"/>
                    </a:lnTo>
                    <a:lnTo>
                      <a:pt x="24" y="44"/>
                    </a:lnTo>
                    <a:lnTo>
                      <a:pt x="24" y="44"/>
                    </a:lnTo>
                    <a:lnTo>
                      <a:pt x="28" y="46"/>
                    </a:lnTo>
                    <a:lnTo>
                      <a:pt x="30" y="48"/>
                    </a:lnTo>
                    <a:lnTo>
                      <a:pt x="32" y="50"/>
                    </a:lnTo>
                    <a:lnTo>
                      <a:pt x="38" y="52"/>
                    </a:lnTo>
                    <a:lnTo>
                      <a:pt x="42" y="56"/>
                    </a:lnTo>
                    <a:lnTo>
                      <a:pt x="50" y="60"/>
                    </a:lnTo>
                    <a:lnTo>
                      <a:pt x="54" y="62"/>
                    </a:lnTo>
                    <a:lnTo>
                      <a:pt x="56" y="64"/>
                    </a:lnTo>
                    <a:lnTo>
                      <a:pt x="60" y="68"/>
                    </a:lnTo>
                    <a:lnTo>
                      <a:pt x="64" y="70"/>
                    </a:lnTo>
                    <a:lnTo>
                      <a:pt x="66" y="72"/>
                    </a:lnTo>
                    <a:lnTo>
                      <a:pt x="68" y="74"/>
                    </a:lnTo>
                    <a:lnTo>
                      <a:pt x="70" y="76"/>
                    </a:lnTo>
                    <a:lnTo>
                      <a:pt x="70" y="76"/>
                    </a:lnTo>
                    <a:lnTo>
                      <a:pt x="70" y="78"/>
                    </a:lnTo>
                    <a:lnTo>
                      <a:pt x="70" y="78"/>
                    </a:lnTo>
                    <a:lnTo>
                      <a:pt x="72" y="80"/>
                    </a:lnTo>
                    <a:lnTo>
                      <a:pt x="72" y="84"/>
                    </a:lnTo>
                    <a:lnTo>
                      <a:pt x="72" y="86"/>
                    </a:lnTo>
                    <a:lnTo>
                      <a:pt x="72" y="88"/>
                    </a:lnTo>
                    <a:lnTo>
                      <a:pt x="72" y="90"/>
                    </a:lnTo>
                    <a:lnTo>
                      <a:pt x="72" y="92"/>
                    </a:lnTo>
                    <a:lnTo>
                      <a:pt x="72" y="94"/>
                    </a:lnTo>
                    <a:lnTo>
                      <a:pt x="70" y="96"/>
                    </a:lnTo>
                    <a:lnTo>
                      <a:pt x="70" y="98"/>
                    </a:lnTo>
                    <a:lnTo>
                      <a:pt x="68" y="100"/>
                    </a:lnTo>
                    <a:lnTo>
                      <a:pt x="68" y="100"/>
                    </a:lnTo>
                    <a:lnTo>
                      <a:pt x="68" y="102"/>
                    </a:lnTo>
                    <a:lnTo>
                      <a:pt x="68" y="102"/>
                    </a:lnTo>
                    <a:lnTo>
                      <a:pt x="66" y="102"/>
                    </a:lnTo>
                    <a:lnTo>
                      <a:pt x="64" y="102"/>
                    </a:lnTo>
                    <a:lnTo>
                      <a:pt x="60" y="104"/>
                    </a:lnTo>
                    <a:lnTo>
                      <a:pt x="60" y="104"/>
                    </a:lnTo>
                    <a:lnTo>
                      <a:pt x="58" y="104"/>
                    </a:lnTo>
                    <a:lnTo>
                      <a:pt x="56" y="106"/>
                    </a:lnTo>
                    <a:lnTo>
                      <a:pt x="56" y="106"/>
                    </a:lnTo>
                    <a:lnTo>
                      <a:pt x="56" y="106"/>
                    </a:lnTo>
                    <a:lnTo>
                      <a:pt x="54" y="106"/>
                    </a:lnTo>
                    <a:lnTo>
                      <a:pt x="54" y="108"/>
                    </a:lnTo>
                    <a:lnTo>
                      <a:pt x="54" y="108"/>
                    </a:lnTo>
                    <a:lnTo>
                      <a:pt x="54" y="110"/>
                    </a:lnTo>
                    <a:lnTo>
                      <a:pt x="54" y="112"/>
                    </a:lnTo>
                    <a:lnTo>
                      <a:pt x="54" y="112"/>
                    </a:lnTo>
                    <a:lnTo>
                      <a:pt x="56" y="114"/>
                    </a:lnTo>
                    <a:lnTo>
                      <a:pt x="56" y="116"/>
                    </a:lnTo>
                    <a:lnTo>
                      <a:pt x="56" y="118"/>
                    </a:lnTo>
                    <a:lnTo>
                      <a:pt x="58" y="118"/>
                    </a:lnTo>
                    <a:lnTo>
                      <a:pt x="58" y="118"/>
                    </a:lnTo>
                    <a:lnTo>
                      <a:pt x="58" y="120"/>
                    </a:lnTo>
                    <a:lnTo>
                      <a:pt x="60" y="120"/>
                    </a:lnTo>
                    <a:lnTo>
                      <a:pt x="60" y="120"/>
                    </a:lnTo>
                    <a:lnTo>
                      <a:pt x="62" y="120"/>
                    </a:lnTo>
                    <a:lnTo>
                      <a:pt x="64" y="120"/>
                    </a:lnTo>
                    <a:lnTo>
                      <a:pt x="66" y="120"/>
                    </a:lnTo>
                    <a:lnTo>
                      <a:pt x="72" y="118"/>
                    </a:lnTo>
                    <a:lnTo>
                      <a:pt x="74" y="118"/>
                    </a:lnTo>
                    <a:lnTo>
                      <a:pt x="76" y="118"/>
                    </a:lnTo>
                    <a:lnTo>
                      <a:pt x="80" y="118"/>
                    </a:lnTo>
                    <a:lnTo>
                      <a:pt x="86" y="118"/>
                    </a:lnTo>
                    <a:lnTo>
                      <a:pt x="88" y="116"/>
                    </a:lnTo>
                    <a:lnTo>
                      <a:pt x="90" y="116"/>
                    </a:lnTo>
                    <a:lnTo>
                      <a:pt x="92" y="118"/>
                    </a:lnTo>
                    <a:lnTo>
                      <a:pt x="94" y="118"/>
                    </a:lnTo>
                    <a:lnTo>
                      <a:pt x="94" y="118"/>
                    </a:lnTo>
                    <a:lnTo>
                      <a:pt x="94" y="118"/>
                    </a:lnTo>
                    <a:lnTo>
                      <a:pt x="96" y="120"/>
                    </a:lnTo>
                    <a:lnTo>
                      <a:pt x="98" y="122"/>
                    </a:lnTo>
                    <a:lnTo>
                      <a:pt x="98" y="124"/>
                    </a:lnTo>
                    <a:lnTo>
                      <a:pt x="100" y="124"/>
                    </a:lnTo>
                    <a:lnTo>
                      <a:pt x="100" y="126"/>
                    </a:lnTo>
                    <a:lnTo>
                      <a:pt x="102" y="126"/>
                    </a:lnTo>
                    <a:lnTo>
                      <a:pt x="104" y="128"/>
                    </a:lnTo>
                    <a:lnTo>
                      <a:pt x="106" y="128"/>
                    </a:lnTo>
                    <a:lnTo>
                      <a:pt x="108" y="130"/>
                    </a:lnTo>
                    <a:lnTo>
                      <a:pt x="110" y="130"/>
                    </a:lnTo>
                    <a:lnTo>
                      <a:pt x="112" y="130"/>
                    </a:lnTo>
                    <a:lnTo>
                      <a:pt x="112" y="130"/>
                    </a:lnTo>
                    <a:lnTo>
                      <a:pt x="114" y="130"/>
                    </a:lnTo>
                    <a:lnTo>
                      <a:pt x="118" y="130"/>
                    </a:lnTo>
                    <a:lnTo>
                      <a:pt x="120" y="130"/>
                    </a:lnTo>
                    <a:lnTo>
                      <a:pt x="122" y="128"/>
                    </a:lnTo>
                    <a:lnTo>
                      <a:pt x="124" y="128"/>
                    </a:lnTo>
                    <a:lnTo>
                      <a:pt x="128" y="126"/>
                    </a:lnTo>
                    <a:lnTo>
                      <a:pt x="128" y="126"/>
                    </a:lnTo>
                    <a:lnTo>
                      <a:pt x="130" y="124"/>
                    </a:lnTo>
                    <a:lnTo>
                      <a:pt x="132" y="124"/>
                    </a:lnTo>
                    <a:lnTo>
                      <a:pt x="132" y="122"/>
                    </a:lnTo>
                    <a:lnTo>
                      <a:pt x="134" y="120"/>
                    </a:lnTo>
                    <a:lnTo>
                      <a:pt x="134" y="118"/>
                    </a:lnTo>
                    <a:lnTo>
                      <a:pt x="136" y="114"/>
                    </a:lnTo>
                    <a:lnTo>
                      <a:pt x="138" y="112"/>
                    </a:lnTo>
                    <a:lnTo>
                      <a:pt x="138" y="110"/>
                    </a:lnTo>
                    <a:lnTo>
                      <a:pt x="142" y="104"/>
                    </a:lnTo>
                    <a:lnTo>
                      <a:pt x="144" y="100"/>
                    </a:lnTo>
                    <a:lnTo>
                      <a:pt x="128"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grpSp>
        <p:sp>
          <p:nvSpPr>
            <p:cNvPr id="1043" name="Freeform 157"/>
            <p:cNvSpPr>
              <a:spLocks/>
            </p:cNvSpPr>
            <p:nvPr/>
          </p:nvSpPr>
          <p:spPr bwMode="auto">
            <a:xfrm>
              <a:off x="7161777" y="4466075"/>
              <a:ext cx="27713" cy="41570"/>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44" name="Freeform 158"/>
            <p:cNvSpPr>
              <a:spLocks/>
            </p:cNvSpPr>
            <p:nvPr/>
          </p:nvSpPr>
          <p:spPr bwMode="auto">
            <a:xfrm>
              <a:off x="7161777" y="4466075"/>
              <a:ext cx="27713" cy="41570"/>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45" name="Freeform 233"/>
            <p:cNvSpPr>
              <a:spLocks/>
            </p:cNvSpPr>
            <p:nvPr/>
          </p:nvSpPr>
          <p:spPr bwMode="auto">
            <a:xfrm>
              <a:off x="7054388" y="4441826"/>
              <a:ext cx="221706" cy="169743"/>
            </a:xfrm>
            <a:custGeom>
              <a:avLst/>
              <a:gdLst>
                <a:gd name="T0" fmla="*/ 92 w 128"/>
                <a:gd name="T1" fmla="*/ 44 h 98"/>
                <a:gd name="T2" fmla="*/ 86 w 128"/>
                <a:gd name="T3" fmla="*/ 42 h 98"/>
                <a:gd name="T4" fmla="*/ 82 w 128"/>
                <a:gd name="T5" fmla="*/ 44 h 98"/>
                <a:gd name="T6" fmla="*/ 80 w 128"/>
                <a:gd name="T7" fmla="*/ 46 h 98"/>
                <a:gd name="T8" fmla="*/ 76 w 128"/>
                <a:gd name="T9" fmla="*/ 52 h 98"/>
                <a:gd name="T10" fmla="*/ 68 w 128"/>
                <a:gd name="T11" fmla="*/ 64 h 98"/>
                <a:gd name="T12" fmla="*/ 66 w 128"/>
                <a:gd name="T13" fmla="*/ 70 h 98"/>
                <a:gd name="T14" fmla="*/ 62 w 128"/>
                <a:gd name="T15" fmla="*/ 82 h 98"/>
                <a:gd name="T16" fmla="*/ 62 w 128"/>
                <a:gd name="T17" fmla="*/ 90 h 98"/>
                <a:gd name="T18" fmla="*/ 62 w 128"/>
                <a:gd name="T19" fmla="*/ 94 h 98"/>
                <a:gd name="T20" fmla="*/ 60 w 128"/>
                <a:gd name="T21" fmla="*/ 96 h 98"/>
                <a:gd name="T22" fmla="*/ 54 w 128"/>
                <a:gd name="T23" fmla="*/ 98 h 98"/>
                <a:gd name="T24" fmla="*/ 46 w 128"/>
                <a:gd name="T25" fmla="*/ 98 h 98"/>
                <a:gd name="T26" fmla="*/ 42 w 128"/>
                <a:gd name="T27" fmla="*/ 98 h 98"/>
                <a:gd name="T28" fmla="*/ 38 w 128"/>
                <a:gd name="T29" fmla="*/ 94 h 98"/>
                <a:gd name="T30" fmla="*/ 36 w 128"/>
                <a:gd name="T31" fmla="*/ 90 h 98"/>
                <a:gd name="T32" fmla="*/ 34 w 128"/>
                <a:gd name="T33" fmla="*/ 90 h 98"/>
                <a:gd name="T34" fmla="*/ 32 w 128"/>
                <a:gd name="T35" fmla="*/ 90 h 98"/>
                <a:gd name="T36" fmla="*/ 30 w 128"/>
                <a:gd name="T37" fmla="*/ 92 h 98"/>
                <a:gd name="T38" fmla="*/ 28 w 128"/>
                <a:gd name="T39" fmla="*/ 96 h 98"/>
                <a:gd name="T40" fmla="*/ 26 w 128"/>
                <a:gd name="T41" fmla="*/ 98 h 98"/>
                <a:gd name="T42" fmla="*/ 18 w 128"/>
                <a:gd name="T43" fmla="*/ 98 h 98"/>
                <a:gd name="T44" fmla="*/ 10 w 128"/>
                <a:gd name="T45" fmla="*/ 96 h 98"/>
                <a:gd name="T46" fmla="*/ 4 w 128"/>
                <a:gd name="T47" fmla="*/ 94 h 98"/>
                <a:gd name="T48" fmla="*/ 2 w 128"/>
                <a:gd name="T49" fmla="*/ 86 h 98"/>
                <a:gd name="T50" fmla="*/ 6 w 128"/>
                <a:gd name="T51" fmla="*/ 82 h 98"/>
                <a:gd name="T52" fmla="*/ 6 w 128"/>
                <a:gd name="T53" fmla="*/ 74 h 98"/>
                <a:gd name="T54" fmla="*/ 8 w 128"/>
                <a:gd name="T55" fmla="*/ 68 h 98"/>
                <a:gd name="T56" fmla="*/ 10 w 128"/>
                <a:gd name="T57" fmla="*/ 68 h 98"/>
                <a:gd name="T58" fmla="*/ 12 w 128"/>
                <a:gd name="T59" fmla="*/ 66 h 98"/>
                <a:gd name="T60" fmla="*/ 18 w 128"/>
                <a:gd name="T61" fmla="*/ 68 h 98"/>
                <a:gd name="T62" fmla="*/ 24 w 128"/>
                <a:gd name="T63" fmla="*/ 68 h 98"/>
                <a:gd name="T64" fmla="*/ 28 w 128"/>
                <a:gd name="T65" fmla="*/ 68 h 98"/>
                <a:gd name="T66" fmla="*/ 28 w 128"/>
                <a:gd name="T67" fmla="*/ 66 h 98"/>
                <a:gd name="T68" fmla="*/ 32 w 128"/>
                <a:gd name="T69" fmla="*/ 62 h 98"/>
                <a:gd name="T70" fmla="*/ 34 w 128"/>
                <a:gd name="T71" fmla="*/ 54 h 98"/>
                <a:gd name="T72" fmla="*/ 38 w 128"/>
                <a:gd name="T73" fmla="*/ 50 h 98"/>
                <a:gd name="T74" fmla="*/ 46 w 128"/>
                <a:gd name="T75" fmla="*/ 46 h 98"/>
                <a:gd name="T76" fmla="*/ 56 w 128"/>
                <a:gd name="T77" fmla="*/ 40 h 98"/>
                <a:gd name="T78" fmla="*/ 62 w 128"/>
                <a:gd name="T79" fmla="*/ 30 h 98"/>
                <a:gd name="T80" fmla="*/ 64 w 128"/>
                <a:gd name="T81" fmla="*/ 22 h 98"/>
                <a:gd name="T82" fmla="*/ 66 w 128"/>
                <a:gd name="T83" fmla="*/ 20 h 98"/>
                <a:gd name="T84" fmla="*/ 70 w 128"/>
                <a:gd name="T85" fmla="*/ 16 h 98"/>
                <a:gd name="T86" fmla="*/ 76 w 128"/>
                <a:gd name="T87" fmla="*/ 14 h 98"/>
                <a:gd name="T88" fmla="*/ 76 w 128"/>
                <a:gd name="T89" fmla="*/ 8 h 98"/>
                <a:gd name="T90" fmla="*/ 78 w 128"/>
                <a:gd name="T91" fmla="*/ 2 h 98"/>
                <a:gd name="T92" fmla="*/ 78 w 128"/>
                <a:gd name="T93" fmla="*/ 0 h 98"/>
                <a:gd name="T94" fmla="*/ 82 w 128"/>
                <a:gd name="T95" fmla="*/ 0 h 98"/>
                <a:gd name="T96" fmla="*/ 86 w 128"/>
                <a:gd name="T97" fmla="*/ 2 h 98"/>
                <a:gd name="T98" fmla="*/ 94 w 128"/>
                <a:gd name="T99" fmla="*/ 8 h 98"/>
                <a:gd name="T100" fmla="*/ 104 w 128"/>
                <a:gd name="T101" fmla="*/ 12 h 98"/>
                <a:gd name="T102" fmla="*/ 110 w 128"/>
                <a:gd name="T103" fmla="*/ 14 h 98"/>
                <a:gd name="T104" fmla="*/ 120 w 128"/>
                <a:gd name="T105" fmla="*/ 16 h 98"/>
                <a:gd name="T106" fmla="*/ 124 w 128"/>
                <a:gd name="T107" fmla="*/ 16 h 98"/>
                <a:gd name="T108" fmla="*/ 126 w 128"/>
                <a:gd name="T109" fmla="*/ 20 h 98"/>
                <a:gd name="T110" fmla="*/ 128 w 128"/>
                <a:gd name="T111" fmla="*/ 26 h 98"/>
                <a:gd name="T112" fmla="*/ 128 w 128"/>
                <a:gd name="T113" fmla="*/ 32 h 98"/>
                <a:gd name="T114" fmla="*/ 128 w 128"/>
                <a:gd name="T115" fmla="*/ 34 h 98"/>
                <a:gd name="T116" fmla="*/ 124 w 128"/>
                <a:gd name="T117" fmla="*/ 36 h 98"/>
                <a:gd name="T118" fmla="*/ 116 w 128"/>
                <a:gd name="T119" fmla="*/ 42 h 98"/>
                <a:gd name="T120" fmla="*/ 102 w 128"/>
                <a:gd name="T121" fmla="*/ 52 h 98"/>
                <a:gd name="T122" fmla="*/ 94 w 128"/>
                <a:gd name="T123" fmla="*/ 4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8" h="98">
                  <a:moveTo>
                    <a:pt x="94" y="46"/>
                  </a:moveTo>
                  <a:lnTo>
                    <a:pt x="94" y="46"/>
                  </a:lnTo>
                  <a:lnTo>
                    <a:pt x="92" y="44"/>
                  </a:lnTo>
                  <a:lnTo>
                    <a:pt x="88" y="44"/>
                  </a:lnTo>
                  <a:lnTo>
                    <a:pt x="86" y="42"/>
                  </a:lnTo>
                  <a:lnTo>
                    <a:pt x="86" y="42"/>
                  </a:lnTo>
                  <a:lnTo>
                    <a:pt x="84" y="42"/>
                  </a:lnTo>
                  <a:lnTo>
                    <a:pt x="84" y="42"/>
                  </a:lnTo>
                  <a:lnTo>
                    <a:pt x="82" y="44"/>
                  </a:lnTo>
                  <a:lnTo>
                    <a:pt x="82" y="44"/>
                  </a:lnTo>
                  <a:lnTo>
                    <a:pt x="80" y="44"/>
                  </a:lnTo>
                  <a:lnTo>
                    <a:pt x="80" y="46"/>
                  </a:lnTo>
                  <a:lnTo>
                    <a:pt x="78" y="48"/>
                  </a:lnTo>
                  <a:lnTo>
                    <a:pt x="76" y="50"/>
                  </a:lnTo>
                  <a:lnTo>
                    <a:pt x="76" y="52"/>
                  </a:lnTo>
                  <a:lnTo>
                    <a:pt x="74" y="56"/>
                  </a:lnTo>
                  <a:lnTo>
                    <a:pt x="70" y="60"/>
                  </a:lnTo>
                  <a:lnTo>
                    <a:pt x="68" y="64"/>
                  </a:lnTo>
                  <a:lnTo>
                    <a:pt x="68" y="66"/>
                  </a:lnTo>
                  <a:lnTo>
                    <a:pt x="66" y="68"/>
                  </a:lnTo>
                  <a:lnTo>
                    <a:pt x="66" y="70"/>
                  </a:lnTo>
                  <a:lnTo>
                    <a:pt x="66" y="72"/>
                  </a:lnTo>
                  <a:lnTo>
                    <a:pt x="64" y="76"/>
                  </a:lnTo>
                  <a:lnTo>
                    <a:pt x="62" y="82"/>
                  </a:lnTo>
                  <a:lnTo>
                    <a:pt x="62" y="84"/>
                  </a:lnTo>
                  <a:lnTo>
                    <a:pt x="62" y="86"/>
                  </a:lnTo>
                  <a:lnTo>
                    <a:pt x="62" y="90"/>
                  </a:lnTo>
                  <a:lnTo>
                    <a:pt x="62" y="92"/>
                  </a:lnTo>
                  <a:lnTo>
                    <a:pt x="62" y="94"/>
                  </a:lnTo>
                  <a:lnTo>
                    <a:pt x="62" y="94"/>
                  </a:lnTo>
                  <a:lnTo>
                    <a:pt x="60" y="96"/>
                  </a:lnTo>
                  <a:lnTo>
                    <a:pt x="60" y="96"/>
                  </a:lnTo>
                  <a:lnTo>
                    <a:pt x="60" y="96"/>
                  </a:lnTo>
                  <a:lnTo>
                    <a:pt x="58" y="96"/>
                  </a:lnTo>
                  <a:lnTo>
                    <a:pt x="56" y="98"/>
                  </a:lnTo>
                  <a:lnTo>
                    <a:pt x="54" y="98"/>
                  </a:lnTo>
                  <a:lnTo>
                    <a:pt x="52" y="98"/>
                  </a:lnTo>
                  <a:lnTo>
                    <a:pt x="50" y="98"/>
                  </a:lnTo>
                  <a:lnTo>
                    <a:pt x="46" y="98"/>
                  </a:lnTo>
                  <a:lnTo>
                    <a:pt x="44" y="98"/>
                  </a:lnTo>
                  <a:lnTo>
                    <a:pt x="42" y="98"/>
                  </a:lnTo>
                  <a:lnTo>
                    <a:pt x="42" y="98"/>
                  </a:lnTo>
                  <a:lnTo>
                    <a:pt x="42" y="98"/>
                  </a:lnTo>
                  <a:lnTo>
                    <a:pt x="40" y="96"/>
                  </a:lnTo>
                  <a:lnTo>
                    <a:pt x="38" y="94"/>
                  </a:lnTo>
                  <a:lnTo>
                    <a:pt x="38" y="94"/>
                  </a:lnTo>
                  <a:lnTo>
                    <a:pt x="36" y="92"/>
                  </a:lnTo>
                  <a:lnTo>
                    <a:pt x="36" y="90"/>
                  </a:lnTo>
                  <a:lnTo>
                    <a:pt x="34" y="90"/>
                  </a:lnTo>
                  <a:lnTo>
                    <a:pt x="34" y="90"/>
                  </a:lnTo>
                  <a:lnTo>
                    <a:pt x="34" y="90"/>
                  </a:lnTo>
                  <a:lnTo>
                    <a:pt x="32" y="90"/>
                  </a:lnTo>
                  <a:lnTo>
                    <a:pt x="32" y="90"/>
                  </a:lnTo>
                  <a:lnTo>
                    <a:pt x="32" y="90"/>
                  </a:lnTo>
                  <a:lnTo>
                    <a:pt x="30" y="90"/>
                  </a:lnTo>
                  <a:lnTo>
                    <a:pt x="30" y="92"/>
                  </a:lnTo>
                  <a:lnTo>
                    <a:pt x="30" y="92"/>
                  </a:lnTo>
                  <a:lnTo>
                    <a:pt x="28" y="96"/>
                  </a:lnTo>
                  <a:lnTo>
                    <a:pt x="28" y="96"/>
                  </a:lnTo>
                  <a:lnTo>
                    <a:pt x="28" y="96"/>
                  </a:lnTo>
                  <a:lnTo>
                    <a:pt x="28" y="96"/>
                  </a:lnTo>
                  <a:lnTo>
                    <a:pt x="26" y="98"/>
                  </a:lnTo>
                  <a:lnTo>
                    <a:pt x="26" y="98"/>
                  </a:lnTo>
                  <a:lnTo>
                    <a:pt x="22" y="98"/>
                  </a:lnTo>
                  <a:lnTo>
                    <a:pt x="20" y="98"/>
                  </a:lnTo>
                  <a:lnTo>
                    <a:pt x="18" y="98"/>
                  </a:lnTo>
                  <a:lnTo>
                    <a:pt x="14" y="98"/>
                  </a:lnTo>
                  <a:lnTo>
                    <a:pt x="12" y="96"/>
                  </a:lnTo>
                  <a:lnTo>
                    <a:pt x="10" y="96"/>
                  </a:lnTo>
                  <a:lnTo>
                    <a:pt x="8" y="96"/>
                  </a:lnTo>
                  <a:lnTo>
                    <a:pt x="6" y="96"/>
                  </a:lnTo>
                  <a:lnTo>
                    <a:pt x="4" y="94"/>
                  </a:lnTo>
                  <a:lnTo>
                    <a:pt x="2" y="92"/>
                  </a:lnTo>
                  <a:lnTo>
                    <a:pt x="0" y="90"/>
                  </a:lnTo>
                  <a:lnTo>
                    <a:pt x="2" y="86"/>
                  </a:lnTo>
                  <a:lnTo>
                    <a:pt x="4" y="84"/>
                  </a:lnTo>
                  <a:lnTo>
                    <a:pt x="4" y="82"/>
                  </a:lnTo>
                  <a:lnTo>
                    <a:pt x="6" y="82"/>
                  </a:lnTo>
                  <a:lnTo>
                    <a:pt x="6" y="80"/>
                  </a:lnTo>
                  <a:lnTo>
                    <a:pt x="6" y="78"/>
                  </a:lnTo>
                  <a:lnTo>
                    <a:pt x="6" y="74"/>
                  </a:lnTo>
                  <a:lnTo>
                    <a:pt x="8" y="72"/>
                  </a:lnTo>
                  <a:lnTo>
                    <a:pt x="8" y="70"/>
                  </a:lnTo>
                  <a:lnTo>
                    <a:pt x="8" y="68"/>
                  </a:lnTo>
                  <a:lnTo>
                    <a:pt x="8" y="68"/>
                  </a:lnTo>
                  <a:lnTo>
                    <a:pt x="8" y="68"/>
                  </a:lnTo>
                  <a:lnTo>
                    <a:pt x="10" y="68"/>
                  </a:lnTo>
                  <a:lnTo>
                    <a:pt x="10" y="66"/>
                  </a:lnTo>
                  <a:lnTo>
                    <a:pt x="10" y="66"/>
                  </a:lnTo>
                  <a:lnTo>
                    <a:pt x="12" y="66"/>
                  </a:lnTo>
                  <a:lnTo>
                    <a:pt x="14" y="66"/>
                  </a:lnTo>
                  <a:lnTo>
                    <a:pt x="16" y="66"/>
                  </a:lnTo>
                  <a:lnTo>
                    <a:pt x="18" y="68"/>
                  </a:lnTo>
                  <a:lnTo>
                    <a:pt x="20" y="68"/>
                  </a:lnTo>
                  <a:lnTo>
                    <a:pt x="24" y="68"/>
                  </a:lnTo>
                  <a:lnTo>
                    <a:pt x="24" y="68"/>
                  </a:lnTo>
                  <a:lnTo>
                    <a:pt x="26" y="68"/>
                  </a:lnTo>
                  <a:lnTo>
                    <a:pt x="26" y="68"/>
                  </a:lnTo>
                  <a:lnTo>
                    <a:pt x="28" y="68"/>
                  </a:lnTo>
                  <a:lnTo>
                    <a:pt x="28" y="68"/>
                  </a:lnTo>
                  <a:lnTo>
                    <a:pt x="28" y="68"/>
                  </a:lnTo>
                  <a:lnTo>
                    <a:pt x="28" y="66"/>
                  </a:lnTo>
                  <a:lnTo>
                    <a:pt x="30" y="66"/>
                  </a:lnTo>
                  <a:lnTo>
                    <a:pt x="30" y="64"/>
                  </a:lnTo>
                  <a:lnTo>
                    <a:pt x="32" y="62"/>
                  </a:lnTo>
                  <a:lnTo>
                    <a:pt x="32" y="56"/>
                  </a:lnTo>
                  <a:lnTo>
                    <a:pt x="34" y="54"/>
                  </a:lnTo>
                  <a:lnTo>
                    <a:pt x="34" y="54"/>
                  </a:lnTo>
                  <a:lnTo>
                    <a:pt x="34" y="54"/>
                  </a:lnTo>
                  <a:lnTo>
                    <a:pt x="36" y="52"/>
                  </a:lnTo>
                  <a:lnTo>
                    <a:pt x="38" y="50"/>
                  </a:lnTo>
                  <a:lnTo>
                    <a:pt x="40" y="50"/>
                  </a:lnTo>
                  <a:lnTo>
                    <a:pt x="42" y="48"/>
                  </a:lnTo>
                  <a:lnTo>
                    <a:pt x="46" y="46"/>
                  </a:lnTo>
                  <a:lnTo>
                    <a:pt x="48" y="44"/>
                  </a:lnTo>
                  <a:lnTo>
                    <a:pt x="52" y="42"/>
                  </a:lnTo>
                  <a:lnTo>
                    <a:pt x="56" y="40"/>
                  </a:lnTo>
                  <a:lnTo>
                    <a:pt x="62" y="38"/>
                  </a:lnTo>
                  <a:lnTo>
                    <a:pt x="62" y="34"/>
                  </a:lnTo>
                  <a:lnTo>
                    <a:pt x="62" y="30"/>
                  </a:lnTo>
                  <a:lnTo>
                    <a:pt x="62" y="26"/>
                  </a:lnTo>
                  <a:lnTo>
                    <a:pt x="64" y="24"/>
                  </a:lnTo>
                  <a:lnTo>
                    <a:pt x="64" y="22"/>
                  </a:lnTo>
                  <a:lnTo>
                    <a:pt x="64" y="20"/>
                  </a:lnTo>
                  <a:lnTo>
                    <a:pt x="64" y="20"/>
                  </a:lnTo>
                  <a:lnTo>
                    <a:pt x="66" y="20"/>
                  </a:lnTo>
                  <a:lnTo>
                    <a:pt x="66" y="18"/>
                  </a:lnTo>
                  <a:lnTo>
                    <a:pt x="68" y="18"/>
                  </a:lnTo>
                  <a:lnTo>
                    <a:pt x="70" y="16"/>
                  </a:lnTo>
                  <a:lnTo>
                    <a:pt x="72" y="16"/>
                  </a:lnTo>
                  <a:lnTo>
                    <a:pt x="74" y="14"/>
                  </a:lnTo>
                  <a:lnTo>
                    <a:pt x="76" y="14"/>
                  </a:lnTo>
                  <a:lnTo>
                    <a:pt x="76" y="12"/>
                  </a:lnTo>
                  <a:lnTo>
                    <a:pt x="76" y="10"/>
                  </a:lnTo>
                  <a:lnTo>
                    <a:pt x="76" y="8"/>
                  </a:lnTo>
                  <a:lnTo>
                    <a:pt x="76" y="6"/>
                  </a:lnTo>
                  <a:lnTo>
                    <a:pt x="78" y="4"/>
                  </a:lnTo>
                  <a:lnTo>
                    <a:pt x="78" y="2"/>
                  </a:lnTo>
                  <a:lnTo>
                    <a:pt x="78" y="2"/>
                  </a:lnTo>
                  <a:lnTo>
                    <a:pt x="78" y="0"/>
                  </a:lnTo>
                  <a:lnTo>
                    <a:pt x="78" y="0"/>
                  </a:lnTo>
                  <a:lnTo>
                    <a:pt x="80" y="0"/>
                  </a:lnTo>
                  <a:lnTo>
                    <a:pt x="80" y="0"/>
                  </a:lnTo>
                  <a:lnTo>
                    <a:pt x="82" y="0"/>
                  </a:lnTo>
                  <a:lnTo>
                    <a:pt x="82" y="0"/>
                  </a:lnTo>
                  <a:lnTo>
                    <a:pt x="84" y="2"/>
                  </a:lnTo>
                  <a:lnTo>
                    <a:pt x="86" y="2"/>
                  </a:lnTo>
                  <a:lnTo>
                    <a:pt x="88" y="4"/>
                  </a:lnTo>
                  <a:lnTo>
                    <a:pt x="92" y="6"/>
                  </a:lnTo>
                  <a:lnTo>
                    <a:pt x="94" y="8"/>
                  </a:lnTo>
                  <a:lnTo>
                    <a:pt x="96" y="10"/>
                  </a:lnTo>
                  <a:lnTo>
                    <a:pt x="102" y="12"/>
                  </a:lnTo>
                  <a:lnTo>
                    <a:pt x="104" y="12"/>
                  </a:lnTo>
                  <a:lnTo>
                    <a:pt x="106" y="14"/>
                  </a:lnTo>
                  <a:lnTo>
                    <a:pt x="108" y="14"/>
                  </a:lnTo>
                  <a:lnTo>
                    <a:pt x="110" y="14"/>
                  </a:lnTo>
                  <a:lnTo>
                    <a:pt x="116" y="14"/>
                  </a:lnTo>
                  <a:lnTo>
                    <a:pt x="118" y="14"/>
                  </a:lnTo>
                  <a:lnTo>
                    <a:pt x="120" y="16"/>
                  </a:lnTo>
                  <a:lnTo>
                    <a:pt x="122" y="16"/>
                  </a:lnTo>
                  <a:lnTo>
                    <a:pt x="124" y="16"/>
                  </a:lnTo>
                  <a:lnTo>
                    <a:pt x="124" y="16"/>
                  </a:lnTo>
                  <a:lnTo>
                    <a:pt x="124" y="16"/>
                  </a:lnTo>
                  <a:lnTo>
                    <a:pt x="126" y="18"/>
                  </a:lnTo>
                  <a:lnTo>
                    <a:pt x="126" y="20"/>
                  </a:lnTo>
                  <a:lnTo>
                    <a:pt x="128" y="22"/>
                  </a:lnTo>
                  <a:lnTo>
                    <a:pt x="128" y="24"/>
                  </a:lnTo>
                  <a:lnTo>
                    <a:pt x="128" y="26"/>
                  </a:lnTo>
                  <a:lnTo>
                    <a:pt x="128" y="28"/>
                  </a:lnTo>
                  <a:lnTo>
                    <a:pt x="128" y="30"/>
                  </a:lnTo>
                  <a:lnTo>
                    <a:pt x="128" y="32"/>
                  </a:lnTo>
                  <a:lnTo>
                    <a:pt x="128" y="32"/>
                  </a:lnTo>
                  <a:lnTo>
                    <a:pt x="128" y="32"/>
                  </a:lnTo>
                  <a:lnTo>
                    <a:pt x="128" y="34"/>
                  </a:lnTo>
                  <a:lnTo>
                    <a:pt x="126" y="34"/>
                  </a:lnTo>
                  <a:lnTo>
                    <a:pt x="126" y="36"/>
                  </a:lnTo>
                  <a:lnTo>
                    <a:pt x="124" y="36"/>
                  </a:lnTo>
                  <a:lnTo>
                    <a:pt x="122" y="38"/>
                  </a:lnTo>
                  <a:lnTo>
                    <a:pt x="118" y="40"/>
                  </a:lnTo>
                  <a:lnTo>
                    <a:pt x="116" y="42"/>
                  </a:lnTo>
                  <a:lnTo>
                    <a:pt x="114" y="44"/>
                  </a:lnTo>
                  <a:lnTo>
                    <a:pt x="106" y="48"/>
                  </a:lnTo>
                  <a:lnTo>
                    <a:pt x="102" y="52"/>
                  </a:lnTo>
                  <a:lnTo>
                    <a:pt x="98" y="50"/>
                  </a:lnTo>
                  <a:lnTo>
                    <a:pt x="96" y="46"/>
                  </a:lnTo>
                  <a:lnTo>
                    <a:pt x="94" y="46"/>
                  </a:lnTo>
                  <a:lnTo>
                    <a:pt x="94" y="4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46" name="Freeform 601"/>
            <p:cNvSpPr>
              <a:spLocks/>
            </p:cNvSpPr>
            <p:nvPr/>
          </p:nvSpPr>
          <p:spPr bwMode="auto">
            <a:xfrm>
              <a:off x="7054388" y="4441826"/>
              <a:ext cx="221706" cy="169743"/>
            </a:xfrm>
            <a:custGeom>
              <a:avLst/>
              <a:gdLst>
                <a:gd name="T0" fmla="*/ 126 w 128"/>
                <a:gd name="T1" fmla="*/ 20 h 98"/>
                <a:gd name="T2" fmla="*/ 124 w 128"/>
                <a:gd name="T3" fmla="*/ 16 h 98"/>
                <a:gd name="T4" fmla="*/ 116 w 128"/>
                <a:gd name="T5" fmla="*/ 14 h 98"/>
                <a:gd name="T6" fmla="*/ 104 w 128"/>
                <a:gd name="T7" fmla="*/ 12 h 98"/>
                <a:gd name="T8" fmla="*/ 92 w 128"/>
                <a:gd name="T9" fmla="*/ 6 h 98"/>
                <a:gd name="T10" fmla="*/ 82 w 128"/>
                <a:gd name="T11" fmla="*/ 0 h 98"/>
                <a:gd name="T12" fmla="*/ 78 w 128"/>
                <a:gd name="T13" fmla="*/ 0 h 98"/>
                <a:gd name="T14" fmla="*/ 78 w 128"/>
                <a:gd name="T15" fmla="*/ 4 h 98"/>
                <a:gd name="T16" fmla="*/ 76 w 128"/>
                <a:gd name="T17" fmla="*/ 12 h 98"/>
                <a:gd name="T18" fmla="*/ 70 w 128"/>
                <a:gd name="T19" fmla="*/ 16 h 98"/>
                <a:gd name="T20" fmla="*/ 64 w 128"/>
                <a:gd name="T21" fmla="*/ 20 h 98"/>
                <a:gd name="T22" fmla="*/ 62 w 128"/>
                <a:gd name="T23" fmla="*/ 26 h 98"/>
                <a:gd name="T24" fmla="*/ 62 w 128"/>
                <a:gd name="T25" fmla="*/ 36 h 98"/>
                <a:gd name="T26" fmla="*/ 68 w 128"/>
                <a:gd name="T27" fmla="*/ 40 h 98"/>
                <a:gd name="T28" fmla="*/ 70 w 128"/>
                <a:gd name="T29" fmla="*/ 48 h 98"/>
                <a:gd name="T30" fmla="*/ 66 w 128"/>
                <a:gd name="T31" fmla="*/ 46 h 98"/>
                <a:gd name="T32" fmla="*/ 62 w 128"/>
                <a:gd name="T33" fmla="*/ 44 h 98"/>
                <a:gd name="T34" fmla="*/ 60 w 128"/>
                <a:gd name="T35" fmla="*/ 50 h 98"/>
                <a:gd name="T36" fmla="*/ 46 w 128"/>
                <a:gd name="T37" fmla="*/ 44 h 98"/>
                <a:gd name="T38" fmla="*/ 40 w 128"/>
                <a:gd name="T39" fmla="*/ 50 h 98"/>
                <a:gd name="T40" fmla="*/ 34 w 128"/>
                <a:gd name="T41" fmla="*/ 54 h 98"/>
                <a:gd name="T42" fmla="*/ 30 w 128"/>
                <a:gd name="T43" fmla="*/ 64 h 98"/>
                <a:gd name="T44" fmla="*/ 28 w 128"/>
                <a:gd name="T45" fmla="*/ 68 h 98"/>
                <a:gd name="T46" fmla="*/ 24 w 128"/>
                <a:gd name="T47" fmla="*/ 68 h 98"/>
                <a:gd name="T48" fmla="*/ 16 w 128"/>
                <a:gd name="T49" fmla="*/ 66 h 98"/>
                <a:gd name="T50" fmla="*/ 10 w 128"/>
                <a:gd name="T51" fmla="*/ 66 h 98"/>
                <a:gd name="T52" fmla="*/ 8 w 128"/>
                <a:gd name="T53" fmla="*/ 68 h 98"/>
                <a:gd name="T54" fmla="*/ 6 w 128"/>
                <a:gd name="T55" fmla="*/ 78 h 98"/>
                <a:gd name="T56" fmla="*/ 4 w 128"/>
                <a:gd name="T57" fmla="*/ 84 h 98"/>
                <a:gd name="T58" fmla="*/ 4 w 128"/>
                <a:gd name="T59" fmla="*/ 94 h 98"/>
                <a:gd name="T60" fmla="*/ 12 w 128"/>
                <a:gd name="T61" fmla="*/ 96 h 98"/>
                <a:gd name="T62" fmla="*/ 22 w 128"/>
                <a:gd name="T63" fmla="*/ 98 h 98"/>
                <a:gd name="T64" fmla="*/ 28 w 128"/>
                <a:gd name="T65" fmla="*/ 96 h 98"/>
                <a:gd name="T66" fmla="*/ 30 w 128"/>
                <a:gd name="T67" fmla="*/ 92 h 98"/>
                <a:gd name="T68" fmla="*/ 32 w 128"/>
                <a:gd name="T69" fmla="*/ 90 h 98"/>
                <a:gd name="T70" fmla="*/ 36 w 128"/>
                <a:gd name="T71" fmla="*/ 90 h 98"/>
                <a:gd name="T72" fmla="*/ 40 w 128"/>
                <a:gd name="T73" fmla="*/ 96 h 98"/>
                <a:gd name="T74" fmla="*/ 44 w 128"/>
                <a:gd name="T75" fmla="*/ 98 h 98"/>
                <a:gd name="T76" fmla="*/ 54 w 128"/>
                <a:gd name="T77" fmla="*/ 98 h 98"/>
                <a:gd name="T78" fmla="*/ 60 w 128"/>
                <a:gd name="T79" fmla="*/ 96 h 98"/>
                <a:gd name="T80" fmla="*/ 62 w 128"/>
                <a:gd name="T81" fmla="*/ 92 h 98"/>
                <a:gd name="T82" fmla="*/ 62 w 128"/>
                <a:gd name="T83" fmla="*/ 82 h 98"/>
                <a:gd name="T84" fmla="*/ 66 w 128"/>
                <a:gd name="T85" fmla="*/ 68 h 98"/>
                <a:gd name="T86" fmla="*/ 74 w 128"/>
                <a:gd name="T87" fmla="*/ 56 h 98"/>
                <a:gd name="T88" fmla="*/ 80 w 128"/>
                <a:gd name="T89" fmla="*/ 46 h 98"/>
                <a:gd name="T90" fmla="*/ 84 w 128"/>
                <a:gd name="T91" fmla="*/ 42 h 98"/>
                <a:gd name="T92" fmla="*/ 88 w 128"/>
                <a:gd name="T93" fmla="*/ 44 h 98"/>
                <a:gd name="T94" fmla="*/ 96 w 128"/>
                <a:gd name="T95" fmla="*/ 46 h 98"/>
                <a:gd name="T96" fmla="*/ 114 w 128"/>
                <a:gd name="T97" fmla="*/ 44 h 98"/>
                <a:gd name="T98" fmla="*/ 124 w 128"/>
                <a:gd name="T99" fmla="*/ 36 h 98"/>
                <a:gd name="T100" fmla="*/ 128 w 128"/>
                <a:gd name="T101" fmla="*/ 32 h 98"/>
                <a:gd name="T102" fmla="*/ 128 w 128"/>
                <a:gd name="T103"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98">
                  <a:moveTo>
                    <a:pt x="128" y="26"/>
                  </a:moveTo>
                  <a:lnTo>
                    <a:pt x="128" y="24"/>
                  </a:lnTo>
                  <a:lnTo>
                    <a:pt x="128" y="22"/>
                  </a:lnTo>
                  <a:lnTo>
                    <a:pt x="126" y="20"/>
                  </a:lnTo>
                  <a:lnTo>
                    <a:pt x="126" y="18"/>
                  </a:lnTo>
                  <a:lnTo>
                    <a:pt x="124" y="16"/>
                  </a:lnTo>
                  <a:lnTo>
                    <a:pt x="124" y="16"/>
                  </a:lnTo>
                  <a:lnTo>
                    <a:pt x="124" y="16"/>
                  </a:lnTo>
                  <a:lnTo>
                    <a:pt x="122" y="16"/>
                  </a:lnTo>
                  <a:lnTo>
                    <a:pt x="120" y="16"/>
                  </a:lnTo>
                  <a:lnTo>
                    <a:pt x="118" y="14"/>
                  </a:lnTo>
                  <a:lnTo>
                    <a:pt x="116" y="14"/>
                  </a:lnTo>
                  <a:lnTo>
                    <a:pt x="110" y="14"/>
                  </a:lnTo>
                  <a:lnTo>
                    <a:pt x="108" y="14"/>
                  </a:lnTo>
                  <a:lnTo>
                    <a:pt x="106" y="14"/>
                  </a:lnTo>
                  <a:lnTo>
                    <a:pt x="104" y="12"/>
                  </a:lnTo>
                  <a:lnTo>
                    <a:pt x="102" y="12"/>
                  </a:lnTo>
                  <a:lnTo>
                    <a:pt x="96" y="10"/>
                  </a:lnTo>
                  <a:lnTo>
                    <a:pt x="94" y="8"/>
                  </a:lnTo>
                  <a:lnTo>
                    <a:pt x="92" y="6"/>
                  </a:lnTo>
                  <a:lnTo>
                    <a:pt x="88" y="4"/>
                  </a:lnTo>
                  <a:lnTo>
                    <a:pt x="86" y="2"/>
                  </a:lnTo>
                  <a:lnTo>
                    <a:pt x="84" y="2"/>
                  </a:lnTo>
                  <a:lnTo>
                    <a:pt x="82" y="0"/>
                  </a:lnTo>
                  <a:lnTo>
                    <a:pt x="82" y="0"/>
                  </a:lnTo>
                  <a:lnTo>
                    <a:pt x="80" y="0"/>
                  </a:lnTo>
                  <a:lnTo>
                    <a:pt x="80" y="0"/>
                  </a:lnTo>
                  <a:lnTo>
                    <a:pt x="78" y="0"/>
                  </a:lnTo>
                  <a:lnTo>
                    <a:pt x="78" y="0"/>
                  </a:lnTo>
                  <a:lnTo>
                    <a:pt x="78" y="2"/>
                  </a:lnTo>
                  <a:lnTo>
                    <a:pt x="78" y="2"/>
                  </a:lnTo>
                  <a:lnTo>
                    <a:pt x="78" y="4"/>
                  </a:lnTo>
                  <a:lnTo>
                    <a:pt x="76" y="6"/>
                  </a:lnTo>
                  <a:lnTo>
                    <a:pt x="76" y="8"/>
                  </a:lnTo>
                  <a:lnTo>
                    <a:pt x="76" y="10"/>
                  </a:lnTo>
                  <a:lnTo>
                    <a:pt x="76" y="12"/>
                  </a:lnTo>
                  <a:lnTo>
                    <a:pt x="76" y="14"/>
                  </a:lnTo>
                  <a:lnTo>
                    <a:pt x="74" y="14"/>
                  </a:lnTo>
                  <a:lnTo>
                    <a:pt x="72" y="16"/>
                  </a:lnTo>
                  <a:lnTo>
                    <a:pt x="70" y="16"/>
                  </a:lnTo>
                  <a:lnTo>
                    <a:pt x="68" y="18"/>
                  </a:lnTo>
                  <a:lnTo>
                    <a:pt x="66" y="18"/>
                  </a:lnTo>
                  <a:lnTo>
                    <a:pt x="66" y="20"/>
                  </a:lnTo>
                  <a:lnTo>
                    <a:pt x="64" y="20"/>
                  </a:lnTo>
                  <a:lnTo>
                    <a:pt x="64" y="20"/>
                  </a:lnTo>
                  <a:lnTo>
                    <a:pt x="64" y="22"/>
                  </a:lnTo>
                  <a:lnTo>
                    <a:pt x="64" y="24"/>
                  </a:lnTo>
                  <a:lnTo>
                    <a:pt x="62" y="26"/>
                  </a:lnTo>
                  <a:lnTo>
                    <a:pt x="62" y="30"/>
                  </a:lnTo>
                  <a:lnTo>
                    <a:pt x="62" y="34"/>
                  </a:lnTo>
                  <a:lnTo>
                    <a:pt x="62" y="36"/>
                  </a:lnTo>
                  <a:lnTo>
                    <a:pt x="62" y="36"/>
                  </a:lnTo>
                  <a:lnTo>
                    <a:pt x="66" y="38"/>
                  </a:lnTo>
                  <a:lnTo>
                    <a:pt x="66" y="38"/>
                  </a:lnTo>
                  <a:lnTo>
                    <a:pt x="68" y="40"/>
                  </a:lnTo>
                  <a:lnTo>
                    <a:pt x="68" y="40"/>
                  </a:lnTo>
                  <a:lnTo>
                    <a:pt x="70" y="44"/>
                  </a:lnTo>
                  <a:lnTo>
                    <a:pt x="70" y="44"/>
                  </a:lnTo>
                  <a:lnTo>
                    <a:pt x="70" y="46"/>
                  </a:lnTo>
                  <a:lnTo>
                    <a:pt x="70" y="48"/>
                  </a:lnTo>
                  <a:lnTo>
                    <a:pt x="70" y="48"/>
                  </a:lnTo>
                  <a:lnTo>
                    <a:pt x="68" y="46"/>
                  </a:lnTo>
                  <a:lnTo>
                    <a:pt x="66" y="46"/>
                  </a:lnTo>
                  <a:lnTo>
                    <a:pt x="66" y="46"/>
                  </a:lnTo>
                  <a:lnTo>
                    <a:pt x="64" y="44"/>
                  </a:lnTo>
                  <a:lnTo>
                    <a:pt x="62" y="44"/>
                  </a:lnTo>
                  <a:lnTo>
                    <a:pt x="62" y="44"/>
                  </a:lnTo>
                  <a:lnTo>
                    <a:pt x="62" y="44"/>
                  </a:lnTo>
                  <a:lnTo>
                    <a:pt x="60" y="46"/>
                  </a:lnTo>
                  <a:lnTo>
                    <a:pt x="60" y="46"/>
                  </a:lnTo>
                  <a:lnTo>
                    <a:pt x="60" y="50"/>
                  </a:lnTo>
                  <a:lnTo>
                    <a:pt x="60" y="50"/>
                  </a:lnTo>
                  <a:lnTo>
                    <a:pt x="58" y="52"/>
                  </a:lnTo>
                  <a:lnTo>
                    <a:pt x="58" y="54"/>
                  </a:lnTo>
                  <a:lnTo>
                    <a:pt x="58" y="54"/>
                  </a:lnTo>
                  <a:lnTo>
                    <a:pt x="46" y="44"/>
                  </a:lnTo>
                  <a:lnTo>
                    <a:pt x="48" y="44"/>
                  </a:lnTo>
                  <a:lnTo>
                    <a:pt x="46" y="46"/>
                  </a:lnTo>
                  <a:lnTo>
                    <a:pt x="42" y="48"/>
                  </a:lnTo>
                  <a:lnTo>
                    <a:pt x="40" y="50"/>
                  </a:lnTo>
                  <a:lnTo>
                    <a:pt x="38" y="50"/>
                  </a:lnTo>
                  <a:lnTo>
                    <a:pt x="36" y="52"/>
                  </a:lnTo>
                  <a:lnTo>
                    <a:pt x="34" y="54"/>
                  </a:lnTo>
                  <a:lnTo>
                    <a:pt x="34" y="54"/>
                  </a:lnTo>
                  <a:lnTo>
                    <a:pt x="34" y="54"/>
                  </a:lnTo>
                  <a:lnTo>
                    <a:pt x="32" y="56"/>
                  </a:lnTo>
                  <a:lnTo>
                    <a:pt x="32" y="62"/>
                  </a:lnTo>
                  <a:lnTo>
                    <a:pt x="30" y="64"/>
                  </a:lnTo>
                  <a:lnTo>
                    <a:pt x="30" y="66"/>
                  </a:lnTo>
                  <a:lnTo>
                    <a:pt x="28" y="66"/>
                  </a:lnTo>
                  <a:lnTo>
                    <a:pt x="28" y="68"/>
                  </a:lnTo>
                  <a:lnTo>
                    <a:pt x="28" y="68"/>
                  </a:lnTo>
                  <a:lnTo>
                    <a:pt x="28" y="68"/>
                  </a:lnTo>
                  <a:lnTo>
                    <a:pt x="26" y="68"/>
                  </a:lnTo>
                  <a:lnTo>
                    <a:pt x="26" y="68"/>
                  </a:lnTo>
                  <a:lnTo>
                    <a:pt x="24" y="68"/>
                  </a:lnTo>
                  <a:lnTo>
                    <a:pt x="24" y="68"/>
                  </a:lnTo>
                  <a:lnTo>
                    <a:pt x="20" y="68"/>
                  </a:lnTo>
                  <a:lnTo>
                    <a:pt x="18" y="68"/>
                  </a:lnTo>
                  <a:lnTo>
                    <a:pt x="16" y="66"/>
                  </a:lnTo>
                  <a:lnTo>
                    <a:pt x="14" y="66"/>
                  </a:lnTo>
                  <a:lnTo>
                    <a:pt x="12" y="66"/>
                  </a:lnTo>
                  <a:lnTo>
                    <a:pt x="10" y="66"/>
                  </a:lnTo>
                  <a:lnTo>
                    <a:pt x="10" y="66"/>
                  </a:lnTo>
                  <a:lnTo>
                    <a:pt x="10" y="68"/>
                  </a:lnTo>
                  <a:lnTo>
                    <a:pt x="8" y="68"/>
                  </a:lnTo>
                  <a:lnTo>
                    <a:pt x="8" y="68"/>
                  </a:lnTo>
                  <a:lnTo>
                    <a:pt x="8" y="68"/>
                  </a:lnTo>
                  <a:lnTo>
                    <a:pt x="8" y="70"/>
                  </a:lnTo>
                  <a:lnTo>
                    <a:pt x="8" y="72"/>
                  </a:lnTo>
                  <a:lnTo>
                    <a:pt x="6" y="74"/>
                  </a:lnTo>
                  <a:lnTo>
                    <a:pt x="6" y="78"/>
                  </a:lnTo>
                  <a:lnTo>
                    <a:pt x="6" y="80"/>
                  </a:lnTo>
                  <a:lnTo>
                    <a:pt x="6" y="82"/>
                  </a:lnTo>
                  <a:lnTo>
                    <a:pt x="4" y="82"/>
                  </a:lnTo>
                  <a:lnTo>
                    <a:pt x="4" y="84"/>
                  </a:lnTo>
                  <a:lnTo>
                    <a:pt x="2" y="86"/>
                  </a:lnTo>
                  <a:lnTo>
                    <a:pt x="0" y="90"/>
                  </a:lnTo>
                  <a:lnTo>
                    <a:pt x="2" y="92"/>
                  </a:lnTo>
                  <a:lnTo>
                    <a:pt x="4" y="94"/>
                  </a:lnTo>
                  <a:lnTo>
                    <a:pt x="6" y="96"/>
                  </a:lnTo>
                  <a:lnTo>
                    <a:pt x="8" y="96"/>
                  </a:lnTo>
                  <a:lnTo>
                    <a:pt x="10" y="96"/>
                  </a:lnTo>
                  <a:lnTo>
                    <a:pt x="12" y="96"/>
                  </a:lnTo>
                  <a:lnTo>
                    <a:pt x="14" y="98"/>
                  </a:lnTo>
                  <a:lnTo>
                    <a:pt x="18" y="98"/>
                  </a:lnTo>
                  <a:lnTo>
                    <a:pt x="20" y="98"/>
                  </a:lnTo>
                  <a:lnTo>
                    <a:pt x="22" y="98"/>
                  </a:lnTo>
                  <a:lnTo>
                    <a:pt x="26" y="98"/>
                  </a:lnTo>
                  <a:lnTo>
                    <a:pt x="26" y="98"/>
                  </a:lnTo>
                  <a:lnTo>
                    <a:pt x="28" y="96"/>
                  </a:lnTo>
                  <a:lnTo>
                    <a:pt x="28" y="96"/>
                  </a:lnTo>
                  <a:lnTo>
                    <a:pt x="28" y="96"/>
                  </a:lnTo>
                  <a:lnTo>
                    <a:pt x="28" y="96"/>
                  </a:lnTo>
                  <a:lnTo>
                    <a:pt x="30" y="92"/>
                  </a:lnTo>
                  <a:lnTo>
                    <a:pt x="30" y="92"/>
                  </a:lnTo>
                  <a:lnTo>
                    <a:pt x="30" y="90"/>
                  </a:lnTo>
                  <a:lnTo>
                    <a:pt x="32" y="90"/>
                  </a:lnTo>
                  <a:lnTo>
                    <a:pt x="32" y="90"/>
                  </a:lnTo>
                  <a:lnTo>
                    <a:pt x="32" y="90"/>
                  </a:lnTo>
                  <a:lnTo>
                    <a:pt x="34" y="90"/>
                  </a:lnTo>
                  <a:lnTo>
                    <a:pt x="34" y="90"/>
                  </a:lnTo>
                  <a:lnTo>
                    <a:pt x="34" y="90"/>
                  </a:lnTo>
                  <a:lnTo>
                    <a:pt x="36" y="90"/>
                  </a:lnTo>
                  <a:lnTo>
                    <a:pt x="36" y="92"/>
                  </a:lnTo>
                  <a:lnTo>
                    <a:pt x="38" y="94"/>
                  </a:lnTo>
                  <a:lnTo>
                    <a:pt x="38" y="94"/>
                  </a:lnTo>
                  <a:lnTo>
                    <a:pt x="40" y="96"/>
                  </a:lnTo>
                  <a:lnTo>
                    <a:pt x="42" y="98"/>
                  </a:lnTo>
                  <a:lnTo>
                    <a:pt x="42" y="98"/>
                  </a:lnTo>
                  <a:lnTo>
                    <a:pt x="42" y="98"/>
                  </a:lnTo>
                  <a:lnTo>
                    <a:pt x="44" y="98"/>
                  </a:lnTo>
                  <a:lnTo>
                    <a:pt x="46" y="98"/>
                  </a:lnTo>
                  <a:lnTo>
                    <a:pt x="50" y="98"/>
                  </a:lnTo>
                  <a:lnTo>
                    <a:pt x="52" y="98"/>
                  </a:lnTo>
                  <a:lnTo>
                    <a:pt x="54" y="98"/>
                  </a:lnTo>
                  <a:lnTo>
                    <a:pt x="56" y="98"/>
                  </a:lnTo>
                  <a:lnTo>
                    <a:pt x="58" y="96"/>
                  </a:lnTo>
                  <a:lnTo>
                    <a:pt x="60" y="96"/>
                  </a:lnTo>
                  <a:lnTo>
                    <a:pt x="60" y="96"/>
                  </a:lnTo>
                  <a:lnTo>
                    <a:pt x="60" y="96"/>
                  </a:lnTo>
                  <a:lnTo>
                    <a:pt x="62" y="94"/>
                  </a:lnTo>
                  <a:lnTo>
                    <a:pt x="62" y="94"/>
                  </a:lnTo>
                  <a:lnTo>
                    <a:pt x="62" y="92"/>
                  </a:lnTo>
                  <a:lnTo>
                    <a:pt x="62" y="90"/>
                  </a:lnTo>
                  <a:lnTo>
                    <a:pt x="62" y="86"/>
                  </a:lnTo>
                  <a:lnTo>
                    <a:pt x="62" y="84"/>
                  </a:lnTo>
                  <a:lnTo>
                    <a:pt x="62" y="82"/>
                  </a:lnTo>
                  <a:lnTo>
                    <a:pt x="64" y="76"/>
                  </a:lnTo>
                  <a:lnTo>
                    <a:pt x="66" y="72"/>
                  </a:lnTo>
                  <a:lnTo>
                    <a:pt x="66" y="70"/>
                  </a:lnTo>
                  <a:lnTo>
                    <a:pt x="66" y="68"/>
                  </a:lnTo>
                  <a:lnTo>
                    <a:pt x="68" y="66"/>
                  </a:lnTo>
                  <a:lnTo>
                    <a:pt x="68" y="64"/>
                  </a:lnTo>
                  <a:lnTo>
                    <a:pt x="70" y="60"/>
                  </a:lnTo>
                  <a:lnTo>
                    <a:pt x="74" y="56"/>
                  </a:lnTo>
                  <a:lnTo>
                    <a:pt x="76" y="52"/>
                  </a:lnTo>
                  <a:lnTo>
                    <a:pt x="76" y="50"/>
                  </a:lnTo>
                  <a:lnTo>
                    <a:pt x="78" y="48"/>
                  </a:lnTo>
                  <a:lnTo>
                    <a:pt x="80" y="46"/>
                  </a:lnTo>
                  <a:lnTo>
                    <a:pt x="80" y="44"/>
                  </a:lnTo>
                  <a:lnTo>
                    <a:pt x="82" y="44"/>
                  </a:lnTo>
                  <a:lnTo>
                    <a:pt x="82" y="44"/>
                  </a:lnTo>
                  <a:lnTo>
                    <a:pt x="84" y="42"/>
                  </a:lnTo>
                  <a:lnTo>
                    <a:pt x="84" y="42"/>
                  </a:lnTo>
                  <a:lnTo>
                    <a:pt x="86" y="42"/>
                  </a:lnTo>
                  <a:lnTo>
                    <a:pt x="86" y="42"/>
                  </a:lnTo>
                  <a:lnTo>
                    <a:pt x="88" y="44"/>
                  </a:lnTo>
                  <a:lnTo>
                    <a:pt x="92" y="44"/>
                  </a:lnTo>
                  <a:lnTo>
                    <a:pt x="94" y="46"/>
                  </a:lnTo>
                  <a:lnTo>
                    <a:pt x="94" y="46"/>
                  </a:lnTo>
                  <a:lnTo>
                    <a:pt x="96" y="46"/>
                  </a:lnTo>
                  <a:lnTo>
                    <a:pt x="98" y="50"/>
                  </a:lnTo>
                  <a:lnTo>
                    <a:pt x="102" y="52"/>
                  </a:lnTo>
                  <a:lnTo>
                    <a:pt x="106" y="48"/>
                  </a:lnTo>
                  <a:lnTo>
                    <a:pt x="114" y="44"/>
                  </a:lnTo>
                  <a:lnTo>
                    <a:pt x="116" y="42"/>
                  </a:lnTo>
                  <a:lnTo>
                    <a:pt x="118" y="40"/>
                  </a:lnTo>
                  <a:lnTo>
                    <a:pt x="122" y="38"/>
                  </a:lnTo>
                  <a:lnTo>
                    <a:pt x="124" y="36"/>
                  </a:lnTo>
                  <a:lnTo>
                    <a:pt x="126" y="36"/>
                  </a:lnTo>
                  <a:lnTo>
                    <a:pt x="126" y="34"/>
                  </a:lnTo>
                  <a:lnTo>
                    <a:pt x="128" y="34"/>
                  </a:lnTo>
                  <a:lnTo>
                    <a:pt x="128" y="32"/>
                  </a:lnTo>
                  <a:lnTo>
                    <a:pt x="128" y="32"/>
                  </a:lnTo>
                  <a:lnTo>
                    <a:pt x="128" y="32"/>
                  </a:lnTo>
                  <a:lnTo>
                    <a:pt x="128" y="30"/>
                  </a:lnTo>
                  <a:lnTo>
                    <a:pt x="128" y="28"/>
                  </a:lnTo>
                  <a:lnTo>
                    <a:pt x="128" y="26"/>
                  </a:lnTo>
                  <a:close/>
                </a:path>
              </a:pathLst>
            </a:custGeom>
            <a:solidFill>
              <a:srgbClr val="778888">
                <a:lumMod val="20000"/>
                <a:lumOff val="80000"/>
              </a:srgbClr>
            </a:solid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47" name="Rectangle 602"/>
            <p:cNvSpPr>
              <a:spLocks noChangeArrowheads="1"/>
            </p:cNvSpPr>
            <p:nvPr/>
          </p:nvSpPr>
          <p:spPr bwMode="auto">
            <a:xfrm>
              <a:off x="7161777" y="4500717"/>
              <a:ext cx="1733" cy="1733"/>
            </a:xfrm>
            <a:prstGeom prst="rect">
              <a:avLst/>
            </a:prstGeom>
            <a:solidFill>
              <a:srgbClr val="778888">
                <a:lumMod val="20000"/>
                <a:lumOff val="80000"/>
              </a:srgbClr>
            </a:solidFill>
            <a:ln w="635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sp>
          <p:nvSpPr>
            <p:cNvPr id="1048" name="Freeform 611"/>
            <p:cNvSpPr>
              <a:spLocks/>
            </p:cNvSpPr>
            <p:nvPr/>
          </p:nvSpPr>
          <p:spPr bwMode="auto">
            <a:xfrm>
              <a:off x="7134064" y="4500717"/>
              <a:ext cx="41570" cy="34641"/>
            </a:xfrm>
            <a:custGeom>
              <a:avLst/>
              <a:gdLst>
                <a:gd name="T0" fmla="*/ 12 w 24"/>
                <a:gd name="T1" fmla="*/ 20 h 20"/>
                <a:gd name="T2" fmla="*/ 12 w 24"/>
                <a:gd name="T3" fmla="*/ 20 h 20"/>
                <a:gd name="T4" fmla="*/ 12 w 24"/>
                <a:gd name="T5" fmla="*/ 18 h 20"/>
                <a:gd name="T6" fmla="*/ 14 w 24"/>
                <a:gd name="T7" fmla="*/ 16 h 20"/>
                <a:gd name="T8" fmla="*/ 14 w 24"/>
                <a:gd name="T9" fmla="*/ 16 h 20"/>
                <a:gd name="T10" fmla="*/ 14 w 24"/>
                <a:gd name="T11" fmla="*/ 12 h 20"/>
                <a:gd name="T12" fmla="*/ 14 w 24"/>
                <a:gd name="T13" fmla="*/ 12 h 20"/>
                <a:gd name="T14" fmla="*/ 16 w 24"/>
                <a:gd name="T15" fmla="*/ 10 h 20"/>
                <a:gd name="T16" fmla="*/ 16 w 24"/>
                <a:gd name="T17" fmla="*/ 10 h 20"/>
                <a:gd name="T18" fmla="*/ 16 w 24"/>
                <a:gd name="T19" fmla="*/ 10 h 20"/>
                <a:gd name="T20" fmla="*/ 18 w 24"/>
                <a:gd name="T21" fmla="*/ 10 h 20"/>
                <a:gd name="T22" fmla="*/ 20 w 24"/>
                <a:gd name="T23" fmla="*/ 12 h 20"/>
                <a:gd name="T24" fmla="*/ 20 w 24"/>
                <a:gd name="T25" fmla="*/ 12 h 20"/>
                <a:gd name="T26" fmla="*/ 22 w 24"/>
                <a:gd name="T27" fmla="*/ 12 h 20"/>
                <a:gd name="T28" fmla="*/ 24 w 24"/>
                <a:gd name="T29" fmla="*/ 14 h 20"/>
                <a:gd name="T30" fmla="*/ 24 w 24"/>
                <a:gd name="T31" fmla="*/ 14 h 20"/>
                <a:gd name="T32" fmla="*/ 24 w 24"/>
                <a:gd name="T33" fmla="*/ 12 h 20"/>
                <a:gd name="T34" fmla="*/ 24 w 24"/>
                <a:gd name="T35" fmla="*/ 10 h 20"/>
                <a:gd name="T36" fmla="*/ 24 w 24"/>
                <a:gd name="T37" fmla="*/ 10 h 20"/>
                <a:gd name="T38" fmla="*/ 22 w 24"/>
                <a:gd name="T39" fmla="*/ 6 h 20"/>
                <a:gd name="T40" fmla="*/ 22 w 24"/>
                <a:gd name="T41" fmla="*/ 6 h 20"/>
                <a:gd name="T42" fmla="*/ 20 w 24"/>
                <a:gd name="T43" fmla="*/ 4 h 20"/>
                <a:gd name="T44" fmla="*/ 20 w 24"/>
                <a:gd name="T45" fmla="*/ 4 h 20"/>
                <a:gd name="T46" fmla="*/ 16 w 24"/>
                <a:gd name="T47" fmla="*/ 2 h 20"/>
                <a:gd name="T48" fmla="*/ 16 w 24"/>
                <a:gd name="T49" fmla="*/ 0 h 20"/>
                <a:gd name="T50" fmla="*/ 16 w 24"/>
                <a:gd name="T51" fmla="*/ 0 h 20"/>
                <a:gd name="T52" fmla="*/ 16 w 24"/>
                <a:gd name="T53" fmla="*/ 4 h 20"/>
                <a:gd name="T54" fmla="*/ 10 w 24"/>
                <a:gd name="T55" fmla="*/ 6 h 20"/>
                <a:gd name="T56" fmla="*/ 6 w 24"/>
                <a:gd name="T57" fmla="*/ 8 h 20"/>
                <a:gd name="T58" fmla="*/ 2 w 24"/>
                <a:gd name="T59" fmla="*/ 10 h 20"/>
                <a:gd name="T60" fmla="*/ 0 w 24"/>
                <a:gd name="T61" fmla="*/ 10 h 20"/>
                <a:gd name="T62" fmla="*/ 0 w 24"/>
                <a:gd name="T63" fmla="*/ 10 h 20"/>
                <a:gd name="T64" fmla="*/ 12 w 24"/>
                <a:gd name="T65" fmla="*/ 20 h 20"/>
                <a:gd name="T66" fmla="*/ 12 w 24"/>
                <a:gd name="T6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20">
                  <a:moveTo>
                    <a:pt x="12" y="20"/>
                  </a:moveTo>
                  <a:lnTo>
                    <a:pt x="12" y="20"/>
                  </a:lnTo>
                  <a:lnTo>
                    <a:pt x="12" y="18"/>
                  </a:lnTo>
                  <a:lnTo>
                    <a:pt x="14" y="16"/>
                  </a:lnTo>
                  <a:lnTo>
                    <a:pt x="14" y="16"/>
                  </a:lnTo>
                  <a:lnTo>
                    <a:pt x="14" y="12"/>
                  </a:lnTo>
                  <a:lnTo>
                    <a:pt x="14" y="12"/>
                  </a:lnTo>
                  <a:lnTo>
                    <a:pt x="16" y="10"/>
                  </a:lnTo>
                  <a:lnTo>
                    <a:pt x="16" y="10"/>
                  </a:lnTo>
                  <a:lnTo>
                    <a:pt x="16" y="10"/>
                  </a:lnTo>
                  <a:lnTo>
                    <a:pt x="18" y="10"/>
                  </a:lnTo>
                  <a:lnTo>
                    <a:pt x="20" y="12"/>
                  </a:lnTo>
                  <a:lnTo>
                    <a:pt x="20" y="12"/>
                  </a:lnTo>
                  <a:lnTo>
                    <a:pt x="22" y="12"/>
                  </a:lnTo>
                  <a:lnTo>
                    <a:pt x="24" y="14"/>
                  </a:lnTo>
                  <a:lnTo>
                    <a:pt x="24" y="14"/>
                  </a:lnTo>
                  <a:lnTo>
                    <a:pt x="24" y="12"/>
                  </a:lnTo>
                  <a:lnTo>
                    <a:pt x="24" y="10"/>
                  </a:lnTo>
                  <a:lnTo>
                    <a:pt x="24" y="10"/>
                  </a:lnTo>
                  <a:lnTo>
                    <a:pt x="22" y="6"/>
                  </a:lnTo>
                  <a:lnTo>
                    <a:pt x="22" y="6"/>
                  </a:lnTo>
                  <a:lnTo>
                    <a:pt x="20" y="4"/>
                  </a:lnTo>
                  <a:lnTo>
                    <a:pt x="20" y="4"/>
                  </a:lnTo>
                  <a:lnTo>
                    <a:pt x="16" y="2"/>
                  </a:lnTo>
                  <a:lnTo>
                    <a:pt x="16" y="0"/>
                  </a:lnTo>
                  <a:lnTo>
                    <a:pt x="16" y="0"/>
                  </a:lnTo>
                  <a:lnTo>
                    <a:pt x="16" y="4"/>
                  </a:lnTo>
                  <a:lnTo>
                    <a:pt x="10" y="6"/>
                  </a:lnTo>
                  <a:lnTo>
                    <a:pt x="6" y="8"/>
                  </a:lnTo>
                  <a:lnTo>
                    <a:pt x="2" y="10"/>
                  </a:lnTo>
                  <a:lnTo>
                    <a:pt x="0" y="10"/>
                  </a:lnTo>
                  <a:lnTo>
                    <a:pt x="0" y="10"/>
                  </a:lnTo>
                  <a:lnTo>
                    <a:pt x="12" y="20"/>
                  </a:lnTo>
                  <a:lnTo>
                    <a:pt x="12" y="20"/>
                  </a:lnTo>
                  <a:close/>
                </a:path>
              </a:pathLst>
            </a:custGeom>
            <a:solidFill>
              <a:srgbClr val="778888">
                <a:lumMod val="20000"/>
                <a:lumOff val="80000"/>
              </a:srgbClr>
            </a:solid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prstClr val="black"/>
                </a:solidFill>
                <a:effectLst/>
                <a:uLnTx/>
                <a:uFillTx/>
              </a:endParaRPr>
            </a:p>
          </p:txBody>
        </p:sp>
      </p:grpSp>
      <p:sp>
        <p:nvSpPr>
          <p:cNvPr id="3" name="Title 2"/>
          <p:cNvSpPr>
            <a:spLocks noGrp="1"/>
          </p:cNvSpPr>
          <p:nvPr>
            <p:ph type="title"/>
          </p:nvPr>
        </p:nvSpPr>
        <p:spPr/>
        <p:txBody>
          <a:bodyPr/>
          <a:lstStyle/>
          <a:p>
            <a:r>
              <a:rPr lang="en-US" sz="2400" dirty="0" smtClean="0"/>
              <a:t>Regional Data Center Contacts</a:t>
            </a:r>
            <a:endParaRPr lang="en-US" sz="2400" dirty="0"/>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9</a:t>
            </a:fld>
            <a:endParaRPr lang="en-US" dirty="0"/>
          </a:p>
        </p:txBody>
      </p:sp>
      <p:sp>
        <p:nvSpPr>
          <p:cNvPr id="9" name="Text Placeholder 1"/>
          <p:cNvSpPr txBox="1">
            <a:spLocks/>
          </p:cNvSpPr>
          <p:nvPr/>
        </p:nvSpPr>
        <p:spPr>
          <a:xfrm>
            <a:off x="458788" y="1271588"/>
            <a:ext cx="11269662" cy="396000"/>
          </a:xfrm>
          <a:prstGeom prst="rect">
            <a:avLst/>
          </a:prstGeom>
        </p:spPr>
        <p:txBody>
          <a:bodyPr vert="horz" lIns="0" tIns="60949" rIns="0" bIns="60949" rtlCol="0">
            <a:noAutofit/>
          </a:bodyPr>
          <a:lstStyle>
            <a:lvl1pPr marL="0" indent="0" algn="l" rtl="0" eaLnBrk="1" fontAlgn="base" hangingPunct="1">
              <a:spcBef>
                <a:spcPts val="800"/>
              </a:spcBef>
              <a:spcAft>
                <a:spcPct val="0"/>
              </a:spcAft>
              <a:buFont typeface="Arial" pitchFamily="34" charset="0"/>
              <a:buNone/>
              <a:defRPr sz="2000" kern="1200">
                <a:solidFill>
                  <a:schemeClr val="accent2"/>
                </a:solidFill>
                <a:latin typeface="+mn-lt"/>
                <a:ea typeface="Arial" pitchFamily="-105" charset="-52"/>
                <a:cs typeface="Arial" pitchFamily="34" charset="0"/>
              </a:defRPr>
            </a:lvl1pPr>
            <a:lvl2pPr marL="449263" indent="-266700" algn="l" rtl="0" eaLnBrk="1" fontAlgn="base" hangingPunct="1">
              <a:spcBef>
                <a:spcPts val="800"/>
              </a:spcBef>
              <a:spcAft>
                <a:spcPct val="0"/>
              </a:spcAft>
              <a:buFont typeface="Arial" pitchFamily="34" charset="0"/>
              <a:buChar char="–"/>
              <a:defRPr sz="3500" kern="1200">
                <a:solidFill>
                  <a:schemeClr val="tx2"/>
                </a:solidFill>
                <a:latin typeface="+mn-lt"/>
                <a:ea typeface="Arial" pitchFamily="-105" charset="-52"/>
                <a:cs typeface="Arial" pitchFamily="34" charset="0"/>
              </a:defRPr>
            </a:lvl2pPr>
            <a:lvl3pPr marL="625475" indent="-176213" algn="l" rtl="0" eaLnBrk="1" fontAlgn="base" hangingPunct="1">
              <a:spcBef>
                <a:spcPts val="800"/>
              </a:spcBef>
              <a:spcAft>
                <a:spcPct val="0"/>
              </a:spcAft>
              <a:buFont typeface="Arial" pitchFamily="34" charset="0"/>
              <a:buChar char="•"/>
              <a:tabLst/>
              <a:defRPr sz="3200" kern="1200">
                <a:solidFill>
                  <a:schemeClr val="tx2"/>
                </a:solidFill>
                <a:latin typeface="+mn-lt"/>
                <a:ea typeface="Arial" pitchFamily="-105" charset="-52"/>
                <a:cs typeface="Arial" pitchFamily="34" charset="0"/>
              </a:defRPr>
            </a:lvl3pPr>
            <a:lvl4pPr marL="898525" indent="-273050" algn="l" rtl="0" eaLnBrk="1" fontAlgn="base" hangingPunct="1">
              <a:spcBef>
                <a:spcPts val="800"/>
              </a:spcBef>
              <a:spcAft>
                <a:spcPct val="0"/>
              </a:spcAft>
              <a:buFont typeface="Arial" pitchFamily="34" charset="0"/>
              <a:buChar char="–"/>
              <a:defRPr sz="2900" kern="1200">
                <a:solidFill>
                  <a:schemeClr val="tx2"/>
                </a:solidFill>
                <a:latin typeface="+mn-lt"/>
                <a:ea typeface="Arial" pitchFamily="-105" charset="-52"/>
                <a:cs typeface="Arial" pitchFamily="34" charset="0"/>
              </a:defRPr>
            </a:lvl4pPr>
            <a:lvl5pPr marL="1074738" indent="-176213" algn="l" rtl="0" eaLnBrk="1" fontAlgn="base" hangingPunct="1">
              <a:spcBef>
                <a:spcPts val="800"/>
              </a:spcBef>
              <a:spcAft>
                <a:spcPct val="0"/>
              </a:spcAft>
              <a:buFont typeface="Arial" pitchFamily="34" charset="0"/>
              <a:buChar char="•"/>
              <a:defRPr sz="2700" kern="1200">
                <a:solidFill>
                  <a:schemeClr val="tx2"/>
                </a:solidFill>
                <a:latin typeface="+mn-lt"/>
                <a:ea typeface="Arial" pitchFamily="-105" charset="-52"/>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800"/>
              </a:spcBef>
              <a:spcAft>
                <a:spcPct val="0"/>
              </a:spcAft>
              <a:buClrTx/>
              <a:buSzTx/>
              <a:buFont typeface="Arial" pitchFamily="34" charset="0"/>
              <a:buNone/>
              <a:tabLst/>
              <a:defRPr/>
            </a:pPr>
            <a:r>
              <a:rPr kumimoji="0" lang="en-US" sz="1800" b="1" i="0" u="none" strike="noStrike" kern="1200" cap="none" spc="0" normalizeH="0" baseline="0" noProof="0" dirty="0">
                <a:ln>
                  <a:noFill/>
                </a:ln>
                <a:solidFill>
                  <a:srgbClr val="993399"/>
                </a:solidFill>
                <a:effectLst/>
                <a:uLnTx/>
                <a:uFillTx/>
                <a:latin typeface="Arial"/>
                <a:cs typeface="Arial" pitchFamily="34" charset="0"/>
              </a:rPr>
              <a:t>For additional information on Accenture’s </a:t>
            </a:r>
            <a:r>
              <a:rPr kumimoji="0" lang="en-US" sz="1800" b="1" i="0" u="none" strike="noStrike" kern="1200" cap="none" spc="0" normalizeH="0" baseline="0" noProof="0" dirty="0" smtClean="0">
                <a:ln>
                  <a:noFill/>
                </a:ln>
                <a:solidFill>
                  <a:srgbClr val="993399"/>
                </a:solidFill>
                <a:effectLst/>
                <a:uLnTx/>
                <a:uFillTx/>
                <a:latin typeface="Arial"/>
                <a:cs typeface="Arial" pitchFamily="34" charset="0"/>
              </a:rPr>
              <a:t>Data Center Optimization, </a:t>
            </a:r>
            <a:r>
              <a:rPr kumimoji="0" lang="en-US" sz="1800" b="1" i="0" u="none" strike="noStrike" kern="1200" cap="none" spc="0" normalizeH="0" baseline="0" noProof="0" dirty="0">
                <a:ln>
                  <a:noFill/>
                </a:ln>
                <a:solidFill>
                  <a:srgbClr val="993399"/>
                </a:solidFill>
                <a:effectLst/>
                <a:uLnTx/>
                <a:uFillTx/>
                <a:latin typeface="Arial"/>
                <a:cs typeface="Arial" pitchFamily="34" charset="0"/>
              </a:rPr>
              <a:t>please contact one of the following </a:t>
            </a:r>
            <a:r>
              <a:rPr kumimoji="0" lang="en-US" sz="1800" b="1" i="0" u="none" strike="noStrike" kern="1200" cap="none" spc="0" normalizeH="0" baseline="0" noProof="0" dirty="0" smtClean="0">
                <a:ln>
                  <a:noFill/>
                </a:ln>
                <a:solidFill>
                  <a:srgbClr val="993399"/>
                </a:solidFill>
                <a:effectLst/>
                <a:uLnTx/>
                <a:uFillTx/>
                <a:latin typeface="Arial"/>
                <a:cs typeface="Arial" pitchFamily="34" charset="0"/>
              </a:rPr>
              <a:t>individuals by Geography:</a:t>
            </a:r>
            <a:endParaRPr kumimoji="0" lang="en-US" sz="1800" b="1" i="0" u="none" strike="noStrike" kern="1200" cap="none" spc="0" normalizeH="0" baseline="0" noProof="0" dirty="0">
              <a:ln>
                <a:noFill/>
              </a:ln>
              <a:solidFill>
                <a:srgbClr val="993399"/>
              </a:solidFill>
              <a:effectLst/>
              <a:uLnTx/>
              <a:uFillTx/>
              <a:latin typeface="Arial"/>
              <a:cs typeface="Arial" pitchFamily="34" charset="0"/>
            </a:endParaRPr>
          </a:p>
        </p:txBody>
      </p:sp>
      <p:sp>
        <p:nvSpPr>
          <p:cNvPr id="2" name="Rectangle 1"/>
          <p:cNvSpPr/>
          <p:nvPr/>
        </p:nvSpPr>
        <p:spPr>
          <a:xfrm>
            <a:off x="465138" y="2014330"/>
            <a:ext cx="4848984" cy="445314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smtClean="0">
                <a:solidFill>
                  <a:schemeClr val="tx1"/>
                </a:solidFill>
              </a:rPr>
              <a:t>North America</a:t>
            </a:r>
            <a:r>
              <a:rPr lang="en-US" sz="1100" dirty="0" smtClean="0">
                <a:solidFill>
                  <a:schemeClr val="tx1"/>
                </a:solidFill>
              </a:rPr>
              <a:t> </a:t>
            </a:r>
            <a:br>
              <a:rPr lang="en-US" sz="1100" dirty="0" smtClean="0">
                <a:solidFill>
                  <a:schemeClr val="tx1"/>
                </a:solidFill>
              </a:rPr>
            </a:br>
            <a:r>
              <a:rPr lang="en-US" sz="1100" dirty="0" smtClean="0">
                <a:solidFill>
                  <a:schemeClr val="tx1"/>
                </a:solidFill>
              </a:rPr>
              <a:t>John F. </a:t>
            </a:r>
            <a:r>
              <a:rPr lang="en-US" sz="1100" dirty="0" err="1" smtClean="0">
                <a:solidFill>
                  <a:schemeClr val="tx1"/>
                </a:solidFill>
              </a:rPr>
              <a:t>Esbenshade</a:t>
            </a:r>
            <a:r>
              <a:rPr lang="en-US" sz="1100" dirty="0" smtClean="0">
                <a:solidFill>
                  <a:schemeClr val="tx1"/>
                </a:solidFill>
              </a:rPr>
              <a:t> </a:t>
            </a:r>
            <a:r>
              <a:rPr lang="en-US" sz="1100" u="sng" dirty="0" smtClean="0">
                <a:solidFill>
                  <a:schemeClr val="tx1"/>
                </a:solidFill>
                <a:hlinkClick r:id="rId7"/>
              </a:rPr>
              <a:t>john.f.esbenshade@accenture.com</a:t>
            </a:r>
            <a:endParaRPr lang="en-US" sz="1100" dirty="0" smtClean="0">
              <a:solidFill>
                <a:schemeClr val="tx1"/>
              </a:solidFill>
            </a:endParaRPr>
          </a:p>
          <a:p>
            <a:r>
              <a:rPr lang="en-US" sz="1100" b="1" dirty="0" smtClean="0">
                <a:solidFill>
                  <a:schemeClr val="tx1"/>
                </a:solidFill>
              </a:rPr>
              <a:t> </a:t>
            </a:r>
            <a:endParaRPr lang="en-US" sz="1100" dirty="0" smtClean="0">
              <a:solidFill>
                <a:schemeClr val="tx1"/>
              </a:solidFill>
            </a:endParaRPr>
          </a:p>
          <a:p>
            <a:r>
              <a:rPr lang="en-US" sz="1100" b="1" dirty="0" smtClean="0">
                <a:solidFill>
                  <a:schemeClr val="tx1"/>
                </a:solidFill>
              </a:rPr>
              <a:t>EALA</a:t>
            </a:r>
            <a:br>
              <a:rPr lang="en-US" sz="1100" b="1" dirty="0" smtClean="0">
                <a:solidFill>
                  <a:schemeClr val="tx1"/>
                </a:solidFill>
              </a:rPr>
            </a:br>
            <a:endParaRPr lang="en-US" sz="1100" dirty="0" smtClean="0">
              <a:solidFill>
                <a:schemeClr val="tx1"/>
              </a:solidFill>
            </a:endParaRPr>
          </a:p>
          <a:p>
            <a:r>
              <a:rPr lang="en-US" sz="1100" b="1" dirty="0" smtClean="0">
                <a:solidFill>
                  <a:schemeClr val="tx1"/>
                </a:solidFill>
              </a:rPr>
              <a:t>Nordics</a:t>
            </a:r>
            <a:endParaRPr lang="en-US" sz="1100" dirty="0" smtClean="0">
              <a:solidFill>
                <a:schemeClr val="tx1"/>
              </a:solidFill>
            </a:endParaRPr>
          </a:p>
          <a:p>
            <a:r>
              <a:rPr lang="en-US" sz="1100" dirty="0" err="1" smtClean="0">
                <a:solidFill>
                  <a:schemeClr val="tx1"/>
                </a:solidFill>
              </a:rPr>
              <a:t>Rosengren</a:t>
            </a:r>
            <a:r>
              <a:rPr lang="en-US" sz="1100" dirty="0" smtClean="0">
                <a:solidFill>
                  <a:schemeClr val="tx1"/>
                </a:solidFill>
              </a:rPr>
              <a:t>, Nicolas </a:t>
            </a:r>
            <a:r>
              <a:rPr lang="en-US" sz="1100" u="sng" dirty="0" smtClean="0">
                <a:solidFill>
                  <a:schemeClr val="tx1"/>
                </a:solidFill>
                <a:hlinkClick r:id="rId8"/>
              </a:rPr>
              <a:t>nicolas.rosengren@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ASG</a:t>
            </a:r>
            <a:endParaRPr lang="en-US" sz="1100" dirty="0" smtClean="0">
              <a:solidFill>
                <a:schemeClr val="tx1"/>
              </a:solidFill>
            </a:endParaRPr>
          </a:p>
          <a:p>
            <a:r>
              <a:rPr lang="en-US" sz="1100" dirty="0" smtClean="0">
                <a:solidFill>
                  <a:schemeClr val="tx1"/>
                </a:solidFill>
              </a:rPr>
              <a:t>Markus Jung </a:t>
            </a:r>
            <a:r>
              <a:rPr lang="en-US" sz="1100" u="sng" dirty="0" smtClean="0">
                <a:solidFill>
                  <a:schemeClr val="tx1"/>
                </a:solidFill>
                <a:hlinkClick r:id="rId9"/>
              </a:rPr>
              <a:t>markus.jung@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UK/I</a:t>
            </a:r>
            <a:r>
              <a:rPr lang="en-US" sz="1100" dirty="0" smtClean="0">
                <a:solidFill>
                  <a:schemeClr val="tx1"/>
                </a:solidFill>
              </a:rPr>
              <a:t/>
            </a:r>
            <a:br>
              <a:rPr lang="en-US" sz="1100" dirty="0" smtClean="0">
                <a:solidFill>
                  <a:schemeClr val="tx1"/>
                </a:solidFill>
              </a:rPr>
            </a:br>
            <a:r>
              <a:rPr lang="en-US" sz="1100" dirty="0" err="1" smtClean="0">
                <a:solidFill>
                  <a:schemeClr val="tx1"/>
                </a:solidFill>
              </a:rPr>
              <a:t>Simpkin</a:t>
            </a:r>
            <a:r>
              <a:rPr lang="en-US" sz="1100" dirty="0" smtClean="0">
                <a:solidFill>
                  <a:schemeClr val="tx1"/>
                </a:solidFill>
              </a:rPr>
              <a:t>, Matthew </a:t>
            </a:r>
            <a:r>
              <a:rPr lang="en-US" sz="1100" u="sng" dirty="0" smtClean="0">
                <a:solidFill>
                  <a:schemeClr val="tx1"/>
                </a:solidFill>
                <a:hlinkClick r:id="rId10"/>
              </a:rPr>
              <a:t>matthew.simpkin@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Gallia</a:t>
            </a:r>
            <a:endParaRPr lang="en-US" sz="1100" dirty="0" smtClean="0">
              <a:solidFill>
                <a:schemeClr val="tx1"/>
              </a:solidFill>
            </a:endParaRPr>
          </a:p>
          <a:p>
            <a:r>
              <a:rPr lang="en-US" sz="1100" dirty="0" err="1" smtClean="0">
                <a:solidFill>
                  <a:schemeClr val="tx1"/>
                </a:solidFill>
              </a:rPr>
              <a:t>Hendrikx</a:t>
            </a:r>
            <a:r>
              <a:rPr lang="en-US" sz="1100" dirty="0" smtClean="0">
                <a:solidFill>
                  <a:schemeClr val="tx1"/>
                </a:solidFill>
              </a:rPr>
              <a:t>, Luc </a:t>
            </a:r>
            <a:r>
              <a:rPr lang="en-US" sz="1100" u="sng" dirty="0" smtClean="0">
                <a:solidFill>
                  <a:schemeClr val="tx1"/>
                </a:solidFill>
                <a:hlinkClick r:id="rId11"/>
              </a:rPr>
              <a:t>luc.hendrikx@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IGEM</a:t>
            </a:r>
            <a:endParaRPr lang="en-US" sz="1100" dirty="0" smtClean="0">
              <a:solidFill>
                <a:schemeClr val="tx1"/>
              </a:solidFill>
            </a:endParaRPr>
          </a:p>
          <a:p>
            <a:r>
              <a:rPr lang="en-US" sz="1100" dirty="0" err="1" smtClean="0">
                <a:solidFill>
                  <a:schemeClr val="tx1"/>
                </a:solidFill>
              </a:rPr>
              <a:t>Andreani</a:t>
            </a:r>
            <a:r>
              <a:rPr lang="en-US" sz="1100" dirty="0" smtClean="0">
                <a:solidFill>
                  <a:schemeClr val="tx1"/>
                </a:solidFill>
              </a:rPr>
              <a:t>, </a:t>
            </a:r>
            <a:r>
              <a:rPr lang="en-US" sz="1100" dirty="0" err="1" smtClean="0">
                <a:solidFill>
                  <a:schemeClr val="tx1"/>
                </a:solidFill>
              </a:rPr>
              <a:t>Corrado</a:t>
            </a:r>
            <a:r>
              <a:rPr lang="en-US" sz="1100" dirty="0" smtClean="0">
                <a:solidFill>
                  <a:schemeClr val="tx1"/>
                </a:solidFill>
              </a:rPr>
              <a:t> </a:t>
            </a:r>
            <a:r>
              <a:rPr lang="en-US" sz="1100" u="sng" dirty="0" smtClean="0">
                <a:solidFill>
                  <a:schemeClr val="tx1"/>
                </a:solidFill>
                <a:hlinkClick r:id="rId12"/>
              </a:rPr>
              <a:t>corrado.andreani@accenture.com</a:t>
            </a:r>
            <a:endParaRPr lang="en-US" sz="1100" dirty="0" smtClean="0">
              <a:solidFill>
                <a:schemeClr val="tx1"/>
              </a:solidFill>
            </a:endParaRPr>
          </a:p>
          <a:p>
            <a:r>
              <a:rPr lang="en-US" sz="1100" dirty="0" smtClean="0">
                <a:solidFill>
                  <a:schemeClr val="tx1"/>
                </a:solidFill>
              </a:rPr>
              <a:t>Mercolino, Stefano </a:t>
            </a:r>
            <a:r>
              <a:rPr lang="en-US" sz="1100" u="sng" dirty="0" smtClean="0">
                <a:solidFill>
                  <a:schemeClr val="tx1"/>
                </a:solidFill>
                <a:hlinkClick r:id="rId13"/>
              </a:rPr>
              <a:t>stefano.mercolino@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SPAI</a:t>
            </a:r>
            <a:endParaRPr lang="en-US" sz="1100" dirty="0" smtClean="0">
              <a:solidFill>
                <a:schemeClr val="tx1"/>
              </a:solidFill>
            </a:endParaRPr>
          </a:p>
          <a:p>
            <a:r>
              <a:rPr lang="en-US" sz="1100" dirty="0" smtClean="0">
                <a:solidFill>
                  <a:schemeClr val="tx1"/>
                </a:solidFill>
              </a:rPr>
              <a:t>Mingo, Julio </a:t>
            </a:r>
            <a:r>
              <a:rPr lang="en-US" sz="1100" u="sng" dirty="0" smtClean="0">
                <a:solidFill>
                  <a:schemeClr val="tx1"/>
                </a:solidFill>
                <a:hlinkClick r:id="rId14"/>
              </a:rPr>
              <a:t>julio.mingo@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Latin America</a:t>
            </a:r>
            <a:r>
              <a:rPr lang="en-US" sz="1100" dirty="0" smtClean="0">
                <a:solidFill>
                  <a:schemeClr val="tx1"/>
                </a:solidFill>
              </a:rPr>
              <a:t> </a:t>
            </a:r>
          </a:p>
          <a:p>
            <a:r>
              <a:rPr lang="en-US" sz="1100" dirty="0" err="1" smtClean="0">
                <a:solidFill>
                  <a:schemeClr val="tx1"/>
                </a:solidFill>
              </a:rPr>
              <a:t>Lameda</a:t>
            </a:r>
            <a:r>
              <a:rPr lang="en-US" sz="1100" dirty="0" smtClean="0">
                <a:solidFill>
                  <a:schemeClr val="tx1"/>
                </a:solidFill>
              </a:rPr>
              <a:t>, Luciano </a:t>
            </a:r>
            <a:r>
              <a:rPr lang="en-US" sz="1100" u="sng" dirty="0" smtClean="0">
                <a:solidFill>
                  <a:schemeClr val="tx1"/>
                </a:solidFill>
                <a:hlinkClick r:id="rId15"/>
              </a:rPr>
              <a:t>luciano.lameda@accenture.com</a:t>
            </a:r>
            <a:endParaRPr lang="en-US" sz="1100" dirty="0">
              <a:solidFill>
                <a:schemeClr val="tx1"/>
              </a:solidFill>
            </a:endParaRPr>
          </a:p>
        </p:txBody>
      </p:sp>
      <p:sp>
        <p:nvSpPr>
          <p:cNvPr id="12" name="Rectangle 11"/>
          <p:cNvSpPr/>
          <p:nvPr/>
        </p:nvSpPr>
        <p:spPr>
          <a:xfrm>
            <a:off x="5949950" y="2014330"/>
            <a:ext cx="4848984" cy="445314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smtClean="0">
                <a:solidFill>
                  <a:schemeClr val="tx1"/>
                </a:solidFill>
              </a:rPr>
              <a:t>APAC</a:t>
            </a:r>
            <a:endParaRPr lang="en-US" sz="1100" dirty="0" smtClean="0">
              <a:solidFill>
                <a:schemeClr val="tx1"/>
              </a:solidFill>
            </a:endParaRPr>
          </a:p>
          <a:p>
            <a:r>
              <a:rPr lang="en-US" sz="1100" b="1" dirty="0" smtClean="0">
                <a:solidFill>
                  <a:schemeClr val="tx1"/>
                </a:solidFill>
              </a:rPr>
              <a:t> </a:t>
            </a:r>
            <a:endParaRPr lang="en-US" sz="1100" dirty="0" smtClean="0">
              <a:solidFill>
                <a:schemeClr val="tx1"/>
              </a:solidFill>
            </a:endParaRPr>
          </a:p>
          <a:p>
            <a:r>
              <a:rPr lang="en-US" sz="1100" b="1" dirty="0" smtClean="0">
                <a:solidFill>
                  <a:schemeClr val="tx1"/>
                </a:solidFill>
              </a:rPr>
              <a:t>APAC</a:t>
            </a:r>
            <a:endParaRPr lang="en-US" sz="1100" dirty="0" smtClean="0">
              <a:solidFill>
                <a:schemeClr val="tx1"/>
              </a:solidFill>
            </a:endParaRPr>
          </a:p>
          <a:p>
            <a:r>
              <a:rPr lang="en-US" sz="1100" dirty="0" smtClean="0">
                <a:solidFill>
                  <a:schemeClr val="tx1"/>
                </a:solidFill>
              </a:rPr>
              <a:t>Cheng, Michael </a:t>
            </a:r>
            <a:r>
              <a:rPr lang="en-US" sz="1100" u="sng" dirty="0" smtClean="0">
                <a:solidFill>
                  <a:schemeClr val="tx1"/>
                </a:solidFill>
                <a:hlinkClick r:id="rId16"/>
              </a:rPr>
              <a:t>michael.cheng@accenture.com</a:t>
            </a:r>
            <a:r>
              <a:rPr lang="en-US" sz="1100" u="sng" dirty="0" smtClean="0">
                <a:solidFill>
                  <a:schemeClr val="tx1"/>
                </a:solidFill>
              </a:rPr>
              <a:t/>
            </a:r>
            <a:br>
              <a:rPr lang="en-US" sz="1100" u="sng" dirty="0" smtClean="0">
                <a:solidFill>
                  <a:schemeClr val="tx1"/>
                </a:solidFill>
              </a:rPr>
            </a:br>
            <a:r>
              <a:rPr lang="en-US" sz="1100" b="1" dirty="0" smtClean="0">
                <a:solidFill>
                  <a:schemeClr val="tx1"/>
                </a:solidFill>
              </a:rPr>
              <a:t/>
            </a:r>
            <a:br>
              <a:rPr lang="en-US" sz="1100" b="1" dirty="0" smtClean="0">
                <a:solidFill>
                  <a:schemeClr val="tx1"/>
                </a:solidFill>
              </a:rPr>
            </a:br>
            <a:r>
              <a:rPr lang="en-US" sz="1100" b="1" dirty="0" smtClean="0">
                <a:solidFill>
                  <a:schemeClr val="tx1"/>
                </a:solidFill>
              </a:rPr>
              <a:t>Greater China</a:t>
            </a:r>
            <a:endParaRPr lang="en-US" sz="1100" dirty="0" smtClean="0">
              <a:solidFill>
                <a:schemeClr val="tx1"/>
              </a:solidFill>
            </a:endParaRPr>
          </a:p>
          <a:p>
            <a:r>
              <a:rPr lang="en-US" sz="1100" dirty="0" smtClean="0">
                <a:solidFill>
                  <a:schemeClr val="tx1"/>
                </a:solidFill>
              </a:rPr>
              <a:t>Chen, Zhentao </a:t>
            </a:r>
            <a:r>
              <a:rPr lang="en-US" sz="1100" u="sng" dirty="0" smtClean="0">
                <a:solidFill>
                  <a:schemeClr val="tx1"/>
                </a:solidFill>
                <a:hlinkClick r:id="rId17"/>
              </a:rPr>
              <a:t>zhentao.chen@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India</a:t>
            </a:r>
            <a:endParaRPr lang="en-US" sz="1100" dirty="0" smtClean="0">
              <a:solidFill>
                <a:schemeClr val="tx1"/>
              </a:solidFill>
            </a:endParaRPr>
          </a:p>
          <a:p>
            <a:r>
              <a:rPr lang="en-US" sz="1100" dirty="0" smtClean="0">
                <a:solidFill>
                  <a:schemeClr val="tx1"/>
                </a:solidFill>
              </a:rPr>
              <a:t>Nair, Ramesh </a:t>
            </a:r>
            <a:r>
              <a:rPr lang="en-US" sz="1100" u="sng" dirty="0" smtClean="0">
                <a:solidFill>
                  <a:schemeClr val="tx1"/>
                </a:solidFill>
                <a:hlinkClick r:id="rId18"/>
              </a:rPr>
              <a:t>ramesh.nair@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Japan</a:t>
            </a:r>
            <a:endParaRPr lang="en-US" sz="1100" dirty="0" smtClean="0">
              <a:solidFill>
                <a:schemeClr val="tx1"/>
              </a:solidFill>
            </a:endParaRPr>
          </a:p>
          <a:p>
            <a:r>
              <a:rPr lang="en-US" sz="1100" dirty="0" smtClean="0">
                <a:solidFill>
                  <a:schemeClr val="tx1"/>
                </a:solidFill>
              </a:rPr>
              <a:t>Shiraishi, Yoshiyasu </a:t>
            </a:r>
            <a:r>
              <a:rPr lang="en-US" sz="1100" u="sng" dirty="0" smtClean="0">
                <a:solidFill>
                  <a:schemeClr val="tx1"/>
                </a:solidFill>
                <a:hlinkClick r:id="rId19"/>
              </a:rPr>
              <a:t>yoshiyasu.shiraishi@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ANZ</a:t>
            </a:r>
            <a:endParaRPr lang="en-US" sz="1100" dirty="0" smtClean="0">
              <a:solidFill>
                <a:schemeClr val="tx1"/>
              </a:solidFill>
            </a:endParaRPr>
          </a:p>
          <a:p>
            <a:r>
              <a:rPr lang="en-US" sz="1100" dirty="0" smtClean="0">
                <a:solidFill>
                  <a:schemeClr val="tx1"/>
                </a:solidFill>
              </a:rPr>
              <a:t>Eadie, Duncan R. </a:t>
            </a:r>
            <a:r>
              <a:rPr lang="en-US" sz="1100" u="sng" dirty="0" smtClean="0">
                <a:solidFill>
                  <a:schemeClr val="tx1"/>
                </a:solidFill>
                <a:hlinkClick r:id="rId20"/>
              </a:rPr>
              <a:t>duncan.r.eadie@accenture.com</a:t>
            </a:r>
            <a:r>
              <a:rPr lang="en-US" sz="1100" u="sng" dirty="0" smtClean="0">
                <a:solidFill>
                  <a:schemeClr val="tx1"/>
                </a:solidFill>
              </a:rPr>
              <a:t/>
            </a:r>
            <a:br>
              <a:rPr lang="en-US" sz="1100" u="sng" dirty="0" smtClean="0">
                <a:solidFill>
                  <a:schemeClr val="tx1"/>
                </a:solidFill>
              </a:rPr>
            </a:br>
            <a:endParaRPr lang="en-US" sz="1100" dirty="0" smtClean="0">
              <a:solidFill>
                <a:schemeClr val="tx1"/>
              </a:solidFill>
            </a:endParaRPr>
          </a:p>
          <a:p>
            <a:r>
              <a:rPr lang="en-US" sz="1100" b="1" dirty="0" smtClean="0">
                <a:solidFill>
                  <a:schemeClr val="tx1"/>
                </a:solidFill>
              </a:rPr>
              <a:t>ASEAN</a:t>
            </a:r>
            <a:endParaRPr lang="en-US" sz="1100" dirty="0" smtClean="0">
              <a:solidFill>
                <a:schemeClr val="tx1"/>
              </a:solidFill>
            </a:endParaRPr>
          </a:p>
          <a:p>
            <a:r>
              <a:rPr lang="en-US" sz="1100" dirty="0" smtClean="0">
                <a:solidFill>
                  <a:schemeClr val="tx1"/>
                </a:solidFill>
              </a:rPr>
              <a:t>Groleau, Romain </a:t>
            </a:r>
            <a:r>
              <a:rPr lang="en-US" sz="1100" u="sng" dirty="0" smtClean="0">
                <a:solidFill>
                  <a:schemeClr val="tx1"/>
                </a:solidFill>
                <a:hlinkClick r:id="rId21"/>
              </a:rPr>
              <a:t>romain.groleau@accenture.com</a:t>
            </a:r>
            <a:endParaRPr lang="en-US" sz="1100" u="sng" dirty="0" smtClean="0">
              <a:solidFill>
                <a:schemeClr val="tx1"/>
              </a:solidFill>
            </a:endParaRPr>
          </a:p>
          <a:p>
            <a:endParaRPr lang="en-US" sz="1100" u="sng" dirty="0">
              <a:solidFill>
                <a:schemeClr val="tx1"/>
              </a:solidFill>
            </a:endParaRPr>
          </a:p>
          <a:p>
            <a:endParaRPr lang="en-US" sz="1100" u="sng" dirty="0" smtClean="0">
              <a:solidFill>
                <a:schemeClr val="tx1"/>
              </a:solidFill>
            </a:endParaRPr>
          </a:p>
          <a:p>
            <a:r>
              <a:rPr lang="en-US" sz="1100" b="1" dirty="0">
                <a:solidFill>
                  <a:schemeClr val="tx1"/>
                </a:solidFill>
              </a:rPr>
              <a:t> </a:t>
            </a:r>
            <a:endParaRPr lang="en-US" sz="1100" dirty="0">
              <a:solidFill>
                <a:schemeClr val="tx1"/>
              </a:solidFill>
            </a:endParaRPr>
          </a:p>
          <a:p>
            <a:r>
              <a:rPr lang="en-US" sz="1100" b="1" dirty="0" smtClean="0">
                <a:solidFill>
                  <a:schemeClr val="tx1"/>
                </a:solidFill>
              </a:rPr>
              <a:t>IDC Data Center </a:t>
            </a:r>
            <a:r>
              <a:rPr lang="en-US" sz="1100" b="1" dirty="0" err="1" smtClean="0">
                <a:solidFill>
                  <a:schemeClr val="tx1"/>
                </a:solidFill>
              </a:rPr>
              <a:t>CoE</a:t>
            </a:r>
            <a:r>
              <a:rPr lang="en-US" sz="1100" b="1" dirty="0" smtClean="0">
                <a:solidFill>
                  <a:schemeClr val="tx1"/>
                </a:solidFill>
              </a:rPr>
              <a:t/>
            </a:r>
            <a:br>
              <a:rPr lang="en-US" sz="1100" b="1" dirty="0" smtClean="0">
                <a:solidFill>
                  <a:schemeClr val="tx1"/>
                </a:solidFill>
              </a:rPr>
            </a:br>
            <a:endParaRPr lang="en-US" sz="1100" dirty="0">
              <a:solidFill>
                <a:schemeClr val="tx1"/>
              </a:solidFill>
            </a:endParaRPr>
          </a:p>
          <a:p>
            <a:r>
              <a:rPr lang="en-US" sz="1100" dirty="0" err="1" smtClean="0">
                <a:solidFill>
                  <a:schemeClr val="tx1"/>
                </a:solidFill>
              </a:rPr>
              <a:t>Shastri</a:t>
            </a:r>
            <a:r>
              <a:rPr lang="en-US" sz="1100" dirty="0">
                <a:solidFill>
                  <a:schemeClr val="tx1"/>
                </a:solidFill>
              </a:rPr>
              <a:t>, </a:t>
            </a:r>
            <a:r>
              <a:rPr lang="en-US" sz="1100" dirty="0" err="1">
                <a:solidFill>
                  <a:schemeClr val="tx1"/>
                </a:solidFill>
              </a:rPr>
              <a:t>Seetabai</a:t>
            </a:r>
            <a:r>
              <a:rPr lang="en-US" sz="1100" dirty="0">
                <a:solidFill>
                  <a:schemeClr val="tx1"/>
                </a:solidFill>
              </a:rPr>
              <a:t> G. </a:t>
            </a:r>
            <a:r>
              <a:rPr lang="en-US" sz="1100" dirty="0" smtClean="0">
                <a:solidFill>
                  <a:schemeClr val="tx1"/>
                </a:solidFill>
                <a:hlinkClick r:id="rId22"/>
              </a:rPr>
              <a:t>seetabai.g.shastri@accenture.com</a:t>
            </a:r>
            <a:endParaRPr lang="en-US" sz="1100" dirty="0" smtClean="0">
              <a:solidFill>
                <a:schemeClr val="tx1"/>
              </a:solidFill>
            </a:endParaRPr>
          </a:p>
          <a:p>
            <a:r>
              <a:rPr lang="en-US" sz="1100" dirty="0">
                <a:solidFill>
                  <a:schemeClr val="tx1"/>
                </a:solidFill>
              </a:rPr>
              <a:t>Kuttappan, Shaju </a:t>
            </a:r>
            <a:r>
              <a:rPr lang="en-US" sz="1100" dirty="0" smtClean="0">
                <a:solidFill>
                  <a:schemeClr val="tx1"/>
                </a:solidFill>
                <a:hlinkClick r:id="rId23"/>
              </a:rPr>
              <a:t>shaju.kuttappan@accenture.com</a:t>
            </a:r>
            <a:endParaRPr lang="en-US" sz="1100" dirty="0" smtClean="0">
              <a:solidFill>
                <a:schemeClr val="tx1"/>
              </a:solidFill>
            </a:endParaRPr>
          </a:p>
          <a:p>
            <a:r>
              <a:rPr lang="en-US" sz="1100" dirty="0" smtClean="0">
                <a:solidFill>
                  <a:schemeClr val="tx1"/>
                </a:solidFill>
              </a:rPr>
              <a:t>Ponnuswamy</a:t>
            </a:r>
            <a:r>
              <a:rPr lang="en-US" sz="1100" dirty="0">
                <a:solidFill>
                  <a:schemeClr val="tx1"/>
                </a:solidFill>
              </a:rPr>
              <a:t>, Jay </a:t>
            </a:r>
            <a:r>
              <a:rPr lang="en-US" sz="1100" dirty="0" smtClean="0">
                <a:solidFill>
                  <a:schemeClr val="tx1"/>
                </a:solidFill>
                <a:hlinkClick r:id="rId24"/>
              </a:rPr>
              <a:t>jay.ponnuswamy@accenture.com</a:t>
            </a:r>
            <a:endParaRPr lang="en-US" sz="1100" dirty="0" smtClean="0">
              <a:solidFill>
                <a:schemeClr val="tx1"/>
              </a:solidFill>
            </a:endParaRPr>
          </a:p>
          <a:p>
            <a:endParaRPr lang="en-US" sz="1100" dirty="0">
              <a:solidFill>
                <a:schemeClr val="tx1"/>
              </a:solidFill>
            </a:endParaRPr>
          </a:p>
        </p:txBody>
      </p:sp>
    </p:spTree>
    <p:extLst>
      <p:ext uri="{BB962C8B-B14F-4D97-AF65-F5344CB8AC3E}">
        <p14:creationId xmlns:p14="http://schemas.microsoft.com/office/powerpoint/2010/main" val="23636103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1"/>
          </p:nvPr>
        </p:nvSpPr>
        <p:spPr/>
        <p:txBody>
          <a:bodyPr/>
          <a:lstStyle/>
          <a:p>
            <a:pPr lvl="0" fontAlgn="auto">
              <a:spcAft>
                <a:spcPts val="0"/>
              </a:spcAft>
              <a:buClr>
                <a:srgbClr val="000000"/>
              </a:buClr>
            </a:pPr>
            <a:r>
              <a:rPr lang="en-US" sz="2000" b="0" i="1" dirty="0" smtClean="0">
                <a:solidFill>
                  <a:srgbClr val="000000"/>
                </a:solidFill>
                <a:latin typeface="Arial" pitchFamily="34" charset="0"/>
                <a:ea typeface="+mn-ea"/>
              </a:rPr>
              <a:t>This document and the information contained herein are proprietary to Accenture.  This document, either in whole or in part, may not be reproduced in any form or by any means without Accenture’s prior written permission. This document provides no warranties with respect to the offerings described within. Any third-party names, trademarks and copyrights contained in this document are the property of their respective owners.</a:t>
            </a:r>
            <a:endParaRPr lang="en-US" sz="2000" b="0" dirty="0" smtClean="0">
              <a:solidFill>
                <a:srgbClr val="000000"/>
              </a:solidFill>
              <a:latin typeface="Arial" pitchFamily="34" charset="0"/>
              <a:ea typeface="+mn-ea"/>
            </a:endParaRPr>
          </a:p>
          <a:p>
            <a:endParaRPr lang="en-US" dirty="0" smtClean="0"/>
          </a:p>
        </p:txBody>
      </p:sp>
      <p:sp>
        <p:nvSpPr>
          <p:cNvPr id="4" name="Title 3"/>
          <p:cNvSpPr>
            <a:spLocks noGrp="1"/>
          </p:cNvSpPr>
          <p:nvPr>
            <p:ph type="title"/>
          </p:nvPr>
        </p:nvSpPr>
        <p:spPr/>
        <p:txBody>
          <a:bodyPr/>
          <a:lstStyle/>
          <a:p>
            <a:r>
              <a:rPr lang="en-US" sz="2400" dirty="0" smtClean="0"/>
              <a:t>Disclaimer</a:t>
            </a:r>
            <a:endParaRPr lang="en-US" sz="2400" dirty="0"/>
          </a:p>
        </p:txBody>
      </p:sp>
      <p:sp>
        <p:nvSpPr>
          <p:cNvPr id="3" name="Footer Placeholder 2"/>
          <p:cNvSpPr>
            <a:spLocks noGrp="1"/>
          </p:cNvSpPr>
          <p:nvPr>
            <p:ph type="ftr" sz="quarter" idx="12"/>
          </p:nvPr>
        </p:nvSpPr>
        <p:spPr/>
        <p:txBody>
          <a:bodyPr/>
          <a:lstStyle/>
          <a:p>
            <a:r>
              <a:rPr lang="en-US" dirty="0" smtClean="0"/>
              <a:t>Copyright © 2015 Accenture  All rights reserved.</a:t>
            </a:r>
            <a:endParaRPr lang="en-US" dirty="0"/>
          </a:p>
        </p:txBody>
      </p:sp>
      <p:sp>
        <p:nvSpPr>
          <p:cNvPr id="6" name="Slide Number Placeholder 5"/>
          <p:cNvSpPr>
            <a:spLocks noGrp="1"/>
          </p:cNvSpPr>
          <p:nvPr>
            <p:ph type="sldNum" sz="quarter" idx="13"/>
          </p:nvPr>
        </p:nvSpPr>
        <p:spPr/>
        <p:txBody>
          <a:bodyPr/>
          <a:lstStyle/>
          <a:p>
            <a:fld id="{90CBDC3A-D49F-4631-A8C7-55D59B33E5FA}" type="slidenum">
              <a:rPr lang="en-US" smtClean="0"/>
              <a:pPr/>
              <a:t>2</a:t>
            </a:fld>
            <a:endParaRPr lang="en-US" dirty="0"/>
          </a:p>
        </p:txBody>
      </p:sp>
      <p:sp>
        <p:nvSpPr>
          <p:cNvPr id="7" name="Text Box 139"/>
          <p:cNvSpPr txBox="1">
            <a:spLocks noChangeArrowheads="1"/>
          </p:cNvSpPr>
          <p:nvPr/>
        </p:nvSpPr>
        <p:spPr bwMode="auto">
          <a:xfrm>
            <a:off x="9575800" y="25400"/>
            <a:ext cx="2590800" cy="369888"/>
          </a:xfrm>
          <a:prstGeom prst="rect">
            <a:avLst/>
          </a:prstGeom>
          <a:noFill/>
          <a:ln w="9525">
            <a:noFill/>
            <a:miter lim="800000"/>
            <a:headEnd/>
            <a:tailEnd/>
          </a:ln>
        </p:spPr>
        <p:txBody>
          <a:bodyPr>
            <a:spAutoFit/>
          </a:bodyPr>
          <a:lstStyle/>
          <a:p>
            <a:pPr>
              <a:spcBef>
                <a:spcPct val="50000"/>
              </a:spcBef>
            </a:pPr>
            <a:r>
              <a:rPr lang="en-US" b="1" dirty="0">
                <a:solidFill>
                  <a:srgbClr val="FF0000"/>
                </a:solidFill>
              </a:rPr>
              <a:t>Internal Use Only</a:t>
            </a:r>
          </a:p>
        </p:txBody>
      </p:sp>
    </p:spTree>
    <p:extLst>
      <p:ext uri="{BB962C8B-B14F-4D97-AF65-F5344CB8AC3E}">
        <p14:creationId xmlns:p14="http://schemas.microsoft.com/office/powerpoint/2010/main" val="24396180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18988372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sz="2400" dirty="0" smtClean="0"/>
              <a:t>Application Container are the next level of Data Center Optimizations cleaning up the Hardware Footprint, reducing Resources and being able to be moved between Private and Public Cloud</a:t>
            </a:r>
            <a:endParaRPr lang="en-US" sz="2400" dirty="0"/>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3</a:t>
            </a:fld>
            <a:endParaRPr lang="en-US" dirty="0"/>
          </a:p>
        </p:txBody>
      </p:sp>
      <p:sp>
        <p:nvSpPr>
          <p:cNvPr id="29" name="Rectangle 28"/>
          <p:cNvSpPr/>
          <p:nvPr/>
        </p:nvSpPr>
        <p:spPr>
          <a:xfrm>
            <a:off x="4516438" y="1711831"/>
            <a:ext cx="7229475" cy="1323439"/>
          </a:xfrm>
          <a:prstGeom prst="rect">
            <a:avLst/>
          </a:prstGeom>
        </p:spPr>
        <p:txBody>
          <a:bodyPr wrap="square">
            <a:spAutoFit/>
          </a:bodyPr>
          <a:lstStyle/>
          <a:p>
            <a:pPr marL="0" indent="0">
              <a:buNone/>
            </a:pPr>
            <a:r>
              <a:rPr lang="en-US" sz="2000" dirty="0" smtClean="0"/>
              <a:t>Container like Docker or Rocket allow easily to </a:t>
            </a:r>
            <a:r>
              <a:rPr lang="en-US" sz="2000" dirty="0"/>
              <a:t>create lightweight, portable, self-sufficient </a:t>
            </a:r>
            <a:r>
              <a:rPr lang="en-US" sz="2000" dirty="0" smtClean="0"/>
              <a:t>workloads </a:t>
            </a:r>
            <a:r>
              <a:rPr lang="en-US" sz="2000" dirty="0"/>
              <a:t>from any </a:t>
            </a:r>
            <a:r>
              <a:rPr lang="en-US" sz="2000" dirty="0" smtClean="0"/>
              <a:t>application which </a:t>
            </a:r>
            <a:r>
              <a:rPr lang="en-US" sz="2000" dirty="0"/>
              <a:t>are independent of hardware, language, framework, packaging system and hosting provider.</a:t>
            </a:r>
          </a:p>
        </p:txBody>
      </p:sp>
      <p:sp>
        <p:nvSpPr>
          <p:cNvPr id="30" name="Rectangle 29"/>
          <p:cNvSpPr/>
          <p:nvPr/>
        </p:nvSpPr>
        <p:spPr>
          <a:xfrm>
            <a:off x="457200" y="1219200"/>
            <a:ext cx="8229600"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noProof="0" dirty="0" smtClean="0">
                <a:solidFill>
                  <a:srgbClr val="993399"/>
                </a:solidFill>
              </a:rPr>
              <a:t>Container for the Data Center</a:t>
            </a:r>
            <a:endParaRPr kumimoji="0" lang="en-US" sz="2000" b="0" i="0" u="none" strike="noStrike" kern="0" cap="none" spc="0" normalizeH="0" baseline="0" noProof="0" dirty="0" smtClean="0">
              <a:ln>
                <a:noFill/>
              </a:ln>
              <a:solidFill>
                <a:srgbClr val="993399"/>
              </a:solidFill>
              <a:effectLst/>
              <a:uLnTx/>
              <a:uFillTx/>
            </a:endParaRPr>
          </a:p>
        </p:txBody>
      </p:sp>
      <p:sp>
        <p:nvSpPr>
          <p:cNvPr id="33" name="Rectangle 32"/>
          <p:cNvSpPr/>
          <p:nvPr/>
        </p:nvSpPr>
        <p:spPr>
          <a:xfrm>
            <a:off x="4435609" y="3427413"/>
            <a:ext cx="7073632" cy="2726900"/>
          </a:xfrm>
          <a:prstGeom prst="rect">
            <a:avLst/>
          </a:prstGeom>
        </p:spPr>
        <p:txBody>
          <a:bodyPr wrap="square">
            <a:spAutoFit/>
          </a:bodyPr>
          <a:lstStyle/>
          <a:p>
            <a:pPr marL="358775" lvl="1" indent="-177800">
              <a:lnSpc>
                <a:spcPct val="90000"/>
              </a:lnSpc>
              <a:spcBef>
                <a:spcPct val="20000"/>
              </a:spcBef>
              <a:buFont typeface="Arial" panose="020B0604020202020204" pitchFamily="34" charset="0"/>
              <a:buChar char="•"/>
            </a:pPr>
            <a:r>
              <a:rPr lang="en-US" sz="1600" kern="0" dirty="0">
                <a:solidFill>
                  <a:prstClr val="black"/>
                </a:solidFill>
                <a:latin typeface="Arial"/>
              </a:rPr>
              <a:t>Containers are built once and can be run on any infrastructure – </a:t>
            </a:r>
            <a:r>
              <a:rPr lang="en-US" sz="1600" kern="0" dirty="0" smtClean="0">
                <a:solidFill>
                  <a:prstClr val="black"/>
                </a:solidFill>
                <a:latin typeface="Arial"/>
              </a:rPr>
              <a:t>on premise</a:t>
            </a:r>
            <a:r>
              <a:rPr lang="en-US" sz="1600" kern="0" dirty="0">
                <a:solidFill>
                  <a:prstClr val="black"/>
                </a:solidFill>
                <a:latin typeface="Arial"/>
              </a:rPr>
              <a:t>, or on any cloud </a:t>
            </a:r>
            <a:r>
              <a:rPr lang="en-US" sz="1600" kern="0" dirty="0" smtClean="0">
                <a:solidFill>
                  <a:prstClr val="black"/>
                </a:solidFill>
                <a:latin typeface="Arial"/>
              </a:rPr>
              <a:t>provider</a:t>
            </a:r>
            <a:br>
              <a:rPr lang="en-US" sz="1600" kern="0" dirty="0" smtClean="0">
                <a:solidFill>
                  <a:prstClr val="black"/>
                </a:solidFill>
                <a:latin typeface="Arial"/>
              </a:rPr>
            </a:br>
            <a:endParaRPr lang="en-US" sz="1600" kern="0" dirty="0">
              <a:solidFill>
                <a:prstClr val="black"/>
              </a:solidFill>
              <a:latin typeface="Arial"/>
            </a:endParaRPr>
          </a:p>
          <a:p>
            <a:pPr marL="358775" lvl="1" indent="-177800">
              <a:lnSpc>
                <a:spcPct val="90000"/>
              </a:lnSpc>
              <a:spcBef>
                <a:spcPct val="20000"/>
              </a:spcBef>
              <a:buFont typeface="Arial" panose="020B0604020202020204" pitchFamily="34" charset="0"/>
              <a:buChar char="•"/>
            </a:pPr>
            <a:r>
              <a:rPr lang="en-US" sz="1600" kern="0" dirty="0" smtClean="0">
                <a:solidFill>
                  <a:prstClr val="black"/>
                </a:solidFill>
                <a:latin typeface="Arial"/>
              </a:rPr>
              <a:t>Orchestration tools provides </a:t>
            </a:r>
            <a:r>
              <a:rPr lang="en-US" sz="1600" kern="0" dirty="0">
                <a:solidFill>
                  <a:prstClr val="black"/>
                </a:solidFill>
                <a:latin typeface="Arial"/>
              </a:rPr>
              <a:t>the capabilities to build, run and operate </a:t>
            </a:r>
            <a:r>
              <a:rPr lang="en-US" sz="1600" kern="0" dirty="0" smtClean="0">
                <a:solidFill>
                  <a:prstClr val="black"/>
                </a:solidFill>
                <a:latin typeface="Arial"/>
              </a:rPr>
              <a:t>containers </a:t>
            </a:r>
          </a:p>
          <a:p>
            <a:pPr marL="358775" lvl="1" indent="-177800">
              <a:lnSpc>
                <a:spcPct val="90000"/>
              </a:lnSpc>
              <a:spcBef>
                <a:spcPct val="20000"/>
              </a:spcBef>
              <a:buFont typeface="Arial" panose="020B0604020202020204" pitchFamily="34" charset="0"/>
              <a:buChar char="•"/>
            </a:pPr>
            <a:endParaRPr lang="en-US" sz="1600" kern="0" dirty="0">
              <a:solidFill>
                <a:prstClr val="black"/>
              </a:solidFill>
              <a:latin typeface="Arial"/>
            </a:endParaRPr>
          </a:p>
          <a:p>
            <a:pPr marL="358775" lvl="1" indent="-177800">
              <a:lnSpc>
                <a:spcPct val="90000"/>
              </a:lnSpc>
              <a:spcBef>
                <a:spcPct val="20000"/>
              </a:spcBef>
              <a:buFont typeface="Arial" panose="020B0604020202020204" pitchFamily="34" charset="0"/>
              <a:buChar char="•"/>
            </a:pPr>
            <a:r>
              <a:rPr lang="en-US" sz="1600" kern="0" dirty="0" smtClean="0">
                <a:solidFill>
                  <a:prstClr val="black"/>
                </a:solidFill>
                <a:latin typeface="Arial"/>
              </a:rPr>
              <a:t>Container can start in seconds are can easily be pre-packaged</a:t>
            </a:r>
            <a:br>
              <a:rPr lang="en-US" sz="1600" kern="0" dirty="0" smtClean="0">
                <a:solidFill>
                  <a:prstClr val="black"/>
                </a:solidFill>
                <a:latin typeface="Arial"/>
              </a:rPr>
            </a:br>
            <a:endParaRPr lang="en-US" sz="1600" kern="0" dirty="0">
              <a:solidFill>
                <a:prstClr val="black"/>
              </a:solidFill>
              <a:latin typeface="Arial"/>
            </a:endParaRPr>
          </a:p>
          <a:p>
            <a:pPr marL="358775" lvl="1" indent="-177800">
              <a:lnSpc>
                <a:spcPct val="90000"/>
              </a:lnSpc>
              <a:spcBef>
                <a:spcPct val="20000"/>
              </a:spcBef>
              <a:buFont typeface="Arial" panose="020B0604020202020204" pitchFamily="34" charset="0"/>
              <a:buChar char="•"/>
            </a:pPr>
            <a:r>
              <a:rPr lang="en-US" sz="1600" kern="0" dirty="0">
                <a:solidFill>
                  <a:prstClr val="black"/>
                </a:solidFill>
                <a:latin typeface="Arial"/>
              </a:rPr>
              <a:t>Enables Continuous Integration by streamlining the creation of new application environments, and Continuous Delivery by allowing containers to run unmodified across environments</a:t>
            </a: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65137" y="1736724"/>
            <a:ext cx="3789363" cy="4730751"/>
          </a:xfrm>
          <a:prstGeom prst="rect">
            <a:avLst/>
          </a:prstGeom>
        </p:spPr>
      </p:pic>
    </p:spTree>
    <p:extLst>
      <p:ext uri="{BB962C8B-B14F-4D97-AF65-F5344CB8AC3E}">
        <p14:creationId xmlns:p14="http://schemas.microsoft.com/office/powerpoint/2010/main" val="4087040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tainers supporting the portable Application-level Packaging in Enterprise Environments based on Linux</a:t>
            </a:r>
            <a:endParaRPr lang="en-US" dirty="0"/>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4</a:t>
            </a:fld>
            <a:endParaRPr lang="en-US" dirty="0"/>
          </a:p>
        </p:txBody>
      </p:sp>
      <p:pic>
        <p:nvPicPr>
          <p:cNvPr id="7" name="Picture 6"/>
          <p:cNvPicPr>
            <a:picLocks noChangeAspect="1"/>
          </p:cNvPicPr>
          <p:nvPr/>
        </p:nvPicPr>
        <p:blipFill>
          <a:blip r:embed="rId3" cstate="print"/>
          <a:stretch>
            <a:fillRect/>
          </a:stretch>
        </p:blipFill>
        <p:spPr>
          <a:xfrm>
            <a:off x="2470445" y="4770999"/>
            <a:ext cx="1397297" cy="1019520"/>
          </a:xfrm>
          <a:prstGeom prst="rect">
            <a:avLst/>
          </a:prstGeom>
        </p:spPr>
      </p:pic>
      <p:pic>
        <p:nvPicPr>
          <p:cNvPr id="11" name="Picture 10"/>
          <p:cNvPicPr>
            <a:picLocks noChangeAspect="1"/>
          </p:cNvPicPr>
          <p:nvPr/>
        </p:nvPicPr>
        <p:blipFill>
          <a:blip r:embed="rId3" cstate="print"/>
          <a:stretch>
            <a:fillRect/>
          </a:stretch>
        </p:blipFill>
        <p:spPr>
          <a:xfrm>
            <a:off x="618883" y="4770999"/>
            <a:ext cx="1397297" cy="1019520"/>
          </a:xfrm>
          <a:prstGeom prst="rect">
            <a:avLst/>
          </a:prstGeom>
        </p:spPr>
      </p:pic>
      <p:pic>
        <p:nvPicPr>
          <p:cNvPr id="12" name="Picture 11"/>
          <p:cNvPicPr>
            <a:picLocks noChangeAspect="1"/>
          </p:cNvPicPr>
          <p:nvPr/>
        </p:nvPicPr>
        <p:blipFill>
          <a:blip r:embed="rId3" cstate="print"/>
          <a:stretch>
            <a:fillRect/>
          </a:stretch>
        </p:blipFill>
        <p:spPr>
          <a:xfrm>
            <a:off x="4316116" y="4770999"/>
            <a:ext cx="1397297" cy="1019520"/>
          </a:xfrm>
          <a:prstGeom prst="rect">
            <a:avLst/>
          </a:prstGeom>
        </p:spPr>
      </p:pic>
      <p:sp>
        <p:nvSpPr>
          <p:cNvPr id="13" name="TextBox 12"/>
          <p:cNvSpPr txBox="1"/>
          <p:nvPr/>
        </p:nvSpPr>
        <p:spPr>
          <a:xfrm>
            <a:off x="481580" y="5802884"/>
            <a:ext cx="1808802" cy="276999"/>
          </a:xfrm>
          <a:prstGeom prst="rect">
            <a:avLst/>
          </a:prstGeom>
          <a:noFill/>
        </p:spPr>
        <p:txBody>
          <a:bodyPr wrap="square" rtlCol="0">
            <a:spAutoFit/>
          </a:bodyPr>
          <a:lstStyle/>
          <a:p>
            <a:pPr algn="ctr"/>
            <a:r>
              <a:rPr lang="en-US" sz="1200" b="1" dirty="0" smtClean="0"/>
              <a:t>Private Cloud</a:t>
            </a:r>
          </a:p>
        </p:txBody>
      </p:sp>
      <p:sp>
        <p:nvSpPr>
          <p:cNvPr id="14" name="TextBox 13"/>
          <p:cNvSpPr txBox="1"/>
          <p:nvPr/>
        </p:nvSpPr>
        <p:spPr>
          <a:xfrm>
            <a:off x="2538895" y="5802884"/>
            <a:ext cx="1397297" cy="276999"/>
          </a:xfrm>
          <a:prstGeom prst="rect">
            <a:avLst/>
          </a:prstGeom>
          <a:noFill/>
        </p:spPr>
        <p:txBody>
          <a:bodyPr wrap="square" rtlCol="0">
            <a:spAutoFit/>
          </a:bodyPr>
          <a:lstStyle/>
          <a:p>
            <a:pPr algn="ctr"/>
            <a:r>
              <a:rPr lang="en-US" sz="1200" b="1" dirty="0" smtClean="0"/>
              <a:t>Public Cloud</a:t>
            </a:r>
          </a:p>
        </p:txBody>
      </p:sp>
      <p:sp>
        <p:nvSpPr>
          <p:cNvPr id="15" name="TextBox 14"/>
          <p:cNvSpPr txBox="1"/>
          <p:nvPr/>
        </p:nvSpPr>
        <p:spPr>
          <a:xfrm>
            <a:off x="4142156" y="5802884"/>
            <a:ext cx="1882118" cy="276999"/>
          </a:xfrm>
          <a:prstGeom prst="rect">
            <a:avLst/>
          </a:prstGeom>
          <a:noFill/>
        </p:spPr>
        <p:txBody>
          <a:bodyPr wrap="square" rtlCol="0">
            <a:spAutoFit/>
          </a:bodyPr>
          <a:lstStyle/>
          <a:p>
            <a:pPr algn="ctr"/>
            <a:r>
              <a:rPr lang="en-US" sz="1200" b="1" dirty="0" smtClean="0"/>
              <a:t>Bare-metal Cloud</a:t>
            </a:r>
          </a:p>
        </p:txBody>
      </p:sp>
      <p:pic>
        <p:nvPicPr>
          <p:cNvPr id="16" name="Picture 2" descr="http://freeline.bg/wp-content/uploads/2013/04/container.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89052" y="4143029"/>
            <a:ext cx="855676" cy="463646"/>
          </a:xfrm>
          <a:prstGeom prst="rect">
            <a:avLst/>
          </a:prstGeom>
          <a:noFill/>
          <a:extLst>
            <a:ext uri="{909E8E84-426E-40dd-AFC4-6F175D3DCCD1}">
              <a14:hiddenFill xmlns="" xmlns:a14="http://schemas.microsoft.com/office/drawing/2010/main">
                <a:solidFill>
                  <a:srgbClr val="FFFFFF"/>
                </a:solidFill>
              </a14:hiddenFill>
            </a:ext>
          </a:extLst>
        </p:spPr>
      </p:pic>
      <p:pic>
        <p:nvPicPr>
          <p:cNvPr id="17" name="Picture 16"/>
          <p:cNvPicPr>
            <a:picLocks noChangeAspect="1"/>
          </p:cNvPicPr>
          <p:nvPr/>
        </p:nvPicPr>
        <p:blipFill>
          <a:blip r:embed="rId5"/>
          <a:stretch>
            <a:fillRect/>
          </a:stretch>
        </p:blipFill>
        <p:spPr>
          <a:xfrm>
            <a:off x="2959699" y="2989174"/>
            <a:ext cx="514382" cy="450626"/>
          </a:xfrm>
          <a:prstGeom prst="rect">
            <a:avLst/>
          </a:prstGeom>
        </p:spPr>
      </p:pic>
      <p:cxnSp>
        <p:nvCxnSpPr>
          <p:cNvPr id="18" name="Straight Arrow Connector 17"/>
          <p:cNvCxnSpPr>
            <a:stCxn id="29" idx="2"/>
            <a:endCxn id="17" idx="0"/>
          </p:cNvCxnSpPr>
          <p:nvPr/>
        </p:nvCxnSpPr>
        <p:spPr bwMode="auto">
          <a:xfrm>
            <a:off x="3216890" y="2130220"/>
            <a:ext cx="0" cy="858954"/>
          </a:xfrm>
          <a:prstGeom prst="straightConnector1">
            <a:avLst/>
          </a:prstGeom>
          <a:solidFill>
            <a:schemeClr val="accent1"/>
          </a:solidFill>
          <a:ln w="28575" cap="flat" cmpd="sng" algn="ctr">
            <a:solidFill>
              <a:srgbClr val="003344"/>
            </a:solidFill>
            <a:prstDash val="solid"/>
            <a:round/>
            <a:headEnd type="none" w="med" len="med"/>
            <a:tailEnd type="arrow"/>
          </a:ln>
          <a:effectLst/>
        </p:spPr>
      </p:cxnSp>
      <p:cxnSp>
        <p:nvCxnSpPr>
          <p:cNvPr id="19" name="Straight Arrow Connector 18"/>
          <p:cNvCxnSpPr>
            <a:stCxn id="17" idx="2"/>
            <a:endCxn id="16" idx="0"/>
          </p:cNvCxnSpPr>
          <p:nvPr/>
        </p:nvCxnSpPr>
        <p:spPr bwMode="auto">
          <a:xfrm>
            <a:off x="3216890" y="3439800"/>
            <a:ext cx="0" cy="703229"/>
          </a:xfrm>
          <a:prstGeom prst="straightConnector1">
            <a:avLst/>
          </a:prstGeom>
          <a:solidFill>
            <a:schemeClr val="accent1"/>
          </a:solidFill>
          <a:ln w="28575" cap="flat" cmpd="sng" algn="ctr">
            <a:solidFill>
              <a:srgbClr val="003344"/>
            </a:solidFill>
            <a:prstDash val="solid"/>
            <a:round/>
            <a:headEnd type="none" w="med" len="med"/>
            <a:tailEnd type="arrow"/>
          </a:ln>
          <a:effectLst/>
        </p:spPr>
      </p:cxnSp>
      <p:cxnSp>
        <p:nvCxnSpPr>
          <p:cNvPr id="20" name="Straight Arrow Connector 19"/>
          <p:cNvCxnSpPr>
            <a:stCxn id="28" idx="2"/>
            <a:endCxn id="17" idx="1"/>
          </p:cNvCxnSpPr>
          <p:nvPr/>
        </p:nvCxnSpPr>
        <p:spPr bwMode="auto">
          <a:xfrm>
            <a:off x="1258599" y="2131637"/>
            <a:ext cx="1701100" cy="1082850"/>
          </a:xfrm>
          <a:prstGeom prst="straightConnector1">
            <a:avLst/>
          </a:prstGeom>
          <a:solidFill>
            <a:schemeClr val="accent1"/>
          </a:solidFill>
          <a:ln w="28575" cap="flat" cmpd="sng" algn="ctr">
            <a:solidFill>
              <a:srgbClr val="003344"/>
            </a:solidFill>
            <a:prstDash val="solid"/>
            <a:round/>
            <a:headEnd type="none" w="med" len="med"/>
            <a:tailEnd type="arrow"/>
          </a:ln>
          <a:effectLst/>
        </p:spPr>
      </p:cxnSp>
      <p:cxnSp>
        <p:nvCxnSpPr>
          <p:cNvPr id="21" name="Straight Arrow Connector 20"/>
          <p:cNvCxnSpPr>
            <a:stCxn id="30" idx="2"/>
            <a:endCxn id="17" idx="3"/>
          </p:cNvCxnSpPr>
          <p:nvPr/>
        </p:nvCxnSpPr>
        <p:spPr bwMode="auto">
          <a:xfrm flipH="1">
            <a:off x="3474081" y="2130220"/>
            <a:ext cx="1717333" cy="1084267"/>
          </a:xfrm>
          <a:prstGeom prst="straightConnector1">
            <a:avLst/>
          </a:prstGeom>
          <a:solidFill>
            <a:schemeClr val="accent1"/>
          </a:solidFill>
          <a:ln w="28575" cap="flat" cmpd="sng" algn="ctr">
            <a:solidFill>
              <a:srgbClr val="003344"/>
            </a:solidFill>
            <a:prstDash val="solid"/>
            <a:round/>
            <a:headEnd type="none" w="med" len="med"/>
            <a:tailEnd type="arrow"/>
          </a:ln>
          <a:effectLst/>
        </p:spPr>
      </p:cxnSp>
      <p:sp>
        <p:nvSpPr>
          <p:cNvPr id="23" name="TextBox 22"/>
          <p:cNvSpPr txBox="1"/>
          <p:nvPr/>
        </p:nvSpPr>
        <p:spPr>
          <a:xfrm>
            <a:off x="3238778" y="3451971"/>
            <a:ext cx="1543145" cy="307777"/>
          </a:xfrm>
          <a:prstGeom prst="rect">
            <a:avLst/>
          </a:prstGeom>
          <a:noFill/>
        </p:spPr>
        <p:txBody>
          <a:bodyPr wrap="square" rtlCol="0">
            <a:spAutoFit/>
          </a:bodyPr>
          <a:lstStyle/>
          <a:p>
            <a:r>
              <a:rPr lang="en-US" sz="1400" b="1" dirty="0" smtClean="0"/>
              <a:t>Build container</a:t>
            </a:r>
          </a:p>
        </p:txBody>
      </p:sp>
      <p:sp>
        <p:nvSpPr>
          <p:cNvPr id="26" name="Rectangle 25"/>
          <p:cNvSpPr/>
          <p:nvPr/>
        </p:nvSpPr>
        <p:spPr>
          <a:xfrm>
            <a:off x="6068344" y="1459083"/>
            <a:ext cx="5653756" cy="5078313"/>
          </a:xfrm>
          <a:prstGeom prst="rect">
            <a:avLst/>
          </a:prstGeom>
        </p:spPr>
        <p:txBody>
          <a:bodyPr wrap="square">
            <a:spAutoFit/>
          </a:bodyPr>
          <a:lstStyle/>
          <a:p>
            <a:pPr lvl="1"/>
            <a:r>
              <a:rPr lang="en-US" b="1" dirty="0" smtClean="0"/>
              <a:t>Container can be used for optimizing Data Center resources as well as open new approaches to handle Hybrid cloud</a:t>
            </a:r>
          </a:p>
          <a:p>
            <a:pPr lvl="1"/>
            <a:endParaRPr lang="en-US" dirty="0" smtClean="0"/>
          </a:p>
          <a:p>
            <a:pPr lvl="1"/>
            <a:r>
              <a:rPr lang="en-US" dirty="0" smtClean="0"/>
              <a:t>Covering OS level virtualization built on virtual or bare metal Linux instances to drive application workloads.</a:t>
            </a:r>
          </a:p>
          <a:p>
            <a:pPr lvl="1"/>
            <a:endParaRPr lang="en-US" dirty="0"/>
          </a:p>
          <a:p>
            <a:pPr lvl="1"/>
            <a:r>
              <a:rPr lang="en-US" dirty="0" smtClean="0"/>
              <a:t>Independent of hardware language</a:t>
            </a:r>
            <a:r>
              <a:rPr lang="en-US" dirty="0"/>
              <a:t>, framework, packaging system and hosting </a:t>
            </a:r>
            <a:r>
              <a:rPr lang="en-US" dirty="0" smtClean="0"/>
              <a:t>provider it drives workloads </a:t>
            </a:r>
          </a:p>
          <a:p>
            <a:pPr lvl="1"/>
            <a:endParaRPr lang="en-US" dirty="0"/>
          </a:p>
          <a:p>
            <a:pPr lvl="1"/>
            <a:r>
              <a:rPr lang="en-US" dirty="0" smtClean="0"/>
              <a:t>Process isolation from other containers enables security but gives flexibility in sharing host resources</a:t>
            </a:r>
          </a:p>
          <a:p>
            <a:pPr lvl="1"/>
            <a:endParaRPr lang="en-US" dirty="0"/>
          </a:p>
          <a:p>
            <a:pPr lvl="1"/>
            <a:r>
              <a:rPr lang="en-US" dirty="0" smtClean="0"/>
              <a:t>Easy to maintain on OS and packaged solution level while decreasing OS and Patching needs</a:t>
            </a:r>
            <a:endParaRPr lang="en-US" dirty="0"/>
          </a:p>
        </p:txBody>
      </p:sp>
      <p:sp>
        <p:nvSpPr>
          <p:cNvPr id="28" name="Rectangle 27"/>
          <p:cNvSpPr/>
          <p:nvPr/>
        </p:nvSpPr>
        <p:spPr>
          <a:xfrm>
            <a:off x="465138" y="1623637"/>
            <a:ext cx="1586922" cy="50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Application</a:t>
            </a:r>
            <a:endParaRPr lang="en-US" sz="1600" dirty="0"/>
          </a:p>
        </p:txBody>
      </p:sp>
      <p:sp>
        <p:nvSpPr>
          <p:cNvPr id="29" name="Rectangle 28"/>
          <p:cNvSpPr/>
          <p:nvPr/>
        </p:nvSpPr>
        <p:spPr>
          <a:xfrm>
            <a:off x="2423429" y="1622220"/>
            <a:ext cx="1586922" cy="50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Local Dependencies</a:t>
            </a:r>
            <a:endParaRPr lang="en-US" sz="1600" dirty="0"/>
          </a:p>
        </p:txBody>
      </p:sp>
      <p:sp>
        <p:nvSpPr>
          <p:cNvPr id="30" name="Rectangle 29"/>
          <p:cNvSpPr/>
          <p:nvPr/>
        </p:nvSpPr>
        <p:spPr>
          <a:xfrm>
            <a:off x="4397953" y="1622220"/>
            <a:ext cx="1586922" cy="50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figuration, resources, etc.</a:t>
            </a:r>
            <a:endParaRPr lang="en-US" sz="1600" dirty="0"/>
          </a:p>
        </p:txBody>
      </p:sp>
    </p:spTree>
    <p:extLst>
      <p:ext uri="{BB962C8B-B14F-4D97-AF65-F5344CB8AC3E}">
        <p14:creationId xmlns:p14="http://schemas.microsoft.com/office/powerpoint/2010/main" val="32004868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4249734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38" name="Curved Connector 37"/>
          <p:cNvCxnSpPr/>
          <p:nvPr/>
        </p:nvCxnSpPr>
        <p:spPr>
          <a:xfrm rot="5400000" flipH="1" flipV="1">
            <a:off x="4089627" y="1735182"/>
            <a:ext cx="1474611" cy="5797619"/>
          </a:xfrm>
          <a:prstGeom prst="curved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Container Architectures are Changing the Data Center Structure today for Lightweight Applications but growing also into other Eco Systems</a:t>
            </a:r>
            <a:endParaRPr lang="en-US" dirty="0"/>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5</a:t>
            </a:fld>
            <a:endParaRPr lang="en-US" dirty="0"/>
          </a:p>
        </p:txBody>
      </p:sp>
      <p:sp>
        <p:nvSpPr>
          <p:cNvPr id="6" name="Rectangle 5"/>
          <p:cNvSpPr/>
          <p:nvPr/>
        </p:nvSpPr>
        <p:spPr>
          <a:xfrm>
            <a:off x="457200" y="1219200"/>
            <a:ext cx="8229600"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noProof="0" dirty="0" smtClean="0">
                <a:solidFill>
                  <a:srgbClr val="993399"/>
                </a:solidFill>
              </a:rPr>
              <a:t>Data Center Optimization</a:t>
            </a:r>
            <a:endParaRPr kumimoji="0" lang="en-US" sz="2000" b="0" i="0" u="none" strike="noStrike" kern="0" cap="none" spc="0" normalizeH="0" baseline="0" noProof="0" dirty="0" smtClean="0">
              <a:ln>
                <a:noFill/>
              </a:ln>
              <a:solidFill>
                <a:srgbClr val="993399"/>
              </a:solidFill>
              <a:effectLst/>
              <a:uLnTx/>
              <a:uFillTx/>
            </a:endParaRPr>
          </a:p>
        </p:txBody>
      </p:sp>
      <p:sp>
        <p:nvSpPr>
          <p:cNvPr id="2" name="TextBox 1"/>
          <p:cNvSpPr txBox="1"/>
          <p:nvPr/>
        </p:nvSpPr>
        <p:spPr>
          <a:xfrm>
            <a:off x="455613" y="1736725"/>
            <a:ext cx="11255375" cy="646331"/>
          </a:xfrm>
          <a:prstGeom prst="rect">
            <a:avLst/>
          </a:prstGeom>
          <a:noFill/>
        </p:spPr>
        <p:txBody>
          <a:bodyPr wrap="square" rtlCol="0">
            <a:spAutoFit/>
          </a:bodyPr>
          <a:lstStyle/>
          <a:p>
            <a:r>
              <a:rPr lang="en-US" dirty="0" smtClean="0"/>
              <a:t>Applications are also going to transform from legacy multi tier into lightweight multi node eco systems. This also influences the data center needs from heavy Unix or x86 workloads into application container. </a:t>
            </a:r>
            <a:endParaRPr lang="en-US" dirty="0"/>
          </a:p>
        </p:txBody>
      </p:sp>
      <p:sp>
        <p:nvSpPr>
          <p:cNvPr id="7" name="TextBox 6"/>
          <p:cNvSpPr txBox="1"/>
          <p:nvPr/>
        </p:nvSpPr>
        <p:spPr>
          <a:xfrm>
            <a:off x="465138" y="2744788"/>
            <a:ext cx="2326278" cy="369332"/>
          </a:xfrm>
          <a:prstGeom prst="rect">
            <a:avLst/>
          </a:prstGeom>
          <a:noFill/>
        </p:spPr>
        <p:txBody>
          <a:bodyPr wrap="none" rtlCol="0">
            <a:spAutoFit/>
          </a:bodyPr>
          <a:lstStyle/>
          <a:p>
            <a:r>
              <a:rPr lang="en-US" dirty="0" smtClean="0"/>
              <a:t>Application Evolution</a:t>
            </a:r>
            <a:endParaRPr lang="en-US" dirty="0"/>
          </a:p>
        </p:txBody>
      </p:sp>
      <p:sp>
        <p:nvSpPr>
          <p:cNvPr id="8" name="Rectangle 7"/>
          <p:cNvSpPr/>
          <p:nvPr/>
        </p:nvSpPr>
        <p:spPr>
          <a:xfrm>
            <a:off x="728870" y="3759531"/>
            <a:ext cx="2398505" cy="78677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hysical </a:t>
            </a:r>
            <a:endParaRPr lang="en-US" dirty="0"/>
          </a:p>
        </p:txBody>
      </p:sp>
      <p:sp>
        <p:nvSpPr>
          <p:cNvPr id="9" name="Rectangle 8"/>
          <p:cNvSpPr/>
          <p:nvPr/>
        </p:nvSpPr>
        <p:spPr>
          <a:xfrm>
            <a:off x="728870" y="4584464"/>
            <a:ext cx="2398505" cy="78677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hysical</a:t>
            </a:r>
            <a:endParaRPr lang="en-US" dirty="0"/>
          </a:p>
        </p:txBody>
      </p:sp>
      <p:sp>
        <p:nvSpPr>
          <p:cNvPr id="10" name="Rectangle 9"/>
          <p:cNvSpPr/>
          <p:nvPr/>
        </p:nvSpPr>
        <p:spPr>
          <a:xfrm>
            <a:off x="728870" y="5409396"/>
            <a:ext cx="2398505" cy="78677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hysical</a:t>
            </a:r>
            <a:endParaRPr lang="en-US" dirty="0"/>
          </a:p>
        </p:txBody>
      </p:sp>
      <p:sp>
        <p:nvSpPr>
          <p:cNvPr id="11" name="Rectangle 10"/>
          <p:cNvSpPr/>
          <p:nvPr/>
        </p:nvSpPr>
        <p:spPr>
          <a:xfrm>
            <a:off x="4151106" y="3759531"/>
            <a:ext cx="2622757" cy="78677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Ms</a:t>
            </a:r>
            <a:endParaRPr lang="en-US" dirty="0"/>
          </a:p>
        </p:txBody>
      </p:sp>
      <p:cxnSp>
        <p:nvCxnSpPr>
          <p:cNvPr id="13" name="Straight Arrow Connector 12"/>
          <p:cNvCxnSpPr/>
          <p:nvPr/>
        </p:nvCxnSpPr>
        <p:spPr>
          <a:xfrm flipV="1">
            <a:off x="627891" y="3525636"/>
            <a:ext cx="0" cy="291651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627891" y="6442146"/>
            <a:ext cx="10238892" cy="1172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7725742" y="3759531"/>
            <a:ext cx="2971800" cy="350507"/>
            <a:chOff x="770422" y="4381500"/>
            <a:chExt cx="2971800" cy="228600"/>
          </a:xfrm>
          <a:solidFill>
            <a:schemeClr val="accent1"/>
          </a:solidFill>
        </p:grpSpPr>
        <p:sp>
          <p:nvSpPr>
            <p:cNvPr id="21" name="Rectangle 20"/>
            <p:cNvSpPr/>
            <p:nvPr/>
          </p:nvSpPr>
          <p:spPr>
            <a:xfrm>
              <a:off x="770422" y="4381500"/>
              <a:ext cx="2971800" cy="228600"/>
            </a:xfrm>
            <a:prstGeom prst="rect">
              <a:avLst/>
            </a:prstGeom>
            <a:grp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lumMod val="75000"/>
                  </a:schemeClr>
                </a:solidFill>
              </a:endParaRPr>
            </a:p>
          </p:txBody>
        </p:sp>
        <p:sp>
          <p:nvSpPr>
            <p:cNvPr id="22" name="Rounded Rectangle 21"/>
            <p:cNvSpPr/>
            <p:nvPr/>
          </p:nvSpPr>
          <p:spPr>
            <a:xfrm>
              <a:off x="2819400" y="4464050"/>
              <a:ext cx="152400" cy="107950"/>
            </a:xfrm>
            <a:prstGeom prst="roundRect">
              <a:avLst/>
            </a:prstGeom>
            <a:grp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22"/>
            <p:cNvSpPr/>
            <p:nvPr/>
          </p:nvSpPr>
          <p:spPr>
            <a:xfrm>
              <a:off x="3018692" y="4464050"/>
              <a:ext cx="152400" cy="107950"/>
            </a:xfrm>
            <a:prstGeom prst="roundRect">
              <a:avLst/>
            </a:prstGeom>
            <a:grp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p:cNvSpPr/>
            <p:nvPr/>
          </p:nvSpPr>
          <p:spPr>
            <a:xfrm>
              <a:off x="3217984" y="4464050"/>
              <a:ext cx="152400" cy="107950"/>
            </a:xfrm>
            <a:prstGeom prst="roundRect">
              <a:avLst/>
            </a:prstGeom>
            <a:grp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24"/>
            <p:cNvSpPr/>
            <p:nvPr/>
          </p:nvSpPr>
          <p:spPr>
            <a:xfrm>
              <a:off x="3417280" y="4464050"/>
              <a:ext cx="152400" cy="107950"/>
            </a:xfrm>
            <a:prstGeom prst="roundRect">
              <a:avLst/>
            </a:prstGeom>
            <a:grp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p:cNvSpPr/>
            <p:nvPr/>
          </p:nvSpPr>
          <p:spPr>
            <a:xfrm>
              <a:off x="1676400" y="4464050"/>
              <a:ext cx="152400" cy="107950"/>
            </a:xfrm>
            <a:prstGeom prst="roundRect">
              <a:avLst/>
            </a:prstGeom>
            <a:grp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p:cNvSpPr/>
            <p:nvPr/>
          </p:nvSpPr>
          <p:spPr>
            <a:xfrm>
              <a:off x="1875692" y="4464050"/>
              <a:ext cx="152400" cy="107950"/>
            </a:xfrm>
            <a:prstGeom prst="roundRect">
              <a:avLst/>
            </a:prstGeom>
            <a:grp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p:cNvSpPr/>
            <p:nvPr/>
          </p:nvSpPr>
          <p:spPr>
            <a:xfrm>
              <a:off x="2513080" y="4464050"/>
              <a:ext cx="152400" cy="107950"/>
            </a:xfrm>
            <a:prstGeom prst="roundRect">
              <a:avLst/>
            </a:prstGeom>
            <a:grp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p:nvSpPr>
          <p:spPr>
            <a:xfrm>
              <a:off x="1066800" y="4464050"/>
              <a:ext cx="152400" cy="107950"/>
            </a:xfrm>
            <a:prstGeom prst="roundRect">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ounded Rectangle 29"/>
            <p:cNvSpPr/>
            <p:nvPr/>
          </p:nvSpPr>
          <p:spPr>
            <a:xfrm>
              <a:off x="1266092" y="4464050"/>
              <a:ext cx="152400" cy="107950"/>
            </a:xfrm>
            <a:prstGeom prst="roundRect">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ounded Rectangle 30"/>
            <p:cNvSpPr/>
            <p:nvPr/>
          </p:nvSpPr>
          <p:spPr>
            <a:xfrm>
              <a:off x="1465384" y="4464050"/>
              <a:ext cx="152400" cy="107950"/>
            </a:xfrm>
            <a:prstGeom prst="roundRect">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TextBox 31"/>
          <p:cNvSpPr txBox="1"/>
          <p:nvPr/>
        </p:nvSpPr>
        <p:spPr>
          <a:xfrm>
            <a:off x="995177" y="3340970"/>
            <a:ext cx="2121093" cy="369332"/>
          </a:xfrm>
          <a:prstGeom prst="rect">
            <a:avLst/>
          </a:prstGeom>
          <a:noFill/>
        </p:spPr>
        <p:txBody>
          <a:bodyPr wrap="none" rtlCol="0">
            <a:spAutoFit/>
          </a:bodyPr>
          <a:lstStyle/>
          <a:p>
            <a:r>
              <a:rPr lang="en-US" dirty="0" smtClean="0"/>
              <a:t>Physical Server (s)</a:t>
            </a:r>
            <a:endParaRPr lang="en-US" dirty="0"/>
          </a:p>
        </p:txBody>
      </p:sp>
      <p:sp>
        <p:nvSpPr>
          <p:cNvPr id="33" name="TextBox 32"/>
          <p:cNvSpPr txBox="1"/>
          <p:nvPr/>
        </p:nvSpPr>
        <p:spPr>
          <a:xfrm>
            <a:off x="4394487" y="3390199"/>
            <a:ext cx="1911742" cy="369332"/>
          </a:xfrm>
          <a:prstGeom prst="rect">
            <a:avLst/>
          </a:prstGeom>
          <a:noFill/>
        </p:spPr>
        <p:txBody>
          <a:bodyPr wrap="none" rtlCol="0">
            <a:spAutoFit/>
          </a:bodyPr>
          <a:lstStyle/>
          <a:p>
            <a:r>
              <a:rPr lang="en-US" dirty="0" smtClean="0"/>
              <a:t>Virtual Server (s)</a:t>
            </a:r>
            <a:endParaRPr lang="en-US" dirty="0"/>
          </a:p>
        </p:txBody>
      </p:sp>
      <p:sp>
        <p:nvSpPr>
          <p:cNvPr id="34" name="TextBox 33"/>
          <p:cNvSpPr txBox="1"/>
          <p:nvPr/>
        </p:nvSpPr>
        <p:spPr>
          <a:xfrm>
            <a:off x="7856142" y="3365314"/>
            <a:ext cx="2710999" cy="369332"/>
          </a:xfrm>
          <a:prstGeom prst="rect">
            <a:avLst/>
          </a:prstGeom>
          <a:noFill/>
        </p:spPr>
        <p:txBody>
          <a:bodyPr wrap="none" rtlCol="0">
            <a:spAutoFit/>
          </a:bodyPr>
          <a:lstStyle/>
          <a:p>
            <a:r>
              <a:rPr lang="en-US" dirty="0" smtClean="0"/>
              <a:t>Application Container (s)</a:t>
            </a:r>
            <a:endParaRPr lang="en-US" dirty="0"/>
          </a:p>
        </p:txBody>
      </p:sp>
      <p:sp>
        <p:nvSpPr>
          <p:cNvPr id="35" name="TextBox 34"/>
          <p:cNvSpPr txBox="1"/>
          <p:nvPr/>
        </p:nvSpPr>
        <p:spPr>
          <a:xfrm>
            <a:off x="4170834" y="4645769"/>
            <a:ext cx="2601183" cy="1384995"/>
          </a:xfrm>
          <a:prstGeom prst="rect">
            <a:avLst/>
          </a:prstGeom>
          <a:noFill/>
        </p:spPr>
        <p:txBody>
          <a:bodyPr wrap="square" rtlCol="0">
            <a:spAutoFit/>
          </a:bodyPr>
          <a:lstStyle/>
          <a:p>
            <a:pPr marL="285750" indent="-285750">
              <a:buFont typeface="Wingdings" panose="05000000000000000000" pitchFamily="2" charset="2"/>
              <a:buChar char="§"/>
            </a:pPr>
            <a:r>
              <a:rPr lang="en-US" sz="1200" dirty="0" smtClean="0"/>
              <a:t>Reduction of x86 server hardware</a:t>
            </a:r>
          </a:p>
          <a:p>
            <a:pPr marL="285750" indent="-285750">
              <a:buFont typeface="Wingdings" panose="05000000000000000000" pitchFamily="2" charset="2"/>
              <a:buChar char="§"/>
            </a:pPr>
            <a:r>
              <a:rPr lang="en-US" sz="1200" dirty="0" smtClean="0"/>
              <a:t>Lower carbon footprint</a:t>
            </a:r>
          </a:p>
          <a:p>
            <a:pPr marL="285750" indent="-285750">
              <a:buFont typeface="Wingdings" panose="05000000000000000000" pitchFamily="2" charset="2"/>
              <a:buChar char="§"/>
            </a:pPr>
            <a:r>
              <a:rPr lang="en-US" sz="1200" dirty="0" smtClean="0"/>
              <a:t>Higher utilization rates</a:t>
            </a:r>
          </a:p>
          <a:p>
            <a:pPr marL="285750" indent="-285750">
              <a:buFont typeface="Wingdings" panose="05000000000000000000" pitchFamily="2" charset="2"/>
              <a:buChar char="§"/>
            </a:pPr>
            <a:r>
              <a:rPr lang="en-US" sz="1200" dirty="0" smtClean="0"/>
              <a:t>Higher efficiency, Admin ration</a:t>
            </a:r>
          </a:p>
          <a:p>
            <a:pPr marL="285750" indent="-285750">
              <a:buFont typeface="Wingdings" panose="05000000000000000000" pitchFamily="2" charset="2"/>
              <a:buChar char="§"/>
            </a:pPr>
            <a:r>
              <a:rPr lang="en-US" sz="1200" dirty="0" smtClean="0"/>
              <a:t>Deployed in minutes</a:t>
            </a:r>
          </a:p>
          <a:p>
            <a:pPr marL="285750" indent="-285750">
              <a:buFont typeface="Wingdings" panose="05000000000000000000" pitchFamily="2" charset="2"/>
              <a:buChar char="§"/>
            </a:pPr>
            <a:r>
              <a:rPr lang="en-US" sz="1200" dirty="0" smtClean="0"/>
              <a:t>Additional hypervisor cost</a:t>
            </a:r>
          </a:p>
        </p:txBody>
      </p:sp>
      <p:sp>
        <p:nvSpPr>
          <p:cNvPr id="36" name="TextBox 35"/>
          <p:cNvSpPr txBox="1"/>
          <p:nvPr/>
        </p:nvSpPr>
        <p:spPr>
          <a:xfrm>
            <a:off x="7745471" y="4178192"/>
            <a:ext cx="2952071" cy="1938992"/>
          </a:xfrm>
          <a:prstGeom prst="rect">
            <a:avLst/>
          </a:prstGeom>
          <a:noFill/>
        </p:spPr>
        <p:txBody>
          <a:bodyPr wrap="square" rtlCol="0">
            <a:spAutoFit/>
          </a:bodyPr>
          <a:lstStyle/>
          <a:p>
            <a:pPr marL="285750" indent="-285750">
              <a:buFont typeface="Wingdings" panose="05000000000000000000" pitchFamily="2" charset="2"/>
              <a:buChar char="§"/>
            </a:pPr>
            <a:r>
              <a:rPr lang="en-US" sz="1200" dirty="0" smtClean="0"/>
              <a:t>Reduction hypervisor overhead and license cost</a:t>
            </a:r>
          </a:p>
          <a:p>
            <a:pPr marL="285750" indent="-285750">
              <a:buFont typeface="Wingdings" panose="05000000000000000000" pitchFamily="2" charset="2"/>
              <a:buChar char="§"/>
            </a:pPr>
            <a:r>
              <a:rPr lang="en-US" sz="1200" dirty="0" smtClean="0"/>
              <a:t>Reduction of OS level license and maintenance </a:t>
            </a:r>
            <a:r>
              <a:rPr lang="en-US" sz="1200" dirty="0"/>
              <a:t>cost</a:t>
            </a:r>
            <a:r>
              <a:rPr lang="en-US" sz="1200" dirty="0" smtClean="0"/>
              <a:t> </a:t>
            </a:r>
          </a:p>
          <a:p>
            <a:pPr marL="285750" indent="-285750">
              <a:buFont typeface="Wingdings" panose="05000000000000000000" pitchFamily="2" charset="2"/>
              <a:buChar char="§"/>
            </a:pPr>
            <a:r>
              <a:rPr lang="en-US" sz="1200" dirty="0" smtClean="0"/>
              <a:t>Higher efficiencies in OS and middleware administration</a:t>
            </a:r>
          </a:p>
          <a:p>
            <a:pPr marL="285750" indent="-285750">
              <a:buFont typeface="Wingdings" panose="05000000000000000000" pitchFamily="2" charset="2"/>
              <a:buChar char="§"/>
            </a:pPr>
            <a:r>
              <a:rPr lang="en-US" sz="1200" dirty="0" smtClean="0"/>
              <a:t>Reduction of server sprawl</a:t>
            </a:r>
          </a:p>
          <a:p>
            <a:pPr marL="285750" indent="-285750">
              <a:buFont typeface="Wingdings" panose="05000000000000000000" pitchFamily="2" charset="2"/>
              <a:buChar char="§"/>
            </a:pPr>
            <a:r>
              <a:rPr lang="en-US" sz="1200" dirty="0" smtClean="0"/>
              <a:t>Deployed in Seconds</a:t>
            </a:r>
          </a:p>
          <a:p>
            <a:pPr marL="285750" indent="-285750">
              <a:buFont typeface="Wingdings" panose="05000000000000000000" pitchFamily="2" charset="2"/>
              <a:buChar char="§"/>
            </a:pPr>
            <a:r>
              <a:rPr lang="en-US" sz="1200" dirty="0" smtClean="0"/>
              <a:t>Additional orchestration necessary</a:t>
            </a:r>
          </a:p>
          <a:p>
            <a:pPr marL="285750" indent="-285750">
              <a:buFont typeface="Wingdings" panose="05000000000000000000" pitchFamily="2" charset="2"/>
              <a:buChar char="§"/>
            </a:pPr>
            <a:r>
              <a:rPr lang="en-US" sz="1200" dirty="0" smtClean="0"/>
              <a:t>Today only available for Linux</a:t>
            </a:r>
          </a:p>
        </p:txBody>
      </p:sp>
      <p:sp>
        <p:nvSpPr>
          <p:cNvPr id="41" name="TextBox 40"/>
          <p:cNvSpPr txBox="1"/>
          <p:nvPr/>
        </p:nvSpPr>
        <p:spPr>
          <a:xfrm>
            <a:off x="319961" y="3307536"/>
            <a:ext cx="678391" cy="230832"/>
          </a:xfrm>
          <a:prstGeom prst="rect">
            <a:avLst/>
          </a:prstGeom>
          <a:noFill/>
        </p:spPr>
        <p:txBody>
          <a:bodyPr wrap="none" rtlCol="0">
            <a:spAutoFit/>
          </a:bodyPr>
          <a:lstStyle/>
          <a:p>
            <a:r>
              <a:rPr lang="en-US" sz="900" dirty="0" smtClean="0"/>
              <a:t>Efficiency</a:t>
            </a:r>
            <a:endParaRPr lang="en-US" sz="900" dirty="0"/>
          </a:p>
        </p:txBody>
      </p:sp>
      <p:sp>
        <p:nvSpPr>
          <p:cNvPr id="42" name="TextBox 41"/>
          <p:cNvSpPr txBox="1"/>
          <p:nvPr/>
        </p:nvSpPr>
        <p:spPr>
          <a:xfrm>
            <a:off x="10866783" y="6326730"/>
            <a:ext cx="883575" cy="230832"/>
          </a:xfrm>
          <a:prstGeom prst="rect">
            <a:avLst/>
          </a:prstGeom>
          <a:noFill/>
        </p:spPr>
        <p:txBody>
          <a:bodyPr wrap="none" rtlCol="0">
            <a:spAutoFit/>
          </a:bodyPr>
          <a:lstStyle/>
          <a:p>
            <a:r>
              <a:rPr lang="en-US" sz="900" dirty="0" smtClean="0"/>
              <a:t>Time/Maturity</a:t>
            </a:r>
            <a:endParaRPr lang="en-US" sz="900" dirty="0"/>
          </a:p>
        </p:txBody>
      </p:sp>
    </p:spTree>
    <p:extLst>
      <p:ext uri="{BB962C8B-B14F-4D97-AF65-F5344CB8AC3E}">
        <p14:creationId xmlns:p14="http://schemas.microsoft.com/office/powerpoint/2010/main" val="20385149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1840786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Containers are Changing the way to plan the Data Center work from Today to Tomorrow </a:t>
            </a:r>
            <a:endParaRPr lang="en-US" dirty="0"/>
          </a:p>
        </p:txBody>
      </p:sp>
      <p:sp>
        <p:nvSpPr>
          <p:cNvPr id="4" name="Footer Placeholder 3"/>
          <p:cNvSpPr>
            <a:spLocks noGrp="1"/>
          </p:cNvSpPr>
          <p:nvPr>
            <p:ph type="ftr" sz="quarter" idx="12"/>
          </p:nvPr>
        </p:nvSpPr>
        <p:spPr/>
        <p:txBody>
          <a:bodyPr/>
          <a:lstStyle/>
          <a:p>
            <a:r>
              <a:rPr lang="en-US" dirty="0"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6</a:t>
            </a:fld>
            <a:endParaRPr lang="en-US" dirty="0"/>
          </a:p>
        </p:txBody>
      </p:sp>
      <p:sp>
        <p:nvSpPr>
          <p:cNvPr id="6" name="Rectangle 5"/>
          <p:cNvSpPr/>
          <p:nvPr/>
        </p:nvSpPr>
        <p:spPr>
          <a:xfrm>
            <a:off x="457200" y="1219200"/>
            <a:ext cx="8229600"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noProof="0" dirty="0" smtClean="0">
                <a:solidFill>
                  <a:srgbClr val="993399"/>
                </a:solidFill>
              </a:rPr>
              <a:t>Container Maturity is growing into Enterprise Eco Systems</a:t>
            </a:r>
            <a:endParaRPr kumimoji="0" lang="en-US" sz="2000" b="0" i="0" u="none" strike="noStrike" kern="0" cap="none" spc="0" normalizeH="0" baseline="0" noProof="0" dirty="0" smtClean="0">
              <a:ln>
                <a:noFill/>
              </a:ln>
              <a:solidFill>
                <a:srgbClr val="993399"/>
              </a:solidFill>
              <a:effectLst/>
              <a:uLnTx/>
              <a:uFillTx/>
            </a:endParaRPr>
          </a:p>
        </p:txBody>
      </p:sp>
      <p:sp>
        <p:nvSpPr>
          <p:cNvPr id="2" name="Rectangle 1"/>
          <p:cNvSpPr/>
          <p:nvPr/>
        </p:nvSpPr>
        <p:spPr>
          <a:xfrm>
            <a:off x="454184" y="4759275"/>
            <a:ext cx="2523024" cy="117944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DEV</a:t>
            </a:r>
            <a:endParaRPr lang="en-US" b="1" dirty="0"/>
          </a:p>
        </p:txBody>
      </p:sp>
      <p:sp>
        <p:nvSpPr>
          <p:cNvPr id="7" name="Rectangle 6"/>
          <p:cNvSpPr/>
          <p:nvPr/>
        </p:nvSpPr>
        <p:spPr>
          <a:xfrm>
            <a:off x="463709" y="3553327"/>
            <a:ext cx="2523024" cy="117944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TEST</a:t>
            </a:r>
            <a:endParaRPr lang="en-US" b="1" dirty="0"/>
          </a:p>
        </p:txBody>
      </p:sp>
      <p:sp>
        <p:nvSpPr>
          <p:cNvPr id="8" name="Rectangle 7"/>
          <p:cNvSpPr/>
          <p:nvPr/>
        </p:nvSpPr>
        <p:spPr>
          <a:xfrm>
            <a:off x="454184" y="2347379"/>
            <a:ext cx="2523024" cy="117944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Production</a:t>
            </a:r>
            <a:endParaRPr lang="en-US" b="1" dirty="0"/>
          </a:p>
        </p:txBody>
      </p:sp>
      <p:sp>
        <p:nvSpPr>
          <p:cNvPr id="9" name="TextBox 8"/>
          <p:cNvSpPr txBox="1"/>
          <p:nvPr/>
        </p:nvSpPr>
        <p:spPr>
          <a:xfrm>
            <a:off x="455613" y="1678908"/>
            <a:ext cx="2988319" cy="584775"/>
          </a:xfrm>
          <a:prstGeom prst="rect">
            <a:avLst/>
          </a:prstGeom>
          <a:noFill/>
        </p:spPr>
        <p:txBody>
          <a:bodyPr wrap="none" rtlCol="0">
            <a:spAutoFit/>
          </a:bodyPr>
          <a:lstStyle/>
          <a:p>
            <a:r>
              <a:rPr lang="en-US" sz="1600" b="1" dirty="0" smtClean="0"/>
              <a:t>Application Stages based on</a:t>
            </a:r>
          </a:p>
          <a:p>
            <a:r>
              <a:rPr lang="en-US" sz="1600" b="1" dirty="0" smtClean="0"/>
              <a:t>large Hardware volumes</a:t>
            </a:r>
            <a:endParaRPr lang="en-US" sz="1600" b="1" dirty="0"/>
          </a:p>
        </p:txBody>
      </p:sp>
      <p:grpSp>
        <p:nvGrpSpPr>
          <p:cNvPr id="54" name="Group 53"/>
          <p:cNvGrpSpPr/>
          <p:nvPr/>
        </p:nvGrpSpPr>
        <p:grpSpPr>
          <a:xfrm>
            <a:off x="4313316" y="2322894"/>
            <a:ext cx="3770510" cy="3591340"/>
            <a:chOff x="4310321" y="2322893"/>
            <a:chExt cx="4020600" cy="4203095"/>
          </a:xfrm>
        </p:grpSpPr>
        <p:grpSp>
          <p:nvGrpSpPr>
            <p:cNvPr id="20" name="Group 19"/>
            <p:cNvGrpSpPr/>
            <p:nvPr/>
          </p:nvGrpSpPr>
          <p:grpSpPr>
            <a:xfrm>
              <a:off x="4310321" y="2322893"/>
              <a:ext cx="1984462" cy="2076829"/>
              <a:chOff x="4005263" y="2370438"/>
              <a:chExt cx="2428184" cy="3453859"/>
            </a:xfrm>
          </p:grpSpPr>
          <p:sp>
            <p:nvSpPr>
              <p:cNvPr id="10" name="Rounded Rectangle 9"/>
              <p:cNvSpPr/>
              <p:nvPr/>
            </p:nvSpPr>
            <p:spPr>
              <a:xfrm>
                <a:off x="4005263"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11" name="Rounded Rectangle 10"/>
              <p:cNvSpPr/>
              <p:nvPr/>
            </p:nvSpPr>
            <p:spPr>
              <a:xfrm>
                <a:off x="4835042"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12" name="Rounded Rectangle 11"/>
              <p:cNvSpPr/>
              <p:nvPr/>
            </p:nvSpPr>
            <p:spPr>
              <a:xfrm>
                <a:off x="5664821"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14" name="Rounded Rectangle 13"/>
              <p:cNvSpPr/>
              <p:nvPr/>
            </p:nvSpPr>
            <p:spPr>
              <a:xfrm>
                <a:off x="4005263"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15" name="Rounded Rectangle 14"/>
              <p:cNvSpPr/>
              <p:nvPr/>
            </p:nvSpPr>
            <p:spPr>
              <a:xfrm>
                <a:off x="4835042"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16" name="Rounded Rectangle 15"/>
              <p:cNvSpPr/>
              <p:nvPr/>
            </p:nvSpPr>
            <p:spPr>
              <a:xfrm>
                <a:off x="5664821"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17" name="Rounded Rectangle 16"/>
              <p:cNvSpPr/>
              <p:nvPr/>
            </p:nvSpPr>
            <p:spPr>
              <a:xfrm>
                <a:off x="4005263"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18" name="Rounded Rectangle 17"/>
              <p:cNvSpPr/>
              <p:nvPr/>
            </p:nvSpPr>
            <p:spPr>
              <a:xfrm>
                <a:off x="4835042"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19" name="Rounded Rectangle 18"/>
              <p:cNvSpPr/>
              <p:nvPr/>
            </p:nvSpPr>
            <p:spPr>
              <a:xfrm>
                <a:off x="5664821"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grpSp>
        <p:grpSp>
          <p:nvGrpSpPr>
            <p:cNvPr id="24" name="Group 23"/>
            <p:cNvGrpSpPr/>
            <p:nvPr/>
          </p:nvGrpSpPr>
          <p:grpSpPr>
            <a:xfrm>
              <a:off x="4310321" y="4449159"/>
              <a:ext cx="1984462" cy="2076829"/>
              <a:chOff x="4005263" y="2370438"/>
              <a:chExt cx="2428184" cy="3453859"/>
            </a:xfrm>
          </p:grpSpPr>
          <p:sp>
            <p:nvSpPr>
              <p:cNvPr id="25" name="Rounded Rectangle 24"/>
              <p:cNvSpPr/>
              <p:nvPr/>
            </p:nvSpPr>
            <p:spPr>
              <a:xfrm>
                <a:off x="4005263"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26" name="Rounded Rectangle 25"/>
              <p:cNvSpPr/>
              <p:nvPr/>
            </p:nvSpPr>
            <p:spPr>
              <a:xfrm>
                <a:off x="4835042"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27" name="Rounded Rectangle 26"/>
              <p:cNvSpPr/>
              <p:nvPr/>
            </p:nvSpPr>
            <p:spPr>
              <a:xfrm>
                <a:off x="5664821"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28" name="Rounded Rectangle 27"/>
              <p:cNvSpPr/>
              <p:nvPr/>
            </p:nvSpPr>
            <p:spPr>
              <a:xfrm>
                <a:off x="4005263"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29" name="Rounded Rectangle 28"/>
              <p:cNvSpPr/>
              <p:nvPr/>
            </p:nvSpPr>
            <p:spPr>
              <a:xfrm>
                <a:off x="4835042"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30" name="Rounded Rectangle 29"/>
              <p:cNvSpPr/>
              <p:nvPr/>
            </p:nvSpPr>
            <p:spPr>
              <a:xfrm>
                <a:off x="5664821"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31" name="Rounded Rectangle 30"/>
              <p:cNvSpPr/>
              <p:nvPr/>
            </p:nvSpPr>
            <p:spPr>
              <a:xfrm>
                <a:off x="4005263"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32" name="Rounded Rectangle 31"/>
              <p:cNvSpPr/>
              <p:nvPr/>
            </p:nvSpPr>
            <p:spPr>
              <a:xfrm>
                <a:off x="4835042"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33" name="Rounded Rectangle 32"/>
              <p:cNvSpPr/>
              <p:nvPr/>
            </p:nvSpPr>
            <p:spPr>
              <a:xfrm>
                <a:off x="5664821"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grpSp>
        <p:grpSp>
          <p:nvGrpSpPr>
            <p:cNvPr id="34" name="Group 33"/>
            <p:cNvGrpSpPr/>
            <p:nvPr/>
          </p:nvGrpSpPr>
          <p:grpSpPr>
            <a:xfrm>
              <a:off x="6344760" y="2322893"/>
              <a:ext cx="1984462" cy="2076829"/>
              <a:chOff x="4005263" y="2370438"/>
              <a:chExt cx="2428184" cy="3453859"/>
            </a:xfrm>
          </p:grpSpPr>
          <p:sp>
            <p:nvSpPr>
              <p:cNvPr id="35" name="Rounded Rectangle 34"/>
              <p:cNvSpPr/>
              <p:nvPr/>
            </p:nvSpPr>
            <p:spPr>
              <a:xfrm>
                <a:off x="4005263"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36" name="Rounded Rectangle 35"/>
              <p:cNvSpPr/>
              <p:nvPr/>
            </p:nvSpPr>
            <p:spPr>
              <a:xfrm>
                <a:off x="4835042"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37" name="Rounded Rectangle 36"/>
              <p:cNvSpPr/>
              <p:nvPr/>
            </p:nvSpPr>
            <p:spPr>
              <a:xfrm>
                <a:off x="5664821"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38" name="Rounded Rectangle 37"/>
              <p:cNvSpPr/>
              <p:nvPr/>
            </p:nvSpPr>
            <p:spPr>
              <a:xfrm>
                <a:off x="4005263"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39" name="Rounded Rectangle 38"/>
              <p:cNvSpPr/>
              <p:nvPr/>
            </p:nvSpPr>
            <p:spPr>
              <a:xfrm>
                <a:off x="4835042"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40" name="Rounded Rectangle 39"/>
              <p:cNvSpPr/>
              <p:nvPr/>
            </p:nvSpPr>
            <p:spPr>
              <a:xfrm>
                <a:off x="5664821"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41" name="Rounded Rectangle 40"/>
              <p:cNvSpPr/>
              <p:nvPr/>
            </p:nvSpPr>
            <p:spPr>
              <a:xfrm>
                <a:off x="4005263"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42" name="Rounded Rectangle 41"/>
              <p:cNvSpPr/>
              <p:nvPr/>
            </p:nvSpPr>
            <p:spPr>
              <a:xfrm>
                <a:off x="4835042"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43" name="Rounded Rectangle 42"/>
              <p:cNvSpPr/>
              <p:nvPr/>
            </p:nvSpPr>
            <p:spPr>
              <a:xfrm>
                <a:off x="5664821"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grpSp>
        <p:grpSp>
          <p:nvGrpSpPr>
            <p:cNvPr id="44" name="Group 43"/>
            <p:cNvGrpSpPr/>
            <p:nvPr/>
          </p:nvGrpSpPr>
          <p:grpSpPr>
            <a:xfrm>
              <a:off x="6346459" y="4444634"/>
              <a:ext cx="1984462" cy="2076829"/>
              <a:chOff x="4005263" y="2370438"/>
              <a:chExt cx="2428184" cy="3453859"/>
            </a:xfrm>
          </p:grpSpPr>
          <p:sp>
            <p:nvSpPr>
              <p:cNvPr id="45" name="Rounded Rectangle 44"/>
              <p:cNvSpPr/>
              <p:nvPr/>
            </p:nvSpPr>
            <p:spPr>
              <a:xfrm>
                <a:off x="4005263"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46" name="Rounded Rectangle 45"/>
              <p:cNvSpPr/>
              <p:nvPr/>
            </p:nvSpPr>
            <p:spPr>
              <a:xfrm>
                <a:off x="4835042"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47" name="Rounded Rectangle 46"/>
              <p:cNvSpPr/>
              <p:nvPr/>
            </p:nvSpPr>
            <p:spPr>
              <a:xfrm>
                <a:off x="5664821" y="2370438"/>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48" name="Rounded Rectangle 47"/>
              <p:cNvSpPr/>
              <p:nvPr/>
            </p:nvSpPr>
            <p:spPr>
              <a:xfrm>
                <a:off x="4005263"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49" name="Rounded Rectangle 48"/>
              <p:cNvSpPr/>
              <p:nvPr/>
            </p:nvSpPr>
            <p:spPr>
              <a:xfrm>
                <a:off x="4835042"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50" name="Rounded Rectangle 49"/>
              <p:cNvSpPr/>
              <p:nvPr/>
            </p:nvSpPr>
            <p:spPr>
              <a:xfrm>
                <a:off x="5664821" y="3543124"/>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51" name="Rounded Rectangle 50"/>
              <p:cNvSpPr/>
              <p:nvPr/>
            </p:nvSpPr>
            <p:spPr>
              <a:xfrm>
                <a:off x="4005263"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52" name="Rounded Rectangle 51"/>
              <p:cNvSpPr/>
              <p:nvPr/>
            </p:nvSpPr>
            <p:spPr>
              <a:xfrm>
                <a:off x="4835042"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sp>
            <p:nvSpPr>
              <p:cNvPr id="53" name="Rounded Rectangle 52"/>
              <p:cNvSpPr/>
              <p:nvPr/>
            </p:nvSpPr>
            <p:spPr>
              <a:xfrm>
                <a:off x="5664821" y="4708285"/>
                <a:ext cx="768626" cy="1116012"/>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M</a:t>
                </a:r>
                <a:endParaRPr lang="en-US" b="1" dirty="0"/>
              </a:p>
            </p:txBody>
          </p:sp>
        </p:grpSp>
      </p:grpSp>
      <p:grpSp>
        <p:nvGrpSpPr>
          <p:cNvPr id="69" name="Group 68"/>
          <p:cNvGrpSpPr/>
          <p:nvPr/>
        </p:nvGrpSpPr>
        <p:grpSpPr>
          <a:xfrm>
            <a:off x="9488107" y="2316028"/>
            <a:ext cx="1152947" cy="1160517"/>
            <a:chOff x="9050233" y="2338280"/>
            <a:chExt cx="1153941" cy="1160517"/>
          </a:xfrm>
        </p:grpSpPr>
        <p:sp>
          <p:nvSpPr>
            <p:cNvPr id="21" name="Rounded Rectangle 20"/>
            <p:cNvSpPr/>
            <p:nvPr/>
          </p:nvSpPr>
          <p:spPr>
            <a:xfrm>
              <a:off x="9050233" y="2338280"/>
              <a:ext cx="1153941" cy="1160517"/>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r>
                <a:rPr lang="en-US" b="1" dirty="0" smtClean="0"/>
                <a:t>VM/HW</a:t>
              </a:r>
              <a:endParaRPr lang="en-US" b="1" dirty="0"/>
            </a:p>
          </p:txBody>
        </p:sp>
        <p:sp>
          <p:nvSpPr>
            <p:cNvPr id="56" name="Rounded Rectangle 55"/>
            <p:cNvSpPr/>
            <p:nvPr/>
          </p:nvSpPr>
          <p:spPr>
            <a:xfrm>
              <a:off x="9184750"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ounded Rectangle 56"/>
            <p:cNvSpPr/>
            <p:nvPr/>
          </p:nvSpPr>
          <p:spPr>
            <a:xfrm>
              <a:off x="9417002"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ounded Rectangle 57"/>
            <p:cNvSpPr/>
            <p:nvPr/>
          </p:nvSpPr>
          <p:spPr>
            <a:xfrm>
              <a:off x="9649254"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ounded Rectangle 58"/>
            <p:cNvSpPr/>
            <p:nvPr/>
          </p:nvSpPr>
          <p:spPr>
            <a:xfrm>
              <a:off x="9881506"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ounded Rectangle 60"/>
            <p:cNvSpPr/>
            <p:nvPr/>
          </p:nvSpPr>
          <p:spPr>
            <a:xfrm>
              <a:off x="9184750"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ounded Rectangle 61"/>
            <p:cNvSpPr/>
            <p:nvPr/>
          </p:nvSpPr>
          <p:spPr>
            <a:xfrm>
              <a:off x="9417002"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ounded Rectangle 62"/>
            <p:cNvSpPr/>
            <p:nvPr/>
          </p:nvSpPr>
          <p:spPr>
            <a:xfrm>
              <a:off x="9649254"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ounded Rectangle 63"/>
            <p:cNvSpPr/>
            <p:nvPr/>
          </p:nvSpPr>
          <p:spPr>
            <a:xfrm>
              <a:off x="9881506"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ounded Rectangle 64"/>
            <p:cNvSpPr/>
            <p:nvPr/>
          </p:nvSpPr>
          <p:spPr>
            <a:xfrm>
              <a:off x="9184750"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ounded Rectangle 65"/>
            <p:cNvSpPr/>
            <p:nvPr/>
          </p:nvSpPr>
          <p:spPr>
            <a:xfrm>
              <a:off x="9417002"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ounded Rectangle 66"/>
            <p:cNvSpPr/>
            <p:nvPr/>
          </p:nvSpPr>
          <p:spPr>
            <a:xfrm>
              <a:off x="9649254"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ounded Rectangle 67"/>
            <p:cNvSpPr/>
            <p:nvPr/>
          </p:nvSpPr>
          <p:spPr>
            <a:xfrm>
              <a:off x="9881506"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0" name="Group 69"/>
          <p:cNvGrpSpPr/>
          <p:nvPr/>
        </p:nvGrpSpPr>
        <p:grpSpPr>
          <a:xfrm>
            <a:off x="9486088" y="3559427"/>
            <a:ext cx="1152947" cy="1160517"/>
            <a:chOff x="9050233" y="2338280"/>
            <a:chExt cx="1153941" cy="1160517"/>
          </a:xfrm>
        </p:grpSpPr>
        <p:sp>
          <p:nvSpPr>
            <p:cNvPr id="71" name="Rounded Rectangle 70"/>
            <p:cNvSpPr/>
            <p:nvPr/>
          </p:nvSpPr>
          <p:spPr>
            <a:xfrm>
              <a:off x="9050233" y="2338280"/>
              <a:ext cx="1153941" cy="1160517"/>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r>
                <a:rPr lang="en-US" b="1" dirty="0" smtClean="0"/>
                <a:t>VM/HW</a:t>
              </a:r>
              <a:endParaRPr lang="en-US" b="1" dirty="0"/>
            </a:p>
          </p:txBody>
        </p:sp>
        <p:sp>
          <p:nvSpPr>
            <p:cNvPr id="72" name="Rounded Rectangle 71"/>
            <p:cNvSpPr/>
            <p:nvPr/>
          </p:nvSpPr>
          <p:spPr>
            <a:xfrm>
              <a:off x="9184750"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ounded Rectangle 72"/>
            <p:cNvSpPr/>
            <p:nvPr/>
          </p:nvSpPr>
          <p:spPr>
            <a:xfrm>
              <a:off x="9417002"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ounded Rectangle 73"/>
            <p:cNvSpPr/>
            <p:nvPr/>
          </p:nvSpPr>
          <p:spPr>
            <a:xfrm>
              <a:off x="9649254"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ounded Rectangle 74"/>
            <p:cNvSpPr/>
            <p:nvPr/>
          </p:nvSpPr>
          <p:spPr>
            <a:xfrm>
              <a:off x="9881506"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ounded Rectangle 75"/>
            <p:cNvSpPr/>
            <p:nvPr/>
          </p:nvSpPr>
          <p:spPr>
            <a:xfrm>
              <a:off x="9184750"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ounded Rectangle 76"/>
            <p:cNvSpPr/>
            <p:nvPr/>
          </p:nvSpPr>
          <p:spPr>
            <a:xfrm>
              <a:off x="9417002"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ounded Rectangle 77"/>
            <p:cNvSpPr/>
            <p:nvPr/>
          </p:nvSpPr>
          <p:spPr>
            <a:xfrm>
              <a:off x="9649254"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ounded Rectangle 78"/>
            <p:cNvSpPr/>
            <p:nvPr/>
          </p:nvSpPr>
          <p:spPr>
            <a:xfrm>
              <a:off x="9881506"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ounded Rectangle 79"/>
            <p:cNvSpPr/>
            <p:nvPr/>
          </p:nvSpPr>
          <p:spPr>
            <a:xfrm>
              <a:off x="9184750"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ounded Rectangle 80"/>
            <p:cNvSpPr/>
            <p:nvPr/>
          </p:nvSpPr>
          <p:spPr>
            <a:xfrm>
              <a:off x="9417002"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ounded Rectangle 81"/>
            <p:cNvSpPr/>
            <p:nvPr/>
          </p:nvSpPr>
          <p:spPr>
            <a:xfrm>
              <a:off x="9649254"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ounded Rectangle 82"/>
            <p:cNvSpPr/>
            <p:nvPr/>
          </p:nvSpPr>
          <p:spPr>
            <a:xfrm>
              <a:off x="9881506"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4" name="Group 83"/>
          <p:cNvGrpSpPr/>
          <p:nvPr/>
        </p:nvGrpSpPr>
        <p:grpSpPr>
          <a:xfrm>
            <a:off x="9486087" y="4802826"/>
            <a:ext cx="1152947" cy="1160517"/>
            <a:chOff x="9050233" y="2338280"/>
            <a:chExt cx="1153941" cy="1160517"/>
          </a:xfrm>
        </p:grpSpPr>
        <p:sp>
          <p:nvSpPr>
            <p:cNvPr id="85" name="Rounded Rectangle 84"/>
            <p:cNvSpPr/>
            <p:nvPr/>
          </p:nvSpPr>
          <p:spPr>
            <a:xfrm>
              <a:off x="9050233" y="2338280"/>
              <a:ext cx="1153941" cy="1160517"/>
            </a:xfrm>
            <a:prstGeom prst="roundRect">
              <a:avLst/>
            </a:prstGeom>
            <a:ln/>
          </p:spPr>
          <p:style>
            <a:lnRef idx="2">
              <a:schemeClr val="accent1"/>
            </a:lnRef>
            <a:fillRef idx="1">
              <a:schemeClr val="lt1"/>
            </a:fillRef>
            <a:effectRef idx="0">
              <a:schemeClr val="accent1"/>
            </a:effectRef>
            <a:fontRef idx="minor">
              <a:schemeClr val="dk1"/>
            </a:fontRef>
          </p:style>
          <p:txBody>
            <a:bodyPr rtlCol="0" anchor="t"/>
            <a:lstStyle/>
            <a:p>
              <a:r>
                <a:rPr lang="en-US" b="1" dirty="0" smtClean="0"/>
                <a:t>VM/HW</a:t>
              </a:r>
              <a:endParaRPr lang="en-US" b="1" dirty="0"/>
            </a:p>
          </p:txBody>
        </p:sp>
        <p:sp>
          <p:nvSpPr>
            <p:cNvPr id="86" name="Rounded Rectangle 85"/>
            <p:cNvSpPr/>
            <p:nvPr/>
          </p:nvSpPr>
          <p:spPr>
            <a:xfrm>
              <a:off x="9184750"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ounded Rectangle 86"/>
            <p:cNvSpPr/>
            <p:nvPr/>
          </p:nvSpPr>
          <p:spPr>
            <a:xfrm>
              <a:off x="9417002"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ounded Rectangle 87"/>
            <p:cNvSpPr/>
            <p:nvPr/>
          </p:nvSpPr>
          <p:spPr>
            <a:xfrm>
              <a:off x="9649254"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ounded Rectangle 88"/>
            <p:cNvSpPr/>
            <p:nvPr/>
          </p:nvSpPr>
          <p:spPr>
            <a:xfrm>
              <a:off x="9881506" y="274478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ounded Rectangle 89"/>
            <p:cNvSpPr/>
            <p:nvPr/>
          </p:nvSpPr>
          <p:spPr>
            <a:xfrm>
              <a:off x="9184750"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ounded Rectangle 90"/>
            <p:cNvSpPr/>
            <p:nvPr/>
          </p:nvSpPr>
          <p:spPr>
            <a:xfrm>
              <a:off x="9417002"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ounded Rectangle 91"/>
            <p:cNvSpPr/>
            <p:nvPr/>
          </p:nvSpPr>
          <p:spPr>
            <a:xfrm>
              <a:off x="9649254"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ounded Rectangle 92"/>
            <p:cNvSpPr/>
            <p:nvPr/>
          </p:nvSpPr>
          <p:spPr>
            <a:xfrm>
              <a:off x="9881506" y="2988016"/>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ounded Rectangle 93"/>
            <p:cNvSpPr/>
            <p:nvPr/>
          </p:nvSpPr>
          <p:spPr>
            <a:xfrm>
              <a:off x="9184750"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ounded Rectangle 94"/>
            <p:cNvSpPr/>
            <p:nvPr/>
          </p:nvSpPr>
          <p:spPr>
            <a:xfrm>
              <a:off x="9417002"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ounded Rectangle 95"/>
            <p:cNvSpPr/>
            <p:nvPr/>
          </p:nvSpPr>
          <p:spPr>
            <a:xfrm>
              <a:off x="9649254"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ounded Rectangle 96"/>
            <p:cNvSpPr/>
            <p:nvPr/>
          </p:nvSpPr>
          <p:spPr>
            <a:xfrm>
              <a:off x="9881506" y="3221038"/>
              <a:ext cx="195470" cy="206375"/>
            </a:xfrm>
            <a:prstGeom prst="round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8" name="TextBox 97"/>
          <p:cNvSpPr txBox="1"/>
          <p:nvPr/>
        </p:nvSpPr>
        <p:spPr>
          <a:xfrm>
            <a:off x="4214192" y="1678908"/>
            <a:ext cx="3868042" cy="584775"/>
          </a:xfrm>
          <a:prstGeom prst="rect">
            <a:avLst/>
          </a:prstGeom>
          <a:noFill/>
        </p:spPr>
        <p:txBody>
          <a:bodyPr wrap="square" rtlCol="0">
            <a:spAutoFit/>
          </a:bodyPr>
          <a:lstStyle/>
          <a:p>
            <a:r>
              <a:rPr lang="en-US" sz="1600" b="1" dirty="0" smtClean="0"/>
              <a:t>Todays optimized OS Level Structure</a:t>
            </a:r>
            <a:br>
              <a:rPr lang="en-US" sz="1600" b="1" dirty="0" smtClean="0"/>
            </a:br>
            <a:r>
              <a:rPr lang="en-US" sz="1600" b="1" dirty="0" smtClean="0"/>
              <a:t>in use of Hypervisor and reduced HW</a:t>
            </a:r>
            <a:endParaRPr lang="en-US" sz="1600" b="1" dirty="0"/>
          </a:p>
        </p:txBody>
      </p:sp>
      <p:sp>
        <p:nvSpPr>
          <p:cNvPr id="101" name="Rectangle 100"/>
          <p:cNvSpPr/>
          <p:nvPr/>
        </p:nvSpPr>
        <p:spPr>
          <a:xfrm>
            <a:off x="606584" y="4911675"/>
            <a:ext cx="2523024" cy="117944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DEV</a:t>
            </a:r>
            <a:endParaRPr lang="en-US" b="1" dirty="0"/>
          </a:p>
        </p:txBody>
      </p:sp>
      <p:sp>
        <p:nvSpPr>
          <p:cNvPr id="102" name="Rectangle 101"/>
          <p:cNvSpPr/>
          <p:nvPr/>
        </p:nvSpPr>
        <p:spPr>
          <a:xfrm>
            <a:off x="616109" y="3705727"/>
            <a:ext cx="2523024" cy="117944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TEST</a:t>
            </a:r>
            <a:endParaRPr lang="en-US" b="1" dirty="0"/>
          </a:p>
        </p:txBody>
      </p:sp>
      <p:sp>
        <p:nvSpPr>
          <p:cNvPr id="103" name="Rectangle 102"/>
          <p:cNvSpPr/>
          <p:nvPr/>
        </p:nvSpPr>
        <p:spPr>
          <a:xfrm>
            <a:off x="606584" y="2499779"/>
            <a:ext cx="2523024" cy="117944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Production</a:t>
            </a:r>
            <a:endParaRPr lang="en-US" b="1" dirty="0"/>
          </a:p>
        </p:txBody>
      </p:sp>
      <p:sp>
        <p:nvSpPr>
          <p:cNvPr id="104" name="Rectangle 103"/>
          <p:cNvSpPr/>
          <p:nvPr/>
        </p:nvSpPr>
        <p:spPr>
          <a:xfrm>
            <a:off x="758984" y="5064075"/>
            <a:ext cx="2523024" cy="117944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DEV</a:t>
            </a:r>
            <a:endParaRPr lang="en-US" b="1" dirty="0"/>
          </a:p>
        </p:txBody>
      </p:sp>
      <p:sp>
        <p:nvSpPr>
          <p:cNvPr id="105" name="Rectangle 104"/>
          <p:cNvSpPr/>
          <p:nvPr/>
        </p:nvSpPr>
        <p:spPr>
          <a:xfrm>
            <a:off x="768509" y="3858127"/>
            <a:ext cx="2523024" cy="117944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TEST</a:t>
            </a:r>
            <a:endParaRPr lang="en-US" b="1" dirty="0"/>
          </a:p>
        </p:txBody>
      </p:sp>
      <p:sp>
        <p:nvSpPr>
          <p:cNvPr id="106" name="Rectangle 105"/>
          <p:cNvSpPr/>
          <p:nvPr/>
        </p:nvSpPr>
        <p:spPr>
          <a:xfrm>
            <a:off x="758984" y="2652179"/>
            <a:ext cx="2523024" cy="1179444"/>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Production</a:t>
            </a:r>
            <a:endParaRPr lang="en-US" b="1" dirty="0"/>
          </a:p>
        </p:txBody>
      </p:sp>
      <p:sp>
        <p:nvSpPr>
          <p:cNvPr id="107" name="Rectangle 106"/>
          <p:cNvSpPr/>
          <p:nvPr/>
        </p:nvSpPr>
        <p:spPr>
          <a:xfrm>
            <a:off x="911384" y="5216475"/>
            <a:ext cx="2523024" cy="1179444"/>
          </a:xfrm>
          <a:prstGeom prst="rect">
            <a:avLst/>
          </a:prstGeom>
          <a:solidFill>
            <a:schemeClr val="accent1"/>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DEV</a:t>
            </a:r>
            <a:endParaRPr lang="en-US" b="1" dirty="0"/>
          </a:p>
        </p:txBody>
      </p:sp>
      <p:sp>
        <p:nvSpPr>
          <p:cNvPr id="108" name="Rectangle 107"/>
          <p:cNvSpPr/>
          <p:nvPr/>
        </p:nvSpPr>
        <p:spPr>
          <a:xfrm>
            <a:off x="920909" y="4010527"/>
            <a:ext cx="2523024" cy="1179444"/>
          </a:xfrm>
          <a:prstGeom prst="rect">
            <a:avLst/>
          </a:prstGeom>
          <a:solidFill>
            <a:schemeClr val="accent1"/>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TEST</a:t>
            </a:r>
            <a:endParaRPr lang="en-US" b="1" dirty="0"/>
          </a:p>
        </p:txBody>
      </p:sp>
      <p:sp>
        <p:nvSpPr>
          <p:cNvPr id="109" name="Rectangle 108"/>
          <p:cNvSpPr/>
          <p:nvPr/>
        </p:nvSpPr>
        <p:spPr>
          <a:xfrm>
            <a:off x="911384" y="2804579"/>
            <a:ext cx="2523024" cy="1179444"/>
          </a:xfrm>
          <a:prstGeom prst="rect">
            <a:avLst/>
          </a:prstGeom>
          <a:solidFill>
            <a:schemeClr val="accent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Production</a:t>
            </a:r>
            <a:endParaRPr lang="en-US" b="1" dirty="0"/>
          </a:p>
        </p:txBody>
      </p:sp>
      <p:sp>
        <p:nvSpPr>
          <p:cNvPr id="110" name="TextBox 109"/>
          <p:cNvSpPr txBox="1"/>
          <p:nvPr/>
        </p:nvSpPr>
        <p:spPr>
          <a:xfrm>
            <a:off x="8461514" y="1678908"/>
            <a:ext cx="3284399" cy="584775"/>
          </a:xfrm>
          <a:prstGeom prst="rect">
            <a:avLst/>
          </a:prstGeom>
          <a:noFill/>
        </p:spPr>
        <p:txBody>
          <a:bodyPr wrap="square" rtlCol="0">
            <a:spAutoFit/>
          </a:bodyPr>
          <a:lstStyle/>
          <a:p>
            <a:r>
              <a:rPr lang="en-US" sz="1600" b="1" dirty="0" smtClean="0"/>
              <a:t>Optimized on HW, Hypervisor and OS level</a:t>
            </a:r>
            <a:endParaRPr lang="en-US" sz="1600" b="1" dirty="0"/>
          </a:p>
        </p:txBody>
      </p:sp>
      <p:sp>
        <p:nvSpPr>
          <p:cNvPr id="111" name="TextBox 110"/>
          <p:cNvSpPr txBox="1"/>
          <p:nvPr/>
        </p:nvSpPr>
        <p:spPr>
          <a:xfrm>
            <a:off x="4232774" y="6009823"/>
            <a:ext cx="3849459" cy="523220"/>
          </a:xfrm>
          <a:prstGeom prst="rect">
            <a:avLst/>
          </a:prstGeom>
          <a:noFill/>
        </p:spPr>
        <p:txBody>
          <a:bodyPr wrap="square" rtlCol="0">
            <a:spAutoFit/>
          </a:bodyPr>
          <a:lstStyle/>
          <a:p>
            <a:r>
              <a:rPr lang="en-US" sz="1400" dirty="0" smtClean="0"/>
              <a:t>Reduced Hardware footprint optimized in utilization, power consumption, climate</a:t>
            </a:r>
            <a:endParaRPr lang="en-US" sz="1400" dirty="0"/>
          </a:p>
        </p:txBody>
      </p:sp>
      <p:sp>
        <p:nvSpPr>
          <p:cNvPr id="112" name="TextBox 111"/>
          <p:cNvSpPr txBox="1"/>
          <p:nvPr/>
        </p:nvSpPr>
        <p:spPr>
          <a:xfrm>
            <a:off x="8391914" y="6009823"/>
            <a:ext cx="3849459" cy="738664"/>
          </a:xfrm>
          <a:prstGeom prst="rect">
            <a:avLst/>
          </a:prstGeom>
          <a:noFill/>
        </p:spPr>
        <p:txBody>
          <a:bodyPr wrap="square" rtlCol="0">
            <a:spAutoFit/>
          </a:bodyPr>
          <a:lstStyle/>
          <a:p>
            <a:r>
              <a:rPr lang="en-US" sz="1400" dirty="0" smtClean="0"/>
              <a:t>Additional optimization on HW hosts, hypervisor and OS licenses as well as maintenance</a:t>
            </a:r>
            <a:endParaRPr lang="en-US" sz="1400" dirty="0"/>
          </a:p>
        </p:txBody>
      </p:sp>
      <p:sp>
        <p:nvSpPr>
          <p:cNvPr id="113" name="Rounded Rectangle 112"/>
          <p:cNvSpPr/>
          <p:nvPr/>
        </p:nvSpPr>
        <p:spPr>
          <a:xfrm>
            <a:off x="4232774" y="2288935"/>
            <a:ext cx="2598999" cy="1834183"/>
          </a:xfrm>
          <a:prstGeom prst="roundRect">
            <a:avLst>
              <a:gd name="adj" fmla="val 0"/>
            </a:avLst>
          </a:prstGeom>
          <a:noFill/>
          <a:ln w="9525">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4" name="Rounded Rectangle 113"/>
          <p:cNvSpPr/>
          <p:nvPr/>
        </p:nvSpPr>
        <p:spPr>
          <a:xfrm>
            <a:off x="4232774" y="4116922"/>
            <a:ext cx="2598999" cy="1834183"/>
          </a:xfrm>
          <a:prstGeom prst="roundRect">
            <a:avLst>
              <a:gd name="adj" fmla="val 0"/>
            </a:avLst>
          </a:prstGeom>
          <a:noFill/>
          <a:ln w="9525">
            <a:solidFill>
              <a:srgbClr val="92D05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5" name="Rounded Rectangle 114"/>
          <p:cNvSpPr/>
          <p:nvPr/>
        </p:nvSpPr>
        <p:spPr>
          <a:xfrm>
            <a:off x="6831773" y="2288936"/>
            <a:ext cx="1298922" cy="3662170"/>
          </a:xfrm>
          <a:prstGeom prst="roundRect">
            <a:avLst>
              <a:gd name="adj" fmla="val 0"/>
            </a:avLst>
          </a:prstGeom>
          <a:noFill/>
          <a:ln w="9525">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6" name="Rounded Rectangle 115"/>
          <p:cNvSpPr/>
          <p:nvPr/>
        </p:nvSpPr>
        <p:spPr>
          <a:xfrm>
            <a:off x="9598025" y="2690279"/>
            <a:ext cx="232486" cy="3220088"/>
          </a:xfrm>
          <a:prstGeom prst="roundRect">
            <a:avLst>
              <a:gd name="adj" fmla="val 0"/>
            </a:avLst>
          </a:prstGeom>
          <a:noFill/>
          <a:ln w="9525">
            <a:solidFill>
              <a:srgbClr val="92D05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7" name="Rounded Rectangle 116"/>
          <p:cNvSpPr/>
          <p:nvPr/>
        </p:nvSpPr>
        <p:spPr>
          <a:xfrm>
            <a:off x="9830746" y="2690279"/>
            <a:ext cx="232486" cy="3220088"/>
          </a:xfrm>
          <a:prstGeom prst="roundRect">
            <a:avLst>
              <a:gd name="adj" fmla="val 0"/>
            </a:avLst>
          </a:prstGeom>
          <a:noFill/>
          <a:ln w="9525">
            <a:solidFill>
              <a:srgbClr val="FFC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8" name="Rounded Rectangle 117"/>
          <p:cNvSpPr/>
          <p:nvPr/>
        </p:nvSpPr>
        <p:spPr>
          <a:xfrm>
            <a:off x="10060056" y="2690279"/>
            <a:ext cx="474593" cy="3220088"/>
          </a:xfrm>
          <a:prstGeom prst="roundRect">
            <a:avLst>
              <a:gd name="adj" fmla="val 0"/>
            </a:avLst>
          </a:prstGeom>
          <a:noFill/>
          <a:ln w="9525">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9" name="TextBox 118"/>
          <p:cNvSpPr txBox="1"/>
          <p:nvPr/>
        </p:nvSpPr>
        <p:spPr>
          <a:xfrm rot="16200000">
            <a:off x="7321483" y="3989160"/>
            <a:ext cx="3783408" cy="307777"/>
          </a:xfrm>
          <a:prstGeom prst="rect">
            <a:avLst/>
          </a:prstGeom>
          <a:solidFill>
            <a:schemeClr val="accent1"/>
          </a:solidFill>
        </p:spPr>
        <p:txBody>
          <a:bodyPr wrap="none" rtlCol="0">
            <a:spAutoFit/>
          </a:bodyPr>
          <a:lstStyle/>
          <a:p>
            <a:r>
              <a:rPr lang="en-US" sz="1400" b="1" dirty="0" smtClean="0">
                <a:solidFill>
                  <a:schemeClr val="bg1"/>
                </a:solidFill>
              </a:rPr>
              <a:t>Container Orchestration – e.g. Kubernetes</a:t>
            </a:r>
            <a:endParaRPr lang="en-US" sz="1400" b="1" dirty="0">
              <a:solidFill>
                <a:schemeClr val="bg1"/>
              </a:solidFill>
            </a:endParaRPr>
          </a:p>
        </p:txBody>
      </p:sp>
      <p:sp>
        <p:nvSpPr>
          <p:cNvPr id="120" name="TextBox 119"/>
          <p:cNvSpPr txBox="1"/>
          <p:nvPr/>
        </p:nvSpPr>
        <p:spPr>
          <a:xfrm rot="16200000">
            <a:off x="2118504" y="3989158"/>
            <a:ext cx="3783410" cy="307777"/>
          </a:xfrm>
          <a:prstGeom prst="rect">
            <a:avLst/>
          </a:prstGeom>
          <a:solidFill>
            <a:schemeClr val="accent1"/>
          </a:solidFill>
        </p:spPr>
        <p:txBody>
          <a:bodyPr wrap="square" rtlCol="0">
            <a:spAutoFit/>
          </a:bodyPr>
          <a:lstStyle/>
          <a:p>
            <a:r>
              <a:rPr lang="en-US" sz="1400" b="1" dirty="0" smtClean="0">
                <a:solidFill>
                  <a:schemeClr val="bg1"/>
                </a:solidFill>
              </a:rPr>
              <a:t>Hypervisor Orchestrator </a:t>
            </a:r>
            <a:endParaRPr lang="en-US" sz="1400" b="1" dirty="0">
              <a:solidFill>
                <a:schemeClr val="bg1"/>
              </a:solidFill>
            </a:endParaRPr>
          </a:p>
        </p:txBody>
      </p:sp>
    </p:spTree>
    <p:extLst>
      <p:ext uri="{BB962C8B-B14F-4D97-AF65-F5344CB8AC3E}">
        <p14:creationId xmlns:p14="http://schemas.microsoft.com/office/powerpoint/2010/main" val="4740297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e Data Center optimization through container can be challenged especially for HTTP and Lightweight workloads</a:t>
            </a:r>
            <a:endParaRPr lang="en-US" dirty="0"/>
          </a:p>
        </p:txBody>
      </p:sp>
      <p:sp>
        <p:nvSpPr>
          <p:cNvPr id="4" name="Footer Placeholder 3"/>
          <p:cNvSpPr>
            <a:spLocks noGrp="1"/>
          </p:cNvSpPr>
          <p:nvPr>
            <p:ph type="ftr" sz="quarter" idx="12"/>
          </p:nvPr>
        </p:nvSpPr>
        <p:spPr/>
        <p:txBody>
          <a:bodyPr/>
          <a:lstStyle/>
          <a:p>
            <a:r>
              <a:rPr lang="en-US"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7</a:t>
            </a:fld>
            <a:endParaRPr lang="en-US" dirty="0"/>
          </a:p>
        </p:txBody>
      </p:sp>
      <p:sp>
        <p:nvSpPr>
          <p:cNvPr id="6" name="Rectangle 5"/>
          <p:cNvSpPr/>
          <p:nvPr/>
        </p:nvSpPr>
        <p:spPr>
          <a:xfrm>
            <a:off x="5295900" y="1459083"/>
            <a:ext cx="6426200" cy="5170646"/>
          </a:xfrm>
          <a:prstGeom prst="rect">
            <a:avLst/>
          </a:prstGeom>
        </p:spPr>
        <p:txBody>
          <a:bodyPr wrap="square">
            <a:spAutoFit/>
          </a:bodyPr>
          <a:lstStyle/>
          <a:p>
            <a:pPr marL="0" lvl="1"/>
            <a:r>
              <a:rPr lang="en-US" b="1" dirty="0" smtClean="0"/>
              <a:t>Optimization of the Web farm or of the DMZ infrastructure based on Containers</a:t>
            </a:r>
          </a:p>
          <a:p>
            <a:pPr marL="0" lvl="1"/>
            <a:endParaRPr lang="en-US" dirty="0" smtClean="0"/>
          </a:p>
          <a:p>
            <a:pPr marL="0" lvl="1"/>
            <a:r>
              <a:rPr lang="en-US" sz="1600" dirty="0" smtClean="0"/>
              <a:t>100 physical DMZ Server and 200 HTTP Server based on Apache/Linux are planned to be optimized</a:t>
            </a:r>
          </a:p>
          <a:p>
            <a:pPr marL="0" lvl="1"/>
            <a:endParaRPr lang="en-US" sz="1600" dirty="0"/>
          </a:p>
          <a:p>
            <a:pPr marL="0" lvl="1"/>
            <a:r>
              <a:rPr lang="en-US" sz="1600" dirty="0" smtClean="0"/>
              <a:t>The HTTP/HTTPS, Load balancing and Lightweight Apache Tomcat Java environments are moved to containers by Hardware only. But can also be done on virtual machines.</a:t>
            </a:r>
          </a:p>
          <a:p>
            <a:pPr marL="0" lvl="1"/>
            <a:endParaRPr lang="en-US" dirty="0"/>
          </a:p>
          <a:p>
            <a:pPr marL="0" lvl="1"/>
            <a:r>
              <a:rPr lang="en-US" dirty="0" smtClean="0"/>
              <a:t>Optimization criteria,</a:t>
            </a:r>
          </a:p>
          <a:p>
            <a:pPr marL="177800" lvl="1" indent="-177800">
              <a:buFont typeface="Wingdings" panose="05000000000000000000" pitchFamily="2" charset="2"/>
              <a:buChar char="§"/>
            </a:pPr>
            <a:r>
              <a:rPr lang="en-US" sz="1600" dirty="0" smtClean="0"/>
              <a:t>Reduced hardware invest</a:t>
            </a:r>
          </a:p>
          <a:p>
            <a:pPr marL="177800" lvl="1" indent="-177800">
              <a:buFont typeface="Wingdings" panose="05000000000000000000" pitchFamily="2" charset="2"/>
              <a:buChar char="§"/>
            </a:pPr>
            <a:r>
              <a:rPr lang="en-US" sz="1600" dirty="0" smtClean="0"/>
              <a:t>Reduced power/climate footprint</a:t>
            </a:r>
          </a:p>
          <a:p>
            <a:pPr marL="177800" lvl="1" indent="-177800">
              <a:buFont typeface="Wingdings" panose="05000000000000000000" pitchFamily="2" charset="2"/>
              <a:buChar char="§"/>
            </a:pPr>
            <a:r>
              <a:rPr lang="en-US" sz="1600" dirty="0" smtClean="0"/>
              <a:t>Reduced Rack Unit needs</a:t>
            </a:r>
          </a:p>
          <a:p>
            <a:pPr marL="177800" lvl="1" indent="-177800">
              <a:buFont typeface="Wingdings" panose="05000000000000000000" pitchFamily="2" charset="2"/>
              <a:buChar char="§"/>
            </a:pPr>
            <a:r>
              <a:rPr lang="en-US" sz="1600" dirty="0" smtClean="0"/>
              <a:t>Optimized DMZ structure</a:t>
            </a:r>
          </a:p>
          <a:p>
            <a:pPr marL="177800" lvl="1" indent="-177800">
              <a:buFont typeface="Wingdings" panose="05000000000000000000" pitchFamily="2" charset="2"/>
              <a:buChar char="§"/>
            </a:pPr>
            <a:r>
              <a:rPr lang="en-US" sz="1600" dirty="0" smtClean="0"/>
              <a:t>Network Port Reduction</a:t>
            </a:r>
          </a:p>
          <a:p>
            <a:pPr marL="177800" lvl="1" indent="-177800">
              <a:buFont typeface="Wingdings" panose="05000000000000000000" pitchFamily="2" charset="2"/>
              <a:buChar char="§"/>
            </a:pPr>
            <a:r>
              <a:rPr lang="en-US" sz="1600" dirty="0" smtClean="0"/>
              <a:t>No hypervisor license cost</a:t>
            </a:r>
          </a:p>
          <a:p>
            <a:pPr marL="177800" lvl="1" indent="-177800">
              <a:buFont typeface="Wingdings" panose="05000000000000000000" pitchFamily="2" charset="2"/>
              <a:buChar char="§"/>
            </a:pPr>
            <a:r>
              <a:rPr lang="en-US" sz="1600" dirty="0" smtClean="0"/>
              <a:t>Reduced OS license cost</a:t>
            </a:r>
          </a:p>
          <a:p>
            <a:pPr marL="177800" lvl="1" indent="-177800">
              <a:buFont typeface="Wingdings" panose="05000000000000000000" pitchFamily="2" charset="2"/>
              <a:buChar char="§"/>
            </a:pPr>
            <a:r>
              <a:rPr lang="en-US" sz="1600" dirty="0" smtClean="0"/>
              <a:t>Reduced OS level maintenance/</a:t>
            </a:r>
            <a:br>
              <a:rPr lang="en-US" sz="1600" dirty="0" smtClean="0"/>
            </a:br>
            <a:r>
              <a:rPr lang="en-US" sz="1600" dirty="0" smtClean="0"/>
              <a:t>Patching cost</a:t>
            </a:r>
            <a:endParaRPr lang="en-US" dirty="0" smtClean="0"/>
          </a:p>
        </p:txBody>
      </p:sp>
      <p:sp>
        <p:nvSpPr>
          <p:cNvPr id="7" name="TextBox 6"/>
          <p:cNvSpPr txBox="1"/>
          <p:nvPr/>
        </p:nvSpPr>
        <p:spPr>
          <a:xfrm>
            <a:off x="8979420" y="4044406"/>
            <a:ext cx="2933180" cy="1600438"/>
          </a:xfrm>
          <a:prstGeom prst="rect">
            <a:avLst/>
          </a:prstGeom>
          <a:noFill/>
        </p:spPr>
        <p:txBody>
          <a:bodyPr wrap="square" rtlCol="0">
            <a:spAutoFit/>
          </a:bodyPr>
          <a:lstStyle/>
          <a:p>
            <a:r>
              <a:rPr lang="en-US" dirty="0" smtClean="0"/>
              <a:t>Challenge,</a:t>
            </a:r>
          </a:p>
          <a:p>
            <a:pPr marL="285750" indent="-285750">
              <a:buFont typeface="Wingdings" panose="05000000000000000000" pitchFamily="2" charset="2"/>
              <a:buChar char="§"/>
            </a:pPr>
            <a:r>
              <a:rPr lang="en-US" sz="1600" dirty="0" smtClean="0"/>
              <a:t>Today limited Accenture references</a:t>
            </a:r>
          </a:p>
          <a:p>
            <a:pPr marL="285750" indent="-285750">
              <a:buFont typeface="Wingdings" panose="05000000000000000000" pitchFamily="2" charset="2"/>
              <a:buChar char="§"/>
            </a:pPr>
            <a:r>
              <a:rPr lang="en-US" sz="1600" dirty="0" smtClean="0"/>
              <a:t>Orchestration Integration</a:t>
            </a:r>
          </a:p>
          <a:p>
            <a:pPr marL="285750" indent="-285750">
              <a:buFont typeface="Wingdings" panose="05000000000000000000" pitchFamily="2" charset="2"/>
              <a:buChar char="§"/>
            </a:pPr>
            <a:r>
              <a:rPr lang="en-US" sz="1600" dirty="0" smtClean="0"/>
              <a:t>Orchestration License and</a:t>
            </a:r>
            <a:br>
              <a:rPr lang="en-US" sz="1600" dirty="0" smtClean="0"/>
            </a:br>
            <a:r>
              <a:rPr lang="en-US" sz="1600" dirty="0" smtClean="0"/>
              <a:t>Enablement cost</a:t>
            </a:r>
            <a:endParaRPr lang="en-US" sz="1600"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501390" y="1736725"/>
            <a:ext cx="3756285" cy="4730750"/>
          </a:xfrm>
          <a:prstGeom prst="rect">
            <a:avLst/>
          </a:prstGeom>
        </p:spPr>
      </p:pic>
      <p:sp>
        <p:nvSpPr>
          <p:cNvPr id="9" name="Rectangle 8"/>
          <p:cNvSpPr/>
          <p:nvPr/>
        </p:nvSpPr>
        <p:spPr>
          <a:xfrm>
            <a:off x="457200" y="1219200"/>
            <a:ext cx="8229600"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noProof="0" dirty="0" smtClean="0">
                <a:solidFill>
                  <a:srgbClr val="993399"/>
                </a:solidFill>
              </a:rPr>
              <a:t>Optimization Sample</a:t>
            </a:r>
            <a:endParaRPr kumimoji="0" lang="en-US" sz="2000" b="0" i="0" u="none" strike="noStrike" kern="0" cap="none" spc="0" normalizeH="0" baseline="0" noProof="0" dirty="0" smtClean="0">
              <a:ln>
                <a:noFill/>
              </a:ln>
              <a:solidFill>
                <a:srgbClr val="993399"/>
              </a:solidFill>
              <a:effectLst/>
              <a:uLnTx/>
              <a:uFillTx/>
            </a:endParaRPr>
          </a:p>
        </p:txBody>
      </p:sp>
    </p:spTree>
    <p:extLst>
      <p:ext uri="{BB962C8B-B14F-4D97-AF65-F5344CB8AC3E}">
        <p14:creationId xmlns:p14="http://schemas.microsoft.com/office/powerpoint/2010/main" val="30602609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ample Reference </a:t>
            </a:r>
            <a:r>
              <a:rPr lang="en-US" dirty="0"/>
              <a:t>Architecture and </a:t>
            </a:r>
            <a:r>
              <a:rPr lang="en-US" dirty="0" smtClean="0"/>
              <a:t>Capabilities by Docker</a:t>
            </a:r>
            <a:endParaRPr lang="en-US" dirty="0"/>
          </a:p>
        </p:txBody>
      </p:sp>
      <p:sp>
        <p:nvSpPr>
          <p:cNvPr id="4" name="Footer Placeholder 3"/>
          <p:cNvSpPr>
            <a:spLocks noGrp="1"/>
          </p:cNvSpPr>
          <p:nvPr>
            <p:ph type="ftr" sz="quarter" idx="12"/>
          </p:nvPr>
        </p:nvSpPr>
        <p:spPr/>
        <p:txBody>
          <a:bodyPr/>
          <a:lstStyle/>
          <a:p>
            <a:r>
              <a:rPr lang="en-US"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8</a:t>
            </a:fld>
            <a:endParaRPr lang="en-US" dirty="0"/>
          </a:p>
        </p:txBody>
      </p:sp>
      <p:sp>
        <p:nvSpPr>
          <p:cNvPr id="6" name="Rectangle 5"/>
          <p:cNvSpPr/>
          <p:nvPr/>
        </p:nvSpPr>
        <p:spPr bwMode="auto">
          <a:xfrm>
            <a:off x="2998646" y="2264082"/>
            <a:ext cx="3102921" cy="2834847"/>
          </a:xfrm>
          <a:prstGeom prst="rect">
            <a:avLst/>
          </a:prstGeom>
          <a:solidFill>
            <a:schemeClr val="accent1"/>
          </a:solidFill>
          <a:ln>
            <a:solidFill>
              <a:schemeClr val="accent1"/>
            </a:solidFill>
            <a:prstDash val="dash"/>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b" anchorCtr="0" compatLnSpc="1">
            <a:prstTxWarp prst="textNoShape">
              <a:avLst/>
            </a:prstTxWarp>
          </a:bodyPr>
          <a:lstStyle/>
          <a:p>
            <a:pPr marL="0" marR="0" indent="0" algn="r" defTabSz="914400" rtl="0" eaLnBrk="0" fontAlgn="base" latinLnBrk="0" hangingPunct="0">
              <a:lnSpc>
                <a:spcPct val="80000"/>
              </a:lnSpc>
              <a:spcBef>
                <a:spcPct val="0"/>
              </a:spcBef>
              <a:spcAft>
                <a:spcPct val="0"/>
              </a:spcAft>
              <a:buClrTx/>
              <a:buSzTx/>
              <a:buFontTx/>
              <a:buNone/>
              <a:tabLst/>
            </a:pPr>
            <a:r>
              <a:rPr kumimoji="0" lang="en-US" sz="1100" b="1" i="0" u="none" strike="noStrike" cap="none" normalizeH="0" baseline="0" dirty="0" err="1" smtClean="0">
                <a:ln>
                  <a:noFill/>
                </a:ln>
                <a:solidFill>
                  <a:schemeClr val="bg1"/>
                </a:solidFill>
                <a:effectLst/>
                <a:latin typeface="Arial" charset="0"/>
              </a:rPr>
              <a:t>Docker</a:t>
            </a:r>
            <a:r>
              <a:rPr kumimoji="0" lang="en-US" sz="1100" b="1" i="0" u="none" strike="noStrike" cap="none" normalizeH="0" baseline="0" dirty="0" smtClean="0">
                <a:ln>
                  <a:noFill/>
                </a:ln>
                <a:solidFill>
                  <a:schemeClr val="bg1"/>
                </a:solidFill>
                <a:effectLst/>
                <a:latin typeface="Arial" charset="0"/>
              </a:rPr>
              <a:t> Cluster</a:t>
            </a:r>
          </a:p>
        </p:txBody>
      </p:sp>
      <p:grpSp>
        <p:nvGrpSpPr>
          <p:cNvPr id="7" name="Group 6"/>
          <p:cNvGrpSpPr/>
          <p:nvPr/>
        </p:nvGrpSpPr>
        <p:grpSpPr>
          <a:xfrm>
            <a:off x="3799400" y="2361835"/>
            <a:ext cx="2001884" cy="2052820"/>
            <a:chOff x="3563888" y="2283718"/>
            <a:chExt cx="1440160" cy="1512168"/>
          </a:xfrm>
          <a:solidFill>
            <a:schemeClr val="accent1"/>
          </a:solidFill>
        </p:grpSpPr>
        <p:sp>
          <p:nvSpPr>
            <p:cNvPr id="8" name="Rectangle 7"/>
            <p:cNvSpPr/>
            <p:nvPr/>
          </p:nvSpPr>
          <p:spPr bwMode="auto">
            <a:xfrm>
              <a:off x="3563888" y="2283718"/>
              <a:ext cx="1440160" cy="1512168"/>
            </a:xfrm>
            <a:prstGeom prst="rect">
              <a:avLst/>
            </a:prstGeom>
            <a:grp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80000"/>
                </a:lnSpc>
                <a:spcBef>
                  <a:spcPct val="0"/>
                </a:spcBef>
                <a:spcAft>
                  <a:spcPct val="0"/>
                </a:spcAft>
                <a:buClrTx/>
                <a:buSzTx/>
                <a:buFontTx/>
                <a:buNone/>
                <a:tabLst/>
              </a:pPr>
              <a:r>
                <a:rPr kumimoji="0" lang="en-US" sz="1100" b="1" i="0" u="none" strike="noStrike" cap="none" normalizeH="0" baseline="0" dirty="0" err="1" smtClean="0">
                  <a:ln>
                    <a:noFill/>
                  </a:ln>
                  <a:solidFill>
                    <a:schemeClr val="bg1"/>
                  </a:solidFill>
                  <a:effectLst/>
                  <a:latin typeface="Arial" charset="0"/>
                </a:rPr>
                <a:t>Docker</a:t>
              </a:r>
              <a:r>
                <a:rPr kumimoji="0" lang="en-US" sz="1100" b="1" i="0" u="none" strike="noStrike" cap="none" normalizeH="0" baseline="0" dirty="0" smtClean="0">
                  <a:ln>
                    <a:noFill/>
                  </a:ln>
                  <a:solidFill>
                    <a:schemeClr val="bg1"/>
                  </a:solidFill>
                  <a:effectLst/>
                  <a:latin typeface="Arial" charset="0"/>
                </a:rPr>
                <a:t> Node</a:t>
              </a:r>
            </a:p>
          </p:txBody>
        </p:sp>
        <p:sp>
          <p:nvSpPr>
            <p:cNvPr id="9" name="Rectangle 8"/>
            <p:cNvSpPr/>
            <p:nvPr/>
          </p:nvSpPr>
          <p:spPr bwMode="auto">
            <a:xfrm>
              <a:off x="3635896" y="3363838"/>
              <a:ext cx="1296144" cy="360040"/>
            </a:xfrm>
            <a:prstGeom prst="rect">
              <a:avLst/>
            </a:prstGeom>
            <a:grp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Linux Host</a:t>
              </a:r>
            </a:p>
          </p:txBody>
        </p:sp>
        <p:sp>
          <p:nvSpPr>
            <p:cNvPr id="10" name="Rectangle 9"/>
            <p:cNvSpPr/>
            <p:nvPr/>
          </p:nvSpPr>
          <p:spPr bwMode="auto">
            <a:xfrm>
              <a:off x="3635896" y="2931790"/>
              <a:ext cx="1296144" cy="360040"/>
            </a:xfrm>
            <a:prstGeom prst="rect">
              <a:avLst/>
            </a:prstGeom>
            <a:grp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err="1" smtClean="0">
                  <a:ln>
                    <a:noFill/>
                  </a:ln>
                  <a:solidFill>
                    <a:schemeClr val="bg1"/>
                  </a:solidFill>
                  <a:effectLst/>
                  <a:latin typeface="Arial" charset="0"/>
                </a:rPr>
                <a:t>Docker</a:t>
              </a:r>
              <a:endParaRPr kumimoji="0" lang="en-US" sz="1200" b="1" i="0" u="none" strike="noStrike" cap="none" normalizeH="0" baseline="0" dirty="0" smtClean="0">
                <a:ln>
                  <a:noFill/>
                </a:ln>
                <a:solidFill>
                  <a:schemeClr val="bg1"/>
                </a:solidFill>
                <a:effectLst/>
                <a:latin typeface="Arial" charset="0"/>
              </a:endParaRPr>
            </a:p>
          </p:txBody>
        </p:sp>
        <p:sp>
          <p:nvSpPr>
            <p:cNvPr id="11" name="Rectangle 10"/>
            <p:cNvSpPr/>
            <p:nvPr/>
          </p:nvSpPr>
          <p:spPr bwMode="auto">
            <a:xfrm>
              <a:off x="3635896" y="2499742"/>
              <a:ext cx="1296144" cy="360040"/>
            </a:xfrm>
            <a:prstGeom prst="rect">
              <a:avLst/>
            </a:prstGeom>
            <a:grp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Container/App</a:t>
              </a:r>
            </a:p>
          </p:txBody>
        </p:sp>
      </p:grpSp>
      <p:grpSp>
        <p:nvGrpSpPr>
          <p:cNvPr id="12" name="Group 11"/>
          <p:cNvGrpSpPr/>
          <p:nvPr/>
        </p:nvGrpSpPr>
        <p:grpSpPr>
          <a:xfrm>
            <a:off x="3599211" y="2557342"/>
            <a:ext cx="2001884" cy="2052820"/>
            <a:chOff x="3563888" y="2283718"/>
            <a:chExt cx="1440160" cy="1512168"/>
          </a:xfrm>
          <a:solidFill>
            <a:schemeClr val="accent1"/>
          </a:solidFill>
        </p:grpSpPr>
        <p:sp>
          <p:nvSpPr>
            <p:cNvPr id="13" name="Rectangle 12"/>
            <p:cNvSpPr/>
            <p:nvPr/>
          </p:nvSpPr>
          <p:spPr bwMode="auto">
            <a:xfrm>
              <a:off x="3563888" y="2283718"/>
              <a:ext cx="1440160" cy="1512168"/>
            </a:xfrm>
            <a:prstGeom prst="rect">
              <a:avLst/>
            </a:prstGeom>
            <a:grp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80000"/>
                </a:lnSpc>
                <a:spcBef>
                  <a:spcPct val="0"/>
                </a:spcBef>
                <a:spcAft>
                  <a:spcPct val="0"/>
                </a:spcAft>
                <a:buClrTx/>
                <a:buSzTx/>
                <a:buFontTx/>
                <a:buNone/>
                <a:tabLst/>
              </a:pPr>
              <a:r>
                <a:rPr kumimoji="0" lang="en-US" sz="1100" b="1" i="0" u="none" strike="noStrike" cap="none" normalizeH="0" baseline="0" dirty="0" err="1" smtClean="0">
                  <a:ln>
                    <a:noFill/>
                  </a:ln>
                  <a:solidFill>
                    <a:schemeClr val="bg1"/>
                  </a:solidFill>
                  <a:effectLst/>
                  <a:latin typeface="Arial" charset="0"/>
                </a:rPr>
                <a:t>Docker</a:t>
              </a:r>
              <a:r>
                <a:rPr kumimoji="0" lang="en-US" sz="1100" b="1" i="0" u="none" strike="noStrike" cap="none" normalizeH="0" baseline="0" dirty="0" smtClean="0">
                  <a:ln>
                    <a:noFill/>
                  </a:ln>
                  <a:solidFill>
                    <a:schemeClr val="bg1"/>
                  </a:solidFill>
                  <a:effectLst/>
                  <a:latin typeface="Arial" charset="0"/>
                </a:rPr>
                <a:t> Node</a:t>
              </a:r>
            </a:p>
          </p:txBody>
        </p:sp>
        <p:sp>
          <p:nvSpPr>
            <p:cNvPr id="14" name="Rectangle 13"/>
            <p:cNvSpPr/>
            <p:nvPr/>
          </p:nvSpPr>
          <p:spPr bwMode="auto">
            <a:xfrm>
              <a:off x="3635896" y="3363838"/>
              <a:ext cx="1296144" cy="360040"/>
            </a:xfrm>
            <a:prstGeom prst="rect">
              <a:avLst/>
            </a:prstGeom>
            <a:grp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Linux Host</a:t>
              </a:r>
            </a:p>
          </p:txBody>
        </p:sp>
        <p:sp>
          <p:nvSpPr>
            <p:cNvPr id="15" name="Rectangle 14"/>
            <p:cNvSpPr/>
            <p:nvPr/>
          </p:nvSpPr>
          <p:spPr bwMode="auto">
            <a:xfrm>
              <a:off x="3635896" y="2931790"/>
              <a:ext cx="1296144" cy="360040"/>
            </a:xfrm>
            <a:prstGeom prst="rect">
              <a:avLst/>
            </a:prstGeom>
            <a:grp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err="1" smtClean="0">
                  <a:ln>
                    <a:noFill/>
                  </a:ln>
                  <a:solidFill>
                    <a:schemeClr val="bg1"/>
                  </a:solidFill>
                  <a:effectLst/>
                  <a:latin typeface="Arial" charset="0"/>
                </a:rPr>
                <a:t>Docker</a:t>
              </a:r>
              <a:endParaRPr kumimoji="0" lang="en-US" sz="1200" b="1" i="0" u="none" strike="noStrike" cap="none" normalizeH="0" baseline="0" dirty="0" smtClean="0">
                <a:ln>
                  <a:noFill/>
                </a:ln>
                <a:solidFill>
                  <a:schemeClr val="bg1"/>
                </a:solidFill>
                <a:effectLst/>
                <a:latin typeface="Arial" charset="0"/>
              </a:endParaRPr>
            </a:p>
          </p:txBody>
        </p:sp>
        <p:sp>
          <p:nvSpPr>
            <p:cNvPr id="16" name="Rectangle 15"/>
            <p:cNvSpPr/>
            <p:nvPr/>
          </p:nvSpPr>
          <p:spPr bwMode="auto">
            <a:xfrm>
              <a:off x="3635896" y="2499742"/>
              <a:ext cx="1296144" cy="360040"/>
            </a:xfrm>
            <a:prstGeom prst="rect">
              <a:avLst/>
            </a:prstGeom>
            <a:grp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Container/App</a:t>
              </a:r>
            </a:p>
          </p:txBody>
        </p:sp>
      </p:grpSp>
      <p:sp>
        <p:nvSpPr>
          <p:cNvPr id="17" name="Rectangle 16"/>
          <p:cNvSpPr/>
          <p:nvPr/>
        </p:nvSpPr>
        <p:spPr bwMode="auto">
          <a:xfrm>
            <a:off x="3399023" y="2752849"/>
            <a:ext cx="2001884" cy="2052820"/>
          </a:xfrm>
          <a:prstGeom prst="rect">
            <a:avLst/>
          </a:prstGeom>
          <a:solidFill>
            <a:schemeClr val="accent1"/>
          </a:solid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80000"/>
              </a:lnSpc>
              <a:spcBef>
                <a:spcPct val="0"/>
              </a:spcBef>
              <a:spcAft>
                <a:spcPct val="0"/>
              </a:spcAft>
              <a:buClrTx/>
              <a:buSzTx/>
              <a:buFontTx/>
              <a:buNone/>
              <a:tabLst/>
            </a:pPr>
            <a:r>
              <a:rPr kumimoji="0" lang="en-US" sz="1100" b="1" i="0" u="none" strike="noStrike" cap="none" normalizeH="0" baseline="0" dirty="0" err="1" smtClean="0">
                <a:ln>
                  <a:noFill/>
                </a:ln>
                <a:solidFill>
                  <a:schemeClr val="bg1"/>
                </a:solidFill>
                <a:effectLst/>
                <a:latin typeface="Arial" charset="0"/>
              </a:rPr>
              <a:t>Docker</a:t>
            </a:r>
            <a:r>
              <a:rPr kumimoji="0" lang="en-US" sz="1100" b="1" i="0" u="none" strike="noStrike" cap="none" normalizeH="0" baseline="0" dirty="0" smtClean="0">
                <a:ln>
                  <a:noFill/>
                </a:ln>
                <a:solidFill>
                  <a:schemeClr val="bg1"/>
                </a:solidFill>
                <a:effectLst/>
                <a:latin typeface="Arial" charset="0"/>
              </a:rPr>
              <a:t> Node</a:t>
            </a:r>
          </a:p>
        </p:txBody>
      </p:sp>
      <p:sp>
        <p:nvSpPr>
          <p:cNvPr id="18" name="Rectangle 17"/>
          <p:cNvSpPr/>
          <p:nvPr/>
        </p:nvSpPr>
        <p:spPr bwMode="auto">
          <a:xfrm>
            <a:off x="3499117" y="4219149"/>
            <a:ext cx="1801696" cy="488767"/>
          </a:xfrm>
          <a:prstGeom prst="rect">
            <a:avLst/>
          </a:prstGeom>
          <a:solidFill>
            <a:schemeClr val="accent1"/>
          </a:solid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Linux Host</a:t>
            </a:r>
          </a:p>
        </p:txBody>
      </p:sp>
      <p:sp>
        <p:nvSpPr>
          <p:cNvPr id="19" name="Rectangle 18"/>
          <p:cNvSpPr/>
          <p:nvPr/>
        </p:nvSpPr>
        <p:spPr bwMode="auto">
          <a:xfrm>
            <a:off x="3499117" y="3632629"/>
            <a:ext cx="1801696" cy="488767"/>
          </a:xfrm>
          <a:prstGeom prst="rect">
            <a:avLst/>
          </a:prstGeom>
          <a:solidFill>
            <a:schemeClr val="accent1"/>
          </a:solid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err="1" smtClean="0">
                <a:ln>
                  <a:noFill/>
                </a:ln>
                <a:solidFill>
                  <a:schemeClr val="bg1"/>
                </a:solidFill>
                <a:effectLst/>
                <a:latin typeface="Arial" charset="0"/>
              </a:rPr>
              <a:t>Docker</a:t>
            </a:r>
            <a:endParaRPr kumimoji="0" lang="en-US" sz="1200" b="1" i="0" u="none" strike="noStrike" cap="none" normalizeH="0" baseline="0" dirty="0" smtClean="0">
              <a:ln>
                <a:noFill/>
              </a:ln>
              <a:solidFill>
                <a:schemeClr val="bg1"/>
              </a:solidFill>
              <a:effectLst/>
              <a:latin typeface="Arial" charset="0"/>
            </a:endParaRPr>
          </a:p>
        </p:txBody>
      </p:sp>
      <p:sp>
        <p:nvSpPr>
          <p:cNvPr id="20" name="Rectangle 19"/>
          <p:cNvSpPr/>
          <p:nvPr/>
        </p:nvSpPr>
        <p:spPr bwMode="auto">
          <a:xfrm>
            <a:off x="3499117" y="3046109"/>
            <a:ext cx="1801696" cy="488767"/>
          </a:xfrm>
          <a:prstGeom prst="rect">
            <a:avLst/>
          </a:prstGeom>
          <a:solidFill>
            <a:schemeClr val="accent1"/>
          </a:solidFill>
          <a:ln>
            <a:solidFill>
              <a:schemeClr val="bg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Container/App</a:t>
            </a:r>
          </a:p>
        </p:txBody>
      </p:sp>
      <p:sp>
        <p:nvSpPr>
          <p:cNvPr id="21" name="Rectangle 20"/>
          <p:cNvSpPr/>
          <p:nvPr/>
        </p:nvSpPr>
        <p:spPr bwMode="auto">
          <a:xfrm>
            <a:off x="7202603" y="3046109"/>
            <a:ext cx="1801696" cy="488767"/>
          </a:xfrm>
          <a:prstGeom prst="rect">
            <a:avLst/>
          </a:pr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200" b="1" dirty="0" smtClean="0">
                <a:solidFill>
                  <a:schemeClr val="bg1"/>
                </a:solidFill>
                <a:latin typeface="Arial" charset="0"/>
              </a:rPr>
              <a:t>Service Discovery</a:t>
            </a:r>
            <a:endParaRPr kumimoji="0" lang="en-US" sz="1200" b="1" i="0" u="none" strike="noStrike" cap="none" normalizeH="0" baseline="0" dirty="0" smtClean="0">
              <a:ln>
                <a:noFill/>
              </a:ln>
              <a:solidFill>
                <a:schemeClr val="bg1"/>
              </a:solidFill>
              <a:effectLst/>
              <a:latin typeface="Arial" charset="0"/>
            </a:endParaRPr>
          </a:p>
        </p:txBody>
      </p:sp>
      <p:sp>
        <p:nvSpPr>
          <p:cNvPr id="22" name="Rectangle 21"/>
          <p:cNvSpPr/>
          <p:nvPr/>
        </p:nvSpPr>
        <p:spPr bwMode="auto">
          <a:xfrm>
            <a:off x="2498175" y="1330940"/>
            <a:ext cx="1801696" cy="534479"/>
          </a:xfrm>
          <a:custGeom>
            <a:avLst/>
            <a:gdLst>
              <a:gd name="connsiteX0" fmla="*/ 0 w 1296144"/>
              <a:gd name="connsiteY0" fmla="*/ 0 h 360040"/>
              <a:gd name="connsiteX1" fmla="*/ 1296144 w 1296144"/>
              <a:gd name="connsiteY1" fmla="*/ 0 h 360040"/>
              <a:gd name="connsiteX2" fmla="*/ 1296144 w 1296144"/>
              <a:gd name="connsiteY2" fmla="*/ 360040 h 360040"/>
              <a:gd name="connsiteX3" fmla="*/ 0 w 1296144"/>
              <a:gd name="connsiteY3" fmla="*/ 360040 h 360040"/>
              <a:gd name="connsiteX4" fmla="*/ 0 w 1296144"/>
              <a:gd name="connsiteY4" fmla="*/ 0 h 360040"/>
              <a:gd name="connsiteX0" fmla="*/ 0 w 1296144"/>
              <a:gd name="connsiteY0" fmla="*/ 0 h 360870"/>
              <a:gd name="connsiteX1" fmla="*/ 1296144 w 1296144"/>
              <a:gd name="connsiteY1" fmla="*/ 0 h 360870"/>
              <a:gd name="connsiteX2" fmla="*/ 1296144 w 1296144"/>
              <a:gd name="connsiteY2" fmla="*/ 360040 h 360870"/>
              <a:gd name="connsiteX3" fmla="*/ 853311 w 1296144"/>
              <a:gd name="connsiteY3" fmla="*/ 360870 h 360870"/>
              <a:gd name="connsiteX4" fmla="*/ 0 w 1296144"/>
              <a:gd name="connsiteY4" fmla="*/ 360040 h 360870"/>
              <a:gd name="connsiteX5" fmla="*/ 0 w 1296144"/>
              <a:gd name="connsiteY5" fmla="*/ 0 h 360870"/>
              <a:gd name="connsiteX0" fmla="*/ 0 w 1296144"/>
              <a:gd name="connsiteY0" fmla="*/ 0 h 360870"/>
              <a:gd name="connsiteX1" fmla="*/ 1296144 w 1296144"/>
              <a:gd name="connsiteY1" fmla="*/ 0 h 360870"/>
              <a:gd name="connsiteX2" fmla="*/ 1292907 w 1296144"/>
              <a:gd name="connsiteY2" fmla="*/ 189895 h 360870"/>
              <a:gd name="connsiteX3" fmla="*/ 1296144 w 1296144"/>
              <a:gd name="connsiteY3" fmla="*/ 360040 h 360870"/>
              <a:gd name="connsiteX4" fmla="*/ 853311 w 1296144"/>
              <a:gd name="connsiteY4" fmla="*/ 360870 h 360870"/>
              <a:gd name="connsiteX5" fmla="*/ 0 w 1296144"/>
              <a:gd name="connsiteY5" fmla="*/ 360040 h 360870"/>
              <a:gd name="connsiteX6" fmla="*/ 0 w 1296144"/>
              <a:gd name="connsiteY6" fmla="*/ 0 h 360870"/>
              <a:gd name="connsiteX0" fmla="*/ 0 w 1296144"/>
              <a:gd name="connsiteY0" fmla="*/ 0 h 360870"/>
              <a:gd name="connsiteX1" fmla="*/ 1296144 w 1296144"/>
              <a:gd name="connsiteY1" fmla="*/ 0 h 360870"/>
              <a:gd name="connsiteX2" fmla="*/ 1292907 w 1296144"/>
              <a:gd name="connsiteY2" fmla="*/ 189895 h 360870"/>
              <a:gd name="connsiteX3" fmla="*/ 1296144 w 1296144"/>
              <a:gd name="connsiteY3" fmla="*/ 360040 h 360870"/>
              <a:gd name="connsiteX4" fmla="*/ 853311 w 1296144"/>
              <a:gd name="connsiteY4" fmla="*/ 360870 h 360870"/>
              <a:gd name="connsiteX5" fmla="*/ 657935 w 1296144"/>
              <a:gd name="connsiteY5" fmla="*/ 360870 h 360870"/>
              <a:gd name="connsiteX6" fmla="*/ 0 w 1296144"/>
              <a:gd name="connsiteY6" fmla="*/ 360040 h 360870"/>
              <a:gd name="connsiteX7" fmla="*/ 0 w 1296144"/>
              <a:gd name="connsiteY7" fmla="*/ 0 h 36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6144" h="360870">
                <a:moveTo>
                  <a:pt x="0" y="0"/>
                </a:moveTo>
                <a:lnTo>
                  <a:pt x="1296144" y="0"/>
                </a:lnTo>
                <a:lnTo>
                  <a:pt x="1292907" y="189895"/>
                </a:lnTo>
                <a:lnTo>
                  <a:pt x="1296144" y="360040"/>
                </a:lnTo>
                <a:lnTo>
                  <a:pt x="853311" y="360870"/>
                </a:lnTo>
                <a:lnTo>
                  <a:pt x="657935" y="360870"/>
                </a:lnTo>
                <a:lnTo>
                  <a:pt x="0" y="360040"/>
                </a:lnTo>
                <a:lnTo>
                  <a:pt x="0" y="0"/>
                </a:lnTo>
                <a:close/>
              </a:path>
            </a:pathLst>
          </a:custGeom>
          <a:solidFill>
            <a:schemeClr val="accent1"/>
          </a:solid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200" b="1" dirty="0" smtClean="0">
                <a:solidFill>
                  <a:schemeClr val="bg1"/>
                </a:solidFill>
                <a:latin typeface="Arial" charset="0"/>
              </a:rPr>
              <a:t>Orchestration</a:t>
            </a:r>
            <a:endParaRPr kumimoji="0" lang="en-US" sz="1200" b="1" i="0" u="none" strike="noStrike" cap="none" normalizeH="0" baseline="0" dirty="0" smtClean="0">
              <a:ln>
                <a:noFill/>
              </a:ln>
              <a:solidFill>
                <a:schemeClr val="bg1"/>
              </a:solidFill>
              <a:effectLst/>
              <a:latin typeface="Arial" charset="0"/>
            </a:endParaRPr>
          </a:p>
        </p:txBody>
      </p:sp>
      <p:sp>
        <p:nvSpPr>
          <p:cNvPr id="23" name="Rectangle 22"/>
          <p:cNvSpPr/>
          <p:nvPr/>
        </p:nvSpPr>
        <p:spPr bwMode="auto">
          <a:xfrm>
            <a:off x="4900436" y="1329836"/>
            <a:ext cx="1801696" cy="534478"/>
          </a:xfrm>
          <a:prstGeom prst="rect">
            <a:avLst/>
          </a:prstGeom>
          <a:solidFill>
            <a:schemeClr val="accent1"/>
          </a:solid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200" b="1" dirty="0" smtClean="0">
                <a:solidFill>
                  <a:schemeClr val="bg1"/>
                </a:solidFill>
                <a:latin typeface="Arial" charset="0"/>
              </a:rPr>
              <a:t>Resource Management</a:t>
            </a:r>
            <a:endParaRPr kumimoji="0" lang="en-US" sz="1200" b="1" i="0" u="none" strike="noStrike" cap="none" normalizeH="0" baseline="0" dirty="0" smtClean="0">
              <a:ln>
                <a:noFill/>
              </a:ln>
              <a:solidFill>
                <a:schemeClr val="bg1"/>
              </a:solidFill>
              <a:effectLst/>
              <a:latin typeface="Arial" charset="0"/>
            </a:endParaRPr>
          </a:p>
        </p:txBody>
      </p:sp>
      <p:sp>
        <p:nvSpPr>
          <p:cNvPr id="24" name="Rectangle 23"/>
          <p:cNvSpPr/>
          <p:nvPr/>
        </p:nvSpPr>
        <p:spPr bwMode="auto">
          <a:xfrm>
            <a:off x="1196950" y="5196682"/>
            <a:ext cx="7807349" cy="782027"/>
          </a:xfrm>
          <a:prstGeom prst="rect">
            <a:avLst/>
          </a:pr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80000"/>
              </a:lnSpc>
              <a:spcBef>
                <a:spcPct val="0"/>
              </a:spcBef>
              <a:spcAft>
                <a:spcPct val="0"/>
              </a:spcAft>
              <a:buClrTx/>
              <a:buSzTx/>
              <a:buFontTx/>
              <a:buNone/>
              <a:tabLst/>
            </a:pPr>
            <a:r>
              <a:rPr lang="en-US" sz="1100" b="1" dirty="0" smtClean="0">
                <a:solidFill>
                  <a:schemeClr val="bg1"/>
                </a:solidFill>
                <a:latin typeface="Arial" charset="0"/>
              </a:rPr>
              <a:t>Infrastructure Services</a:t>
            </a:r>
            <a:endParaRPr kumimoji="0" lang="en-US" sz="1100" b="1" i="0" u="none" strike="noStrike" cap="none" normalizeH="0" baseline="0" dirty="0" smtClean="0">
              <a:ln>
                <a:noFill/>
              </a:ln>
              <a:solidFill>
                <a:schemeClr val="bg1"/>
              </a:solidFill>
              <a:effectLst/>
              <a:latin typeface="Arial" charset="0"/>
            </a:endParaRPr>
          </a:p>
        </p:txBody>
      </p:sp>
      <p:sp>
        <p:nvSpPr>
          <p:cNvPr id="25" name="Rectangle 24"/>
          <p:cNvSpPr/>
          <p:nvPr/>
        </p:nvSpPr>
        <p:spPr bwMode="auto">
          <a:xfrm>
            <a:off x="1196950" y="6076463"/>
            <a:ext cx="7807349" cy="391013"/>
          </a:xfrm>
          <a:prstGeom prst="rect">
            <a:avLst/>
          </a:pr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200" b="1" dirty="0" smtClean="0">
                <a:solidFill>
                  <a:schemeClr val="bg1"/>
                </a:solidFill>
                <a:latin typeface="Arial" charset="0"/>
              </a:rPr>
              <a:t>Hardware, Virtualization</a:t>
            </a:r>
            <a:endParaRPr kumimoji="0" lang="en-US" sz="1200" b="1" i="0" u="none" strike="noStrike" cap="none" normalizeH="0" baseline="0" dirty="0" smtClean="0">
              <a:ln>
                <a:noFill/>
              </a:ln>
              <a:solidFill>
                <a:schemeClr val="bg1"/>
              </a:solidFill>
              <a:effectLst/>
              <a:latin typeface="Arial" charset="0"/>
            </a:endParaRPr>
          </a:p>
        </p:txBody>
      </p:sp>
      <p:sp>
        <p:nvSpPr>
          <p:cNvPr id="26" name="Rectangle 25"/>
          <p:cNvSpPr/>
          <p:nvPr/>
        </p:nvSpPr>
        <p:spPr bwMode="auto">
          <a:xfrm>
            <a:off x="2103984" y="5392189"/>
            <a:ext cx="1101036" cy="488767"/>
          </a:xfrm>
          <a:prstGeom prst="rect">
            <a:avLst/>
          </a:pr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100" b="1" dirty="0" smtClean="0">
                <a:solidFill>
                  <a:schemeClr val="bg1"/>
                </a:solidFill>
                <a:latin typeface="Arial" charset="0"/>
              </a:rPr>
              <a:t>Name resolution</a:t>
            </a:r>
            <a:endParaRPr kumimoji="0" lang="en-US" sz="1100" b="1" i="0" u="none" strike="noStrike" cap="none" normalizeH="0" baseline="0" dirty="0" smtClean="0">
              <a:ln>
                <a:noFill/>
              </a:ln>
              <a:solidFill>
                <a:schemeClr val="bg1"/>
              </a:solidFill>
              <a:effectLst/>
              <a:latin typeface="Arial" charset="0"/>
            </a:endParaRPr>
          </a:p>
        </p:txBody>
      </p:sp>
      <p:sp>
        <p:nvSpPr>
          <p:cNvPr id="27" name="Rectangle 26"/>
          <p:cNvSpPr/>
          <p:nvPr/>
        </p:nvSpPr>
        <p:spPr bwMode="auto">
          <a:xfrm>
            <a:off x="3298929" y="5392189"/>
            <a:ext cx="1101036" cy="488767"/>
          </a:xfrm>
          <a:prstGeom prst="rect">
            <a:avLst/>
          </a:pr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100" b="1" dirty="0" smtClean="0">
                <a:solidFill>
                  <a:schemeClr val="bg1"/>
                </a:solidFill>
                <a:latin typeface="Arial" charset="0"/>
              </a:rPr>
              <a:t>Container Monitoring</a:t>
            </a:r>
            <a:endParaRPr kumimoji="0" lang="en-US" sz="1100" b="1" i="0" u="none" strike="noStrike" cap="none" normalizeH="0" baseline="0" dirty="0" smtClean="0">
              <a:ln>
                <a:noFill/>
              </a:ln>
              <a:solidFill>
                <a:schemeClr val="bg1"/>
              </a:solidFill>
              <a:effectLst/>
              <a:latin typeface="Arial" charset="0"/>
            </a:endParaRPr>
          </a:p>
        </p:txBody>
      </p:sp>
      <p:sp>
        <p:nvSpPr>
          <p:cNvPr id="28" name="Rectangle 27"/>
          <p:cNvSpPr/>
          <p:nvPr/>
        </p:nvSpPr>
        <p:spPr bwMode="auto">
          <a:xfrm>
            <a:off x="4500059" y="5392189"/>
            <a:ext cx="1101036" cy="488767"/>
          </a:xfrm>
          <a:prstGeom prst="rect">
            <a:avLst/>
          </a:pr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100" b="1" dirty="0" smtClean="0">
                <a:solidFill>
                  <a:schemeClr val="bg1"/>
                </a:solidFill>
                <a:latin typeface="Arial" charset="0"/>
              </a:rPr>
              <a:t>Security &amp; Access Control</a:t>
            </a:r>
            <a:endParaRPr kumimoji="0" lang="en-US" sz="1100" b="1" i="0" u="none" strike="noStrike" cap="none" normalizeH="0" baseline="0" dirty="0" smtClean="0">
              <a:ln>
                <a:noFill/>
              </a:ln>
              <a:solidFill>
                <a:schemeClr val="bg1"/>
              </a:solidFill>
              <a:effectLst/>
              <a:latin typeface="Arial" charset="0"/>
            </a:endParaRPr>
          </a:p>
        </p:txBody>
      </p:sp>
      <p:sp>
        <p:nvSpPr>
          <p:cNvPr id="29" name="Rectangle 28"/>
          <p:cNvSpPr/>
          <p:nvPr/>
        </p:nvSpPr>
        <p:spPr bwMode="auto">
          <a:xfrm>
            <a:off x="5701190" y="5392189"/>
            <a:ext cx="1101036" cy="488767"/>
          </a:xfrm>
          <a:prstGeom prst="rect">
            <a:avLst/>
          </a:pr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100" b="1" dirty="0" smtClean="0">
                <a:solidFill>
                  <a:schemeClr val="bg1"/>
                </a:solidFill>
                <a:latin typeface="Arial" charset="0"/>
              </a:rPr>
              <a:t>Container metrics</a:t>
            </a:r>
            <a:endParaRPr kumimoji="0" lang="en-US" sz="1100" b="1" i="0" u="none" strike="noStrike" cap="none" normalizeH="0" baseline="0" dirty="0" smtClean="0">
              <a:ln>
                <a:noFill/>
              </a:ln>
              <a:solidFill>
                <a:schemeClr val="bg1"/>
              </a:solidFill>
              <a:effectLst/>
              <a:latin typeface="Arial" charset="0"/>
            </a:endParaRPr>
          </a:p>
        </p:txBody>
      </p:sp>
      <p:sp>
        <p:nvSpPr>
          <p:cNvPr id="30" name="Can 7"/>
          <p:cNvSpPr/>
          <p:nvPr/>
        </p:nvSpPr>
        <p:spPr bwMode="auto">
          <a:xfrm>
            <a:off x="1146903" y="3279715"/>
            <a:ext cx="1000942" cy="879780"/>
          </a:xfrm>
          <a:custGeom>
            <a:avLst/>
            <a:gdLst>
              <a:gd name="connsiteX0" fmla="*/ 0 w 720080"/>
              <a:gd name="connsiteY0" fmla="*/ 81009 h 648072"/>
              <a:gd name="connsiteX1" fmla="*/ 360040 w 720080"/>
              <a:gd name="connsiteY1" fmla="*/ 162018 h 648072"/>
              <a:gd name="connsiteX2" fmla="*/ 720080 w 720080"/>
              <a:gd name="connsiteY2" fmla="*/ 81009 h 648072"/>
              <a:gd name="connsiteX3" fmla="*/ 720080 w 720080"/>
              <a:gd name="connsiteY3" fmla="*/ 567063 h 648072"/>
              <a:gd name="connsiteX4" fmla="*/ 360040 w 720080"/>
              <a:gd name="connsiteY4" fmla="*/ 648072 h 648072"/>
              <a:gd name="connsiteX5" fmla="*/ 0 w 720080"/>
              <a:gd name="connsiteY5" fmla="*/ 567063 h 648072"/>
              <a:gd name="connsiteX6" fmla="*/ 0 w 720080"/>
              <a:gd name="connsiteY6" fmla="*/ 81009 h 648072"/>
              <a:gd name="connsiteX0" fmla="*/ 0 w 720080"/>
              <a:gd name="connsiteY0" fmla="*/ 81009 h 648072"/>
              <a:gd name="connsiteX1" fmla="*/ 360040 w 720080"/>
              <a:gd name="connsiteY1" fmla="*/ 0 h 648072"/>
              <a:gd name="connsiteX2" fmla="*/ 720080 w 720080"/>
              <a:gd name="connsiteY2" fmla="*/ 81009 h 648072"/>
              <a:gd name="connsiteX3" fmla="*/ 360040 w 720080"/>
              <a:gd name="connsiteY3" fmla="*/ 162018 h 648072"/>
              <a:gd name="connsiteX4" fmla="*/ 0 w 720080"/>
              <a:gd name="connsiteY4" fmla="*/ 81009 h 648072"/>
              <a:gd name="connsiteX0" fmla="*/ 720080 w 720080"/>
              <a:gd name="connsiteY0" fmla="*/ 81009 h 648072"/>
              <a:gd name="connsiteX1" fmla="*/ 360040 w 720080"/>
              <a:gd name="connsiteY1" fmla="*/ 162018 h 648072"/>
              <a:gd name="connsiteX2" fmla="*/ 0 w 720080"/>
              <a:gd name="connsiteY2" fmla="*/ 81009 h 648072"/>
              <a:gd name="connsiteX3" fmla="*/ 360040 w 720080"/>
              <a:gd name="connsiteY3" fmla="*/ 0 h 648072"/>
              <a:gd name="connsiteX4" fmla="*/ 720080 w 720080"/>
              <a:gd name="connsiteY4" fmla="*/ 81009 h 648072"/>
              <a:gd name="connsiteX5" fmla="*/ 720080 w 720080"/>
              <a:gd name="connsiteY5" fmla="*/ 567063 h 648072"/>
              <a:gd name="connsiteX6" fmla="*/ 360040 w 720080"/>
              <a:gd name="connsiteY6" fmla="*/ 648072 h 648072"/>
              <a:gd name="connsiteX7" fmla="*/ 0 w 720080"/>
              <a:gd name="connsiteY7" fmla="*/ 567063 h 648072"/>
              <a:gd name="connsiteX8" fmla="*/ 0 w 720080"/>
              <a:gd name="connsiteY8" fmla="*/ 81009 h 648072"/>
              <a:gd name="connsiteX0" fmla="*/ 0 w 720080"/>
              <a:gd name="connsiteY0" fmla="*/ 81009 h 648072"/>
              <a:gd name="connsiteX1" fmla="*/ 360040 w 720080"/>
              <a:gd name="connsiteY1" fmla="*/ 162018 h 648072"/>
              <a:gd name="connsiteX2" fmla="*/ 720080 w 720080"/>
              <a:gd name="connsiteY2" fmla="*/ 81009 h 648072"/>
              <a:gd name="connsiteX3" fmla="*/ 720080 w 720080"/>
              <a:gd name="connsiteY3" fmla="*/ 567063 h 648072"/>
              <a:gd name="connsiteX4" fmla="*/ 360040 w 720080"/>
              <a:gd name="connsiteY4" fmla="*/ 648072 h 648072"/>
              <a:gd name="connsiteX5" fmla="*/ 0 w 720080"/>
              <a:gd name="connsiteY5" fmla="*/ 567063 h 648072"/>
              <a:gd name="connsiteX6" fmla="*/ 0 w 720080"/>
              <a:gd name="connsiteY6" fmla="*/ 81009 h 648072"/>
              <a:gd name="connsiteX0" fmla="*/ 0 w 720080"/>
              <a:gd name="connsiteY0" fmla="*/ 81009 h 648072"/>
              <a:gd name="connsiteX1" fmla="*/ 360040 w 720080"/>
              <a:gd name="connsiteY1" fmla="*/ 0 h 648072"/>
              <a:gd name="connsiteX2" fmla="*/ 720080 w 720080"/>
              <a:gd name="connsiteY2" fmla="*/ 81009 h 648072"/>
              <a:gd name="connsiteX3" fmla="*/ 360040 w 720080"/>
              <a:gd name="connsiteY3" fmla="*/ 162018 h 648072"/>
              <a:gd name="connsiteX4" fmla="*/ 0 w 720080"/>
              <a:gd name="connsiteY4" fmla="*/ 81009 h 648072"/>
              <a:gd name="connsiteX0" fmla="*/ 720080 w 720080"/>
              <a:gd name="connsiteY0" fmla="*/ 81009 h 648072"/>
              <a:gd name="connsiteX1" fmla="*/ 360040 w 720080"/>
              <a:gd name="connsiteY1" fmla="*/ 162018 h 648072"/>
              <a:gd name="connsiteX2" fmla="*/ 0 w 720080"/>
              <a:gd name="connsiteY2" fmla="*/ 81009 h 648072"/>
              <a:gd name="connsiteX3" fmla="*/ 360040 w 720080"/>
              <a:gd name="connsiteY3" fmla="*/ 0 h 648072"/>
              <a:gd name="connsiteX4" fmla="*/ 720080 w 720080"/>
              <a:gd name="connsiteY4" fmla="*/ 81009 h 648072"/>
              <a:gd name="connsiteX5" fmla="*/ 714848 w 720080"/>
              <a:gd name="connsiteY5" fmla="*/ 304794 h 648072"/>
              <a:gd name="connsiteX6" fmla="*/ 720080 w 720080"/>
              <a:gd name="connsiteY6" fmla="*/ 567063 h 648072"/>
              <a:gd name="connsiteX7" fmla="*/ 360040 w 720080"/>
              <a:gd name="connsiteY7" fmla="*/ 648072 h 648072"/>
              <a:gd name="connsiteX8" fmla="*/ 0 w 720080"/>
              <a:gd name="connsiteY8" fmla="*/ 567063 h 648072"/>
              <a:gd name="connsiteX9" fmla="*/ 0 w 720080"/>
              <a:gd name="connsiteY9" fmla="*/ 81009 h 648072"/>
              <a:gd name="connsiteX0" fmla="*/ 0 w 720080"/>
              <a:gd name="connsiteY0" fmla="*/ 81009 h 648072"/>
              <a:gd name="connsiteX1" fmla="*/ 360040 w 720080"/>
              <a:gd name="connsiteY1" fmla="*/ 162018 h 648072"/>
              <a:gd name="connsiteX2" fmla="*/ 720080 w 720080"/>
              <a:gd name="connsiteY2" fmla="*/ 81009 h 648072"/>
              <a:gd name="connsiteX3" fmla="*/ 720080 w 720080"/>
              <a:gd name="connsiteY3" fmla="*/ 567063 h 648072"/>
              <a:gd name="connsiteX4" fmla="*/ 360040 w 720080"/>
              <a:gd name="connsiteY4" fmla="*/ 648072 h 648072"/>
              <a:gd name="connsiteX5" fmla="*/ 0 w 720080"/>
              <a:gd name="connsiteY5" fmla="*/ 567063 h 648072"/>
              <a:gd name="connsiteX6" fmla="*/ 0 w 720080"/>
              <a:gd name="connsiteY6" fmla="*/ 81009 h 648072"/>
              <a:gd name="connsiteX0" fmla="*/ 0 w 720080"/>
              <a:gd name="connsiteY0" fmla="*/ 81009 h 648072"/>
              <a:gd name="connsiteX1" fmla="*/ 360040 w 720080"/>
              <a:gd name="connsiteY1" fmla="*/ 0 h 648072"/>
              <a:gd name="connsiteX2" fmla="*/ 720080 w 720080"/>
              <a:gd name="connsiteY2" fmla="*/ 81009 h 648072"/>
              <a:gd name="connsiteX3" fmla="*/ 360040 w 720080"/>
              <a:gd name="connsiteY3" fmla="*/ 162018 h 648072"/>
              <a:gd name="connsiteX4" fmla="*/ 0 w 720080"/>
              <a:gd name="connsiteY4" fmla="*/ 81009 h 648072"/>
              <a:gd name="connsiteX0" fmla="*/ 720080 w 720080"/>
              <a:gd name="connsiteY0" fmla="*/ 81009 h 648072"/>
              <a:gd name="connsiteX1" fmla="*/ 360040 w 720080"/>
              <a:gd name="connsiteY1" fmla="*/ 162018 h 648072"/>
              <a:gd name="connsiteX2" fmla="*/ 0 w 720080"/>
              <a:gd name="connsiteY2" fmla="*/ 81009 h 648072"/>
              <a:gd name="connsiteX3" fmla="*/ 360040 w 720080"/>
              <a:gd name="connsiteY3" fmla="*/ 0 h 648072"/>
              <a:gd name="connsiteX4" fmla="*/ 720080 w 720080"/>
              <a:gd name="connsiteY4" fmla="*/ 81009 h 648072"/>
              <a:gd name="connsiteX5" fmla="*/ 714848 w 720080"/>
              <a:gd name="connsiteY5" fmla="*/ 304794 h 648072"/>
              <a:gd name="connsiteX6" fmla="*/ 714848 w 720080"/>
              <a:gd name="connsiteY6" fmla="*/ 402494 h 648072"/>
              <a:gd name="connsiteX7" fmla="*/ 720080 w 720080"/>
              <a:gd name="connsiteY7" fmla="*/ 567063 h 648072"/>
              <a:gd name="connsiteX8" fmla="*/ 360040 w 720080"/>
              <a:gd name="connsiteY8" fmla="*/ 648072 h 648072"/>
              <a:gd name="connsiteX9" fmla="*/ 0 w 720080"/>
              <a:gd name="connsiteY9" fmla="*/ 567063 h 648072"/>
              <a:gd name="connsiteX10" fmla="*/ 0 w 720080"/>
              <a:gd name="connsiteY10" fmla="*/ 81009 h 64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0080" h="648072" stroke="0" extrusionOk="0">
                <a:moveTo>
                  <a:pt x="0" y="81009"/>
                </a:moveTo>
                <a:cubicBezTo>
                  <a:pt x="0" y="125749"/>
                  <a:pt x="161195" y="162018"/>
                  <a:pt x="360040" y="162018"/>
                </a:cubicBezTo>
                <a:cubicBezTo>
                  <a:pt x="558885" y="162018"/>
                  <a:pt x="720080" y="125749"/>
                  <a:pt x="720080" y="81009"/>
                </a:cubicBezTo>
                <a:lnTo>
                  <a:pt x="720080" y="567063"/>
                </a:lnTo>
                <a:cubicBezTo>
                  <a:pt x="720080" y="611803"/>
                  <a:pt x="558885" y="648072"/>
                  <a:pt x="360040" y="648072"/>
                </a:cubicBezTo>
                <a:cubicBezTo>
                  <a:pt x="161195" y="648072"/>
                  <a:pt x="0" y="611803"/>
                  <a:pt x="0" y="567063"/>
                </a:cubicBezTo>
                <a:lnTo>
                  <a:pt x="0" y="81009"/>
                </a:lnTo>
                <a:close/>
              </a:path>
              <a:path w="720080" h="648072" fill="lighten" stroke="0" extrusionOk="0">
                <a:moveTo>
                  <a:pt x="0" y="81009"/>
                </a:moveTo>
                <a:cubicBezTo>
                  <a:pt x="0" y="36269"/>
                  <a:pt x="161195" y="0"/>
                  <a:pt x="360040" y="0"/>
                </a:cubicBezTo>
                <a:cubicBezTo>
                  <a:pt x="558885" y="0"/>
                  <a:pt x="720080" y="36269"/>
                  <a:pt x="720080" y="81009"/>
                </a:cubicBezTo>
                <a:cubicBezTo>
                  <a:pt x="720080" y="125749"/>
                  <a:pt x="558885" y="162018"/>
                  <a:pt x="360040" y="162018"/>
                </a:cubicBezTo>
                <a:cubicBezTo>
                  <a:pt x="161195" y="162018"/>
                  <a:pt x="0" y="125749"/>
                  <a:pt x="0" y="81009"/>
                </a:cubicBezTo>
                <a:close/>
              </a:path>
              <a:path w="720080" h="648072" fill="none" extrusionOk="0">
                <a:moveTo>
                  <a:pt x="720080" y="81009"/>
                </a:moveTo>
                <a:cubicBezTo>
                  <a:pt x="720080" y="125749"/>
                  <a:pt x="558885" y="162018"/>
                  <a:pt x="360040" y="162018"/>
                </a:cubicBezTo>
                <a:cubicBezTo>
                  <a:pt x="161195" y="162018"/>
                  <a:pt x="0" y="125749"/>
                  <a:pt x="0" y="81009"/>
                </a:cubicBezTo>
                <a:cubicBezTo>
                  <a:pt x="0" y="36269"/>
                  <a:pt x="161195" y="0"/>
                  <a:pt x="360040" y="0"/>
                </a:cubicBezTo>
                <a:cubicBezTo>
                  <a:pt x="558885" y="0"/>
                  <a:pt x="660945" y="30210"/>
                  <a:pt x="720080" y="81009"/>
                </a:cubicBezTo>
                <a:lnTo>
                  <a:pt x="714848" y="304794"/>
                </a:lnTo>
                <a:lnTo>
                  <a:pt x="714848" y="402494"/>
                </a:lnTo>
                <a:lnTo>
                  <a:pt x="720080" y="567063"/>
                </a:lnTo>
                <a:cubicBezTo>
                  <a:pt x="720080" y="611803"/>
                  <a:pt x="558885" y="648072"/>
                  <a:pt x="360040" y="648072"/>
                </a:cubicBezTo>
                <a:cubicBezTo>
                  <a:pt x="161195" y="648072"/>
                  <a:pt x="0" y="611803"/>
                  <a:pt x="0" y="567063"/>
                </a:cubicBezTo>
                <a:lnTo>
                  <a:pt x="0" y="81009"/>
                </a:lnTo>
              </a:path>
            </a:pathLst>
          </a:cu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Docker</a:t>
            </a:r>
            <a:r>
              <a:rPr kumimoji="0" lang="en-US" sz="1200" b="1" i="0" u="none" strike="noStrike" cap="none" normalizeH="0" dirty="0" smtClean="0">
                <a:ln>
                  <a:noFill/>
                </a:ln>
                <a:solidFill>
                  <a:schemeClr val="bg1"/>
                </a:solidFill>
                <a:effectLst/>
                <a:latin typeface="Arial" charset="0"/>
              </a:rPr>
              <a:t> Registry</a:t>
            </a:r>
            <a:endParaRPr kumimoji="0" lang="en-US" sz="1200" b="1" i="0" u="none" strike="noStrike" cap="none" normalizeH="0" baseline="0" dirty="0" smtClean="0">
              <a:ln>
                <a:noFill/>
              </a:ln>
              <a:solidFill>
                <a:schemeClr val="bg1"/>
              </a:solidFill>
              <a:effectLst/>
              <a:latin typeface="Arial" charset="0"/>
            </a:endParaRPr>
          </a:p>
        </p:txBody>
      </p:sp>
      <p:cxnSp>
        <p:nvCxnSpPr>
          <p:cNvPr id="31" name="Straight Arrow Connector 30"/>
          <p:cNvCxnSpPr/>
          <p:nvPr/>
        </p:nvCxnSpPr>
        <p:spPr bwMode="auto">
          <a:xfrm>
            <a:off x="3399023" y="1911168"/>
            <a:ext cx="4" cy="352914"/>
          </a:xfrm>
          <a:prstGeom prst="straightConnector1">
            <a:avLst/>
          </a:prstGeom>
          <a:solidFill>
            <a:schemeClr val="accent1"/>
          </a:solidFill>
          <a:ln>
            <a:solidFill>
              <a:schemeClr val="accent1"/>
            </a:solidFill>
            <a:headEnd type="none" w="med" len="med"/>
            <a:tailEnd type="arrow"/>
          </a:ln>
        </p:spPr>
        <p:style>
          <a:lnRef idx="2">
            <a:schemeClr val="dk1"/>
          </a:lnRef>
          <a:fillRef idx="0">
            <a:schemeClr val="dk1"/>
          </a:fillRef>
          <a:effectRef idx="1">
            <a:schemeClr val="dk1"/>
          </a:effectRef>
          <a:fontRef idx="minor">
            <a:schemeClr val="tx1"/>
          </a:fontRef>
        </p:style>
      </p:cxnSp>
      <p:cxnSp>
        <p:nvCxnSpPr>
          <p:cNvPr id="32" name="Straight Arrow Connector 31"/>
          <p:cNvCxnSpPr>
            <a:stCxn id="23" idx="2"/>
          </p:cNvCxnSpPr>
          <p:nvPr/>
        </p:nvCxnSpPr>
        <p:spPr bwMode="auto">
          <a:xfrm>
            <a:off x="5801284" y="1864314"/>
            <a:ext cx="0" cy="399768"/>
          </a:xfrm>
          <a:prstGeom prst="straightConnector1">
            <a:avLst/>
          </a:prstGeom>
          <a:solidFill>
            <a:schemeClr val="accent1"/>
          </a:solidFill>
          <a:ln>
            <a:solidFill>
              <a:schemeClr val="accent1"/>
            </a:solidFill>
            <a:headEnd type="none" w="med" len="med"/>
            <a:tailEnd type="arrow"/>
          </a:ln>
        </p:spPr>
        <p:style>
          <a:lnRef idx="2">
            <a:schemeClr val="dk1"/>
          </a:lnRef>
          <a:fillRef idx="0">
            <a:schemeClr val="dk1"/>
          </a:fillRef>
          <a:effectRef idx="1">
            <a:schemeClr val="dk1"/>
          </a:effectRef>
          <a:fontRef idx="minor">
            <a:schemeClr val="tx1"/>
          </a:fontRef>
        </p:style>
      </p:cxnSp>
      <p:cxnSp>
        <p:nvCxnSpPr>
          <p:cNvPr id="33" name="Straight Arrow Connector 32"/>
          <p:cNvCxnSpPr/>
          <p:nvPr/>
        </p:nvCxnSpPr>
        <p:spPr bwMode="auto">
          <a:xfrm flipV="1">
            <a:off x="4318921" y="1615446"/>
            <a:ext cx="545179" cy="1"/>
          </a:xfrm>
          <a:prstGeom prst="straightConnector1">
            <a:avLst/>
          </a:prstGeom>
          <a:solidFill>
            <a:schemeClr val="accent1"/>
          </a:solidFill>
          <a:ln>
            <a:solidFill>
              <a:schemeClr val="accent1"/>
            </a:solidFill>
            <a:headEnd type="arrow"/>
            <a:tailEnd type="arrow"/>
          </a:ln>
        </p:spPr>
        <p:style>
          <a:lnRef idx="2">
            <a:schemeClr val="dk1"/>
          </a:lnRef>
          <a:fillRef idx="0">
            <a:schemeClr val="dk1"/>
          </a:fillRef>
          <a:effectRef idx="1">
            <a:schemeClr val="dk1"/>
          </a:effectRef>
          <a:fontRef idx="minor">
            <a:schemeClr val="tx1"/>
          </a:fontRef>
        </p:style>
      </p:cxnSp>
      <p:cxnSp>
        <p:nvCxnSpPr>
          <p:cNvPr id="34" name="Straight Arrow Connector 33"/>
          <p:cNvCxnSpPr/>
          <p:nvPr/>
        </p:nvCxnSpPr>
        <p:spPr bwMode="auto">
          <a:xfrm>
            <a:off x="2247939" y="3689538"/>
            <a:ext cx="1231983" cy="1"/>
          </a:xfrm>
          <a:prstGeom prst="straightConnector1">
            <a:avLst/>
          </a:prstGeom>
          <a:solidFill>
            <a:schemeClr val="accent1"/>
          </a:solidFill>
          <a:ln>
            <a:solidFill>
              <a:schemeClr val="accent1"/>
            </a:solidFill>
            <a:headEnd type="none" w="med" len="med"/>
            <a:tailEnd type="arrow"/>
          </a:ln>
        </p:spPr>
        <p:style>
          <a:lnRef idx="2">
            <a:schemeClr val="dk1"/>
          </a:lnRef>
          <a:fillRef idx="0">
            <a:schemeClr val="dk1"/>
          </a:fillRef>
          <a:effectRef idx="1">
            <a:schemeClr val="dk1"/>
          </a:effectRef>
          <a:fontRef idx="minor">
            <a:schemeClr val="tx1"/>
          </a:fontRef>
        </p:style>
      </p:cxnSp>
      <p:cxnSp>
        <p:nvCxnSpPr>
          <p:cNvPr id="35" name="Straight Arrow Connector 34"/>
          <p:cNvCxnSpPr>
            <a:stCxn id="19" idx="1"/>
          </p:cNvCxnSpPr>
          <p:nvPr/>
        </p:nvCxnSpPr>
        <p:spPr bwMode="auto">
          <a:xfrm flipH="1" flipV="1">
            <a:off x="2219279" y="3877012"/>
            <a:ext cx="1279838" cy="1"/>
          </a:xfrm>
          <a:prstGeom prst="straightConnector1">
            <a:avLst/>
          </a:prstGeom>
          <a:solidFill>
            <a:schemeClr val="accent1"/>
          </a:solidFill>
          <a:ln>
            <a:solidFill>
              <a:schemeClr val="accent1"/>
            </a:solidFill>
            <a:headEnd type="none" w="med" len="med"/>
            <a:tailEnd type="arrow"/>
          </a:ln>
        </p:spPr>
        <p:style>
          <a:lnRef idx="2">
            <a:schemeClr val="dk1"/>
          </a:lnRef>
          <a:fillRef idx="0">
            <a:schemeClr val="dk1"/>
          </a:fillRef>
          <a:effectRef idx="1">
            <a:schemeClr val="dk1"/>
          </a:effectRef>
          <a:fontRef idx="minor">
            <a:schemeClr val="tx1"/>
          </a:fontRef>
        </p:style>
      </p:cxnSp>
      <p:cxnSp>
        <p:nvCxnSpPr>
          <p:cNvPr id="36" name="Straight Arrow Connector 35"/>
          <p:cNvCxnSpPr>
            <a:stCxn id="20" idx="3"/>
            <a:endCxn id="21" idx="1"/>
          </p:cNvCxnSpPr>
          <p:nvPr/>
        </p:nvCxnSpPr>
        <p:spPr bwMode="auto">
          <a:xfrm>
            <a:off x="5300813" y="3290492"/>
            <a:ext cx="1901790" cy="0"/>
          </a:xfrm>
          <a:prstGeom prst="straightConnector1">
            <a:avLst/>
          </a:prstGeom>
          <a:solidFill>
            <a:schemeClr val="accent1"/>
          </a:solidFill>
          <a:ln>
            <a:solidFill>
              <a:schemeClr val="accent1"/>
            </a:solidFill>
            <a:headEnd type="none" w="med" len="med"/>
            <a:tailEnd type="arrow"/>
          </a:ln>
        </p:spPr>
        <p:style>
          <a:lnRef idx="2">
            <a:schemeClr val="dk1"/>
          </a:lnRef>
          <a:fillRef idx="0">
            <a:schemeClr val="dk1"/>
          </a:fillRef>
          <a:effectRef idx="1">
            <a:schemeClr val="dk1"/>
          </a:effectRef>
          <a:fontRef idx="minor">
            <a:schemeClr val="tx1"/>
          </a:fontRef>
        </p:style>
      </p:cxnSp>
      <p:sp>
        <p:nvSpPr>
          <p:cNvPr id="37" name="Rectangle 36"/>
          <p:cNvSpPr/>
          <p:nvPr/>
        </p:nvSpPr>
        <p:spPr bwMode="auto">
          <a:xfrm>
            <a:off x="6902320" y="5392189"/>
            <a:ext cx="1101036" cy="488767"/>
          </a:xfrm>
          <a:prstGeom prst="rect">
            <a:avLst/>
          </a:pr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100" b="1" dirty="0" smtClean="0">
                <a:solidFill>
                  <a:schemeClr val="bg1"/>
                </a:solidFill>
                <a:latin typeface="Arial" charset="0"/>
              </a:rPr>
              <a:t>Networking</a:t>
            </a:r>
            <a:endParaRPr kumimoji="0" lang="en-US" sz="1100" b="1" i="0" u="none" strike="noStrike" cap="none" normalizeH="0" baseline="0" dirty="0" smtClean="0">
              <a:ln>
                <a:noFill/>
              </a:ln>
              <a:solidFill>
                <a:schemeClr val="bg1"/>
              </a:solidFill>
              <a:effectLst/>
              <a:latin typeface="Arial" charset="0"/>
            </a:endParaRPr>
          </a:p>
        </p:txBody>
      </p:sp>
      <p:cxnSp>
        <p:nvCxnSpPr>
          <p:cNvPr id="38" name="Straight Connector 37"/>
          <p:cNvCxnSpPr/>
          <p:nvPr/>
        </p:nvCxnSpPr>
        <p:spPr bwMode="auto">
          <a:xfrm>
            <a:off x="3699305" y="1911168"/>
            <a:ext cx="1" cy="157407"/>
          </a:xfrm>
          <a:prstGeom prst="line">
            <a:avLst/>
          </a:prstGeom>
          <a:solidFill>
            <a:schemeClr val="accent1"/>
          </a:solidFill>
          <a:ln>
            <a:solidFill>
              <a:schemeClr val="accent1"/>
            </a:solidFill>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39" name="Elbow Connector 38"/>
          <p:cNvCxnSpPr>
            <a:endCxn id="21" idx="0"/>
          </p:cNvCxnSpPr>
          <p:nvPr/>
        </p:nvCxnSpPr>
        <p:spPr bwMode="auto">
          <a:xfrm>
            <a:off x="3699306" y="2068575"/>
            <a:ext cx="4404146" cy="977534"/>
          </a:xfrm>
          <a:prstGeom prst="bentConnector2">
            <a:avLst/>
          </a:prstGeom>
          <a:solidFill>
            <a:schemeClr val="accent1"/>
          </a:solidFill>
          <a:ln>
            <a:solidFill>
              <a:schemeClr val="accent1"/>
            </a:solidFill>
            <a:headEnd type="none" w="med" len="med"/>
            <a:tailEnd type="arrow"/>
          </a:ln>
        </p:spPr>
        <p:style>
          <a:lnRef idx="2">
            <a:schemeClr val="dk1"/>
          </a:lnRef>
          <a:fillRef idx="0">
            <a:schemeClr val="dk1"/>
          </a:fillRef>
          <a:effectRef idx="1">
            <a:schemeClr val="dk1"/>
          </a:effectRef>
          <a:fontRef idx="minor">
            <a:schemeClr val="tx1"/>
          </a:fontRef>
        </p:style>
      </p:cxnSp>
      <p:sp>
        <p:nvSpPr>
          <p:cNvPr id="40" name="TextBox 39"/>
          <p:cNvSpPr txBox="1"/>
          <p:nvPr/>
        </p:nvSpPr>
        <p:spPr>
          <a:xfrm>
            <a:off x="2398081" y="3828135"/>
            <a:ext cx="800754" cy="215443"/>
          </a:xfrm>
          <a:prstGeom prst="rect">
            <a:avLst/>
          </a:prstGeom>
          <a:noFill/>
          <a:ln>
            <a:noFill/>
          </a:ln>
        </p:spPr>
        <p:txBody>
          <a:bodyPr wrap="square" rtlCol="0">
            <a:spAutoFit/>
          </a:bodyPr>
          <a:lstStyle/>
          <a:p>
            <a:r>
              <a:rPr lang="en-US" sz="800" b="0" dirty="0" smtClean="0"/>
              <a:t>Push</a:t>
            </a:r>
          </a:p>
        </p:txBody>
      </p:sp>
      <p:sp>
        <p:nvSpPr>
          <p:cNvPr id="41" name="TextBox 40"/>
          <p:cNvSpPr txBox="1"/>
          <p:nvPr/>
        </p:nvSpPr>
        <p:spPr>
          <a:xfrm>
            <a:off x="2398081" y="3437122"/>
            <a:ext cx="800754" cy="215443"/>
          </a:xfrm>
          <a:prstGeom prst="rect">
            <a:avLst/>
          </a:prstGeom>
          <a:noFill/>
          <a:ln>
            <a:noFill/>
          </a:ln>
        </p:spPr>
        <p:txBody>
          <a:bodyPr wrap="square" rtlCol="0">
            <a:spAutoFit/>
          </a:bodyPr>
          <a:lstStyle/>
          <a:p>
            <a:r>
              <a:rPr lang="en-US" sz="800" b="0" dirty="0" smtClean="0"/>
              <a:t>Pull</a:t>
            </a:r>
          </a:p>
        </p:txBody>
      </p:sp>
      <p:sp>
        <p:nvSpPr>
          <p:cNvPr id="42" name="TextBox 41"/>
          <p:cNvSpPr txBox="1"/>
          <p:nvPr/>
        </p:nvSpPr>
        <p:spPr>
          <a:xfrm>
            <a:off x="6101567" y="3328272"/>
            <a:ext cx="1000942" cy="215443"/>
          </a:xfrm>
          <a:prstGeom prst="rect">
            <a:avLst/>
          </a:prstGeom>
          <a:noFill/>
          <a:ln>
            <a:noFill/>
          </a:ln>
        </p:spPr>
        <p:txBody>
          <a:bodyPr wrap="square" rtlCol="0">
            <a:spAutoFit/>
          </a:bodyPr>
          <a:lstStyle/>
          <a:p>
            <a:r>
              <a:rPr lang="en-US" sz="800" dirty="0" smtClean="0"/>
              <a:t>Discover, publish</a:t>
            </a:r>
            <a:endParaRPr lang="en-US" sz="800" b="0" dirty="0" smtClean="0"/>
          </a:p>
        </p:txBody>
      </p:sp>
      <p:sp>
        <p:nvSpPr>
          <p:cNvPr id="43" name="TextBox 42"/>
          <p:cNvSpPr txBox="1"/>
          <p:nvPr/>
        </p:nvSpPr>
        <p:spPr>
          <a:xfrm>
            <a:off x="2498175" y="1911168"/>
            <a:ext cx="1000942" cy="215443"/>
          </a:xfrm>
          <a:prstGeom prst="rect">
            <a:avLst/>
          </a:prstGeom>
          <a:noFill/>
          <a:ln>
            <a:noFill/>
          </a:ln>
        </p:spPr>
        <p:txBody>
          <a:bodyPr wrap="square" rtlCol="0">
            <a:spAutoFit/>
          </a:bodyPr>
          <a:lstStyle/>
          <a:p>
            <a:r>
              <a:rPr lang="en-US" sz="800" b="0" dirty="0" smtClean="0"/>
              <a:t>Orchestrate</a:t>
            </a:r>
          </a:p>
        </p:txBody>
      </p:sp>
      <p:sp>
        <p:nvSpPr>
          <p:cNvPr id="44" name="TextBox 43"/>
          <p:cNvSpPr txBox="1"/>
          <p:nvPr/>
        </p:nvSpPr>
        <p:spPr>
          <a:xfrm>
            <a:off x="6902320" y="1775315"/>
            <a:ext cx="1000942" cy="215443"/>
          </a:xfrm>
          <a:prstGeom prst="rect">
            <a:avLst/>
          </a:prstGeom>
          <a:noFill/>
          <a:ln>
            <a:noFill/>
          </a:ln>
        </p:spPr>
        <p:txBody>
          <a:bodyPr wrap="square" rtlCol="0">
            <a:spAutoFit/>
          </a:bodyPr>
          <a:lstStyle/>
          <a:p>
            <a:r>
              <a:rPr lang="en-US" sz="800" b="0" dirty="0" smtClean="0"/>
              <a:t>Discover</a:t>
            </a:r>
          </a:p>
        </p:txBody>
      </p:sp>
      <p:sp>
        <p:nvSpPr>
          <p:cNvPr id="45" name="Rectangle 44"/>
          <p:cNvSpPr/>
          <p:nvPr/>
        </p:nvSpPr>
        <p:spPr bwMode="auto">
          <a:xfrm>
            <a:off x="7202603" y="3966009"/>
            <a:ext cx="1801696" cy="488767"/>
          </a:xfrm>
          <a:prstGeom prst="rect">
            <a:avLst/>
          </a:prstGeom>
          <a:solidFill>
            <a:schemeClr val="accent1"/>
          </a:solidFill>
          <a:ln>
            <a:solidFill>
              <a:schemeClr val="accent1"/>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US" sz="1200" b="1" dirty="0" smtClean="0">
                <a:solidFill>
                  <a:schemeClr val="bg1"/>
                </a:solidFill>
                <a:latin typeface="Arial" charset="0"/>
              </a:rPr>
              <a:t>Storage &amp; Persistence</a:t>
            </a:r>
            <a:endParaRPr kumimoji="0" lang="en-US" sz="1200" b="1" i="0" u="none" strike="noStrike" cap="none" normalizeH="0" baseline="0" dirty="0" smtClean="0">
              <a:ln>
                <a:noFill/>
              </a:ln>
              <a:solidFill>
                <a:schemeClr val="bg1"/>
              </a:solidFill>
              <a:effectLst/>
              <a:latin typeface="Arial" charset="0"/>
            </a:endParaRPr>
          </a:p>
        </p:txBody>
      </p:sp>
      <p:cxnSp>
        <p:nvCxnSpPr>
          <p:cNvPr id="46" name="Elbow Connector 45"/>
          <p:cNvCxnSpPr>
            <a:stCxn id="19" idx="3"/>
            <a:endCxn id="45" idx="1"/>
          </p:cNvCxnSpPr>
          <p:nvPr/>
        </p:nvCxnSpPr>
        <p:spPr bwMode="auto">
          <a:xfrm>
            <a:off x="5300813" y="3877012"/>
            <a:ext cx="1901790" cy="333381"/>
          </a:xfrm>
          <a:prstGeom prst="bentConnector3">
            <a:avLst/>
          </a:prstGeom>
          <a:solidFill>
            <a:schemeClr val="accent1"/>
          </a:solidFill>
          <a:ln>
            <a:solidFill>
              <a:schemeClr val="accent1"/>
            </a:solidFill>
            <a:headEnd type="none" w="med" len="med"/>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41070412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ocker Eco System</a:t>
            </a:r>
            <a:endParaRPr lang="en-US" dirty="0"/>
          </a:p>
        </p:txBody>
      </p:sp>
      <p:sp>
        <p:nvSpPr>
          <p:cNvPr id="4" name="Footer Placeholder 3"/>
          <p:cNvSpPr>
            <a:spLocks noGrp="1"/>
          </p:cNvSpPr>
          <p:nvPr>
            <p:ph type="ftr" sz="quarter" idx="12"/>
          </p:nvPr>
        </p:nvSpPr>
        <p:spPr/>
        <p:txBody>
          <a:bodyPr/>
          <a:lstStyle/>
          <a:p>
            <a:r>
              <a:rPr lang="en-US" smtClean="0"/>
              <a:t>Copyright © 2015 Accenture  All rights reserved.</a:t>
            </a:r>
            <a:endParaRPr lang="en-US"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9</a:t>
            </a:fld>
            <a:endParaRPr lang="en-US" dirty="0"/>
          </a:p>
        </p:txBody>
      </p:sp>
      <p:grpSp>
        <p:nvGrpSpPr>
          <p:cNvPr id="137" name="Group 136"/>
          <p:cNvGrpSpPr/>
          <p:nvPr/>
        </p:nvGrpSpPr>
        <p:grpSpPr>
          <a:xfrm>
            <a:off x="465138" y="1383896"/>
            <a:ext cx="11100687" cy="5083579"/>
            <a:chOff x="1413722" y="1848772"/>
            <a:chExt cx="8907567" cy="3741093"/>
          </a:xfrm>
        </p:grpSpPr>
        <p:pic>
          <p:nvPicPr>
            <p:cNvPr id="93" name="Picture 4" descr="http://4.bp.blogspot.com/-GZMlOlYs-7Y/VFg8j6wn9-I/AAAAAAAAAio/6bUa4PR7jk8/s1600/gcp-live-logo.pn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t="-3"/>
            <a:stretch/>
          </p:blipFill>
          <p:spPr bwMode="auto">
            <a:xfrm>
              <a:off x="8091470" y="3866180"/>
              <a:ext cx="432049" cy="38265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4" name="Picture 93" descr="http://technologiesreview.com/wp-content/uploads/2011/02/AWS_LOGO_CMYK.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473770" y="4478520"/>
              <a:ext cx="1085449" cy="380960"/>
            </a:xfrm>
            <a:prstGeom prst="rect">
              <a:avLst/>
            </a:prstGeom>
            <a:noFill/>
            <a:effectLst>
              <a:outerShdw blurRad="50800" dist="38100" dir="2700000" algn="tl" rotWithShape="0">
                <a:prstClr val="black">
                  <a:alpha val="40000"/>
                </a:prstClr>
              </a:outerShdw>
            </a:effectLst>
          </p:spPr>
        </p:pic>
        <p:pic>
          <p:nvPicPr>
            <p:cNvPr id="95" name="Picture 2" descr="http://www.opencloudconf.com/images/openshift_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148563" y="4401846"/>
              <a:ext cx="1169553" cy="17948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6" name="Picture 2" descr="http://blog.newrelic.com/wp-content/uploads/WindowsAzure_transparent1.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33135" y="4762103"/>
              <a:ext cx="1482325" cy="22474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97" name="Straight Connector 96"/>
            <p:cNvCxnSpPr/>
            <p:nvPr/>
          </p:nvCxnSpPr>
          <p:spPr bwMode="auto">
            <a:xfrm>
              <a:off x="5997082" y="4581753"/>
              <a:ext cx="914400" cy="914400"/>
            </a:xfrm>
            <a:prstGeom prst="line">
              <a:avLst/>
            </a:prstGeom>
            <a:solidFill>
              <a:srgbClr val="93A299"/>
            </a:solidFill>
            <a:ln w="9525" cap="flat" cmpd="sng" algn="ctr">
              <a:solidFill>
                <a:sysClr val="window" lastClr="FFFFFF"/>
              </a:solidFill>
              <a:prstDash val="solid"/>
              <a:round/>
              <a:headEnd type="none" w="med" len="med"/>
              <a:tailEnd type="none" w="med" len="med"/>
            </a:ln>
            <a:effectLst/>
          </p:spPr>
        </p:cxnSp>
        <p:pic>
          <p:nvPicPr>
            <p:cNvPr id="98" name="Picture 2" descr="https://c2a32ff18d23c8f567f0-e44b0df73868b5d567b1e58e01681d15.ssl.cf5.rackcdn.com/2013-11-11-peanut-butter-docker-time/docker-transparent-a007cb0b38b5ca059f2eaa2578a3c6a5.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150412" y="4581753"/>
              <a:ext cx="1302487" cy="1008112"/>
            </a:xfrm>
            <a:prstGeom prst="rect">
              <a:avLst/>
            </a:prstGeom>
            <a:noFill/>
            <a:extLst>
              <a:ext uri="{909E8E84-426E-40DD-AFC4-6F175D3DCCD1}">
                <a14:hiddenFill xmlns:a14="http://schemas.microsoft.com/office/drawing/2010/main">
                  <a:solidFill>
                    <a:srgbClr val="FFFFFF"/>
                  </a:solidFill>
                </a14:hiddenFill>
              </a:ext>
            </a:extLst>
          </p:spPr>
        </p:pic>
        <p:cxnSp>
          <p:nvCxnSpPr>
            <p:cNvPr id="99" name="Straight Connector 98"/>
            <p:cNvCxnSpPr/>
            <p:nvPr/>
          </p:nvCxnSpPr>
          <p:spPr bwMode="auto">
            <a:xfrm>
              <a:off x="6454282" y="5149444"/>
              <a:ext cx="3808698" cy="0"/>
            </a:xfrm>
            <a:prstGeom prst="line">
              <a:avLst/>
            </a:prstGeom>
            <a:noFill/>
            <a:ln w="9525" cap="flat" cmpd="sng" algn="ctr">
              <a:solidFill>
                <a:sysClr val="window" lastClr="FFFFFF">
                  <a:lumMod val="85000"/>
                </a:sysClr>
              </a:solidFill>
              <a:prstDash val="solid"/>
              <a:headEnd type="none" w="med" len="med"/>
              <a:tailEnd type="none" w="med" len="med"/>
            </a:ln>
            <a:effectLst/>
          </p:spPr>
        </p:cxnSp>
        <p:cxnSp>
          <p:nvCxnSpPr>
            <p:cNvPr id="100" name="Straight Connector 99"/>
            <p:cNvCxnSpPr/>
            <p:nvPr/>
          </p:nvCxnSpPr>
          <p:spPr bwMode="auto">
            <a:xfrm>
              <a:off x="1413722" y="5149444"/>
              <a:ext cx="3808698" cy="0"/>
            </a:xfrm>
            <a:prstGeom prst="line">
              <a:avLst/>
            </a:prstGeom>
            <a:noFill/>
            <a:ln w="9525" cap="flat" cmpd="sng" algn="ctr">
              <a:solidFill>
                <a:sysClr val="window" lastClr="FFFFFF">
                  <a:lumMod val="85000"/>
                </a:sysClr>
              </a:solidFill>
              <a:prstDash val="solid"/>
              <a:headEnd type="none" w="med" len="med"/>
              <a:tailEnd type="none" w="med" len="med"/>
            </a:ln>
            <a:effectLst/>
          </p:spPr>
        </p:cxnSp>
        <p:cxnSp>
          <p:nvCxnSpPr>
            <p:cNvPr id="101" name="Straight Connector 100"/>
            <p:cNvCxnSpPr/>
            <p:nvPr/>
          </p:nvCxnSpPr>
          <p:spPr bwMode="auto">
            <a:xfrm flipH="1" flipV="1">
              <a:off x="2034392" y="2680573"/>
              <a:ext cx="3147769" cy="1988427"/>
            </a:xfrm>
            <a:prstGeom prst="line">
              <a:avLst/>
            </a:prstGeom>
            <a:noFill/>
            <a:ln w="9525" cap="flat" cmpd="sng" algn="ctr">
              <a:solidFill>
                <a:sysClr val="window" lastClr="FFFFFF">
                  <a:lumMod val="85000"/>
                </a:sysClr>
              </a:solidFill>
              <a:prstDash val="solid"/>
              <a:headEnd type="none" w="med" len="med"/>
              <a:tailEnd type="none" w="med" len="med"/>
            </a:ln>
            <a:effectLst/>
          </p:spPr>
        </p:cxnSp>
        <p:cxnSp>
          <p:nvCxnSpPr>
            <p:cNvPr id="102" name="Straight Connector 101"/>
            <p:cNvCxnSpPr/>
            <p:nvPr/>
          </p:nvCxnSpPr>
          <p:spPr bwMode="auto">
            <a:xfrm flipV="1">
              <a:off x="5831717" y="1874365"/>
              <a:ext cx="0" cy="2576669"/>
            </a:xfrm>
            <a:prstGeom prst="line">
              <a:avLst/>
            </a:prstGeom>
            <a:noFill/>
            <a:ln w="9525" cap="flat" cmpd="sng" algn="ctr">
              <a:solidFill>
                <a:sysClr val="window" lastClr="FFFFFF">
                  <a:lumMod val="85000"/>
                </a:sysClr>
              </a:solidFill>
              <a:prstDash val="solid"/>
              <a:headEnd type="none" w="med" len="med"/>
              <a:tailEnd type="none" w="med" len="med"/>
            </a:ln>
            <a:effectLst/>
          </p:spPr>
        </p:cxnSp>
        <p:cxnSp>
          <p:nvCxnSpPr>
            <p:cNvPr id="103" name="Straight Connector 102"/>
            <p:cNvCxnSpPr/>
            <p:nvPr/>
          </p:nvCxnSpPr>
          <p:spPr bwMode="auto">
            <a:xfrm flipV="1">
              <a:off x="6525920" y="2674453"/>
              <a:ext cx="3157457" cy="1994547"/>
            </a:xfrm>
            <a:prstGeom prst="line">
              <a:avLst/>
            </a:prstGeom>
            <a:noFill/>
            <a:ln w="9525" cap="flat" cmpd="sng" algn="ctr">
              <a:solidFill>
                <a:sysClr val="window" lastClr="FFFFFF">
                  <a:lumMod val="85000"/>
                </a:sysClr>
              </a:solidFill>
              <a:prstDash val="solid"/>
              <a:headEnd type="none" w="med" len="med"/>
              <a:tailEnd type="none" w="med" len="med"/>
            </a:ln>
            <a:effectLst/>
          </p:spPr>
        </p:cxnSp>
        <p:pic>
          <p:nvPicPr>
            <p:cNvPr id="104" name="Picture 6" descr="http://coreos.com/assets/images/brand/coreos-wordmark-horiz-color.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142687" y="4012978"/>
              <a:ext cx="881384" cy="3412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5" name="Picture 104" descr="Screen Clippi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158065" y="3312650"/>
              <a:ext cx="416916" cy="453537"/>
            </a:xfrm>
            <a:prstGeom prst="rect">
              <a:avLst/>
            </a:prstGeom>
            <a:effectLst>
              <a:outerShdw blurRad="50800" dist="38100" dir="2700000" algn="tl" rotWithShape="0">
                <a:prstClr val="black">
                  <a:alpha val="40000"/>
                </a:prstClr>
              </a:outerShdw>
            </a:effectLst>
          </p:spPr>
        </p:pic>
        <p:pic>
          <p:nvPicPr>
            <p:cNvPr id="106" name="Picture 8" descr="http://socketplane.io/static/img/icon_512x512.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021598" y="3766187"/>
              <a:ext cx="499150" cy="4991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7" name="Picture 10" descr="https://wiki.jenkins-ci.org/download/attachments/2916393/logo.png?version=1&amp;modificationDate=1302753947000"/>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372043" y="3459422"/>
              <a:ext cx="336814" cy="4660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8" name="TextBox 107"/>
            <p:cNvSpPr txBox="1"/>
            <p:nvPr/>
          </p:nvSpPr>
          <p:spPr>
            <a:xfrm>
              <a:off x="4043208" y="4739259"/>
              <a:ext cx="720080" cy="226498"/>
            </a:xfrm>
            <a:prstGeom prst="rect">
              <a:avLst/>
            </a:prstGeom>
            <a:solidFill>
              <a:srgbClr val="B6BDC2"/>
            </a:solidFill>
            <a:ln w="25400" cap="flat" cmpd="sng" algn="ctr">
              <a:noFill/>
              <a:prstDash val="solid"/>
            </a:ln>
            <a:effectLst>
              <a:outerShdw blurRad="50800" dist="38100" dir="2700000" algn="tl" rotWithShape="0">
                <a:prstClr val="black">
                  <a:alpha val="40000"/>
                </a:prstClr>
              </a:outerShdw>
            </a:effectLst>
          </p:spPr>
          <p:txBody>
            <a:bodyPr wrap="square" rtlCol="0">
              <a:spAutoFit/>
            </a:bodyPr>
            <a:lstStyle>
              <a:defPPr>
                <a:defRPr lang="en-US"/>
              </a:defPPr>
              <a:lvl1pPr algn="ctr">
                <a:defRPr sz="1050" b="1">
                  <a:solidFill>
                    <a:schemeClr val="tx1"/>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Weave</a:t>
              </a:r>
            </a:p>
          </p:txBody>
        </p:sp>
        <p:sp>
          <p:nvSpPr>
            <p:cNvPr id="109" name="TextBox 108"/>
            <p:cNvSpPr txBox="1"/>
            <p:nvPr/>
          </p:nvSpPr>
          <p:spPr>
            <a:xfrm>
              <a:off x="3103552" y="4663452"/>
              <a:ext cx="720080" cy="226498"/>
            </a:xfrm>
            <a:prstGeom prst="rect">
              <a:avLst/>
            </a:prstGeom>
            <a:solidFill>
              <a:srgbClr val="B6BDC2"/>
            </a:solidFill>
            <a:ln w="25400" cap="flat" cmpd="sng" algn="ctr">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Arial"/>
                  <a:ea typeface="+mn-ea"/>
                  <a:cs typeface="+mn-cs"/>
                </a:rPr>
                <a:t>Flannel</a:t>
              </a:r>
            </a:p>
          </p:txBody>
        </p:sp>
        <p:sp>
          <p:nvSpPr>
            <p:cNvPr id="110" name="TextBox 109"/>
            <p:cNvSpPr txBox="1"/>
            <p:nvPr/>
          </p:nvSpPr>
          <p:spPr>
            <a:xfrm>
              <a:off x="3823632" y="4331421"/>
              <a:ext cx="720080" cy="226498"/>
            </a:xfrm>
            <a:prstGeom prst="rect">
              <a:avLst/>
            </a:prstGeom>
            <a:solidFill>
              <a:srgbClr val="B6BDC2"/>
            </a:solidFill>
            <a:ln w="25400" cap="flat" cmpd="sng" algn="ctr">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Arial"/>
                  <a:ea typeface="+mn-ea"/>
                  <a:cs typeface="+mn-cs"/>
                </a:rPr>
                <a:t>Fleet</a:t>
              </a:r>
            </a:p>
          </p:txBody>
        </p:sp>
        <p:pic>
          <p:nvPicPr>
            <p:cNvPr id="111" name="Picture 110" descr="Screen Clippi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116076" y="3155786"/>
              <a:ext cx="482469" cy="487705"/>
            </a:xfrm>
            <a:prstGeom prst="rect">
              <a:avLst/>
            </a:prstGeom>
          </p:spPr>
        </p:pic>
        <p:sp>
          <p:nvSpPr>
            <p:cNvPr id="112" name="TextBox 111"/>
            <p:cNvSpPr txBox="1"/>
            <p:nvPr/>
          </p:nvSpPr>
          <p:spPr>
            <a:xfrm>
              <a:off x="6878604" y="3576212"/>
              <a:ext cx="985869" cy="226498"/>
            </a:xfrm>
            <a:prstGeom prst="rect">
              <a:avLst/>
            </a:prstGeom>
            <a:noFill/>
          </p:spPr>
          <p:txBody>
            <a:bodyPr wrap="square" rtlCol="0">
              <a:spAutoFit/>
            </a:bodyPr>
            <a:lstStyle/>
            <a:p>
              <a:pPr algn="ctr" fontAlgn="auto">
                <a:spcBef>
                  <a:spcPts val="0"/>
                </a:spcBef>
                <a:spcAft>
                  <a:spcPts val="0"/>
                </a:spcAft>
              </a:pPr>
              <a:r>
                <a:rPr lang="en-US" sz="1400" dirty="0" err="1" smtClean="0">
                  <a:solidFill>
                    <a:prstClr val="black"/>
                  </a:solidFill>
                  <a:latin typeface="Arial"/>
                  <a:cs typeface="+mn-cs"/>
                </a:rPr>
                <a:t>Kubernetes</a:t>
              </a:r>
              <a:endParaRPr lang="en-US" sz="1400" dirty="0" smtClean="0">
                <a:solidFill>
                  <a:prstClr val="black"/>
                </a:solidFill>
                <a:latin typeface="Arial"/>
                <a:cs typeface="+mn-cs"/>
              </a:endParaRPr>
            </a:p>
          </p:txBody>
        </p:sp>
        <p:pic>
          <p:nvPicPr>
            <p:cNvPr id="113" name="Picture 16" descr="http://www.vmware.com/files/images/vmrc/VMware_logo_gry_RGB_300dpi.jpg"/>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8781722" y="3742203"/>
              <a:ext cx="1040904" cy="176425"/>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8" descr="http://static.squarespace.com/static/524cf70fe4b05018590c3fb3/t/52718a36e4b079ec23e2c895/1383172756774/SaltStack+logo+-+black+on+white.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825814" y="2828896"/>
              <a:ext cx="850968" cy="53270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0" descr="http://design.ubuntu.com/wp-content/uploads/logo-ubuntu_no%C2%AE-black_orange-hex.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736218" y="3135040"/>
              <a:ext cx="787301" cy="17761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2" descr="http://www.theinquirer.net/IMG/471/165471/redhat-logo.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620099" y="2645334"/>
              <a:ext cx="470331" cy="517365"/>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3835849" y="2884231"/>
              <a:ext cx="872232" cy="625203"/>
              <a:chOff x="2259608" y="2173045"/>
              <a:chExt cx="872232" cy="625203"/>
            </a:xfrm>
          </p:grpSpPr>
          <p:pic>
            <p:nvPicPr>
              <p:cNvPr id="118" name="Picture 24" descr="https://consul.io/assets/images/feature-discovery@2x-e2a08445.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2452287" y="2173045"/>
                <a:ext cx="486875" cy="486875"/>
              </a:xfrm>
              <a:prstGeom prst="rect">
                <a:avLst/>
              </a:prstGeom>
              <a:noFill/>
              <a:extLst>
                <a:ext uri="{909E8E84-426E-40DD-AFC4-6F175D3DCCD1}">
                  <a14:hiddenFill xmlns:a14="http://schemas.microsoft.com/office/drawing/2010/main">
                    <a:solidFill>
                      <a:srgbClr val="FFFFFF"/>
                    </a:solidFill>
                  </a14:hiddenFill>
                </a:ext>
              </a:extLst>
            </p:spPr>
          </p:pic>
          <p:sp>
            <p:nvSpPr>
              <p:cNvPr id="119" name="TextBox 118"/>
              <p:cNvSpPr txBox="1"/>
              <p:nvPr/>
            </p:nvSpPr>
            <p:spPr>
              <a:xfrm>
                <a:off x="2259608" y="2571750"/>
                <a:ext cx="872232" cy="226498"/>
              </a:xfrm>
              <a:prstGeom prst="rect">
                <a:avLst/>
              </a:prstGeom>
              <a:noFill/>
            </p:spPr>
            <p:txBody>
              <a:bodyPr wrap="square" rtlCol="0">
                <a:spAutoFit/>
              </a:bodyPr>
              <a:lstStyle/>
              <a:p>
                <a:pPr algn="ctr" fontAlgn="auto">
                  <a:spcBef>
                    <a:spcPts val="0"/>
                  </a:spcBef>
                  <a:spcAft>
                    <a:spcPts val="0"/>
                  </a:spcAft>
                </a:pPr>
                <a:r>
                  <a:rPr lang="en-US" sz="1400" dirty="0" smtClean="0">
                    <a:solidFill>
                      <a:prstClr val="black"/>
                    </a:solidFill>
                    <a:latin typeface="Arial"/>
                    <a:cs typeface="+mn-cs"/>
                  </a:rPr>
                  <a:t>Consul</a:t>
                </a:r>
              </a:p>
            </p:txBody>
          </p:sp>
        </p:grpSp>
        <p:sp>
          <p:nvSpPr>
            <p:cNvPr id="120" name="TextBox 119"/>
            <p:cNvSpPr txBox="1"/>
            <p:nvPr/>
          </p:nvSpPr>
          <p:spPr>
            <a:xfrm>
              <a:off x="7705180" y="2674453"/>
              <a:ext cx="798936" cy="385047"/>
            </a:xfrm>
            <a:prstGeom prst="rect">
              <a:avLst/>
            </a:prstGeom>
            <a:solidFill>
              <a:srgbClr val="B6BDC2"/>
            </a:solidFill>
            <a:ln w="25400" cap="flat" cmpd="sng" algn="ctr">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Arial"/>
                  <a:ea typeface="+mn-ea"/>
                  <a:cs typeface="+mn-cs"/>
                </a:rPr>
                <a:t>Panamax.io</a:t>
              </a:r>
            </a:p>
          </p:txBody>
        </p:sp>
        <p:pic>
          <p:nvPicPr>
            <p:cNvPr id="121" name="Picture 26" descr="http://innohub-hamburg.de/wp-content/uploads/2014/06/MesosphereLogo.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6961" t="24771" r="5328" b="25492"/>
            <a:stretch/>
          </p:blipFill>
          <p:spPr bwMode="auto">
            <a:xfrm>
              <a:off x="6126286" y="2211857"/>
              <a:ext cx="1348011" cy="256764"/>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1" descr="Screen Clippi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735891" y="2136487"/>
              <a:ext cx="843649" cy="308557"/>
            </a:xfrm>
            <a:prstGeom prst="rect">
              <a:avLst/>
            </a:prstGeom>
          </p:spPr>
        </p:pic>
        <p:grpSp>
          <p:nvGrpSpPr>
            <p:cNvPr id="123" name="Group 122"/>
            <p:cNvGrpSpPr/>
            <p:nvPr/>
          </p:nvGrpSpPr>
          <p:grpSpPr>
            <a:xfrm>
              <a:off x="9247261" y="3036948"/>
              <a:ext cx="872232" cy="601466"/>
              <a:chOff x="8164264" y="2485394"/>
              <a:chExt cx="872232" cy="601466"/>
            </a:xfrm>
          </p:grpSpPr>
          <p:pic>
            <p:nvPicPr>
              <p:cNvPr id="124" name="Picture 30" descr="https://www.tutum.co/static/images/con_tutum.png"/>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0828" t="11697" r="10102" b="12827"/>
              <a:stretch/>
            </p:blipFill>
            <p:spPr bwMode="auto">
              <a:xfrm>
                <a:off x="8333387" y="2485394"/>
                <a:ext cx="533986" cy="509714"/>
              </a:xfrm>
              <a:prstGeom prst="rect">
                <a:avLst/>
              </a:prstGeom>
              <a:noFill/>
              <a:extLst>
                <a:ext uri="{909E8E84-426E-40DD-AFC4-6F175D3DCCD1}">
                  <a14:hiddenFill xmlns:a14="http://schemas.microsoft.com/office/drawing/2010/main">
                    <a:solidFill>
                      <a:srgbClr val="FFFFFF"/>
                    </a:solidFill>
                  </a14:hiddenFill>
                </a:ext>
              </a:extLst>
            </p:spPr>
          </p:pic>
          <p:sp>
            <p:nvSpPr>
              <p:cNvPr id="125" name="TextBox 124"/>
              <p:cNvSpPr txBox="1"/>
              <p:nvPr/>
            </p:nvSpPr>
            <p:spPr>
              <a:xfrm>
                <a:off x="8164264" y="2860362"/>
                <a:ext cx="872232" cy="226498"/>
              </a:xfrm>
              <a:prstGeom prst="rect">
                <a:avLst/>
              </a:prstGeom>
              <a:noFill/>
            </p:spPr>
            <p:txBody>
              <a:bodyPr wrap="square" rtlCol="0">
                <a:spAutoFit/>
              </a:bodyPr>
              <a:lstStyle/>
              <a:p>
                <a:pPr algn="ctr" fontAlgn="auto">
                  <a:spcBef>
                    <a:spcPts val="0"/>
                  </a:spcBef>
                  <a:spcAft>
                    <a:spcPts val="0"/>
                  </a:spcAft>
                </a:pPr>
                <a:r>
                  <a:rPr lang="en-US" sz="1400" dirty="0" smtClean="0">
                    <a:solidFill>
                      <a:prstClr val="black"/>
                    </a:solidFill>
                    <a:latin typeface="Arial"/>
                    <a:cs typeface="+mn-cs"/>
                  </a:rPr>
                  <a:t>Tutum.co</a:t>
                </a:r>
              </a:p>
            </p:txBody>
          </p:sp>
        </p:grpSp>
        <p:pic>
          <p:nvPicPr>
            <p:cNvPr id="126" name="Picture 32" descr="deis logo"/>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9144963" y="4158850"/>
              <a:ext cx="635586" cy="153154"/>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p:cNvSpPr txBox="1"/>
            <p:nvPr/>
          </p:nvSpPr>
          <p:spPr>
            <a:xfrm>
              <a:off x="4416154" y="2427544"/>
              <a:ext cx="720080" cy="226498"/>
            </a:xfrm>
            <a:prstGeom prst="rect">
              <a:avLst/>
            </a:prstGeom>
            <a:solidFill>
              <a:srgbClr val="B6BDC2"/>
            </a:solidFill>
            <a:ln w="25400" cap="flat" cmpd="sng" algn="ctr">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smtClean="0">
                  <a:ln>
                    <a:noFill/>
                  </a:ln>
                  <a:solidFill>
                    <a:prstClr val="white"/>
                  </a:solidFill>
                  <a:effectLst/>
                  <a:uLnTx/>
                  <a:uFillTx/>
                  <a:latin typeface="Arial"/>
                  <a:ea typeface="+mn-ea"/>
                  <a:cs typeface="+mn-cs"/>
                </a:rPr>
                <a:t>etcd</a:t>
              </a:r>
              <a:endParaRPr kumimoji="0" lang="en-US" sz="1400" b="1" i="0" u="none" strike="noStrike" kern="0" cap="none" spc="0" normalizeH="0" baseline="0" noProof="0" dirty="0" smtClean="0">
                <a:ln>
                  <a:noFill/>
                </a:ln>
                <a:solidFill>
                  <a:prstClr val="white"/>
                </a:solidFill>
                <a:effectLst/>
                <a:uLnTx/>
                <a:uFillTx/>
                <a:latin typeface="Arial"/>
                <a:ea typeface="+mn-ea"/>
                <a:cs typeface="+mn-cs"/>
              </a:endParaRPr>
            </a:p>
          </p:txBody>
        </p:sp>
        <p:sp>
          <p:nvSpPr>
            <p:cNvPr id="128" name="TextBox 127"/>
            <p:cNvSpPr txBox="1"/>
            <p:nvPr/>
          </p:nvSpPr>
          <p:spPr>
            <a:xfrm rot="5400000">
              <a:off x="9222774" y="3983107"/>
              <a:ext cx="1925364" cy="271667"/>
            </a:xfrm>
            <a:prstGeom prst="rect">
              <a:avLst/>
            </a:prstGeom>
            <a:noFill/>
          </p:spPr>
          <p:txBody>
            <a:bodyPr wrap="square" rtlCol="0">
              <a:spAutoFit/>
            </a:bodyPr>
            <a:lstStyle/>
            <a:p>
              <a:pPr fontAlgn="auto">
                <a:spcBef>
                  <a:spcPts val="0"/>
                </a:spcBef>
                <a:spcAft>
                  <a:spcPts val="0"/>
                </a:spcAft>
              </a:pPr>
              <a:r>
                <a:rPr lang="en-US" sz="1600" b="1" dirty="0" smtClean="0">
                  <a:solidFill>
                    <a:prstClr val="black"/>
                  </a:solidFill>
                  <a:latin typeface="Arial"/>
                  <a:cs typeface="+mn-cs"/>
                </a:rPr>
                <a:t>Vendors &amp; Infrastructure</a:t>
              </a:r>
            </a:p>
          </p:txBody>
        </p:sp>
        <p:sp>
          <p:nvSpPr>
            <p:cNvPr id="129" name="TextBox 128"/>
            <p:cNvSpPr txBox="1"/>
            <p:nvPr/>
          </p:nvSpPr>
          <p:spPr>
            <a:xfrm rot="1155950">
              <a:off x="7976809" y="1848772"/>
              <a:ext cx="1728651" cy="249148"/>
            </a:xfrm>
            <a:prstGeom prst="rect">
              <a:avLst/>
            </a:prstGeom>
            <a:noFill/>
          </p:spPr>
          <p:txBody>
            <a:bodyPr wrap="square" rtlCol="0">
              <a:spAutoFit/>
            </a:bodyPr>
            <a:lstStyle/>
            <a:p>
              <a:pPr algn="ctr" fontAlgn="auto">
                <a:spcBef>
                  <a:spcPts val="0"/>
                </a:spcBef>
                <a:spcAft>
                  <a:spcPts val="0"/>
                </a:spcAft>
              </a:pPr>
              <a:r>
                <a:rPr lang="en-US" sz="1600" b="1" dirty="0" smtClean="0">
                  <a:solidFill>
                    <a:prstClr val="black"/>
                  </a:solidFill>
                  <a:latin typeface="Arial"/>
                  <a:cs typeface="+mn-cs"/>
                </a:rPr>
                <a:t>Platforms</a:t>
              </a:r>
            </a:p>
          </p:txBody>
        </p:sp>
        <p:sp>
          <p:nvSpPr>
            <p:cNvPr id="130" name="TextBox 129"/>
            <p:cNvSpPr txBox="1"/>
            <p:nvPr/>
          </p:nvSpPr>
          <p:spPr>
            <a:xfrm rot="20282206">
              <a:off x="2395137" y="1906418"/>
              <a:ext cx="1939363" cy="430346"/>
            </a:xfrm>
            <a:prstGeom prst="rect">
              <a:avLst/>
            </a:prstGeom>
            <a:noFill/>
          </p:spPr>
          <p:txBody>
            <a:bodyPr wrap="square" rtlCol="0">
              <a:spAutoFit/>
            </a:bodyPr>
            <a:lstStyle/>
            <a:p>
              <a:pPr fontAlgn="auto">
                <a:spcBef>
                  <a:spcPts val="0"/>
                </a:spcBef>
                <a:spcAft>
                  <a:spcPts val="0"/>
                </a:spcAft>
              </a:pPr>
              <a:r>
                <a:rPr lang="en-US" sz="1600" b="1" dirty="0" smtClean="0">
                  <a:solidFill>
                    <a:prstClr val="black"/>
                  </a:solidFill>
                  <a:latin typeface="Arial"/>
                  <a:cs typeface="+mn-cs"/>
                </a:rPr>
                <a:t>Supporting components</a:t>
              </a:r>
            </a:p>
          </p:txBody>
        </p:sp>
        <p:sp>
          <p:nvSpPr>
            <p:cNvPr id="131" name="TextBox 130"/>
            <p:cNvSpPr txBox="1"/>
            <p:nvPr/>
          </p:nvSpPr>
          <p:spPr>
            <a:xfrm rot="16200000">
              <a:off x="1144228" y="3921870"/>
              <a:ext cx="1728651" cy="271667"/>
            </a:xfrm>
            <a:prstGeom prst="rect">
              <a:avLst/>
            </a:prstGeom>
            <a:noFill/>
          </p:spPr>
          <p:txBody>
            <a:bodyPr wrap="square" rtlCol="0">
              <a:spAutoFit/>
            </a:bodyPr>
            <a:lstStyle/>
            <a:p>
              <a:pPr algn="ctr" fontAlgn="auto">
                <a:spcBef>
                  <a:spcPts val="0"/>
                </a:spcBef>
                <a:spcAft>
                  <a:spcPts val="0"/>
                </a:spcAft>
              </a:pPr>
              <a:r>
                <a:rPr lang="en-US" sz="1600" b="1" dirty="0" smtClean="0">
                  <a:solidFill>
                    <a:prstClr val="black"/>
                  </a:solidFill>
                  <a:latin typeface="Arial"/>
                  <a:cs typeface="+mn-cs"/>
                </a:rPr>
                <a:t>Core extensions</a:t>
              </a:r>
            </a:p>
          </p:txBody>
        </p:sp>
        <p:pic>
          <p:nvPicPr>
            <p:cNvPr id="132" name="Picture 34" descr="https://quay.io/static/img/quay-logo.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257347" y="3194419"/>
              <a:ext cx="675602" cy="236461"/>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36" descr="http://inedo.com/files/buildmaster-extension-logos/artifactory/Larg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951075" y="2038673"/>
              <a:ext cx="749845" cy="149969"/>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38" descr="https://d23f6h5jpj26xu.cloudfront.net/mitchellh_24702982422030_small.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961570" y="2710985"/>
              <a:ext cx="1011002" cy="259491"/>
            </a:xfrm>
            <a:prstGeom prst="rect">
              <a:avLst/>
            </a:prstGeom>
            <a:noFill/>
            <a:extLst>
              <a:ext uri="{909E8E84-426E-40DD-AFC4-6F175D3DCCD1}">
                <a14:hiddenFill xmlns:a14="http://schemas.microsoft.com/office/drawing/2010/main">
                  <a:solidFill>
                    <a:srgbClr val="FFFFFF"/>
                  </a:solidFill>
                </a14:hiddenFill>
              </a:ext>
            </a:extLst>
          </p:spPr>
        </p:pic>
        <p:sp>
          <p:nvSpPr>
            <p:cNvPr id="135" name="TextBox 134"/>
            <p:cNvSpPr txBox="1"/>
            <p:nvPr/>
          </p:nvSpPr>
          <p:spPr>
            <a:xfrm>
              <a:off x="2459538" y="3774504"/>
              <a:ext cx="845105" cy="226498"/>
            </a:xfrm>
            <a:prstGeom prst="rect">
              <a:avLst/>
            </a:prstGeom>
            <a:solidFill>
              <a:srgbClr val="B6BDC2"/>
            </a:solidFill>
            <a:ln w="25400" cap="flat" cmpd="sng" algn="ctr">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smtClean="0">
                  <a:ln>
                    <a:noFill/>
                  </a:ln>
                  <a:solidFill>
                    <a:prstClr val="white"/>
                  </a:solidFill>
                  <a:effectLst/>
                  <a:uLnTx/>
                  <a:uFillTx/>
                  <a:latin typeface="Arial"/>
                  <a:ea typeface="+mn-ea"/>
                  <a:cs typeface="+mn-cs"/>
                </a:rPr>
                <a:t>cAdvisor</a:t>
              </a:r>
              <a:endParaRPr kumimoji="0" lang="en-US" sz="1400" b="1" i="0" u="none" strike="noStrike" kern="0" cap="none" spc="0" normalizeH="0" baseline="0" noProof="0" dirty="0" smtClean="0">
                <a:ln>
                  <a:noFill/>
                </a:ln>
                <a:solidFill>
                  <a:prstClr val="white"/>
                </a:solidFill>
                <a:effectLst/>
                <a:uLnTx/>
                <a:uFillTx/>
                <a:latin typeface="Arial"/>
                <a:ea typeface="+mn-ea"/>
                <a:cs typeface="+mn-cs"/>
              </a:endParaRPr>
            </a:p>
          </p:txBody>
        </p:sp>
        <p:sp>
          <p:nvSpPr>
            <p:cNvPr id="136" name="TextBox 135"/>
            <p:cNvSpPr txBox="1"/>
            <p:nvPr/>
          </p:nvSpPr>
          <p:spPr>
            <a:xfrm>
              <a:off x="2388510" y="4358333"/>
              <a:ext cx="720080" cy="230832"/>
            </a:xfrm>
            <a:prstGeom prst="rect">
              <a:avLst/>
            </a:prstGeom>
            <a:solidFill>
              <a:srgbClr val="B6BDC2"/>
            </a:solidFill>
            <a:ln w="25400" cap="flat" cmpd="sng" algn="ctr">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smtClean="0">
                  <a:ln>
                    <a:noFill/>
                  </a:ln>
                  <a:solidFill>
                    <a:prstClr val="white"/>
                  </a:solidFill>
                  <a:effectLst/>
                  <a:uLnTx/>
                  <a:uFillTx/>
                  <a:latin typeface="Arial"/>
                  <a:ea typeface="+mn-ea"/>
                  <a:cs typeface="+mn-cs"/>
                </a:rPr>
                <a:t>nsenter</a:t>
              </a:r>
              <a:endParaRPr kumimoji="0" lang="en-US" sz="1400" b="1" i="0" u="none" strike="noStrike" kern="0" cap="none" spc="0" normalizeH="0" baseline="0" noProof="0" dirty="0" smtClean="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3516344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a7249ff9137735267271cf6681d731abd3c386"/>
  <p:tag name="ISPRING_RESOURCE_PATHS_HASH_PRESENTER" val="82532151e9c97188e16f22f45bdf5aa2725d3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TP.axGkOEeI1LZ9Jq0J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_Color_Top_16-9">
  <a:themeElements>
    <a:clrScheme name="External Operations 2014">
      <a:dk1>
        <a:srgbClr val="000000"/>
      </a:dk1>
      <a:lt1>
        <a:srgbClr val="FFFFFF"/>
      </a:lt1>
      <a:dk2>
        <a:srgbClr val="666666"/>
      </a:dk2>
      <a:lt2>
        <a:srgbClr val="778888"/>
      </a:lt2>
      <a:accent1>
        <a:srgbClr val="00BBEE"/>
      </a:accent1>
      <a:accent2>
        <a:srgbClr val="003344"/>
      </a:accent2>
      <a:accent3>
        <a:srgbClr val="FFDD00"/>
      </a:accent3>
      <a:accent4>
        <a:srgbClr val="551155"/>
      </a:accent4>
      <a:accent5>
        <a:srgbClr val="00AA99"/>
      </a:accent5>
      <a:accent6>
        <a:srgbClr val="FF3366"/>
      </a:accent6>
      <a:hlink>
        <a:srgbClr val="993399"/>
      </a:hlink>
      <a:folHlink>
        <a:srgbClr val="99339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DC863457EAD5CE4A8D2722C2A8C57D37" ma:contentTypeVersion="0" ma:contentTypeDescription="General Contribution" ma:contentTypeScope="" ma:versionID="48198adef7ec94bc556e880027c053ab">
  <xsd:schema xmlns:xsd="http://www.w3.org/2001/XMLSchema" xmlns:p="http://schemas.microsoft.com/office/2006/metadata/properties" xmlns:ns1="http://schemas.microsoft.com/sharepoint/v3" targetNamespace="http://schemas.microsoft.com/office/2006/metadata/properties" ma:root="true" ma:fieldsID="9dd111334bc0ab7d776ce8fd7d1d9d4b"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RevisionTime" minOccurs="0"/>
                <xsd:element ref="ns1:RevisionBy" minOccurs="0"/>
                <xsd:element ref="ns1:flagVVID" minOccurs="0"/>
                <xsd:element ref="ns1:DateCreated" minOccurs="0"/>
                <xsd:element ref="ns1:SubmittedBy" minOccurs="0"/>
                <xsd:element ref="ns1:KXGeography" minOccurs="0"/>
                <xsd:element ref="ns1:HasAttachment" minOccurs="0"/>
                <xsd:element ref="ns1:VisibleToAsset" minOccurs="0"/>
                <xsd:element ref="ns1:OfficialAsset" minOccurs="0"/>
                <xsd:element ref="ns1:SourceType" minOccurs="0"/>
                <xsd:element ref="ns1:RestrictedClient" minOccurs="0"/>
                <xsd:element ref="ns1:KXThumbnailURL" minOccurs="0"/>
                <xsd:element ref="ns1:OpportunityCharacteristics" minOccurs="0"/>
                <xsd:element ref="ns1:RelatedContent"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RevisionTime" ma:index="28" nillable="true" ma:displayName="Revision Time" ma:internalName="RevisionTime">
      <xsd:simpleType>
        <xsd:restriction base="dms:Note"/>
      </xsd:simpleType>
    </xsd:element>
    <xsd:element name="RevisionBy" ma:index="29" nillable="true" ma:displayName="Revision By" ma:internalName="RevisionBy">
      <xsd:simpleType>
        <xsd:restriction base="dms:Note"/>
      </xsd:simpleType>
    </xsd:element>
    <xsd:element name="flagVVID" ma:index="30" nillable="true" ma:displayName="flagVVID" ma:internalName="flagVVID">
      <xsd:simpleType>
        <xsd:restriction base="dms:Text"/>
      </xsd:simpleType>
    </xsd:element>
    <xsd:element name="DateCreated" ma:index="31" nillable="true" ma:displayName="Date Created" ma:internalName="DateCreated">
      <xsd:simpleType>
        <xsd:restriction base="dms:DateTime"/>
      </xsd:simpleType>
    </xsd:element>
    <xsd:element name="SubmittedBy" ma:index="32" nillable="true" ma:displayName="Submitted By" ma:internalName="SubmittedBy">
      <xsd:simpleType>
        <xsd:restriction base="dms:Text"/>
      </xsd:simpleType>
    </xsd:element>
    <xsd:element name="KXGeography" ma:index="33" nillable="true" ma:displayName="KXGeography" ma:internalName="KXGeography">
      <xsd:simpleType>
        <xsd:restriction base="dms:Note"/>
      </xsd:simpleType>
    </xsd:element>
    <xsd:element name="HasAttachment" ma:index="34" nillable="true" ma:displayName="Has Attachment" ma:description="Check if contribution has attachment." ma:internalName="HasAttachment">
      <xsd:simpleType>
        <xsd:restriction base="dms:Text"/>
      </xsd:simpleType>
    </xsd:element>
    <xsd:element name="VisibleToAsset" ma:index="35" nillable="true" ma:displayName="Visible To Asset" ma:internalName="VisibleToAsset">
      <xsd:simpleType>
        <xsd:restriction base="dms:Text"/>
      </xsd:simpleType>
    </xsd:element>
    <xsd:element name="OfficialAsset" ma:index="36" nillable="true" ma:displayName="Official Asset" ma:internalName="OfficialAsset">
      <xsd:simpleType>
        <xsd:restriction base="dms:Text"/>
      </xsd:simpleType>
    </xsd:element>
    <xsd:element name="SourceType" ma:index="37" nillable="true" ma:displayName="SourceType" ma:internalName="SourceType">
      <xsd:simpleType>
        <xsd:restriction base="dms:Text"/>
      </xsd:simpleType>
    </xsd:element>
    <xsd:element name="RestrictedClient" ma:index="38" nillable="true" ma:displayName="Confidential Client" ma:internalName="RestrictedClient">
      <xsd:simpleType>
        <xsd:restriction base="dms:Text"/>
      </xsd:simpleType>
    </xsd:element>
    <xsd:element name="KXThumbnailURL" ma:index="39" nillable="true" ma:displayName="KX Thumbnail URL" ma:internalName="KXThumbnailURL">
      <xsd:simpleType>
        <xsd:restriction base="dms:Note"/>
      </xsd:simpleType>
    </xsd:element>
    <xsd:element name="OpportunityCharacteristics" ma:index="40" nillable="true" ma:displayName="Opportunity Characteristics" ma:internalName="OpportunityCharacteristics">
      <xsd:simpleType>
        <xsd:restriction base="dms:Note"/>
      </xsd:simpleType>
    </xsd:element>
    <xsd:element name="RelatedContent" ma:index="41" nillable="true" ma:displayName="Related Content" ma:internalName="RelatedContent">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ListForm</Display>
  <Edit>ListForm</Edit>
  <New>ListForm</New>
</FormTemplates>
</file>

<file path=customXml/item3.xml><?xml version="1.0" encoding="utf-8"?>
<p:properties xmlns:p="http://schemas.microsoft.com/office/2006/metadata/properties" xmlns:xsi="http://www.w3.org/2001/XMLSchema-instance">
  <documentManagement>
    <ArchiveDate xmlns="http://schemas.microsoft.com/sharepoint/v3">2017-06-23T05:00:00+00:00</ArchiveDate>
    <EngagementLink xmlns="http://schemas.microsoft.com/sharepoint/v3" xsi:nil="true"/>
    <PertinentToCountry xmlns="http://schemas.microsoft.com/sharepoint/v3" xsi:nil="true"/>
    <Client xmlns="http://schemas.microsoft.com/sharepoint/v3" xsi:nil="true"/>
    <flagVVID xmlns="http://schemas.microsoft.com/sharepoint/v3" xsi:nil="true"/>
    <RelatedContent xmlns="http://schemas.microsoft.com/sharepoint/v3">|Docker Reference Architecture and Capability Model~https://kx.accenture.com/repositories/contributionform.aspx?path=c29/89/58&amp;mode=read|Docker PoV~https://kx.accenture.com/Repositories/contributionform.aspx?path=C28/14/52&amp;mode=read|Server Platforms Community: The State of the Container Nation~https://kx.accenture.com/repositories/contributionform.aspx?path=c31/37/30&amp;mode=read</RelatedContent>
    <Abstract xmlns="http://schemas.microsoft.com/sharepoint/v3">&lt;p&gt;&lt;span style="color: black; letter-spacing: 0pt; font-family: arial,helvetica,sans-serif; font-size: 12pt; vertical-align: baseline; mso-ascii-font-family: Arial; mso-fareast-font-family: Arial; mso-bidi-font-family: Arial; mso-ascii-theme-font: major-latin; mso-font-kerning: 12.0pt; language: en-US; mso-text-raise: 0%; mso-style-textfill-type: solid; mso-style-textfill-fill-color: black; mso-style-textfill-fill-alpha: 100.0%;" data-mce-style="color: black; letter-spacing: 0pt; font-family: arial,helvetica,sans-serif; font-size: 12pt; vertical-align: baseline; mso-ascii-font-family: Arial; mso-fareast-font-family: Arial; mso-bidi-font-family: Arial; mso-ascii-theme-font: major-latin; mso-font-kerning: 12.0pt; language: en-US; mso-text-raise: 0%; mso-style-textfill-type: solid; mso-style-textfill-fill-color: black; mso-style-textfill-fill-alpha: 100.0%;"&gt;Application Container are the next level of Data Center Optimizations cleaning up the Hardware Footprint, reducing resources and being able to be moved between Private and Public Cloud.&lt;/span&gt;&lt;/p&gt;&lt;p&gt;&lt;span style="font-family: arial,helvetica,sans-serif; font-size: 12pt;" data-mce-style="font-family: arial,helvetica,sans-serif; font-size: 12pt;"&gt;Container like Docker or Rocket allow easily to create lightweight, portable, self-sufficient workloads from any application which are independent of hardware, language, framework, packaging system and hosting provider.&lt;/span&gt;&lt;br&gt;&lt;/p&gt;&lt;p&gt;&amp;nbsp;&lt;br&gt;&lt;/p&gt;&lt;p&gt;&amp;nbsp;&lt;br&gt;&lt;/p&gt;</Abstract>
    <ContentCurrentDate xmlns="http://schemas.microsoft.com/sharepoint/v3">2015-06-23T05:00:00+00:00</ContentCurrentDate>
    <DateCreated xmlns="http://schemas.microsoft.com/sharepoint/v3">2015-06-23T17:40:54+00:00</DateCreated>
    <OfficialAsset xmlns="http://schemas.microsoft.com/sharepoint/v3">No</OfficialAsset>
    <ArchiveStatus xmlns="http://schemas.microsoft.com/sharepoint/v3">Active</ArchiveStatus>
    <IndustryKeywords xmlns="http://schemas.microsoft.com/sharepoint/v3">;#0;~None</IndustryKeywords>
    <VendorProductKeywords xmlns="http://schemas.microsoft.com/sharepoint/v3">;#0;~None</VendorProductKeywords>
    <RevisionTime xmlns="http://schemas.microsoft.com/sharepoint/v3">11/25/2015 9:42:08 PM&lt;br&gt;11/24/2015 8:33:45 PM&lt;br&gt;11/23/2015 12:06:51 AM&lt;br&gt;11/17/2015 6:07:33 AM&lt;br&gt;11/17/2015 12:02:15 AM</RevisionTime>
    <Contacts xmlns="http://schemas.microsoft.com/sharepoint/v3">dir\michael.malke,dir\shaju.kuttappan,dir\uma.mamilla</Contacts>
    <KXThumbnailURL xmlns="http://schemas.microsoft.com/sharepoint/v3">https://documentpreviews.accenture.com/_vti_bin/Longitude4/Thumbnail.aspx?docId=https://kx.accenture.com/Repositories/C31/48/3/Accenture%20Data%20Center%20Offering%20-%20Container%20in%20the%20Data%20Center.pptx&amp;lucDocId=1&amp;pageNumber=1&amp;thumbX=120&amp;thumbY=120</KXThumbnailURL>
    <ItemType xmlns="http://schemas.microsoft.com/sharepoint/v3">;#13989;~Accenture Internal Material</ItemType>
    <Offerings xmlns="http://schemas.microsoft.com/sharepoint/v3">;#11414;~Accenture Technology;#11415;~OF-000179 - IC - Data Center Optimization;#11522;~OF-000180 - IC - Data Center;#14272;~OF-002500 - IO - Managed Data Center Services</Offerings>
    <SourceType xmlns="http://schemas.microsoft.com/sharepoint/v3">ContributionForm</SourceType>
    <ApprovedForUseBy xmlns="http://schemas.microsoft.com/sharepoint/v3" xsi:nil="true"/>
    <SubmittedBy xmlns="http://schemas.microsoft.com/sharepoint/v3">dir\michael.malke</SubmittedBy>
    <HasAttachment xmlns="http://schemas.microsoft.com/sharepoint/v3">No</HasAttachment>
    <ArchivalDate xmlns="http://schemas.microsoft.com/sharepoint/v3" xsi:nil="true"/>
    <DeliveryCenter xmlns="http://schemas.microsoft.com/sharepoint/v3" xsi:nil="true"/>
    <ContribKeywords xmlns="http://schemas.microsoft.com/sharepoint/v3" xsi:nil="true"/>
    <StorageType xmlns="http://schemas.microsoft.com/sharepoint/v3">File</StorageType>
    <RevisionBy xmlns="http://schemas.microsoft.com/sharepoint/v3">kx.massupdate&lt;br&gt;kx.massupdate&lt;br&gt;kx.massupdate&lt;br&gt;kx.massupdate&lt;br&gt;kx.massupdate</RevisionBy>
    <VisibleToAsset xmlns="http://schemas.microsoft.com/sharepoint/v3" xsi:nil="true"/>
    <BusinessFunctionKeywords xmlns="http://schemas.microsoft.com/sharepoint/v3">;#0;~None</BusinessFunctionKeywords>
    <ConditionsforUse xmlns="http://schemas.microsoft.com/sharepoint/v3">Accenture Internal Use Only</ConditionsforUse>
    <DetailsPageURL2 xmlns="http://schemas.microsoft.com/sharepoint/v3">https://kx.accenture.com/Repositories/DownloadForm.aspx?path=C31/48/3/Accenture%20Data%20Center%20Offering%20-%20Container%20in%20the%20Data%20Center.pptx</DetailsPageURL2>
    <RestrictedClient xmlns="http://schemas.microsoft.com/sharepoint/v3" xsi:nil="true"/>
    <KXGeography xmlns="http://schemas.microsoft.com/sharepoint/v3" xsi:nil="true"/>
    <ConditionsforUseComments xmlns="http://schemas.microsoft.com/sharepoint/v3" xsi:nil="true"/>
    <TechnologyKeywords xmlns="http://schemas.microsoft.com/sharepoint/v3">;#9601;~Cloud Computing;#9602;~  Infrastructure Cloud;#9604;~  Platform Cloud;#7576;~Data Center</TechnologyKeywords>
    <PertinentToOrgUnit xmlns="http://schemas.microsoft.com/sharepoint/v3" xsi:nil="true"/>
    <DetailsPageURL xmlns="http://schemas.microsoft.com/sharepoint/v3">https://kx.accenture.com/Repositories/ContributionForm.aspx?path=C31/48/3&amp;mode=Read</DetailsPageURL>
    <ContribLanguage xmlns="http://schemas.microsoft.com/sharepoint/v3">;#4628;~English</ContribLanguage>
    <OpportunityCharacteristics xmlns="http://schemas.microsoft.com/sharepoint/v3" xsi:nil="true"/>
  </documentManagement>
</p:properties>
</file>

<file path=customXml/itemProps1.xml><?xml version="1.0" encoding="utf-8"?>
<ds:datastoreItem xmlns:ds="http://schemas.openxmlformats.org/officeDocument/2006/customXml" ds:itemID="{3F83B443-9E7F-4931-A7B7-435DD2DD4189}"/>
</file>

<file path=customXml/itemProps2.xml><?xml version="1.0" encoding="utf-8"?>
<ds:datastoreItem xmlns:ds="http://schemas.openxmlformats.org/officeDocument/2006/customXml" ds:itemID="{3A4979E6-FB7D-4B95-84CB-E5F5EB31B356}"/>
</file>

<file path=customXml/itemProps3.xml><?xml version="1.0" encoding="utf-8"?>
<ds:datastoreItem xmlns:ds="http://schemas.openxmlformats.org/officeDocument/2006/customXml" ds:itemID="{67D6E104-4FA2-43C9-96B2-51AE9F332B45}"/>
</file>

<file path=docProps/app.xml><?xml version="1.0" encoding="utf-8"?>
<Properties xmlns="http://schemas.openxmlformats.org/officeDocument/2006/extended-properties" xmlns:vt="http://schemas.openxmlformats.org/officeDocument/2006/docPropsVTypes">
  <Template>Accenture_Color_Top_16-9.potx</Template>
  <TotalTime>0</TotalTime>
  <Words>2507</Words>
  <Application>Microsoft Office PowerPoint</Application>
  <PresentationFormat>Custom</PresentationFormat>
  <Paragraphs>339</Paragraphs>
  <Slides>19</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MS PGothic</vt:lpstr>
      <vt:lpstr>Times New Roman</vt:lpstr>
      <vt:lpstr>Arial</vt:lpstr>
      <vt:lpstr>Symbol</vt:lpstr>
      <vt:lpstr>Wingdings</vt:lpstr>
      <vt:lpstr>Accenture_Color_Top_16-9</vt:lpstr>
      <vt:lpstr>think-cell Slide</vt:lpstr>
      <vt:lpstr>PowerPoint Presentation</vt:lpstr>
      <vt:lpstr>Disclaimer</vt:lpstr>
      <vt:lpstr>Application Container are the next level of Data Center Optimizations cleaning up the Hardware Footprint, reducing Resources and being able to be moved between Private and Public Cloud</vt:lpstr>
      <vt:lpstr>Containers supporting the portable Application-level Packaging in Enterprise Environments based on Linux</vt:lpstr>
      <vt:lpstr>Container Architectures are Changing the Data Center Structure today for Lightweight Applications but growing also into other Eco Systems</vt:lpstr>
      <vt:lpstr>Containers are Changing the way to plan the Data Center work from Today to Tomorrow </vt:lpstr>
      <vt:lpstr>The Data Center optimization through container can be challenged especially for HTTP and Lightweight workloads</vt:lpstr>
      <vt:lpstr>Sample Reference Architecture and Capabilities by Docker</vt:lpstr>
      <vt:lpstr>Docker Eco System</vt:lpstr>
      <vt:lpstr>Why Accenture is the partner of choice?</vt:lpstr>
      <vt:lpstr>IDC MarketScape: Worldwide Cloud Professional Services 2014 Vendor Analysis positions Accenture as a Worldwide Leader in Cloud Professional Services </vt:lpstr>
      <vt:lpstr>Accenture is aiming to leverage its consulting capabilities to drive growth in infrastructure management</vt:lpstr>
      <vt:lpstr>Accenture is a leader and strong transformational player in infrastructure outsourcing </vt:lpstr>
      <vt:lpstr>Accenture uses tested assets and project accelerators to enable Data Center development in an efficient, yet robust, manner</vt:lpstr>
      <vt:lpstr>…that helps to industrialize and ensure high quality and predictability</vt:lpstr>
      <vt:lpstr>Accenture Global Delivery Network provides capabilities and support 24/7</vt:lpstr>
      <vt:lpstr>An Data Center Alliance ecosystem that amplifies our capabilities  (non-exhaustive)</vt:lpstr>
      <vt:lpstr>Key Contacts</vt:lpstr>
      <vt:lpstr>Regional Data Center Contact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O with Container as a Service</dc:title>
  <dc:creator/>
  <cp:lastModifiedBy/>
  <cp:revision>1</cp:revision>
  <dcterms:created xsi:type="dcterms:W3CDTF">2014-05-08T14:17:10Z</dcterms:created>
  <dcterms:modified xsi:type="dcterms:W3CDTF">2015-06-23T17:32:16Z</dcterms:modified>
  <cp:contentType>General Contribution</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FD200C85A7BB46D2B974A85017C5AC2B0100DC863457EAD5CE4A8D2722C2A8C57D37</vt:lpwstr>
  </property>
  <property fmtid="{D5CDD505-2E9C-101B-9397-08002B2CF9AE}" pid="3" name="FederalData">
    <vt:lpwstr>No</vt:lpwstr>
  </property>
</Properties>
</file>